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drawings/drawing3.xml" ContentType="application/vnd.openxmlformats-officedocument.drawingml.chartshapes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drawings/drawing4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18.xml" ContentType="application/vnd.openxmlformats-officedocument.drawingml.chart+xml"/>
  <Override PartName="/ppt/theme/themeOverride7.xml" ContentType="application/vnd.openxmlformats-officedocument.themeOverride+xml"/>
  <Override PartName="/ppt/charts/chart19.xml" ContentType="application/vnd.openxmlformats-officedocument.drawingml.chart+xml"/>
  <Override PartName="/ppt/theme/themeOverride8.xml" ContentType="application/vnd.openxmlformats-officedocument.themeOverride+xml"/>
  <Override PartName="/ppt/drawings/drawing5.xml" ContentType="application/vnd.openxmlformats-officedocument.drawingml.chartshapes+xml"/>
  <Override PartName="/ppt/charts/chart20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21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2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2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2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2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2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5.xml" ContentType="application/vnd.openxmlformats-officedocument.presentationml.notesSlide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3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3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3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3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6" r:id="rId3"/>
    <p:sldMasterId id="2147483780" r:id="rId4"/>
    <p:sldMasterId id="2147483787" r:id="rId5"/>
    <p:sldMasterId id="2147483800" r:id="rId6"/>
    <p:sldMasterId id="2147483805" r:id="rId7"/>
    <p:sldMasterId id="2147483810" r:id="rId8"/>
    <p:sldMasterId id="2147483817" r:id="rId9"/>
  </p:sldMasterIdLst>
  <p:notesMasterIdLst>
    <p:notesMasterId r:id="rId41"/>
  </p:notesMasterIdLst>
  <p:handoutMasterIdLst>
    <p:handoutMasterId r:id="rId42"/>
  </p:handoutMasterIdLst>
  <p:sldIdLst>
    <p:sldId id="340" r:id="rId10"/>
    <p:sldId id="791" r:id="rId11"/>
    <p:sldId id="818" r:id="rId12"/>
    <p:sldId id="683" r:id="rId13"/>
    <p:sldId id="810" r:id="rId14"/>
    <p:sldId id="840" r:id="rId15"/>
    <p:sldId id="753" r:id="rId16"/>
    <p:sldId id="754" r:id="rId17"/>
    <p:sldId id="755" r:id="rId18"/>
    <p:sldId id="839" r:id="rId19"/>
    <p:sldId id="852" r:id="rId20"/>
    <p:sldId id="853" r:id="rId21"/>
    <p:sldId id="854" r:id="rId22"/>
    <p:sldId id="795" r:id="rId23"/>
    <p:sldId id="860" r:id="rId24"/>
    <p:sldId id="845" r:id="rId25"/>
    <p:sldId id="842" r:id="rId26"/>
    <p:sldId id="863" r:id="rId27"/>
    <p:sldId id="847" r:id="rId28"/>
    <p:sldId id="848" r:id="rId29"/>
    <p:sldId id="851" r:id="rId30"/>
    <p:sldId id="850" r:id="rId31"/>
    <p:sldId id="856" r:id="rId32"/>
    <p:sldId id="849" r:id="rId33"/>
    <p:sldId id="861" r:id="rId34"/>
    <p:sldId id="843" r:id="rId35"/>
    <p:sldId id="844" r:id="rId36"/>
    <p:sldId id="841" r:id="rId37"/>
    <p:sldId id="857" r:id="rId38"/>
    <p:sldId id="859" r:id="rId39"/>
    <p:sldId id="858" r:id="rId40"/>
  </p:sldIdLst>
  <p:sldSz cx="9729788" cy="7443788"/>
  <p:notesSz cx="7010400" cy="9296400"/>
  <p:custDataLst>
    <p:tags r:id="rId43"/>
  </p:custDataLst>
  <p:defaultTextStyle>
    <a:defPPr>
      <a:defRPr lang="en-US"/>
    </a:defPPr>
    <a:lvl1pPr marL="0" algn="l" defTabSz="981334" rtl="0" eaLnBrk="1" latinLnBrk="0" hangingPunct="1">
      <a:defRPr lang="en-CA"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45" userDrawn="1">
          <p15:clr>
            <a:srgbClr val="A4A3A4"/>
          </p15:clr>
        </p15:guide>
        <p15:guide id="2" pos="30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ri Tuomala" initials="JT" lastIdx="20" clrIdx="0"/>
  <p:cmAuthor id="1" name="Kyle Gardner" initials="KG" lastIdx="0" clrIdx="1"/>
  <p:cmAuthor id="2" name="Ashwina Kirpalani" initials="AK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A9E0"/>
    <a:srgbClr val="00437A"/>
    <a:srgbClr val="FF9933"/>
    <a:srgbClr val="CCECFF"/>
    <a:srgbClr val="FFE4C9"/>
    <a:srgbClr val="FFCC99"/>
    <a:srgbClr val="99CCFF"/>
    <a:srgbClr val="FFFBC0"/>
    <a:srgbClr val="1730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73" autoAdjust="0"/>
    <p:restoredTop sz="93304" autoAdjust="0"/>
  </p:normalViewPr>
  <p:slideViewPr>
    <p:cSldViewPr snapToGrid="0">
      <p:cViewPr varScale="1">
        <p:scale>
          <a:sx n="92" d="100"/>
          <a:sy n="92" d="100"/>
        </p:scale>
        <p:origin x="594" y="66"/>
      </p:cViewPr>
      <p:guideLst>
        <p:guide orient="horz" pos="2345"/>
        <p:guide pos="30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7712"/>
    </p:cViewPr>
  </p:sorterViewPr>
  <p:notesViewPr>
    <p:cSldViewPr snapToGrid="0">
      <p:cViewPr varScale="1">
        <p:scale>
          <a:sx n="50" d="100"/>
          <a:sy n="50" d="100"/>
        </p:scale>
        <p:origin x="-2934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Library\Containers\com.microsoft.Excel\Data\Library\Preferences\AutoRecovery\08.27.16STAARAllGrades,AllSubjects,AllCampuseswithSTAFFData_ToddSBOE%20(version%201).xlsb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Library\Containers\com.microsoft.Excel\Data\Library\Preferences\AutoRecovery\08.27.16STAARAllGrades,AllSubjects,AllCampuseswithSTAFFData_ToddSBOE%20(version%201).xlsb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5.xml"/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file:///\\localhost\Users\garrettlandry\Dropbox%20(Commit!)\Garrett:Todd\Working%20Data\ACE%20ISIP%2015%20v%2016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file:///\\localhost\Users\garrettlandry\Dropbox%20(Commit!)\Garrett:Todd\Working%20Data\ACE%20ISIP%2015%20v%2016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file:///\\localhost\Users\garrettlandry\Dropbox\Garrett:Todd\Graphs:Charts\STAAR%20Passing%20%25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localhost\Users\garrettlandry\Dropbox%20(Commit!)\Garrett:Todd\Working%20Data\Scatter%20Plot%20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1"/>
    </mc:Choice>
    <mc:Fallback>
      <c:style val="11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60by30 TX Goal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400"/>
                      <a:t>60by30 Texas Goal</a:t>
                    </a:r>
                    <a:endParaRPr lang="en-US"/>
                  </a:p>
                </c:rich>
              </c:tx>
              <c:dLblPos val="inEnd"/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BD5-481E-88A9-428D126B5FB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BD5-481E-88A9-428D126B5FB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% of 2030 TX 25-34 Yr-Olds Needing A PS Credential</c:v>
                </c:pt>
                <c:pt idx="1">
                  <c:v>% of 2014 TX 25+ Year Olds By Terminal Level of Education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BD5-481E-88A9-428D126B5FB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chelor's or Higher Degree</c:v>
                </c:pt>
              </c:strCache>
            </c:strRef>
          </c:tx>
          <c:invertIfNegative val="0"/>
          <c:dPt>
            <c:idx val="1"/>
            <c:invertIfNegative val="0"/>
            <c:bubble3D val="0"/>
            <c:spPr>
              <a:solidFill>
                <a:srgbClr val="00A9E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BD5-481E-88A9-428D126B5FB8}"/>
              </c:ext>
            </c:extLst>
          </c:dPt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BD5-481E-88A9-428D126B5FB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% of 2030 TX 25-34 Yr-Olds Needing A PS Credential</c:v>
                </c:pt>
                <c:pt idx="1">
                  <c:v>% of 2014 TX 25+ Year Olds By Terminal Level of Education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 formatCode="General">
                  <c:v>0</c:v>
                </c:pt>
                <c:pt idx="1">
                  <c:v>0.277917844498980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BD5-481E-88A9-428D126B5FB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ssociate's Degree</c:v>
                </c:pt>
              </c:strCache>
            </c:strRef>
          </c:tx>
          <c:spPr>
            <a:solidFill>
              <a:srgbClr val="00A9E0"/>
            </a:solidFill>
          </c:spPr>
          <c:invertIfNegative val="0"/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BD5-481E-88A9-428D126B5FB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% of 2030 TX 25-34 Yr-Olds Needing A PS Credential</c:v>
                </c:pt>
                <c:pt idx="1">
                  <c:v>% of 2014 TX 25+ Year Olds By Terminal Level of Education</c:v>
                </c:pt>
              </c:strCache>
            </c:strRef>
          </c:cat>
          <c:val>
            <c:numRef>
              <c:f>Sheet1!$D$2:$D$3</c:f>
              <c:numCache>
                <c:formatCode>0.0%</c:formatCode>
                <c:ptCount val="2"/>
                <c:pt idx="0" formatCode="General">
                  <c:v>0</c:v>
                </c:pt>
                <c:pt idx="1">
                  <c:v>6.713018016035679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BD5-481E-88A9-428D126B5FB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ap To Close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invertIfNegative val="0"/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BD5-481E-88A9-428D126B5FB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% of 2030 TX 25-34 Yr-Olds Needing A PS Credential</c:v>
                </c:pt>
                <c:pt idx="1">
                  <c:v>% of 2014 TX 25+ Year Olds By Terminal Level of Education</c:v>
                </c:pt>
              </c:strCache>
            </c:strRef>
          </c:cat>
          <c:val>
            <c:numRef>
              <c:f>Sheet1!$E$2:$E$3</c:f>
              <c:numCache>
                <c:formatCode>0.0%</c:formatCode>
                <c:ptCount val="2"/>
                <c:pt idx="0">
                  <c:v>0</c:v>
                </c:pt>
                <c:pt idx="1">
                  <c:v>0.2549519753406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2BD5-481E-88A9-428D126B5F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09667616"/>
        <c:axId val="209668008"/>
      </c:barChart>
      <c:catAx>
        <c:axId val="2096676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09668008"/>
        <c:crosses val="autoZero"/>
        <c:auto val="1"/>
        <c:lblAlgn val="ctr"/>
        <c:lblOffset val="100"/>
        <c:noMultiLvlLbl val="0"/>
      </c:catAx>
      <c:valAx>
        <c:axId val="209668008"/>
        <c:scaling>
          <c:orientation val="minMax"/>
        </c:scaling>
        <c:delete val="0"/>
        <c:axPos val="l"/>
        <c:majorGridlines>
          <c:spPr>
            <a:ln>
              <a:solidFill>
                <a:schemeClr val="tx2">
                  <a:lumMod val="75000"/>
                </a:schemeClr>
              </a:solidFill>
              <a:prstDash val="sysDash"/>
            </a:ln>
          </c:spPr>
        </c:majorGridlines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09667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b="1" i="0" baseline="0" dirty="0" smtClean="0">
                <a:effectLst/>
              </a:rPr>
              <a:t>Student Achievement (Min. Passing Std.) for </a:t>
            </a:r>
            <a:r>
              <a:rPr lang="en-US" sz="1200" b="1" i="0" baseline="0" dirty="0" smtClean="0">
                <a:solidFill>
                  <a:srgbClr val="C00000"/>
                </a:solidFill>
                <a:effectLst/>
              </a:rPr>
              <a:t>NON</a:t>
            </a:r>
            <a:r>
              <a:rPr lang="en-US" sz="1200" b="1" i="0" baseline="0" dirty="0" smtClean="0">
                <a:effectLst/>
              </a:rPr>
              <a:t> Econ. Disadvantaged Students Across All Campuses in Texas</a:t>
            </a:r>
            <a:endParaRPr lang="en-US" sz="1200" dirty="0"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Non EcoDis Phase In'!$C$1:$C$2</c:f>
              <c:strCache>
                <c:ptCount val="2"/>
                <c:pt idx="1">
                  <c:v>Phase in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Non EcoDis Phase In'!$B$3:$B$7486</c:f>
              <c:numCache>
                <c:formatCode>0%</c:formatCode>
                <c:ptCount val="7484"/>
                <c:pt idx="0">
                  <c:v>0.94799999999999995</c:v>
                </c:pt>
                <c:pt idx="1">
                  <c:v>0.23200000000000001</c:v>
                </c:pt>
                <c:pt idx="2">
                  <c:v>0.58599999999999997</c:v>
                </c:pt>
                <c:pt idx="3">
                  <c:v>0.97099999999999997</c:v>
                </c:pt>
                <c:pt idx="4">
                  <c:v>6.3E-2</c:v>
                </c:pt>
                <c:pt idx="5">
                  <c:v>0</c:v>
                </c:pt>
                <c:pt idx="6">
                  <c:v>0.875</c:v>
                </c:pt>
                <c:pt idx="7">
                  <c:v>0.91400000000000003</c:v>
                </c:pt>
                <c:pt idx="8">
                  <c:v>0.89200000000000002</c:v>
                </c:pt>
                <c:pt idx="9">
                  <c:v>0.52800000000000002</c:v>
                </c:pt>
                <c:pt idx="10">
                  <c:v>0.79500000000000004</c:v>
                </c:pt>
                <c:pt idx="11">
                  <c:v>0.85699999999999998</c:v>
                </c:pt>
                <c:pt idx="12">
                  <c:v>0.95699999999999996</c:v>
                </c:pt>
                <c:pt idx="13">
                  <c:v>0.90900000000000003</c:v>
                </c:pt>
                <c:pt idx="14">
                  <c:v>0.92500000000000004</c:v>
                </c:pt>
                <c:pt idx="15">
                  <c:v>0.61199999999999999</c:v>
                </c:pt>
                <c:pt idx="16">
                  <c:v>6.7000000000000004E-2</c:v>
                </c:pt>
                <c:pt idx="17">
                  <c:v>0.66700000000000004</c:v>
                </c:pt>
                <c:pt idx="18">
                  <c:v>0.224</c:v>
                </c:pt>
                <c:pt idx="19">
                  <c:v>0.58199999999999996</c:v>
                </c:pt>
                <c:pt idx="20">
                  <c:v>0.75800000000000001</c:v>
                </c:pt>
                <c:pt idx="21">
                  <c:v>0.80700000000000005</c:v>
                </c:pt>
                <c:pt idx="22">
                  <c:v>0.90900000000000003</c:v>
                </c:pt>
                <c:pt idx="23">
                  <c:v>0</c:v>
                </c:pt>
                <c:pt idx="24">
                  <c:v>0.28299999999999997</c:v>
                </c:pt>
                <c:pt idx="25">
                  <c:v>0.97899999999999998</c:v>
                </c:pt>
                <c:pt idx="26">
                  <c:v>0.877</c:v>
                </c:pt>
                <c:pt idx="27">
                  <c:v>0.38500000000000001</c:v>
                </c:pt>
                <c:pt idx="28">
                  <c:v>0.78600000000000003</c:v>
                </c:pt>
                <c:pt idx="29">
                  <c:v>0.86399999999999999</c:v>
                </c:pt>
                <c:pt idx="30">
                  <c:v>0.32500000000000001</c:v>
                </c:pt>
                <c:pt idx="31">
                  <c:v>0.78</c:v>
                </c:pt>
                <c:pt idx="32">
                  <c:v>0.89800000000000002</c:v>
                </c:pt>
                <c:pt idx="33">
                  <c:v>0.89800000000000002</c:v>
                </c:pt>
                <c:pt idx="34">
                  <c:v>0.91800000000000004</c:v>
                </c:pt>
                <c:pt idx="35">
                  <c:v>0.55000000000000004</c:v>
                </c:pt>
                <c:pt idx="36">
                  <c:v>0.874</c:v>
                </c:pt>
                <c:pt idx="37">
                  <c:v>0.95399999999999996</c:v>
                </c:pt>
                <c:pt idx="38">
                  <c:v>0.92200000000000004</c:v>
                </c:pt>
                <c:pt idx="39">
                  <c:v>0.96799999999999997</c:v>
                </c:pt>
                <c:pt idx="40">
                  <c:v>1</c:v>
                </c:pt>
                <c:pt idx="41">
                  <c:v>0.877</c:v>
                </c:pt>
                <c:pt idx="42">
                  <c:v>0.88</c:v>
                </c:pt>
                <c:pt idx="43">
                  <c:v>4.2000000000000003E-2</c:v>
                </c:pt>
                <c:pt idx="44">
                  <c:v>0.71899999999999997</c:v>
                </c:pt>
                <c:pt idx="45">
                  <c:v>0.88900000000000001</c:v>
                </c:pt>
                <c:pt idx="46">
                  <c:v>0.77400000000000002</c:v>
                </c:pt>
                <c:pt idx="47">
                  <c:v>0.47699999999999998</c:v>
                </c:pt>
                <c:pt idx="48">
                  <c:v>0.53300000000000003</c:v>
                </c:pt>
                <c:pt idx="49">
                  <c:v>0.89400000000000002</c:v>
                </c:pt>
                <c:pt idx="50">
                  <c:v>0.91900000000000004</c:v>
                </c:pt>
                <c:pt idx="51">
                  <c:v>0.95399999999999996</c:v>
                </c:pt>
                <c:pt idx="52">
                  <c:v>0.92600000000000005</c:v>
                </c:pt>
                <c:pt idx="53">
                  <c:v>0.93300000000000005</c:v>
                </c:pt>
                <c:pt idx="54">
                  <c:v>0.55600000000000005</c:v>
                </c:pt>
                <c:pt idx="55">
                  <c:v>0.76</c:v>
                </c:pt>
                <c:pt idx="56">
                  <c:v>0.92400000000000004</c:v>
                </c:pt>
                <c:pt idx="57">
                  <c:v>0.92500000000000004</c:v>
                </c:pt>
                <c:pt idx="58">
                  <c:v>0.51500000000000001</c:v>
                </c:pt>
                <c:pt idx="59">
                  <c:v>0.58699999999999997</c:v>
                </c:pt>
                <c:pt idx="60">
                  <c:v>0.86299999999999999</c:v>
                </c:pt>
                <c:pt idx="61">
                  <c:v>0.91800000000000004</c:v>
                </c:pt>
                <c:pt idx="62">
                  <c:v>0.92100000000000004</c:v>
                </c:pt>
                <c:pt idx="63">
                  <c:v>0.53800000000000003</c:v>
                </c:pt>
                <c:pt idx="64">
                  <c:v>0.94199999999999995</c:v>
                </c:pt>
                <c:pt idx="65">
                  <c:v>0</c:v>
                </c:pt>
                <c:pt idx="66">
                  <c:v>0.91400000000000003</c:v>
                </c:pt>
                <c:pt idx="67">
                  <c:v>0.13500000000000001</c:v>
                </c:pt>
                <c:pt idx="68">
                  <c:v>0.97</c:v>
                </c:pt>
                <c:pt idx="69">
                  <c:v>0.51100000000000001</c:v>
                </c:pt>
                <c:pt idx="70">
                  <c:v>0.95299999999999996</c:v>
                </c:pt>
                <c:pt idx="71">
                  <c:v>0.14000000000000001</c:v>
                </c:pt>
                <c:pt idx="72">
                  <c:v>0.13</c:v>
                </c:pt>
                <c:pt idx="73">
                  <c:v>0.38100000000000001</c:v>
                </c:pt>
                <c:pt idx="74">
                  <c:v>0.58799999999999997</c:v>
                </c:pt>
                <c:pt idx="75">
                  <c:v>0.93600000000000005</c:v>
                </c:pt>
                <c:pt idx="76">
                  <c:v>0.96299999999999997</c:v>
                </c:pt>
                <c:pt idx="77">
                  <c:v>0.95099999999999996</c:v>
                </c:pt>
                <c:pt idx="78">
                  <c:v>0.52900000000000003</c:v>
                </c:pt>
                <c:pt idx="79">
                  <c:v>0.72199999999999998</c:v>
                </c:pt>
                <c:pt idx="80">
                  <c:v>0.85299999999999998</c:v>
                </c:pt>
                <c:pt idx="81">
                  <c:v>0.92800000000000005</c:v>
                </c:pt>
                <c:pt idx="82">
                  <c:v>0.88500000000000001</c:v>
                </c:pt>
                <c:pt idx="83">
                  <c:v>0.90400000000000003</c:v>
                </c:pt>
                <c:pt idx="84">
                  <c:v>0.78800000000000003</c:v>
                </c:pt>
                <c:pt idx="85">
                  <c:v>0.69299999999999995</c:v>
                </c:pt>
                <c:pt idx="86">
                  <c:v>0.58299999999999996</c:v>
                </c:pt>
                <c:pt idx="87">
                  <c:v>0.63600000000000001</c:v>
                </c:pt>
                <c:pt idx="88">
                  <c:v>0.96399999999999997</c:v>
                </c:pt>
                <c:pt idx="89">
                  <c:v>0.97699999999999998</c:v>
                </c:pt>
                <c:pt idx="90">
                  <c:v>0.92</c:v>
                </c:pt>
                <c:pt idx="91">
                  <c:v>0.82899999999999996</c:v>
                </c:pt>
                <c:pt idx="92">
                  <c:v>0.96699999999999997</c:v>
                </c:pt>
                <c:pt idx="93">
                  <c:v>0.97099999999999997</c:v>
                </c:pt>
                <c:pt idx="94">
                  <c:v>0.79</c:v>
                </c:pt>
                <c:pt idx="95">
                  <c:v>0.91</c:v>
                </c:pt>
                <c:pt idx="96">
                  <c:v>0.90900000000000003</c:v>
                </c:pt>
                <c:pt idx="97">
                  <c:v>0.93700000000000006</c:v>
                </c:pt>
                <c:pt idx="98">
                  <c:v>0.79200000000000004</c:v>
                </c:pt>
                <c:pt idx="99">
                  <c:v>0.75</c:v>
                </c:pt>
                <c:pt idx="100">
                  <c:v>0.94499999999999995</c:v>
                </c:pt>
                <c:pt idx="101">
                  <c:v>0.95299999999999996</c:v>
                </c:pt>
                <c:pt idx="102">
                  <c:v>0.56999999999999995</c:v>
                </c:pt>
                <c:pt idx="103">
                  <c:v>0.95699999999999996</c:v>
                </c:pt>
                <c:pt idx="104">
                  <c:v>0.98699999999999999</c:v>
                </c:pt>
                <c:pt idx="105">
                  <c:v>0.96699999999999997</c:v>
                </c:pt>
                <c:pt idx="106">
                  <c:v>0.33300000000000002</c:v>
                </c:pt>
                <c:pt idx="107">
                  <c:v>0.60399999999999998</c:v>
                </c:pt>
                <c:pt idx="108">
                  <c:v>0.75900000000000001</c:v>
                </c:pt>
                <c:pt idx="109">
                  <c:v>0.88100000000000001</c:v>
                </c:pt>
                <c:pt idx="110">
                  <c:v>0.95799999999999996</c:v>
                </c:pt>
                <c:pt idx="111">
                  <c:v>0.89300000000000002</c:v>
                </c:pt>
                <c:pt idx="112">
                  <c:v>0.3</c:v>
                </c:pt>
                <c:pt idx="113">
                  <c:v>0.97299999999999998</c:v>
                </c:pt>
                <c:pt idx="114">
                  <c:v>0.54200000000000004</c:v>
                </c:pt>
                <c:pt idx="115">
                  <c:v>0.59799999999999998</c:v>
                </c:pt>
                <c:pt idx="116">
                  <c:v>0.72299999999999998</c:v>
                </c:pt>
                <c:pt idx="117">
                  <c:v>0.94599999999999995</c:v>
                </c:pt>
                <c:pt idx="118">
                  <c:v>0.96599999999999997</c:v>
                </c:pt>
                <c:pt idx="119">
                  <c:v>0.96899999999999997</c:v>
                </c:pt>
                <c:pt idx="120">
                  <c:v>0.94199999999999995</c:v>
                </c:pt>
                <c:pt idx="121">
                  <c:v>0.80800000000000005</c:v>
                </c:pt>
                <c:pt idx="122">
                  <c:v>0.95199999999999996</c:v>
                </c:pt>
                <c:pt idx="123">
                  <c:v>1</c:v>
                </c:pt>
                <c:pt idx="124">
                  <c:v>0.97599999999999998</c:v>
                </c:pt>
                <c:pt idx="125">
                  <c:v>0.69199999999999995</c:v>
                </c:pt>
                <c:pt idx="126">
                  <c:v>0.92100000000000004</c:v>
                </c:pt>
                <c:pt idx="127">
                  <c:v>0.79600000000000004</c:v>
                </c:pt>
                <c:pt idx="128">
                  <c:v>0.67300000000000004</c:v>
                </c:pt>
                <c:pt idx="129">
                  <c:v>0.34399999999999997</c:v>
                </c:pt>
                <c:pt idx="130">
                  <c:v>0.35699999999999998</c:v>
                </c:pt>
                <c:pt idx="131">
                  <c:v>0.56100000000000005</c:v>
                </c:pt>
                <c:pt idx="132">
                  <c:v>0.61599999999999999</c:v>
                </c:pt>
                <c:pt idx="133">
                  <c:v>0.75600000000000001</c:v>
                </c:pt>
                <c:pt idx="134">
                  <c:v>0.77100000000000002</c:v>
                </c:pt>
                <c:pt idx="135">
                  <c:v>0.85299999999999998</c:v>
                </c:pt>
                <c:pt idx="136">
                  <c:v>0.90300000000000002</c:v>
                </c:pt>
                <c:pt idx="137">
                  <c:v>0.92700000000000005</c:v>
                </c:pt>
                <c:pt idx="138">
                  <c:v>0.93700000000000006</c:v>
                </c:pt>
                <c:pt idx="139">
                  <c:v>0.95599999999999996</c:v>
                </c:pt>
                <c:pt idx="140">
                  <c:v>0.65</c:v>
                </c:pt>
                <c:pt idx="141">
                  <c:v>0.17100000000000001</c:v>
                </c:pt>
                <c:pt idx="142">
                  <c:v>0.88</c:v>
                </c:pt>
                <c:pt idx="143">
                  <c:v>0.27600000000000002</c:v>
                </c:pt>
                <c:pt idx="144">
                  <c:v>0.76300000000000001</c:v>
                </c:pt>
                <c:pt idx="145">
                  <c:v>0.71199999999999997</c:v>
                </c:pt>
                <c:pt idx="146">
                  <c:v>0.91100000000000003</c:v>
                </c:pt>
                <c:pt idx="147">
                  <c:v>0.95699999999999996</c:v>
                </c:pt>
                <c:pt idx="148">
                  <c:v>0.91600000000000004</c:v>
                </c:pt>
                <c:pt idx="149">
                  <c:v>0.92800000000000005</c:v>
                </c:pt>
                <c:pt idx="150">
                  <c:v>0.92700000000000005</c:v>
                </c:pt>
                <c:pt idx="151">
                  <c:v>0.80400000000000005</c:v>
                </c:pt>
                <c:pt idx="152">
                  <c:v>0.153</c:v>
                </c:pt>
                <c:pt idx="153">
                  <c:v>0.69199999999999995</c:v>
                </c:pt>
                <c:pt idx="154">
                  <c:v>0.90500000000000003</c:v>
                </c:pt>
                <c:pt idx="155">
                  <c:v>0.89300000000000002</c:v>
                </c:pt>
                <c:pt idx="156">
                  <c:v>0.92800000000000005</c:v>
                </c:pt>
                <c:pt idx="157">
                  <c:v>0.93899999999999995</c:v>
                </c:pt>
                <c:pt idx="158">
                  <c:v>0.90700000000000003</c:v>
                </c:pt>
                <c:pt idx="159">
                  <c:v>0.92100000000000004</c:v>
                </c:pt>
                <c:pt idx="160">
                  <c:v>0.58699999999999997</c:v>
                </c:pt>
                <c:pt idx="161">
                  <c:v>0.77500000000000002</c:v>
                </c:pt>
                <c:pt idx="162">
                  <c:v>0.95599999999999996</c:v>
                </c:pt>
                <c:pt idx="163">
                  <c:v>0.71699999999999997</c:v>
                </c:pt>
                <c:pt idx="164">
                  <c:v>0.94199999999999995</c:v>
                </c:pt>
                <c:pt idx="165">
                  <c:v>0.92800000000000005</c:v>
                </c:pt>
                <c:pt idx="166">
                  <c:v>0.93600000000000005</c:v>
                </c:pt>
                <c:pt idx="167">
                  <c:v>0.96499999999999997</c:v>
                </c:pt>
                <c:pt idx="168">
                  <c:v>0.96299999999999997</c:v>
                </c:pt>
                <c:pt idx="169">
                  <c:v>0.93899999999999995</c:v>
                </c:pt>
                <c:pt idx="170">
                  <c:v>0.93400000000000005</c:v>
                </c:pt>
                <c:pt idx="171">
                  <c:v>0.66300000000000003</c:v>
                </c:pt>
                <c:pt idx="172">
                  <c:v>0.49199999999999999</c:v>
                </c:pt>
                <c:pt idx="173">
                  <c:v>0.40799999999999997</c:v>
                </c:pt>
                <c:pt idx="174">
                  <c:v>0.624</c:v>
                </c:pt>
                <c:pt idx="175">
                  <c:v>0.91600000000000004</c:v>
                </c:pt>
                <c:pt idx="176">
                  <c:v>0.61799999999999999</c:v>
                </c:pt>
                <c:pt idx="177">
                  <c:v>0.66300000000000003</c:v>
                </c:pt>
                <c:pt idx="178">
                  <c:v>0.57299999999999995</c:v>
                </c:pt>
                <c:pt idx="179">
                  <c:v>0.69699999999999995</c:v>
                </c:pt>
                <c:pt idx="180">
                  <c:v>0.70199999999999996</c:v>
                </c:pt>
                <c:pt idx="181">
                  <c:v>0.30499999999999999</c:v>
                </c:pt>
                <c:pt idx="182">
                  <c:v>0.71299999999999997</c:v>
                </c:pt>
                <c:pt idx="183">
                  <c:v>0.73799999999999999</c:v>
                </c:pt>
                <c:pt idx="184">
                  <c:v>0.91</c:v>
                </c:pt>
                <c:pt idx="185">
                  <c:v>0.93200000000000005</c:v>
                </c:pt>
                <c:pt idx="186">
                  <c:v>0.94599999999999995</c:v>
                </c:pt>
                <c:pt idx="187">
                  <c:v>0.95099999999999996</c:v>
                </c:pt>
                <c:pt idx="188">
                  <c:v>0.96599999999999997</c:v>
                </c:pt>
                <c:pt idx="189">
                  <c:v>0.82799999999999996</c:v>
                </c:pt>
                <c:pt idx="190">
                  <c:v>0.93500000000000005</c:v>
                </c:pt>
                <c:pt idx="191">
                  <c:v>0.94899999999999995</c:v>
                </c:pt>
                <c:pt idx="192">
                  <c:v>0.872</c:v>
                </c:pt>
                <c:pt idx="193">
                  <c:v>0.81299999999999994</c:v>
                </c:pt>
                <c:pt idx="194">
                  <c:v>0.89600000000000002</c:v>
                </c:pt>
                <c:pt idx="195">
                  <c:v>0.93100000000000005</c:v>
                </c:pt>
                <c:pt idx="196">
                  <c:v>0.96299999999999997</c:v>
                </c:pt>
                <c:pt idx="197">
                  <c:v>0.83099999999999996</c:v>
                </c:pt>
                <c:pt idx="198">
                  <c:v>0.91300000000000003</c:v>
                </c:pt>
                <c:pt idx="199">
                  <c:v>0.91200000000000003</c:v>
                </c:pt>
                <c:pt idx="200">
                  <c:v>0.85699999999999998</c:v>
                </c:pt>
                <c:pt idx="201">
                  <c:v>0.51600000000000001</c:v>
                </c:pt>
                <c:pt idx="202">
                  <c:v>0.63400000000000001</c:v>
                </c:pt>
                <c:pt idx="203">
                  <c:v>0.94499999999999995</c:v>
                </c:pt>
                <c:pt idx="204">
                  <c:v>0.86699999999999999</c:v>
                </c:pt>
                <c:pt idx="205">
                  <c:v>0.95299999999999996</c:v>
                </c:pt>
                <c:pt idx="206">
                  <c:v>0.92600000000000005</c:v>
                </c:pt>
                <c:pt idx="207">
                  <c:v>0.95299999999999996</c:v>
                </c:pt>
                <c:pt idx="208">
                  <c:v>0.9</c:v>
                </c:pt>
                <c:pt idx="209">
                  <c:v>0.88300000000000001</c:v>
                </c:pt>
                <c:pt idx="210">
                  <c:v>0.91100000000000003</c:v>
                </c:pt>
                <c:pt idx="211">
                  <c:v>0.93700000000000006</c:v>
                </c:pt>
                <c:pt idx="212">
                  <c:v>0.94299999999999995</c:v>
                </c:pt>
                <c:pt idx="213">
                  <c:v>0.998</c:v>
                </c:pt>
                <c:pt idx="214">
                  <c:v>0.56100000000000005</c:v>
                </c:pt>
                <c:pt idx="215">
                  <c:v>0.95499999999999996</c:v>
                </c:pt>
                <c:pt idx="216">
                  <c:v>0.28299999999999997</c:v>
                </c:pt>
                <c:pt idx="217">
                  <c:v>0.93799999999999994</c:v>
                </c:pt>
                <c:pt idx="218">
                  <c:v>0.39500000000000002</c:v>
                </c:pt>
                <c:pt idx="219">
                  <c:v>0.92</c:v>
                </c:pt>
                <c:pt idx="220">
                  <c:v>0.625</c:v>
                </c:pt>
                <c:pt idx="221">
                  <c:v>0.93500000000000005</c:v>
                </c:pt>
                <c:pt idx="222">
                  <c:v>0.96199999999999997</c:v>
                </c:pt>
                <c:pt idx="223">
                  <c:v>0.99399999999999999</c:v>
                </c:pt>
                <c:pt idx="224">
                  <c:v>0.89900000000000002</c:v>
                </c:pt>
                <c:pt idx="225">
                  <c:v>0.93600000000000005</c:v>
                </c:pt>
                <c:pt idx="226">
                  <c:v>0.80500000000000005</c:v>
                </c:pt>
                <c:pt idx="227">
                  <c:v>0.90900000000000003</c:v>
                </c:pt>
                <c:pt idx="228">
                  <c:v>0.92100000000000004</c:v>
                </c:pt>
                <c:pt idx="229">
                  <c:v>0.91700000000000004</c:v>
                </c:pt>
                <c:pt idx="230">
                  <c:v>0.65600000000000003</c:v>
                </c:pt>
                <c:pt idx="231">
                  <c:v>0.92800000000000005</c:v>
                </c:pt>
                <c:pt idx="232">
                  <c:v>0.96699999999999997</c:v>
                </c:pt>
                <c:pt idx="233">
                  <c:v>0.98</c:v>
                </c:pt>
                <c:pt idx="234">
                  <c:v>0.33300000000000002</c:v>
                </c:pt>
                <c:pt idx="235">
                  <c:v>0.68200000000000005</c:v>
                </c:pt>
                <c:pt idx="236">
                  <c:v>0.90900000000000003</c:v>
                </c:pt>
                <c:pt idx="237">
                  <c:v>0.84599999999999997</c:v>
                </c:pt>
                <c:pt idx="238">
                  <c:v>0.91700000000000004</c:v>
                </c:pt>
                <c:pt idx="239">
                  <c:v>0.72499999999999998</c:v>
                </c:pt>
                <c:pt idx="240">
                  <c:v>0.98099999999999998</c:v>
                </c:pt>
                <c:pt idx="241">
                  <c:v>0.55200000000000005</c:v>
                </c:pt>
                <c:pt idx="242">
                  <c:v>0.94699999999999995</c:v>
                </c:pt>
                <c:pt idx="243">
                  <c:v>0.89700000000000002</c:v>
                </c:pt>
                <c:pt idx="244">
                  <c:v>0.92</c:v>
                </c:pt>
                <c:pt idx="245">
                  <c:v>0.88</c:v>
                </c:pt>
                <c:pt idx="246">
                  <c:v>0.90300000000000002</c:v>
                </c:pt>
                <c:pt idx="247">
                  <c:v>0.94599999999999995</c:v>
                </c:pt>
                <c:pt idx="248">
                  <c:v>0.90200000000000002</c:v>
                </c:pt>
                <c:pt idx="249">
                  <c:v>0.94399999999999995</c:v>
                </c:pt>
                <c:pt idx="250">
                  <c:v>0.88300000000000001</c:v>
                </c:pt>
                <c:pt idx="251">
                  <c:v>0.82899999999999996</c:v>
                </c:pt>
                <c:pt idx="252">
                  <c:v>0.92800000000000005</c:v>
                </c:pt>
                <c:pt idx="253">
                  <c:v>0.93700000000000006</c:v>
                </c:pt>
                <c:pt idx="254">
                  <c:v>0.96399999999999997</c:v>
                </c:pt>
                <c:pt idx="255">
                  <c:v>0.83299999999999996</c:v>
                </c:pt>
                <c:pt idx="256">
                  <c:v>0.65700000000000003</c:v>
                </c:pt>
                <c:pt idx="257">
                  <c:v>0.91300000000000003</c:v>
                </c:pt>
                <c:pt idx="258">
                  <c:v>0.86599999999999999</c:v>
                </c:pt>
                <c:pt idx="259">
                  <c:v>0.97899999999999998</c:v>
                </c:pt>
                <c:pt idx="260">
                  <c:v>0.623</c:v>
                </c:pt>
                <c:pt idx="261">
                  <c:v>0.65800000000000003</c:v>
                </c:pt>
                <c:pt idx="262">
                  <c:v>0.52200000000000002</c:v>
                </c:pt>
                <c:pt idx="263">
                  <c:v>0.68600000000000005</c:v>
                </c:pt>
                <c:pt idx="264">
                  <c:v>0.80400000000000005</c:v>
                </c:pt>
                <c:pt idx="265">
                  <c:v>0.81399999999999995</c:v>
                </c:pt>
                <c:pt idx="266">
                  <c:v>0.89200000000000002</c:v>
                </c:pt>
                <c:pt idx="267">
                  <c:v>0.90400000000000003</c:v>
                </c:pt>
                <c:pt idx="268">
                  <c:v>0.90500000000000003</c:v>
                </c:pt>
                <c:pt idx="269">
                  <c:v>0.92400000000000004</c:v>
                </c:pt>
                <c:pt idx="270">
                  <c:v>0.97099999999999997</c:v>
                </c:pt>
                <c:pt idx="271">
                  <c:v>0.97699999999999998</c:v>
                </c:pt>
                <c:pt idx="272">
                  <c:v>0.48599999999999999</c:v>
                </c:pt>
                <c:pt idx="273">
                  <c:v>0.81499999999999995</c:v>
                </c:pt>
                <c:pt idx="274">
                  <c:v>0.90400000000000003</c:v>
                </c:pt>
                <c:pt idx="275">
                  <c:v>0.875</c:v>
                </c:pt>
                <c:pt idx="276">
                  <c:v>0.629</c:v>
                </c:pt>
                <c:pt idx="277">
                  <c:v>0.85599999999999998</c:v>
                </c:pt>
                <c:pt idx="278">
                  <c:v>0.873</c:v>
                </c:pt>
                <c:pt idx="279">
                  <c:v>0.88700000000000001</c:v>
                </c:pt>
                <c:pt idx="280">
                  <c:v>0.63200000000000001</c:v>
                </c:pt>
                <c:pt idx="281">
                  <c:v>0.93899999999999995</c:v>
                </c:pt>
                <c:pt idx="282">
                  <c:v>0.84699999999999998</c:v>
                </c:pt>
                <c:pt idx="283">
                  <c:v>0.88600000000000001</c:v>
                </c:pt>
                <c:pt idx="284">
                  <c:v>0.95399999999999996</c:v>
                </c:pt>
                <c:pt idx="285">
                  <c:v>0.91100000000000003</c:v>
                </c:pt>
                <c:pt idx="286">
                  <c:v>0.79400000000000004</c:v>
                </c:pt>
                <c:pt idx="287">
                  <c:v>0.28599999999999998</c:v>
                </c:pt>
                <c:pt idx="288">
                  <c:v>0.95299999999999996</c:v>
                </c:pt>
                <c:pt idx="289">
                  <c:v>0.90100000000000002</c:v>
                </c:pt>
                <c:pt idx="290">
                  <c:v>0.89900000000000002</c:v>
                </c:pt>
                <c:pt idx="291">
                  <c:v>0.90300000000000002</c:v>
                </c:pt>
                <c:pt idx="292">
                  <c:v>0.94299999999999995</c:v>
                </c:pt>
                <c:pt idx="293">
                  <c:v>0.82399999999999995</c:v>
                </c:pt>
                <c:pt idx="294">
                  <c:v>0.88500000000000001</c:v>
                </c:pt>
                <c:pt idx="295">
                  <c:v>0.8</c:v>
                </c:pt>
                <c:pt idx="296">
                  <c:v>0.78600000000000003</c:v>
                </c:pt>
                <c:pt idx="297">
                  <c:v>0.92100000000000004</c:v>
                </c:pt>
                <c:pt idx="298">
                  <c:v>0.92200000000000004</c:v>
                </c:pt>
                <c:pt idx="299">
                  <c:v>0.93200000000000005</c:v>
                </c:pt>
                <c:pt idx="300">
                  <c:v>0.93899999999999995</c:v>
                </c:pt>
                <c:pt idx="301">
                  <c:v>0.95399999999999996</c:v>
                </c:pt>
                <c:pt idx="302">
                  <c:v>0.95499999999999996</c:v>
                </c:pt>
                <c:pt idx="303">
                  <c:v>0.95699999999999996</c:v>
                </c:pt>
                <c:pt idx="304">
                  <c:v>0.94199999999999995</c:v>
                </c:pt>
                <c:pt idx="305">
                  <c:v>0.78200000000000003</c:v>
                </c:pt>
                <c:pt idx="306">
                  <c:v>0.96199999999999997</c:v>
                </c:pt>
                <c:pt idx="307">
                  <c:v>0.93600000000000005</c:v>
                </c:pt>
                <c:pt idx="308">
                  <c:v>0.92400000000000004</c:v>
                </c:pt>
                <c:pt idx="309">
                  <c:v>0.96599999999999997</c:v>
                </c:pt>
                <c:pt idx="310">
                  <c:v>0.52700000000000002</c:v>
                </c:pt>
                <c:pt idx="311">
                  <c:v>0.95099999999999996</c:v>
                </c:pt>
                <c:pt idx="312">
                  <c:v>0.96299999999999997</c:v>
                </c:pt>
                <c:pt idx="313">
                  <c:v>0.89200000000000002</c:v>
                </c:pt>
                <c:pt idx="314">
                  <c:v>0.93500000000000005</c:v>
                </c:pt>
                <c:pt idx="315">
                  <c:v>0.84899999999999998</c:v>
                </c:pt>
                <c:pt idx="316">
                  <c:v>0.94599999999999995</c:v>
                </c:pt>
                <c:pt idx="317">
                  <c:v>0.55900000000000005</c:v>
                </c:pt>
                <c:pt idx="318">
                  <c:v>0.34200000000000003</c:v>
                </c:pt>
                <c:pt idx="319">
                  <c:v>0.84</c:v>
                </c:pt>
                <c:pt idx="320">
                  <c:v>0.88600000000000001</c:v>
                </c:pt>
                <c:pt idx="321">
                  <c:v>0.91800000000000004</c:v>
                </c:pt>
                <c:pt idx="322">
                  <c:v>0.94199999999999995</c:v>
                </c:pt>
                <c:pt idx="323">
                  <c:v>0.95499999999999996</c:v>
                </c:pt>
                <c:pt idx="324">
                  <c:v>0.97399999999999998</c:v>
                </c:pt>
                <c:pt idx="325">
                  <c:v>0.625</c:v>
                </c:pt>
                <c:pt idx="326">
                  <c:v>0.97699999999999998</c:v>
                </c:pt>
                <c:pt idx="327">
                  <c:v>0.90200000000000002</c:v>
                </c:pt>
                <c:pt idx="328">
                  <c:v>0.90200000000000002</c:v>
                </c:pt>
                <c:pt idx="329">
                  <c:v>0.91</c:v>
                </c:pt>
                <c:pt idx="330">
                  <c:v>0.76200000000000001</c:v>
                </c:pt>
                <c:pt idx="331">
                  <c:v>0.70699999999999996</c:v>
                </c:pt>
                <c:pt idx="332">
                  <c:v>0.83899999999999997</c:v>
                </c:pt>
                <c:pt idx="333">
                  <c:v>0.88</c:v>
                </c:pt>
                <c:pt idx="334">
                  <c:v>0.84099999999999997</c:v>
                </c:pt>
                <c:pt idx="335">
                  <c:v>0.89900000000000002</c:v>
                </c:pt>
                <c:pt idx="336">
                  <c:v>0.96799999999999997</c:v>
                </c:pt>
                <c:pt idx="337">
                  <c:v>0.83099999999999996</c:v>
                </c:pt>
                <c:pt idx="338">
                  <c:v>0.88900000000000001</c:v>
                </c:pt>
                <c:pt idx="339">
                  <c:v>0.79500000000000004</c:v>
                </c:pt>
                <c:pt idx="340">
                  <c:v>0.89200000000000002</c:v>
                </c:pt>
                <c:pt idx="341">
                  <c:v>0.91</c:v>
                </c:pt>
                <c:pt idx="342">
                  <c:v>0.66500000000000004</c:v>
                </c:pt>
                <c:pt idx="343">
                  <c:v>0.53500000000000003</c:v>
                </c:pt>
                <c:pt idx="344">
                  <c:v>0.91400000000000003</c:v>
                </c:pt>
                <c:pt idx="345">
                  <c:v>0.60699999999999998</c:v>
                </c:pt>
                <c:pt idx="346">
                  <c:v>0.94399999999999995</c:v>
                </c:pt>
                <c:pt idx="347">
                  <c:v>0.94699999999999995</c:v>
                </c:pt>
                <c:pt idx="348">
                  <c:v>0.874</c:v>
                </c:pt>
                <c:pt idx="349">
                  <c:v>0.98399999999999999</c:v>
                </c:pt>
                <c:pt idx="350">
                  <c:v>1</c:v>
                </c:pt>
                <c:pt idx="351">
                  <c:v>0.93</c:v>
                </c:pt>
                <c:pt idx="352">
                  <c:v>0.91800000000000004</c:v>
                </c:pt>
                <c:pt idx="353">
                  <c:v>0.71299999999999997</c:v>
                </c:pt>
                <c:pt idx="354">
                  <c:v>0.90100000000000002</c:v>
                </c:pt>
                <c:pt idx="355">
                  <c:v>0.92200000000000004</c:v>
                </c:pt>
                <c:pt idx="356">
                  <c:v>0.85399999999999998</c:v>
                </c:pt>
                <c:pt idx="357">
                  <c:v>0.64500000000000002</c:v>
                </c:pt>
                <c:pt idx="358">
                  <c:v>0.90300000000000002</c:v>
                </c:pt>
                <c:pt idx="359">
                  <c:v>0.93300000000000005</c:v>
                </c:pt>
                <c:pt idx="360">
                  <c:v>0.89900000000000002</c:v>
                </c:pt>
                <c:pt idx="361">
                  <c:v>0.94199999999999995</c:v>
                </c:pt>
                <c:pt idx="362">
                  <c:v>0.88400000000000001</c:v>
                </c:pt>
                <c:pt idx="363">
                  <c:v>0.92</c:v>
                </c:pt>
                <c:pt idx="364">
                  <c:v>0.85599999999999998</c:v>
                </c:pt>
                <c:pt idx="365">
                  <c:v>0.67300000000000004</c:v>
                </c:pt>
                <c:pt idx="366">
                  <c:v>0.78600000000000003</c:v>
                </c:pt>
                <c:pt idx="367">
                  <c:v>0.93100000000000005</c:v>
                </c:pt>
                <c:pt idx="368">
                  <c:v>0.94099999999999995</c:v>
                </c:pt>
                <c:pt idx="369">
                  <c:v>0.95399999999999996</c:v>
                </c:pt>
                <c:pt idx="370">
                  <c:v>0.52200000000000002</c:v>
                </c:pt>
                <c:pt idx="371">
                  <c:v>0.89800000000000002</c:v>
                </c:pt>
                <c:pt idx="372">
                  <c:v>0.91300000000000003</c:v>
                </c:pt>
                <c:pt idx="373">
                  <c:v>0.97</c:v>
                </c:pt>
                <c:pt idx="374">
                  <c:v>0.93400000000000005</c:v>
                </c:pt>
                <c:pt idx="375">
                  <c:v>0.76500000000000001</c:v>
                </c:pt>
                <c:pt idx="376">
                  <c:v>0.82599999999999996</c:v>
                </c:pt>
                <c:pt idx="377">
                  <c:v>0.89200000000000002</c:v>
                </c:pt>
                <c:pt idx="378">
                  <c:v>0.92500000000000004</c:v>
                </c:pt>
                <c:pt idx="379">
                  <c:v>0.86799999999999999</c:v>
                </c:pt>
                <c:pt idx="380">
                  <c:v>0.86099999999999999</c:v>
                </c:pt>
                <c:pt idx="381">
                  <c:v>0.93</c:v>
                </c:pt>
                <c:pt idx="382">
                  <c:v>0.96099999999999997</c:v>
                </c:pt>
                <c:pt idx="383">
                  <c:v>0.85699999999999998</c:v>
                </c:pt>
                <c:pt idx="384">
                  <c:v>0.92600000000000005</c:v>
                </c:pt>
                <c:pt idx="385">
                  <c:v>0.93200000000000005</c:v>
                </c:pt>
                <c:pt idx="386">
                  <c:v>0.87</c:v>
                </c:pt>
                <c:pt idx="387">
                  <c:v>0.95199999999999996</c:v>
                </c:pt>
                <c:pt idx="388">
                  <c:v>0.68500000000000005</c:v>
                </c:pt>
                <c:pt idx="389">
                  <c:v>0.92</c:v>
                </c:pt>
                <c:pt idx="390">
                  <c:v>0.88200000000000001</c:v>
                </c:pt>
                <c:pt idx="391">
                  <c:v>0.88800000000000001</c:v>
                </c:pt>
                <c:pt idx="392">
                  <c:v>0.64700000000000002</c:v>
                </c:pt>
                <c:pt idx="393">
                  <c:v>0.93500000000000005</c:v>
                </c:pt>
                <c:pt idx="394">
                  <c:v>0.69399999999999995</c:v>
                </c:pt>
                <c:pt idx="395">
                  <c:v>0.70499999999999996</c:v>
                </c:pt>
                <c:pt idx="396">
                  <c:v>0.84</c:v>
                </c:pt>
                <c:pt idx="397">
                  <c:v>0.86599999999999999</c:v>
                </c:pt>
                <c:pt idx="398">
                  <c:v>0.89600000000000002</c:v>
                </c:pt>
                <c:pt idx="399">
                  <c:v>0.95599999999999996</c:v>
                </c:pt>
                <c:pt idx="400">
                  <c:v>0.97</c:v>
                </c:pt>
                <c:pt idx="401">
                  <c:v>0.85299999999999998</c:v>
                </c:pt>
                <c:pt idx="402">
                  <c:v>0.625</c:v>
                </c:pt>
                <c:pt idx="403">
                  <c:v>0.64700000000000002</c:v>
                </c:pt>
                <c:pt idx="404">
                  <c:v>0.88600000000000001</c:v>
                </c:pt>
                <c:pt idx="405">
                  <c:v>0.93899999999999995</c:v>
                </c:pt>
                <c:pt idx="406">
                  <c:v>0.35099999999999998</c:v>
                </c:pt>
                <c:pt idx="407">
                  <c:v>0.91100000000000003</c:v>
                </c:pt>
                <c:pt idx="408">
                  <c:v>0.93799999999999994</c:v>
                </c:pt>
                <c:pt idx="409">
                  <c:v>0.71799999999999997</c:v>
                </c:pt>
                <c:pt idx="410">
                  <c:v>0.96</c:v>
                </c:pt>
                <c:pt idx="411">
                  <c:v>0.90400000000000003</c:v>
                </c:pt>
                <c:pt idx="412">
                  <c:v>0.92</c:v>
                </c:pt>
                <c:pt idx="413">
                  <c:v>0.66700000000000004</c:v>
                </c:pt>
                <c:pt idx="414">
                  <c:v>0.90100000000000002</c:v>
                </c:pt>
                <c:pt idx="415">
                  <c:v>0.84799999999999998</c:v>
                </c:pt>
                <c:pt idx="416">
                  <c:v>0.89900000000000002</c:v>
                </c:pt>
                <c:pt idx="417">
                  <c:v>0.86699999999999999</c:v>
                </c:pt>
                <c:pt idx="418">
                  <c:v>0.89</c:v>
                </c:pt>
                <c:pt idx="419">
                  <c:v>0.94799999999999995</c:v>
                </c:pt>
                <c:pt idx="420">
                  <c:v>0.51500000000000001</c:v>
                </c:pt>
                <c:pt idx="421">
                  <c:v>0.80600000000000005</c:v>
                </c:pt>
                <c:pt idx="422">
                  <c:v>0.91500000000000004</c:v>
                </c:pt>
                <c:pt idx="423">
                  <c:v>0.92200000000000004</c:v>
                </c:pt>
                <c:pt idx="424">
                  <c:v>0.86299999999999999</c:v>
                </c:pt>
                <c:pt idx="425">
                  <c:v>0.36099999999999999</c:v>
                </c:pt>
                <c:pt idx="426">
                  <c:v>0.6</c:v>
                </c:pt>
                <c:pt idx="427">
                  <c:v>0.89200000000000002</c:v>
                </c:pt>
                <c:pt idx="428">
                  <c:v>0.95099999999999996</c:v>
                </c:pt>
                <c:pt idx="429">
                  <c:v>0.84599999999999997</c:v>
                </c:pt>
                <c:pt idx="430">
                  <c:v>0.90100000000000002</c:v>
                </c:pt>
                <c:pt idx="431">
                  <c:v>0.76</c:v>
                </c:pt>
                <c:pt idx="432">
                  <c:v>0.58599999999999997</c:v>
                </c:pt>
                <c:pt idx="433">
                  <c:v>0.86799999999999999</c:v>
                </c:pt>
                <c:pt idx="434">
                  <c:v>0.89500000000000002</c:v>
                </c:pt>
                <c:pt idx="435">
                  <c:v>0.94099999999999995</c:v>
                </c:pt>
                <c:pt idx="436">
                  <c:v>0.52300000000000002</c:v>
                </c:pt>
                <c:pt idx="437">
                  <c:v>0.80400000000000005</c:v>
                </c:pt>
                <c:pt idx="438">
                  <c:v>0.97399999999999998</c:v>
                </c:pt>
                <c:pt idx="439">
                  <c:v>0.51600000000000001</c:v>
                </c:pt>
                <c:pt idx="440">
                  <c:v>0.85499999999999998</c:v>
                </c:pt>
                <c:pt idx="441">
                  <c:v>0.97</c:v>
                </c:pt>
                <c:pt idx="442">
                  <c:v>0.61499999999999999</c:v>
                </c:pt>
                <c:pt idx="443">
                  <c:v>0.71699999999999997</c:v>
                </c:pt>
                <c:pt idx="444">
                  <c:v>0.90800000000000003</c:v>
                </c:pt>
                <c:pt idx="445">
                  <c:v>0.94</c:v>
                </c:pt>
                <c:pt idx="446">
                  <c:v>0.90100000000000002</c:v>
                </c:pt>
                <c:pt idx="447">
                  <c:v>0.92300000000000004</c:v>
                </c:pt>
                <c:pt idx="448">
                  <c:v>0.95299999999999996</c:v>
                </c:pt>
                <c:pt idx="449">
                  <c:v>0.65</c:v>
                </c:pt>
                <c:pt idx="450">
                  <c:v>0.71599999999999997</c:v>
                </c:pt>
                <c:pt idx="451">
                  <c:v>0.88</c:v>
                </c:pt>
                <c:pt idx="452">
                  <c:v>0.89400000000000002</c:v>
                </c:pt>
                <c:pt idx="453">
                  <c:v>0.80100000000000005</c:v>
                </c:pt>
                <c:pt idx="454">
                  <c:v>0.82199999999999995</c:v>
                </c:pt>
                <c:pt idx="455">
                  <c:v>0.92200000000000004</c:v>
                </c:pt>
                <c:pt idx="456">
                  <c:v>0.96</c:v>
                </c:pt>
                <c:pt idx="457">
                  <c:v>0.78800000000000003</c:v>
                </c:pt>
                <c:pt idx="458">
                  <c:v>0.94599999999999995</c:v>
                </c:pt>
                <c:pt idx="459">
                  <c:v>0.83499999999999996</c:v>
                </c:pt>
                <c:pt idx="460">
                  <c:v>0.89900000000000002</c:v>
                </c:pt>
                <c:pt idx="461">
                  <c:v>0.92300000000000004</c:v>
                </c:pt>
                <c:pt idx="462">
                  <c:v>0.90800000000000003</c:v>
                </c:pt>
                <c:pt idx="463">
                  <c:v>0.56499999999999995</c:v>
                </c:pt>
                <c:pt idx="464">
                  <c:v>0.68200000000000005</c:v>
                </c:pt>
                <c:pt idx="465">
                  <c:v>0.88800000000000001</c:v>
                </c:pt>
                <c:pt idx="466">
                  <c:v>0.505</c:v>
                </c:pt>
                <c:pt idx="467">
                  <c:v>0.88100000000000001</c:v>
                </c:pt>
                <c:pt idx="468">
                  <c:v>0.89900000000000002</c:v>
                </c:pt>
                <c:pt idx="469">
                  <c:v>0.90200000000000002</c:v>
                </c:pt>
                <c:pt idx="470">
                  <c:v>0.91600000000000004</c:v>
                </c:pt>
                <c:pt idx="471">
                  <c:v>0.96199999999999997</c:v>
                </c:pt>
                <c:pt idx="472">
                  <c:v>0.88</c:v>
                </c:pt>
                <c:pt idx="473">
                  <c:v>0.91800000000000004</c:v>
                </c:pt>
                <c:pt idx="474">
                  <c:v>0</c:v>
                </c:pt>
                <c:pt idx="475">
                  <c:v>0.91900000000000004</c:v>
                </c:pt>
                <c:pt idx="476">
                  <c:v>0.33700000000000002</c:v>
                </c:pt>
                <c:pt idx="477">
                  <c:v>0.87</c:v>
                </c:pt>
                <c:pt idx="478">
                  <c:v>0.66700000000000004</c:v>
                </c:pt>
                <c:pt idx="479">
                  <c:v>0.72499999999999998</c:v>
                </c:pt>
                <c:pt idx="480">
                  <c:v>0.88300000000000001</c:v>
                </c:pt>
                <c:pt idx="481">
                  <c:v>0.73399999999999999</c:v>
                </c:pt>
                <c:pt idx="482">
                  <c:v>0.89700000000000002</c:v>
                </c:pt>
                <c:pt idx="483">
                  <c:v>0.88400000000000001</c:v>
                </c:pt>
                <c:pt idx="484">
                  <c:v>0.28199999999999997</c:v>
                </c:pt>
                <c:pt idx="485">
                  <c:v>0.59099999999999997</c:v>
                </c:pt>
                <c:pt idx="486">
                  <c:v>0.65600000000000003</c:v>
                </c:pt>
                <c:pt idx="487">
                  <c:v>0.67400000000000004</c:v>
                </c:pt>
                <c:pt idx="488">
                  <c:v>0.81499999999999995</c:v>
                </c:pt>
                <c:pt idx="489">
                  <c:v>0.93500000000000005</c:v>
                </c:pt>
                <c:pt idx="490">
                  <c:v>0.73299999999999998</c:v>
                </c:pt>
                <c:pt idx="491">
                  <c:v>0.83499999999999996</c:v>
                </c:pt>
                <c:pt idx="492">
                  <c:v>0.752</c:v>
                </c:pt>
                <c:pt idx="493">
                  <c:v>0.94799999999999995</c:v>
                </c:pt>
                <c:pt idx="494">
                  <c:v>0.61099999999999999</c:v>
                </c:pt>
                <c:pt idx="495">
                  <c:v>0.64400000000000002</c:v>
                </c:pt>
                <c:pt idx="496">
                  <c:v>0.68600000000000005</c:v>
                </c:pt>
                <c:pt idx="497">
                  <c:v>0.75700000000000001</c:v>
                </c:pt>
                <c:pt idx="498">
                  <c:v>0.90500000000000003</c:v>
                </c:pt>
                <c:pt idx="499">
                  <c:v>0.97</c:v>
                </c:pt>
                <c:pt idx="500">
                  <c:v>0.625</c:v>
                </c:pt>
                <c:pt idx="501">
                  <c:v>0.89700000000000002</c:v>
                </c:pt>
                <c:pt idx="502">
                  <c:v>0.92300000000000004</c:v>
                </c:pt>
                <c:pt idx="503">
                  <c:v>0.90300000000000002</c:v>
                </c:pt>
                <c:pt idx="504">
                  <c:v>0.91400000000000003</c:v>
                </c:pt>
                <c:pt idx="505">
                  <c:v>0.90400000000000003</c:v>
                </c:pt>
                <c:pt idx="506">
                  <c:v>0.91700000000000004</c:v>
                </c:pt>
                <c:pt idx="507">
                  <c:v>0.92700000000000005</c:v>
                </c:pt>
                <c:pt idx="508">
                  <c:v>0.92800000000000005</c:v>
                </c:pt>
                <c:pt idx="509">
                  <c:v>0.95899999999999996</c:v>
                </c:pt>
                <c:pt idx="510">
                  <c:v>0.88200000000000001</c:v>
                </c:pt>
                <c:pt idx="511">
                  <c:v>0.38200000000000001</c:v>
                </c:pt>
                <c:pt idx="512">
                  <c:v>0.88400000000000001</c:v>
                </c:pt>
                <c:pt idx="513">
                  <c:v>0.92100000000000004</c:v>
                </c:pt>
                <c:pt idx="514">
                  <c:v>0.92900000000000005</c:v>
                </c:pt>
                <c:pt idx="515">
                  <c:v>0.60899999999999999</c:v>
                </c:pt>
                <c:pt idx="516">
                  <c:v>0.32300000000000001</c:v>
                </c:pt>
                <c:pt idx="517">
                  <c:v>0.83899999999999997</c:v>
                </c:pt>
                <c:pt idx="518">
                  <c:v>0.91300000000000003</c:v>
                </c:pt>
                <c:pt idx="519">
                  <c:v>0.84599999999999997</c:v>
                </c:pt>
                <c:pt idx="520">
                  <c:v>0.95099999999999996</c:v>
                </c:pt>
                <c:pt idx="521">
                  <c:v>0.96</c:v>
                </c:pt>
                <c:pt idx="522">
                  <c:v>0</c:v>
                </c:pt>
                <c:pt idx="523">
                  <c:v>0.9</c:v>
                </c:pt>
                <c:pt idx="524">
                  <c:v>0.879</c:v>
                </c:pt>
                <c:pt idx="525">
                  <c:v>0.61499999999999999</c:v>
                </c:pt>
                <c:pt idx="526">
                  <c:v>0.81899999999999995</c:v>
                </c:pt>
                <c:pt idx="527">
                  <c:v>0.85</c:v>
                </c:pt>
                <c:pt idx="528">
                  <c:v>0.88400000000000001</c:v>
                </c:pt>
                <c:pt idx="529">
                  <c:v>0.89</c:v>
                </c:pt>
                <c:pt idx="530">
                  <c:v>0.92300000000000004</c:v>
                </c:pt>
                <c:pt idx="531">
                  <c:v>0.92900000000000005</c:v>
                </c:pt>
                <c:pt idx="532">
                  <c:v>0.503</c:v>
                </c:pt>
                <c:pt idx="533">
                  <c:v>0.86299999999999999</c:v>
                </c:pt>
                <c:pt idx="534">
                  <c:v>0.93400000000000005</c:v>
                </c:pt>
                <c:pt idx="535">
                  <c:v>0.73399999999999999</c:v>
                </c:pt>
                <c:pt idx="536">
                  <c:v>0.89900000000000002</c:v>
                </c:pt>
                <c:pt idx="537">
                  <c:v>0.91300000000000003</c:v>
                </c:pt>
                <c:pt idx="538">
                  <c:v>0.52200000000000002</c:v>
                </c:pt>
                <c:pt idx="539">
                  <c:v>0.73199999999999998</c:v>
                </c:pt>
                <c:pt idx="540">
                  <c:v>0.86</c:v>
                </c:pt>
                <c:pt idx="541">
                  <c:v>0.48</c:v>
                </c:pt>
                <c:pt idx="542">
                  <c:v>0.90800000000000003</c:v>
                </c:pt>
                <c:pt idx="543">
                  <c:v>0.94799999999999995</c:v>
                </c:pt>
                <c:pt idx="544">
                  <c:v>0.26900000000000002</c:v>
                </c:pt>
                <c:pt idx="545">
                  <c:v>0.81</c:v>
                </c:pt>
                <c:pt idx="546">
                  <c:v>0.95</c:v>
                </c:pt>
                <c:pt idx="547">
                  <c:v>0.91600000000000004</c:v>
                </c:pt>
                <c:pt idx="548">
                  <c:v>0.52900000000000003</c:v>
                </c:pt>
                <c:pt idx="549">
                  <c:v>0.54</c:v>
                </c:pt>
                <c:pt idx="550">
                  <c:v>0.57899999999999996</c:v>
                </c:pt>
                <c:pt idx="551">
                  <c:v>0.74099999999999999</c:v>
                </c:pt>
                <c:pt idx="552">
                  <c:v>0.92200000000000004</c:v>
                </c:pt>
                <c:pt idx="553">
                  <c:v>0.72499999999999998</c:v>
                </c:pt>
                <c:pt idx="554">
                  <c:v>0.48499999999999999</c:v>
                </c:pt>
                <c:pt idx="555">
                  <c:v>0.188</c:v>
                </c:pt>
                <c:pt idx="556">
                  <c:v>0.86699999999999999</c:v>
                </c:pt>
                <c:pt idx="557">
                  <c:v>0.76500000000000001</c:v>
                </c:pt>
                <c:pt idx="558">
                  <c:v>0.54500000000000004</c:v>
                </c:pt>
                <c:pt idx="559">
                  <c:v>0.86199999999999999</c:v>
                </c:pt>
                <c:pt idx="560">
                  <c:v>0.94599999999999995</c:v>
                </c:pt>
                <c:pt idx="561">
                  <c:v>0.90900000000000003</c:v>
                </c:pt>
                <c:pt idx="562">
                  <c:v>0.61</c:v>
                </c:pt>
                <c:pt idx="563">
                  <c:v>0.86799999999999999</c:v>
                </c:pt>
                <c:pt idx="564">
                  <c:v>0.91100000000000003</c:v>
                </c:pt>
                <c:pt idx="565">
                  <c:v>0.33300000000000002</c:v>
                </c:pt>
                <c:pt idx="566">
                  <c:v>0.82199999999999995</c:v>
                </c:pt>
                <c:pt idx="567">
                  <c:v>0.92600000000000005</c:v>
                </c:pt>
                <c:pt idx="568">
                  <c:v>0.93600000000000005</c:v>
                </c:pt>
                <c:pt idx="569">
                  <c:v>0.95099999999999996</c:v>
                </c:pt>
                <c:pt idx="570">
                  <c:v>0.84</c:v>
                </c:pt>
                <c:pt idx="571">
                  <c:v>0.82599999999999996</c:v>
                </c:pt>
                <c:pt idx="572">
                  <c:v>0.71</c:v>
                </c:pt>
                <c:pt idx="573">
                  <c:v>0.52600000000000002</c:v>
                </c:pt>
                <c:pt idx="574">
                  <c:v>0.77</c:v>
                </c:pt>
                <c:pt idx="575">
                  <c:v>0.88200000000000001</c:v>
                </c:pt>
                <c:pt idx="576">
                  <c:v>0.113</c:v>
                </c:pt>
                <c:pt idx="577">
                  <c:v>0.95299999999999996</c:v>
                </c:pt>
                <c:pt idx="578">
                  <c:v>0.877</c:v>
                </c:pt>
                <c:pt idx="579">
                  <c:v>0.79300000000000004</c:v>
                </c:pt>
                <c:pt idx="580">
                  <c:v>0.68300000000000005</c:v>
                </c:pt>
                <c:pt idx="581">
                  <c:v>0.71099999999999997</c:v>
                </c:pt>
                <c:pt idx="582">
                  <c:v>0.84499999999999997</c:v>
                </c:pt>
                <c:pt idx="583">
                  <c:v>0.93</c:v>
                </c:pt>
                <c:pt idx="584">
                  <c:v>0.91900000000000004</c:v>
                </c:pt>
                <c:pt idx="585">
                  <c:v>0.77</c:v>
                </c:pt>
                <c:pt idx="586">
                  <c:v>0.83499999999999996</c:v>
                </c:pt>
                <c:pt idx="587">
                  <c:v>0.875</c:v>
                </c:pt>
                <c:pt idx="588">
                  <c:v>0.91</c:v>
                </c:pt>
                <c:pt idx="589">
                  <c:v>0.90800000000000003</c:v>
                </c:pt>
                <c:pt idx="590">
                  <c:v>0.88800000000000001</c:v>
                </c:pt>
                <c:pt idx="591">
                  <c:v>0.89400000000000002</c:v>
                </c:pt>
                <c:pt idx="592">
                  <c:v>0.92900000000000005</c:v>
                </c:pt>
                <c:pt idx="593">
                  <c:v>0.72</c:v>
                </c:pt>
                <c:pt idx="594">
                  <c:v>0.88800000000000001</c:v>
                </c:pt>
                <c:pt idx="595">
                  <c:v>0.877</c:v>
                </c:pt>
                <c:pt idx="596">
                  <c:v>0.94599999999999995</c:v>
                </c:pt>
                <c:pt idx="597">
                  <c:v>0.86699999999999999</c:v>
                </c:pt>
                <c:pt idx="598">
                  <c:v>0.89</c:v>
                </c:pt>
                <c:pt idx="599">
                  <c:v>0.90100000000000002</c:v>
                </c:pt>
                <c:pt idx="600">
                  <c:v>0.91500000000000004</c:v>
                </c:pt>
                <c:pt idx="601">
                  <c:v>0.97099999999999997</c:v>
                </c:pt>
                <c:pt idx="602">
                  <c:v>0.86299999999999999</c:v>
                </c:pt>
                <c:pt idx="603">
                  <c:v>0.94</c:v>
                </c:pt>
                <c:pt idx="604">
                  <c:v>0.82899999999999996</c:v>
                </c:pt>
                <c:pt idx="605">
                  <c:v>0.71699999999999997</c:v>
                </c:pt>
                <c:pt idx="606">
                  <c:v>0.76600000000000001</c:v>
                </c:pt>
                <c:pt idx="607">
                  <c:v>0.875</c:v>
                </c:pt>
                <c:pt idx="608">
                  <c:v>0.91300000000000003</c:v>
                </c:pt>
                <c:pt idx="609">
                  <c:v>0.68500000000000005</c:v>
                </c:pt>
                <c:pt idx="610">
                  <c:v>0.877</c:v>
                </c:pt>
                <c:pt idx="611">
                  <c:v>0.91400000000000003</c:v>
                </c:pt>
                <c:pt idx="612">
                  <c:v>0.92</c:v>
                </c:pt>
                <c:pt idx="613">
                  <c:v>0.80400000000000005</c:v>
                </c:pt>
                <c:pt idx="614">
                  <c:v>0.873</c:v>
                </c:pt>
                <c:pt idx="615">
                  <c:v>0.41699999999999998</c:v>
                </c:pt>
                <c:pt idx="616">
                  <c:v>0.56899999999999995</c:v>
                </c:pt>
                <c:pt idx="617">
                  <c:v>0.92200000000000004</c:v>
                </c:pt>
                <c:pt idx="618">
                  <c:v>0.80300000000000005</c:v>
                </c:pt>
                <c:pt idx="619">
                  <c:v>0.80100000000000005</c:v>
                </c:pt>
                <c:pt idx="620">
                  <c:v>0.36</c:v>
                </c:pt>
                <c:pt idx="621">
                  <c:v>0.96299999999999997</c:v>
                </c:pt>
                <c:pt idx="622">
                  <c:v>0.58099999999999996</c:v>
                </c:pt>
                <c:pt idx="623">
                  <c:v>0.68799999999999994</c:v>
                </c:pt>
                <c:pt idx="624">
                  <c:v>0.95099999999999996</c:v>
                </c:pt>
                <c:pt idx="625">
                  <c:v>0.72299999999999998</c:v>
                </c:pt>
                <c:pt idx="626">
                  <c:v>0.376</c:v>
                </c:pt>
                <c:pt idx="627">
                  <c:v>0.91200000000000003</c:v>
                </c:pt>
                <c:pt idx="628">
                  <c:v>0.92100000000000004</c:v>
                </c:pt>
                <c:pt idx="629">
                  <c:v>0.93300000000000005</c:v>
                </c:pt>
                <c:pt idx="630">
                  <c:v>0.85099999999999998</c:v>
                </c:pt>
                <c:pt idx="631">
                  <c:v>0.95299999999999996</c:v>
                </c:pt>
                <c:pt idx="632">
                  <c:v>0.40400000000000003</c:v>
                </c:pt>
                <c:pt idx="633">
                  <c:v>0.86699999999999999</c:v>
                </c:pt>
                <c:pt idx="634">
                  <c:v>0.94399999999999995</c:v>
                </c:pt>
                <c:pt idx="635">
                  <c:v>0.96199999999999997</c:v>
                </c:pt>
                <c:pt idx="636">
                  <c:v>0.95299999999999996</c:v>
                </c:pt>
                <c:pt idx="637">
                  <c:v>0.89200000000000002</c:v>
                </c:pt>
                <c:pt idx="638">
                  <c:v>0.93300000000000005</c:v>
                </c:pt>
                <c:pt idx="639">
                  <c:v>0.94599999999999995</c:v>
                </c:pt>
                <c:pt idx="640">
                  <c:v>0.95099999999999996</c:v>
                </c:pt>
                <c:pt idx="641">
                  <c:v>0.93300000000000005</c:v>
                </c:pt>
                <c:pt idx="642">
                  <c:v>0.66700000000000004</c:v>
                </c:pt>
                <c:pt idx="643">
                  <c:v>0.90700000000000003</c:v>
                </c:pt>
                <c:pt idx="644">
                  <c:v>0.91700000000000004</c:v>
                </c:pt>
                <c:pt idx="645">
                  <c:v>0.91800000000000004</c:v>
                </c:pt>
                <c:pt idx="646">
                  <c:v>0.95899999999999996</c:v>
                </c:pt>
                <c:pt idx="647">
                  <c:v>0.57999999999999996</c:v>
                </c:pt>
                <c:pt idx="648">
                  <c:v>0.86099999999999999</c:v>
                </c:pt>
                <c:pt idx="649">
                  <c:v>0.86399999999999999</c:v>
                </c:pt>
                <c:pt idx="650">
                  <c:v>0.84099999999999997</c:v>
                </c:pt>
                <c:pt idx="651">
                  <c:v>0.91700000000000004</c:v>
                </c:pt>
                <c:pt idx="652">
                  <c:v>0.72599999999999998</c:v>
                </c:pt>
                <c:pt idx="653">
                  <c:v>0.91100000000000003</c:v>
                </c:pt>
                <c:pt idx="654">
                  <c:v>0.82899999999999996</c:v>
                </c:pt>
                <c:pt idx="655">
                  <c:v>0.68799999999999994</c:v>
                </c:pt>
                <c:pt idx="656">
                  <c:v>0.84899999999999998</c:v>
                </c:pt>
                <c:pt idx="657">
                  <c:v>0.84199999999999997</c:v>
                </c:pt>
                <c:pt idx="658">
                  <c:v>0.95599999999999996</c:v>
                </c:pt>
                <c:pt idx="659">
                  <c:v>0.90900000000000003</c:v>
                </c:pt>
                <c:pt idx="660">
                  <c:v>0.83499999999999996</c:v>
                </c:pt>
                <c:pt idx="661">
                  <c:v>0.90400000000000003</c:v>
                </c:pt>
                <c:pt idx="662">
                  <c:v>0.91600000000000004</c:v>
                </c:pt>
                <c:pt idx="663">
                  <c:v>0.76300000000000001</c:v>
                </c:pt>
                <c:pt idx="664">
                  <c:v>0.5</c:v>
                </c:pt>
                <c:pt idx="665">
                  <c:v>0.54</c:v>
                </c:pt>
                <c:pt idx="666">
                  <c:v>0.61499999999999999</c:v>
                </c:pt>
                <c:pt idx="667">
                  <c:v>0.70599999999999996</c:v>
                </c:pt>
                <c:pt idx="668">
                  <c:v>0.70599999999999996</c:v>
                </c:pt>
                <c:pt idx="669">
                  <c:v>0.71199999999999997</c:v>
                </c:pt>
                <c:pt idx="670">
                  <c:v>0.75800000000000001</c:v>
                </c:pt>
                <c:pt idx="671">
                  <c:v>0.78700000000000003</c:v>
                </c:pt>
                <c:pt idx="672">
                  <c:v>0.83899999999999997</c:v>
                </c:pt>
                <c:pt idx="673">
                  <c:v>0.84499999999999997</c:v>
                </c:pt>
                <c:pt idx="674">
                  <c:v>0.86</c:v>
                </c:pt>
                <c:pt idx="675">
                  <c:v>0.876</c:v>
                </c:pt>
                <c:pt idx="676">
                  <c:v>0.88800000000000001</c:v>
                </c:pt>
                <c:pt idx="677">
                  <c:v>0.89100000000000001</c:v>
                </c:pt>
                <c:pt idx="678">
                  <c:v>0.90900000000000003</c:v>
                </c:pt>
                <c:pt idx="679">
                  <c:v>0.92300000000000004</c:v>
                </c:pt>
                <c:pt idx="680">
                  <c:v>0.92800000000000005</c:v>
                </c:pt>
                <c:pt idx="681">
                  <c:v>0.93100000000000005</c:v>
                </c:pt>
                <c:pt idx="682">
                  <c:v>0.93300000000000005</c:v>
                </c:pt>
                <c:pt idx="683">
                  <c:v>0.93899999999999995</c:v>
                </c:pt>
                <c:pt idx="684">
                  <c:v>0.94</c:v>
                </c:pt>
                <c:pt idx="685">
                  <c:v>0.95399999999999996</c:v>
                </c:pt>
                <c:pt idx="686">
                  <c:v>0.96</c:v>
                </c:pt>
                <c:pt idx="687">
                  <c:v>0.97299999999999998</c:v>
                </c:pt>
                <c:pt idx="688">
                  <c:v>0.56399999999999995</c:v>
                </c:pt>
                <c:pt idx="689">
                  <c:v>0.84099999999999997</c:v>
                </c:pt>
                <c:pt idx="690">
                  <c:v>0.82</c:v>
                </c:pt>
                <c:pt idx="691">
                  <c:v>0.96299999999999997</c:v>
                </c:pt>
                <c:pt idx="692">
                  <c:v>0.91800000000000004</c:v>
                </c:pt>
                <c:pt idx="693">
                  <c:v>0.88300000000000001</c:v>
                </c:pt>
                <c:pt idx="694">
                  <c:v>0.73799999999999999</c:v>
                </c:pt>
                <c:pt idx="695">
                  <c:v>0.79300000000000004</c:v>
                </c:pt>
                <c:pt idx="696">
                  <c:v>0.94</c:v>
                </c:pt>
                <c:pt idx="697">
                  <c:v>0.94399999999999995</c:v>
                </c:pt>
                <c:pt idx="698">
                  <c:v>0.86199999999999999</c:v>
                </c:pt>
                <c:pt idx="699">
                  <c:v>0.88</c:v>
                </c:pt>
                <c:pt idx="700">
                  <c:v>0.83899999999999997</c:v>
                </c:pt>
                <c:pt idx="701">
                  <c:v>0.89900000000000002</c:v>
                </c:pt>
                <c:pt idx="702">
                  <c:v>0.32100000000000001</c:v>
                </c:pt>
                <c:pt idx="703">
                  <c:v>0.94199999999999995</c:v>
                </c:pt>
                <c:pt idx="704">
                  <c:v>0.84399999999999997</c:v>
                </c:pt>
                <c:pt idx="705">
                  <c:v>0.68300000000000005</c:v>
                </c:pt>
                <c:pt idx="706">
                  <c:v>0.879</c:v>
                </c:pt>
                <c:pt idx="707">
                  <c:v>0.86199999999999999</c:v>
                </c:pt>
                <c:pt idx="708">
                  <c:v>0.92</c:v>
                </c:pt>
                <c:pt idx="709">
                  <c:v>0.91800000000000004</c:v>
                </c:pt>
                <c:pt idx="710">
                  <c:v>0.76900000000000002</c:v>
                </c:pt>
                <c:pt idx="711">
                  <c:v>0.83499999999999996</c:v>
                </c:pt>
                <c:pt idx="712">
                  <c:v>0.75900000000000001</c:v>
                </c:pt>
                <c:pt idx="713">
                  <c:v>0.90900000000000003</c:v>
                </c:pt>
                <c:pt idx="714">
                  <c:v>0.57099999999999995</c:v>
                </c:pt>
                <c:pt idx="715">
                  <c:v>0.85399999999999998</c:v>
                </c:pt>
                <c:pt idx="716">
                  <c:v>0.91100000000000003</c:v>
                </c:pt>
                <c:pt idx="717">
                  <c:v>0.79</c:v>
                </c:pt>
                <c:pt idx="718">
                  <c:v>0.83</c:v>
                </c:pt>
                <c:pt idx="719">
                  <c:v>0.94199999999999995</c:v>
                </c:pt>
                <c:pt idx="720">
                  <c:v>0.76200000000000001</c:v>
                </c:pt>
                <c:pt idx="721">
                  <c:v>0.89300000000000002</c:v>
                </c:pt>
                <c:pt idx="722">
                  <c:v>0.94399999999999995</c:v>
                </c:pt>
                <c:pt idx="723">
                  <c:v>0.63900000000000001</c:v>
                </c:pt>
                <c:pt idx="724">
                  <c:v>0.56499999999999995</c:v>
                </c:pt>
                <c:pt idx="725">
                  <c:v>0.92600000000000005</c:v>
                </c:pt>
                <c:pt idx="726">
                  <c:v>0.92800000000000005</c:v>
                </c:pt>
                <c:pt idx="727">
                  <c:v>0.84199999999999997</c:v>
                </c:pt>
                <c:pt idx="728">
                  <c:v>0.79100000000000004</c:v>
                </c:pt>
                <c:pt idx="729">
                  <c:v>0.94799999999999995</c:v>
                </c:pt>
                <c:pt idx="730">
                  <c:v>0.879</c:v>
                </c:pt>
                <c:pt idx="731">
                  <c:v>0.97599999999999998</c:v>
                </c:pt>
                <c:pt idx="732">
                  <c:v>0.66200000000000003</c:v>
                </c:pt>
                <c:pt idx="733">
                  <c:v>0.85599999999999998</c:v>
                </c:pt>
                <c:pt idx="734">
                  <c:v>0.84</c:v>
                </c:pt>
                <c:pt idx="735">
                  <c:v>0.89100000000000001</c:v>
                </c:pt>
                <c:pt idx="736">
                  <c:v>0.26900000000000002</c:v>
                </c:pt>
                <c:pt idx="737">
                  <c:v>0.88800000000000001</c:v>
                </c:pt>
                <c:pt idx="738">
                  <c:v>0.90700000000000003</c:v>
                </c:pt>
                <c:pt idx="739">
                  <c:v>0.83399999999999996</c:v>
                </c:pt>
                <c:pt idx="740">
                  <c:v>0.879</c:v>
                </c:pt>
                <c:pt idx="741">
                  <c:v>0.65</c:v>
                </c:pt>
                <c:pt idx="742">
                  <c:v>0.96099999999999997</c:v>
                </c:pt>
                <c:pt idx="743">
                  <c:v>0.54800000000000004</c:v>
                </c:pt>
                <c:pt idx="744">
                  <c:v>0.91</c:v>
                </c:pt>
                <c:pt idx="745">
                  <c:v>0.93</c:v>
                </c:pt>
                <c:pt idx="746">
                  <c:v>0.88400000000000001</c:v>
                </c:pt>
                <c:pt idx="747">
                  <c:v>0.93300000000000005</c:v>
                </c:pt>
                <c:pt idx="748">
                  <c:v>0.77</c:v>
                </c:pt>
                <c:pt idx="749">
                  <c:v>0.79400000000000004</c:v>
                </c:pt>
                <c:pt idx="750">
                  <c:v>0.73599999999999999</c:v>
                </c:pt>
                <c:pt idx="751">
                  <c:v>0.93</c:v>
                </c:pt>
                <c:pt idx="752">
                  <c:v>0.81599999999999995</c:v>
                </c:pt>
                <c:pt idx="753">
                  <c:v>0.36399999999999999</c:v>
                </c:pt>
                <c:pt idx="754">
                  <c:v>0.89400000000000002</c:v>
                </c:pt>
                <c:pt idx="755">
                  <c:v>0.92100000000000004</c:v>
                </c:pt>
                <c:pt idx="756">
                  <c:v>0.85199999999999998</c:v>
                </c:pt>
                <c:pt idx="757">
                  <c:v>0.59699999999999998</c:v>
                </c:pt>
                <c:pt idx="758">
                  <c:v>0.47399999999999998</c:v>
                </c:pt>
                <c:pt idx="759">
                  <c:v>0.53100000000000003</c:v>
                </c:pt>
                <c:pt idx="760">
                  <c:v>0.71599999999999997</c:v>
                </c:pt>
                <c:pt idx="761">
                  <c:v>0.85399999999999998</c:v>
                </c:pt>
                <c:pt idx="762">
                  <c:v>0.91200000000000003</c:v>
                </c:pt>
                <c:pt idx="763">
                  <c:v>0.88100000000000001</c:v>
                </c:pt>
                <c:pt idx="764">
                  <c:v>0.93100000000000005</c:v>
                </c:pt>
                <c:pt idx="765">
                  <c:v>0.66800000000000004</c:v>
                </c:pt>
                <c:pt idx="766">
                  <c:v>0.80400000000000005</c:v>
                </c:pt>
                <c:pt idx="767">
                  <c:v>0.80600000000000005</c:v>
                </c:pt>
                <c:pt idx="768">
                  <c:v>0.90600000000000003</c:v>
                </c:pt>
                <c:pt idx="769">
                  <c:v>0.92800000000000005</c:v>
                </c:pt>
                <c:pt idx="770">
                  <c:v>0.81399999999999995</c:v>
                </c:pt>
                <c:pt idx="771">
                  <c:v>0.76100000000000001</c:v>
                </c:pt>
                <c:pt idx="772">
                  <c:v>0.91</c:v>
                </c:pt>
                <c:pt idx="773">
                  <c:v>0.311</c:v>
                </c:pt>
                <c:pt idx="774">
                  <c:v>0.96299999999999997</c:v>
                </c:pt>
                <c:pt idx="775">
                  <c:v>0.55200000000000005</c:v>
                </c:pt>
                <c:pt idx="776">
                  <c:v>0.61799999999999999</c:v>
                </c:pt>
                <c:pt idx="777">
                  <c:v>0.86199999999999999</c:v>
                </c:pt>
                <c:pt idx="778">
                  <c:v>0.93100000000000005</c:v>
                </c:pt>
                <c:pt idx="779">
                  <c:v>0.83799999999999997</c:v>
                </c:pt>
                <c:pt idx="780">
                  <c:v>0.92400000000000004</c:v>
                </c:pt>
                <c:pt idx="781">
                  <c:v>0.874</c:v>
                </c:pt>
                <c:pt idx="782">
                  <c:v>0.89700000000000002</c:v>
                </c:pt>
                <c:pt idx="783">
                  <c:v>0.65400000000000003</c:v>
                </c:pt>
                <c:pt idx="784">
                  <c:v>0.78200000000000003</c:v>
                </c:pt>
                <c:pt idx="785">
                  <c:v>0.93200000000000005</c:v>
                </c:pt>
                <c:pt idx="786">
                  <c:v>0.85399999999999998</c:v>
                </c:pt>
                <c:pt idx="787">
                  <c:v>0.93200000000000005</c:v>
                </c:pt>
                <c:pt idx="788">
                  <c:v>0.90700000000000003</c:v>
                </c:pt>
                <c:pt idx="789">
                  <c:v>0.96</c:v>
                </c:pt>
                <c:pt idx="790">
                  <c:v>0.73199999999999998</c:v>
                </c:pt>
                <c:pt idx="791">
                  <c:v>0.434</c:v>
                </c:pt>
                <c:pt idx="792">
                  <c:v>0.89700000000000002</c:v>
                </c:pt>
                <c:pt idx="793">
                  <c:v>0.96699999999999997</c:v>
                </c:pt>
                <c:pt idx="794">
                  <c:v>0.91</c:v>
                </c:pt>
                <c:pt idx="795">
                  <c:v>0.85499999999999998</c:v>
                </c:pt>
                <c:pt idx="796">
                  <c:v>0.83499999999999996</c:v>
                </c:pt>
                <c:pt idx="797">
                  <c:v>0.95099999999999996</c:v>
                </c:pt>
                <c:pt idx="798">
                  <c:v>0.58099999999999996</c:v>
                </c:pt>
                <c:pt idx="799">
                  <c:v>0.91300000000000003</c:v>
                </c:pt>
                <c:pt idx="800">
                  <c:v>0.92900000000000005</c:v>
                </c:pt>
                <c:pt idx="801">
                  <c:v>0.93100000000000005</c:v>
                </c:pt>
                <c:pt idx="802">
                  <c:v>0.77900000000000003</c:v>
                </c:pt>
                <c:pt idx="803">
                  <c:v>0.32400000000000001</c:v>
                </c:pt>
                <c:pt idx="804">
                  <c:v>0.74199999999999999</c:v>
                </c:pt>
                <c:pt idx="805">
                  <c:v>0.35299999999999998</c:v>
                </c:pt>
                <c:pt idx="806">
                  <c:v>0.89700000000000002</c:v>
                </c:pt>
                <c:pt idx="807">
                  <c:v>0.91300000000000003</c:v>
                </c:pt>
                <c:pt idx="808">
                  <c:v>0.91900000000000004</c:v>
                </c:pt>
                <c:pt idx="809">
                  <c:v>0.95599999999999996</c:v>
                </c:pt>
                <c:pt idx="810">
                  <c:v>0.43</c:v>
                </c:pt>
                <c:pt idx="811">
                  <c:v>0.66600000000000004</c:v>
                </c:pt>
                <c:pt idx="812">
                  <c:v>0.91100000000000003</c:v>
                </c:pt>
                <c:pt idx="813">
                  <c:v>0.51900000000000002</c:v>
                </c:pt>
                <c:pt idx="814">
                  <c:v>0.91700000000000004</c:v>
                </c:pt>
                <c:pt idx="815">
                  <c:v>0.97899999999999998</c:v>
                </c:pt>
                <c:pt idx="816">
                  <c:v>0.60199999999999998</c:v>
                </c:pt>
                <c:pt idx="817">
                  <c:v>0.71499999999999997</c:v>
                </c:pt>
                <c:pt idx="818">
                  <c:v>0.85799999999999998</c:v>
                </c:pt>
                <c:pt idx="819">
                  <c:v>0.61</c:v>
                </c:pt>
                <c:pt idx="820">
                  <c:v>0.84099999999999997</c:v>
                </c:pt>
                <c:pt idx="821">
                  <c:v>0.85799999999999998</c:v>
                </c:pt>
                <c:pt idx="822">
                  <c:v>0.86599999999999999</c:v>
                </c:pt>
                <c:pt idx="823">
                  <c:v>0.86599999999999999</c:v>
                </c:pt>
                <c:pt idx="824">
                  <c:v>0.872</c:v>
                </c:pt>
                <c:pt idx="825">
                  <c:v>0.88700000000000001</c:v>
                </c:pt>
                <c:pt idx="826">
                  <c:v>0.94399999999999995</c:v>
                </c:pt>
                <c:pt idx="827">
                  <c:v>0.89900000000000002</c:v>
                </c:pt>
                <c:pt idx="828">
                  <c:v>0.78900000000000003</c:v>
                </c:pt>
                <c:pt idx="829">
                  <c:v>0.84399999999999997</c:v>
                </c:pt>
                <c:pt idx="830">
                  <c:v>0.85099999999999998</c:v>
                </c:pt>
                <c:pt idx="831">
                  <c:v>0.90900000000000003</c:v>
                </c:pt>
                <c:pt idx="832">
                  <c:v>0.94199999999999995</c:v>
                </c:pt>
                <c:pt idx="833">
                  <c:v>0.86299999999999999</c:v>
                </c:pt>
                <c:pt idx="834">
                  <c:v>0.94199999999999995</c:v>
                </c:pt>
                <c:pt idx="835">
                  <c:v>0.872</c:v>
                </c:pt>
                <c:pt idx="836">
                  <c:v>0.94</c:v>
                </c:pt>
                <c:pt idx="837">
                  <c:v>0.49299999999999999</c:v>
                </c:pt>
                <c:pt idx="838">
                  <c:v>0.57799999999999996</c:v>
                </c:pt>
                <c:pt idx="839">
                  <c:v>0.92600000000000005</c:v>
                </c:pt>
                <c:pt idx="840">
                  <c:v>0.93500000000000005</c:v>
                </c:pt>
                <c:pt idx="841">
                  <c:v>0.97599999999999998</c:v>
                </c:pt>
                <c:pt idx="842">
                  <c:v>0.77500000000000002</c:v>
                </c:pt>
                <c:pt idx="843">
                  <c:v>0.94399999999999995</c:v>
                </c:pt>
                <c:pt idx="844">
                  <c:v>0.94699999999999995</c:v>
                </c:pt>
                <c:pt idx="845">
                  <c:v>0.81</c:v>
                </c:pt>
                <c:pt idx="846">
                  <c:v>0.59499999999999997</c:v>
                </c:pt>
                <c:pt idx="847">
                  <c:v>0.88200000000000001</c:v>
                </c:pt>
                <c:pt idx="848">
                  <c:v>0.877</c:v>
                </c:pt>
                <c:pt idx="849">
                  <c:v>0.59599999999999997</c:v>
                </c:pt>
                <c:pt idx="850">
                  <c:v>0.64800000000000002</c:v>
                </c:pt>
                <c:pt idx="851">
                  <c:v>0.81599999999999995</c:v>
                </c:pt>
                <c:pt idx="852">
                  <c:v>0.56200000000000006</c:v>
                </c:pt>
                <c:pt idx="853">
                  <c:v>0.8</c:v>
                </c:pt>
                <c:pt idx="854">
                  <c:v>0.83699999999999997</c:v>
                </c:pt>
                <c:pt idx="855">
                  <c:v>0.91300000000000003</c:v>
                </c:pt>
                <c:pt idx="856">
                  <c:v>0.93400000000000005</c:v>
                </c:pt>
                <c:pt idx="857">
                  <c:v>0.72399999999999998</c:v>
                </c:pt>
                <c:pt idx="858">
                  <c:v>0.91800000000000004</c:v>
                </c:pt>
                <c:pt idx="859">
                  <c:v>0.75600000000000001</c:v>
                </c:pt>
                <c:pt idx="860">
                  <c:v>0.67300000000000004</c:v>
                </c:pt>
                <c:pt idx="861">
                  <c:v>1.4999999999999999E-2</c:v>
                </c:pt>
                <c:pt idx="862">
                  <c:v>6.7000000000000004E-2</c:v>
                </c:pt>
                <c:pt idx="863">
                  <c:v>0.73799999999999999</c:v>
                </c:pt>
                <c:pt idx="864">
                  <c:v>0.82499999999999996</c:v>
                </c:pt>
                <c:pt idx="865">
                  <c:v>0.78600000000000003</c:v>
                </c:pt>
                <c:pt idx="866">
                  <c:v>0.95</c:v>
                </c:pt>
                <c:pt idx="867">
                  <c:v>0.67300000000000004</c:v>
                </c:pt>
                <c:pt idx="868">
                  <c:v>0.54900000000000004</c:v>
                </c:pt>
                <c:pt idx="869">
                  <c:v>0.72</c:v>
                </c:pt>
                <c:pt idx="870">
                  <c:v>0.73799999999999999</c:v>
                </c:pt>
                <c:pt idx="871">
                  <c:v>0.89</c:v>
                </c:pt>
                <c:pt idx="872">
                  <c:v>0.59799999999999998</c:v>
                </c:pt>
                <c:pt idx="873">
                  <c:v>0.84199999999999997</c:v>
                </c:pt>
                <c:pt idx="874">
                  <c:v>0.51</c:v>
                </c:pt>
                <c:pt idx="875">
                  <c:v>0.74299999999999999</c:v>
                </c:pt>
                <c:pt idx="876">
                  <c:v>0.84899999999999998</c:v>
                </c:pt>
                <c:pt idx="877">
                  <c:v>0.76</c:v>
                </c:pt>
                <c:pt idx="878">
                  <c:v>0.26500000000000001</c:v>
                </c:pt>
                <c:pt idx="879">
                  <c:v>0.75900000000000001</c:v>
                </c:pt>
                <c:pt idx="880">
                  <c:v>0.73899999999999999</c:v>
                </c:pt>
                <c:pt idx="881">
                  <c:v>0.86499999999999999</c:v>
                </c:pt>
                <c:pt idx="882">
                  <c:v>0.93799999999999994</c:v>
                </c:pt>
                <c:pt idx="883">
                  <c:v>0.70699999999999996</c:v>
                </c:pt>
                <c:pt idx="884">
                  <c:v>0.94399999999999995</c:v>
                </c:pt>
                <c:pt idx="885">
                  <c:v>0.96799999999999997</c:v>
                </c:pt>
                <c:pt idx="886">
                  <c:v>0.71899999999999997</c:v>
                </c:pt>
                <c:pt idx="887">
                  <c:v>0.73399999999999999</c:v>
                </c:pt>
                <c:pt idx="888">
                  <c:v>0.67</c:v>
                </c:pt>
                <c:pt idx="889">
                  <c:v>0.874</c:v>
                </c:pt>
                <c:pt idx="890">
                  <c:v>0.91600000000000004</c:v>
                </c:pt>
                <c:pt idx="891">
                  <c:v>0.92800000000000005</c:v>
                </c:pt>
                <c:pt idx="892">
                  <c:v>0.41599999999999998</c:v>
                </c:pt>
                <c:pt idx="893">
                  <c:v>0.74</c:v>
                </c:pt>
                <c:pt idx="894">
                  <c:v>0.86</c:v>
                </c:pt>
                <c:pt idx="895">
                  <c:v>0.93300000000000005</c:v>
                </c:pt>
                <c:pt idx="896">
                  <c:v>0.95699999999999996</c:v>
                </c:pt>
                <c:pt idx="897">
                  <c:v>0.76900000000000002</c:v>
                </c:pt>
                <c:pt idx="898">
                  <c:v>0.85899999999999999</c:v>
                </c:pt>
                <c:pt idx="899">
                  <c:v>0.89500000000000002</c:v>
                </c:pt>
                <c:pt idx="900">
                  <c:v>0.91300000000000003</c:v>
                </c:pt>
                <c:pt idx="901">
                  <c:v>0.93700000000000006</c:v>
                </c:pt>
                <c:pt idx="902">
                  <c:v>0.51200000000000001</c:v>
                </c:pt>
                <c:pt idx="903">
                  <c:v>0.59399999999999997</c:v>
                </c:pt>
                <c:pt idx="904">
                  <c:v>0.47399999999999998</c:v>
                </c:pt>
                <c:pt idx="905">
                  <c:v>0.52500000000000002</c:v>
                </c:pt>
                <c:pt idx="906">
                  <c:v>0.625</c:v>
                </c:pt>
                <c:pt idx="907">
                  <c:v>0.66100000000000003</c:v>
                </c:pt>
                <c:pt idx="908">
                  <c:v>0.70799999999999996</c:v>
                </c:pt>
                <c:pt idx="909">
                  <c:v>0.79100000000000004</c:v>
                </c:pt>
                <c:pt idx="910">
                  <c:v>0.83199999999999996</c:v>
                </c:pt>
                <c:pt idx="911">
                  <c:v>0.83499999999999996</c:v>
                </c:pt>
                <c:pt idx="912">
                  <c:v>0.84099999999999997</c:v>
                </c:pt>
                <c:pt idx="913">
                  <c:v>0.93700000000000006</c:v>
                </c:pt>
                <c:pt idx="914">
                  <c:v>0.503</c:v>
                </c:pt>
                <c:pt idx="915">
                  <c:v>0.57699999999999996</c:v>
                </c:pt>
                <c:pt idx="916">
                  <c:v>0.81299999999999994</c:v>
                </c:pt>
                <c:pt idx="917">
                  <c:v>0.59899999999999998</c:v>
                </c:pt>
                <c:pt idx="918">
                  <c:v>0.65500000000000003</c:v>
                </c:pt>
                <c:pt idx="919">
                  <c:v>0.81299999999999994</c:v>
                </c:pt>
                <c:pt idx="920">
                  <c:v>0.88500000000000001</c:v>
                </c:pt>
                <c:pt idx="921">
                  <c:v>0.65500000000000003</c:v>
                </c:pt>
                <c:pt idx="922">
                  <c:v>0.95899999999999996</c:v>
                </c:pt>
                <c:pt idx="923">
                  <c:v>0.72699999999999998</c:v>
                </c:pt>
                <c:pt idx="924">
                  <c:v>0.94399999999999995</c:v>
                </c:pt>
                <c:pt idx="925">
                  <c:v>0.75700000000000001</c:v>
                </c:pt>
                <c:pt idx="926">
                  <c:v>0.84</c:v>
                </c:pt>
                <c:pt idx="927">
                  <c:v>0.74099999999999999</c:v>
                </c:pt>
                <c:pt idx="928">
                  <c:v>0.68700000000000006</c:v>
                </c:pt>
                <c:pt idx="929">
                  <c:v>0.72899999999999998</c:v>
                </c:pt>
                <c:pt idx="930">
                  <c:v>0.78200000000000003</c:v>
                </c:pt>
                <c:pt idx="931">
                  <c:v>0.432</c:v>
                </c:pt>
                <c:pt idx="932">
                  <c:v>0.75800000000000001</c:v>
                </c:pt>
                <c:pt idx="933">
                  <c:v>0.878</c:v>
                </c:pt>
                <c:pt idx="934">
                  <c:v>0.91500000000000004</c:v>
                </c:pt>
                <c:pt idx="935">
                  <c:v>0.89300000000000002</c:v>
                </c:pt>
                <c:pt idx="936">
                  <c:v>0.65600000000000003</c:v>
                </c:pt>
                <c:pt idx="937">
                  <c:v>0.89600000000000002</c:v>
                </c:pt>
                <c:pt idx="938">
                  <c:v>0.89800000000000002</c:v>
                </c:pt>
                <c:pt idx="939">
                  <c:v>0.90400000000000003</c:v>
                </c:pt>
                <c:pt idx="940">
                  <c:v>0.8</c:v>
                </c:pt>
                <c:pt idx="941">
                  <c:v>0.375</c:v>
                </c:pt>
                <c:pt idx="942">
                  <c:v>0.85899999999999999</c:v>
                </c:pt>
                <c:pt idx="943">
                  <c:v>0.91</c:v>
                </c:pt>
                <c:pt idx="944">
                  <c:v>0.91600000000000004</c:v>
                </c:pt>
                <c:pt idx="945">
                  <c:v>0.93400000000000005</c:v>
                </c:pt>
                <c:pt idx="946">
                  <c:v>0.72899999999999998</c:v>
                </c:pt>
                <c:pt idx="947">
                  <c:v>0.69399999999999995</c:v>
                </c:pt>
                <c:pt idx="948">
                  <c:v>0.89100000000000001</c:v>
                </c:pt>
                <c:pt idx="949">
                  <c:v>0.84799999999999998</c:v>
                </c:pt>
                <c:pt idx="950">
                  <c:v>0.71299999999999997</c:v>
                </c:pt>
                <c:pt idx="951">
                  <c:v>0.83299999999999996</c:v>
                </c:pt>
                <c:pt idx="952">
                  <c:v>0.89</c:v>
                </c:pt>
                <c:pt idx="953">
                  <c:v>0.54100000000000004</c:v>
                </c:pt>
                <c:pt idx="954">
                  <c:v>0.61899999999999999</c:v>
                </c:pt>
                <c:pt idx="955">
                  <c:v>0.80600000000000005</c:v>
                </c:pt>
                <c:pt idx="956">
                  <c:v>0.96499999999999997</c:v>
                </c:pt>
                <c:pt idx="957">
                  <c:v>0.96599999999999997</c:v>
                </c:pt>
                <c:pt idx="958">
                  <c:v>0.83299999999999996</c:v>
                </c:pt>
                <c:pt idx="959">
                  <c:v>0.94599999999999995</c:v>
                </c:pt>
                <c:pt idx="960">
                  <c:v>0.47899999999999998</c:v>
                </c:pt>
                <c:pt idx="961">
                  <c:v>0.59599999999999997</c:v>
                </c:pt>
                <c:pt idx="962">
                  <c:v>0.82099999999999995</c:v>
                </c:pt>
                <c:pt idx="963">
                  <c:v>0.77500000000000002</c:v>
                </c:pt>
                <c:pt idx="964">
                  <c:v>0.94</c:v>
                </c:pt>
                <c:pt idx="965">
                  <c:v>0.91800000000000004</c:v>
                </c:pt>
                <c:pt idx="966">
                  <c:v>0.92300000000000004</c:v>
                </c:pt>
                <c:pt idx="967">
                  <c:v>0.85199999999999998</c:v>
                </c:pt>
                <c:pt idx="968">
                  <c:v>0.433</c:v>
                </c:pt>
                <c:pt idx="969">
                  <c:v>0.68300000000000005</c:v>
                </c:pt>
                <c:pt idx="970">
                  <c:v>0.60599999999999998</c:v>
                </c:pt>
                <c:pt idx="971">
                  <c:v>0.69099999999999995</c:v>
                </c:pt>
                <c:pt idx="972">
                  <c:v>0.36</c:v>
                </c:pt>
                <c:pt idx="973">
                  <c:v>0.56000000000000005</c:v>
                </c:pt>
                <c:pt idx="974">
                  <c:v>0.81200000000000006</c:v>
                </c:pt>
                <c:pt idx="975">
                  <c:v>0.83199999999999996</c:v>
                </c:pt>
                <c:pt idx="976">
                  <c:v>0.85</c:v>
                </c:pt>
                <c:pt idx="977">
                  <c:v>0.86399999999999999</c:v>
                </c:pt>
                <c:pt idx="978">
                  <c:v>0.86399999999999999</c:v>
                </c:pt>
                <c:pt idx="979">
                  <c:v>0.88600000000000001</c:v>
                </c:pt>
                <c:pt idx="980">
                  <c:v>0.91700000000000004</c:v>
                </c:pt>
                <c:pt idx="981">
                  <c:v>0.92300000000000004</c:v>
                </c:pt>
                <c:pt idx="982">
                  <c:v>0.92400000000000004</c:v>
                </c:pt>
                <c:pt idx="983">
                  <c:v>0.93100000000000005</c:v>
                </c:pt>
                <c:pt idx="984">
                  <c:v>0.95699999999999996</c:v>
                </c:pt>
                <c:pt idx="985">
                  <c:v>0.86599999999999999</c:v>
                </c:pt>
                <c:pt idx="986">
                  <c:v>0.78700000000000003</c:v>
                </c:pt>
                <c:pt idx="987">
                  <c:v>0.82599999999999996</c:v>
                </c:pt>
                <c:pt idx="988">
                  <c:v>0.875</c:v>
                </c:pt>
                <c:pt idx="989">
                  <c:v>0.48299999999999998</c:v>
                </c:pt>
                <c:pt idx="990">
                  <c:v>0.93799999999999994</c:v>
                </c:pt>
                <c:pt idx="991">
                  <c:v>0.871</c:v>
                </c:pt>
                <c:pt idx="992">
                  <c:v>0.94099999999999995</c:v>
                </c:pt>
                <c:pt idx="993">
                  <c:v>0.92200000000000004</c:v>
                </c:pt>
                <c:pt idx="994">
                  <c:v>0.91300000000000003</c:v>
                </c:pt>
                <c:pt idx="995">
                  <c:v>0.91600000000000004</c:v>
                </c:pt>
                <c:pt idx="996">
                  <c:v>0.71899999999999997</c:v>
                </c:pt>
                <c:pt idx="997">
                  <c:v>0.91800000000000004</c:v>
                </c:pt>
                <c:pt idx="998">
                  <c:v>0.98099999999999998</c:v>
                </c:pt>
                <c:pt idx="999">
                  <c:v>0.94099999999999995</c:v>
                </c:pt>
                <c:pt idx="1000">
                  <c:v>0.64800000000000002</c:v>
                </c:pt>
                <c:pt idx="1001">
                  <c:v>0.65200000000000002</c:v>
                </c:pt>
                <c:pt idx="1002">
                  <c:v>0.91200000000000003</c:v>
                </c:pt>
                <c:pt idx="1003">
                  <c:v>0.92500000000000004</c:v>
                </c:pt>
                <c:pt idx="1004">
                  <c:v>0.78300000000000003</c:v>
                </c:pt>
                <c:pt idx="1005">
                  <c:v>0.70899999999999996</c:v>
                </c:pt>
                <c:pt idx="1006">
                  <c:v>0.74199999999999999</c:v>
                </c:pt>
                <c:pt idx="1007">
                  <c:v>0.747</c:v>
                </c:pt>
                <c:pt idx="1008">
                  <c:v>0.70399999999999996</c:v>
                </c:pt>
                <c:pt idx="1009">
                  <c:v>0.90800000000000003</c:v>
                </c:pt>
                <c:pt idx="1010">
                  <c:v>0.42899999999999999</c:v>
                </c:pt>
                <c:pt idx="1011">
                  <c:v>0.52900000000000003</c:v>
                </c:pt>
                <c:pt idx="1012">
                  <c:v>0.59699999999999998</c:v>
                </c:pt>
                <c:pt idx="1013">
                  <c:v>0.79200000000000004</c:v>
                </c:pt>
                <c:pt idx="1014">
                  <c:v>0.83899999999999997</c:v>
                </c:pt>
                <c:pt idx="1015">
                  <c:v>0.86</c:v>
                </c:pt>
                <c:pt idx="1016">
                  <c:v>0.9</c:v>
                </c:pt>
                <c:pt idx="1017">
                  <c:v>0.92</c:v>
                </c:pt>
                <c:pt idx="1018">
                  <c:v>0.71199999999999997</c:v>
                </c:pt>
                <c:pt idx="1019">
                  <c:v>0.59</c:v>
                </c:pt>
                <c:pt idx="1020">
                  <c:v>0.93100000000000005</c:v>
                </c:pt>
                <c:pt idx="1021">
                  <c:v>0.85</c:v>
                </c:pt>
                <c:pt idx="1022">
                  <c:v>0.93100000000000005</c:v>
                </c:pt>
                <c:pt idx="1023">
                  <c:v>0.67900000000000005</c:v>
                </c:pt>
                <c:pt idx="1024">
                  <c:v>0.85699999999999998</c:v>
                </c:pt>
                <c:pt idx="1025">
                  <c:v>0.55500000000000005</c:v>
                </c:pt>
                <c:pt idx="1026">
                  <c:v>0.94299999999999995</c:v>
                </c:pt>
                <c:pt idx="1027">
                  <c:v>0.86799999999999999</c:v>
                </c:pt>
                <c:pt idx="1028">
                  <c:v>0.90700000000000003</c:v>
                </c:pt>
                <c:pt idx="1029">
                  <c:v>0.80600000000000005</c:v>
                </c:pt>
                <c:pt idx="1030">
                  <c:v>0.86299999999999999</c:v>
                </c:pt>
                <c:pt idx="1031">
                  <c:v>0.89500000000000002</c:v>
                </c:pt>
                <c:pt idx="1032">
                  <c:v>0.84499999999999997</c:v>
                </c:pt>
                <c:pt idx="1033">
                  <c:v>0.82299999999999995</c:v>
                </c:pt>
                <c:pt idx="1034">
                  <c:v>0.77700000000000002</c:v>
                </c:pt>
                <c:pt idx="1035">
                  <c:v>0.82899999999999996</c:v>
                </c:pt>
                <c:pt idx="1036">
                  <c:v>0.876</c:v>
                </c:pt>
                <c:pt idx="1037">
                  <c:v>0.65800000000000003</c:v>
                </c:pt>
                <c:pt idx="1038">
                  <c:v>0.86799999999999999</c:v>
                </c:pt>
                <c:pt idx="1039">
                  <c:v>0.624</c:v>
                </c:pt>
                <c:pt idx="1040">
                  <c:v>0.379</c:v>
                </c:pt>
                <c:pt idx="1041">
                  <c:v>0.70299999999999996</c:v>
                </c:pt>
                <c:pt idx="1042">
                  <c:v>0.71299999999999997</c:v>
                </c:pt>
                <c:pt idx="1043">
                  <c:v>0.73899999999999999</c:v>
                </c:pt>
                <c:pt idx="1044">
                  <c:v>0.77200000000000002</c:v>
                </c:pt>
                <c:pt idx="1045">
                  <c:v>0.876</c:v>
                </c:pt>
                <c:pt idx="1046">
                  <c:v>0.90900000000000003</c:v>
                </c:pt>
                <c:pt idx="1047">
                  <c:v>0.93500000000000005</c:v>
                </c:pt>
                <c:pt idx="1048">
                  <c:v>0.91800000000000004</c:v>
                </c:pt>
                <c:pt idx="1049">
                  <c:v>0.89400000000000002</c:v>
                </c:pt>
                <c:pt idx="1050">
                  <c:v>0.95</c:v>
                </c:pt>
                <c:pt idx="1051">
                  <c:v>0.52200000000000002</c:v>
                </c:pt>
                <c:pt idx="1052">
                  <c:v>0.77700000000000002</c:v>
                </c:pt>
                <c:pt idx="1053">
                  <c:v>0.58399999999999996</c:v>
                </c:pt>
                <c:pt idx="1054">
                  <c:v>0.53600000000000003</c:v>
                </c:pt>
                <c:pt idx="1055">
                  <c:v>0.86399999999999999</c:v>
                </c:pt>
                <c:pt idx="1056">
                  <c:v>0.83899999999999997</c:v>
                </c:pt>
                <c:pt idx="1057">
                  <c:v>0.76500000000000001</c:v>
                </c:pt>
                <c:pt idx="1058">
                  <c:v>0.91900000000000004</c:v>
                </c:pt>
                <c:pt idx="1059">
                  <c:v>0.93300000000000005</c:v>
                </c:pt>
                <c:pt idx="1060">
                  <c:v>0.88800000000000001</c:v>
                </c:pt>
                <c:pt idx="1061">
                  <c:v>0.82199999999999995</c:v>
                </c:pt>
                <c:pt idx="1062">
                  <c:v>0.93100000000000005</c:v>
                </c:pt>
                <c:pt idx="1063">
                  <c:v>0.91600000000000004</c:v>
                </c:pt>
                <c:pt idx="1064">
                  <c:v>0.91500000000000004</c:v>
                </c:pt>
                <c:pt idx="1065">
                  <c:v>0.88600000000000001</c:v>
                </c:pt>
                <c:pt idx="1066">
                  <c:v>0.85299999999999998</c:v>
                </c:pt>
                <c:pt idx="1067">
                  <c:v>0.55100000000000005</c:v>
                </c:pt>
                <c:pt idx="1068">
                  <c:v>0.61199999999999999</c:v>
                </c:pt>
                <c:pt idx="1069">
                  <c:v>0.61899999999999999</c:v>
                </c:pt>
                <c:pt idx="1070">
                  <c:v>0.76100000000000001</c:v>
                </c:pt>
                <c:pt idx="1071">
                  <c:v>0.751</c:v>
                </c:pt>
                <c:pt idx="1072">
                  <c:v>0.59599999999999997</c:v>
                </c:pt>
                <c:pt idx="1073">
                  <c:v>0.82799999999999996</c:v>
                </c:pt>
                <c:pt idx="1074">
                  <c:v>0.89600000000000002</c:v>
                </c:pt>
                <c:pt idx="1075">
                  <c:v>0.90600000000000003</c:v>
                </c:pt>
                <c:pt idx="1076">
                  <c:v>0.84199999999999997</c:v>
                </c:pt>
                <c:pt idx="1077">
                  <c:v>0.83099999999999996</c:v>
                </c:pt>
                <c:pt idx="1078">
                  <c:v>0.92800000000000005</c:v>
                </c:pt>
                <c:pt idx="1079">
                  <c:v>0.95499999999999996</c:v>
                </c:pt>
                <c:pt idx="1080">
                  <c:v>0.86699999999999999</c:v>
                </c:pt>
                <c:pt idx="1081">
                  <c:v>0.53100000000000003</c:v>
                </c:pt>
                <c:pt idx="1082">
                  <c:v>0.84599999999999997</c:v>
                </c:pt>
                <c:pt idx="1083">
                  <c:v>0.88100000000000001</c:v>
                </c:pt>
                <c:pt idx="1084">
                  <c:v>0.93100000000000005</c:v>
                </c:pt>
                <c:pt idx="1085">
                  <c:v>0.61299999999999999</c:v>
                </c:pt>
                <c:pt idx="1086">
                  <c:v>0.84499999999999997</c:v>
                </c:pt>
                <c:pt idx="1087">
                  <c:v>0.70099999999999996</c:v>
                </c:pt>
                <c:pt idx="1088">
                  <c:v>0.86</c:v>
                </c:pt>
                <c:pt idx="1089">
                  <c:v>0.86699999999999999</c:v>
                </c:pt>
                <c:pt idx="1090">
                  <c:v>0.88200000000000001</c:v>
                </c:pt>
                <c:pt idx="1091">
                  <c:v>0.89900000000000002</c:v>
                </c:pt>
                <c:pt idx="1092">
                  <c:v>0.86799999999999999</c:v>
                </c:pt>
                <c:pt idx="1093">
                  <c:v>0.91900000000000004</c:v>
                </c:pt>
                <c:pt idx="1094">
                  <c:v>0.85099999999999998</c:v>
                </c:pt>
                <c:pt idx="1095">
                  <c:v>0.82099999999999995</c:v>
                </c:pt>
                <c:pt idx="1096">
                  <c:v>0.77300000000000002</c:v>
                </c:pt>
                <c:pt idx="1097">
                  <c:v>0.92300000000000004</c:v>
                </c:pt>
                <c:pt idx="1098">
                  <c:v>0.79500000000000004</c:v>
                </c:pt>
                <c:pt idx="1099">
                  <c:v>0.47</c:v>
                </c:pt>
                <c:pt idx="1100">
                  <c:v>0.50900000000000001</c:v>
                </c:pt>
                <c:pt idx="1101">
                  <c:v>0.64</c:v>
                </c:pt>
                <c:pt idx="1102">
                  <c:v>0.72899999999999998</c:v>
                </c:pt>
                <c:pt idx="1103">
                  <c:v>0.85699999999999998</c:v>
                </c:pt>
                <c:pt idx="1104">
                  <c:v>0.24099999999999999</c:v>
                </c:pt>
                <c:pt idx="1105">
                  <c:v>0.83</c:v>
                </c:pt>
                <c:pt idx="1106">
                  <c:v>0.79</c:v>
                </c:pt>
                <c:pt idx="1107">
                  <c:v>0.35</c:v>
                </c:pt>
                <c:pt idx="1108">
                  <c:v>0.94599999999999995</c:v>
                </c:pt>
                <c:pt idx="1109">
                  <c:v>0.82199999999999995</c:v>
                </c:pt>
                <c:pt idx="1110">
                  <c:v>0.16700000000000001</c:v>
                </c:pt>
                <c:pt idx="1111">
                  <c:v>0.433</c:v>
                </c:pt>
                <c:pt idx="1112">
                  <c:v>0.63700000000000001</c:v>
                </c:pt>
                <c:pt idx="1113">
                  <c:v>0.75700000000000001</c:v>
                </c:pt>
                <c:pt idx="1114">
                  <c:v>0.68</c:v>
                </c:pt>
                <c:pt idx="1115">
                  <c:v>0.79600000000000004</c:v>
                </c:pt>
                <c:pt idx="1116">
                  <c:v>0.78600000000000003</c:v>
                </c:pt>
                <c:pt idx="1117">
                  <c:v>0.83899999999999997</c:v>
                </c:pt>
                <c:pt idx="1118">
                  <c:v>0.86299999999999999</c:v>
                </c:pt>
                <c:pt idx="1119">
                  <c:v>0.86299999999999999</c:v>
                </c:pt>
                <c:pt idx="1120">
                  <c:v>0.874</c:v>
                </c:pt>
                <c:pt idx="1121">
                  <c:v>0.879</c:v>
                </c:pt>
                <c:pt idx="1122">
                  <c:v>0.88700000000000001</c:v>
                </c:pt>
                <c:pt idx="1123">
                  <c:v>0.9</c:v>
                </c:pt>
                <c:pt idx="1124">
                  <c:v>0.91700000000000004</c:v>
                </c:pt>
                <c:pt idx="1125">
                  <c:v>0.92500000000000004</c:v>
                </c:pt>
                <c:pt idx="1126">
                  <c:v>0.92900000000000005</c:v>
                </c:pt>
                <c:pt idx="1127">
                  <c:v>0.93500000000000005</c:v>
                </c:pt>
                <c:pt idx="1128">
                  <c:v>0.93500000000000005</c:v>
                </c:pt>
                <c:pt idx="1129">
                  <c:v>0.93899999999999995</c:v>
                </c:pt>
                <c:pt idx="1130">
                  <c:v>0.94099999999999995</c:v>
                </c:pt>
                <c:pt idx="1131">
                  <c:v>0.95299999999999996</c:v>
                </c:pt>
                <c:pt idx="1132">
                  <c:v>0.66300000000000003</c:v>
                </c:pt>
                <c:pt idx="1133">
                  <c:v>0.78500000000000003</c:v>
                </c:pt>
                <c:pt idx="1134">
                  <c:v>0.77400000000000002</c:v>
                </c:pt>
                <c:pt idx="1135">
                  <c:v>0.78300000000000003</c:v>
                </c:pt>
                <c:pt idx="1136">
                  <c:v>0.80700000000000005</c:v>
                </c:pt>
                <c:pt idx="1137">
                  <c:v>0.878</c:v>
                </c:pt>
                <c:pt idx="1138">
                  <c:v>0.75600000000000001</c:v>
                </c:pt>
                <c:pt idx="1139">
                  <c:v>0.42299999999999999</c:v>
                </c:pt>
                <c:pt idx="1140">
                  <c:v>0.63600000000000001</c:v>
                </c:pt>
                <c:pt idx="1141">
                  <c:v>0.85</c:v>
                </c:pt>
                <c:pt idx="1142">
                  <c:v>0.80200000000000005</c:v>
                </c:pt>
                <c:pt idx="1143">
                  <c:v>0.91400000000000003</c:v>
                </c:pt>
                <c:pt idx="1144">
                  <c:v>0.95499999999999996</c:v>
                </c:pt>
                <c:pt idx="1145">
                  <c:v>0.86799999999999999</c:v>
                </c:pt>
                <c:pt idx="1146">
                  <c:v>0.93700000000000006</c:v>
                </c:pt>
                <c:pt idx="1147">
                  <c:v>0.94799999999999995</c:v>
                </c:pt>
                <c:pt idx="1148">
                  <c:v>0.65600000000000003</c:v>
                </c:pt>
                <c:pt idx="1149">
                  <c:v>0.85099999999999998</c:v>
                </c:pt>
                <c:pt idx="1150">
                  <c:v>0.93400000000000005</c:v>
                </c:pt>
                <c:pt idx="1151">
                  <c:v>0.89500000000000002</c:v>
                </c:pt>
                <c:pt idx="1152">
                  <c:v>0.63500000000000001</c:v>
                </c:pt>
                <c:pt idx="1153">
                  <c:v>0.71</c:v>
                </c:pt>
                <c:pt idx="1154">
                  <c:v>0.81399999999999995</c:v>
                </c:pt>
                <c:pt idx="1155">
                  <c:v>0.76900000000000002</c:v>
                </c:pt>
                <c:pt idx="1156">
                  <c:v>0.86499999999999999</c:v>
                </c:pt>
                <c:pt idx="1157">
                  <c:v>0.73499999999999999</c:v>
                </c:pt>
                <c:pt idx="1158">
                  <c:v>0.90700000000000003</c:v>
                </c:pt>
                <c:pt idx="1159">
                  <c:v>0.88500000000000001</c:v>
                </c:pt>
                <c:pt idx="1160">
                  <c:v>0.68200000000000005</c:v>
                </c:pt>
                <c:pt idx="1161">
                  <c:v>0.73399999999999999</c:v>
                </c:pt>
                <c:pt idx="1162">
                  <c:v>0.93400000000000005</c:v>
                </c:pt>
                <c:pt idx="1163">
                  <c:v>0.95599999999999996</c:v>
                </c:pt>
                <c:pt idx="1164">
                  <c:v>0.85299999999999998</c:v>
                </c:pt>
                <c:pt idx="1165">
                  <c:v>0.85899999999999999</c:v>
                </c:pt>
                <c:pt idx="1166">
                  <c:v>0.874</c:v>
                </c:pt>
                <c:pt idx="1167">
                  <c:v>0.92</c:v>
                </c:pt>
                <c:pt idx="1168">
                  <c:v>0.39300000000000002</c:v>
                </c:pt>
                <c:pt idx="1169">
                  <c:v>0.78</c:v>
                </c:pt>
                <c:pt idx="1170">
                  <c:v>0.626</c:v>
                </c:pt>
                <c:pt idx="1171">
                  <c:v>0.73899999999999999</c:v>
                </c:pt>
                <c:pt idx="1172">
                  <c:v>0.77600000000000002</c:v>
                </c:pt>
                <c:pt idx="1173">
                  <c:v>0.85599999999999998</c:v>
                </c:pt>
                <c:pt idx="1174">
                  <c:v>0.90500000000000003</c:v>
                </c:pt>
                <c:pt idx="1175">
                  <c:v>0.95299999999999996</c:v>
                </c:pt>
                <c:pt idx="1176">
                  <c:v>0.96499999999999997</c:v>
                </c:pt>
                <c:pt idx="1177">
                  <c:v>0.89300000000000002</c:v>
                </c:pt>
                <c:pt idx="1178">
                  <c:v>0.79400000000000004</c:v>
                </c:pt>
                <c:pt idx="1179">
                  <c:v>0.83599999999999997</c:v>
                </c:pt>
                <c:pt idx="1180">
                  <c:v>0.89300000000000002</c:v>
                </c:pt>
                <c:pt idx="1181">
                  <c:v>0.55600000000000005</c:v>
                </c:pt>
                <c:pt idx="1182">
                  <c:v>0.85899999999999999</c:v>
                </c:pt>
                <c:pt idx="1183">
                  <c:v>0.86699999999999999</c:v>
                </c:pt>
                <c:pt idx="1184">
                  <c:v>0.91900000000000004</c:v>
                </c:pt>
                <c:pt idx="1185">
                  <c:v>0.92800000000000005</c:v>
                </c:pt>
                <c:pt idx="1186">
                  <c:v>0.93400000000000005</c:v>
                </c:pt>
                <c:pt idx="1187">
                  <c:v>0.95099999999999996</c:v>
                </c:pt>
                <c:pt idx="1188">
                  <c:v>0.77600000000000002</c:v>
                </c:pt>
                <c:pt idx="1189">
                  <c:v>0.876</c:v>
                </c:pt>
                <c:pt idx="1190">
                  <c:v>0.85499999999999998</c:v>
                </c:pt>
                <c:pt idx="1191">
                  <c:v>0.94799999999999995</c:v>
                </c:pt>
                <c:pt idx="1192">
                  <c:v>0.95299999999999996</c:v>
                </c:pt>
                <c:pt idx="1193">
                  <c:v>0.95799999999999996</c:v>
                </c:pt>
                <c:pt idx="1194">
                  <c:v>0.72299999999999998</c:v>
                </c:pt>
                <c:pt idx="1195">
                  <c:v>0.66700000000000004</c:v>
                </c:pt>
                <c:pt idx="1196">
                  <c:v>0.85</c:v>
                </c:pt>
                <c:pt idx="1197">
                  <c:v>0.68899999999999995</c:v>
                </c:pt>
                <c:pt idx="1198">
                  <c:v>0.94499999999999995</c:v>
                </c:pt>
                <c:pt idx="1199">
                  <c:v>0.84199999999999997</c:v>
                </c:pt>
                <c:pt idx="1200">
                  <c:v>0.51800000000000002</c:v>
                </c:pt>
                <c:pt idx="1201">
                  <c:v>0.59599999999999997</c:v>
                </c:pt>
                <c:pt idx="1202">
                  <c:v>0.90700000000000003</c:v>
                </c:pt>
                <c:pt idx="1203">
                  <c:v>0.86099999999999999</c:v>
                </c:pt>
                <c:pt idx="1204">
                  <c:v>0.88800000000000001</c:v>
                </c:pt>
                <c:pt idx="1205">
                  <c:v>0.64400000000000002</c:v>
                </c:pt>
                <c:pt idx="1206">
                  <c:v>0.81699999999999995</c:v>
                </c:pt>
                <c:pt idx="1207">
                  <c:v>0.82899999999999996</c:v>
                </c:pt>
                <c:pt idx="1208">
                  <c:v>0.90300000000000002</c:v>
                </c:pt>
                <c:pt idx="1209">
                  <c:v>0.58399999999999996</c:v>
                </c:pt>
                <c:pt idx="1210">
                  <c:v>0.78300000000000003</c:v>
                </c:pt>
                <c:pt idx="1211">
                  <c:v>0.81799999999999995</c:v>
                </c:pt>
                <c:pt idx="1212">
                  <c:v>0.22700000000000001</c:v>
                </c:pt>
                <c:pt idx="1213">
                  <c:v>0.57599999999999996</c:v>
                </c:pt>
                <c:pt idx="1214">
                  <c:v>0.70299999999999996</c:v>
                </c:pt>
                <c:pt idx="1215">
                  <c:v>0.83799999999999997</c:v>
                </c:pt>
                <c:pt idx="1216">
                  <c:v>0.88</c:v>
                </c:pt>
                <c:pt idx="1217">
                  <c:v>0.80100000000000005</c:v>
                </c:pt>
                <c:pt idx="1218">
                  <c:v>0.65300000000000002</c:v>
                </c:pt>
                <c:pt idx="1219">
                  <c:v>0.89200000000000002</c:v>
                </c:pt>
                <c:pt idx="1220">
                  <c:v>0.91100000000000003</c:v>
                </c:pt>
                <c:pt idx="1221">
                  <c:v>0.95499999999999996</c:v>
                </c:pt>
                <c:pt idx="1222">
                  <c:v>0.94799999999999995</c:v>
                </c:pt>
                <c:pt idx="1223">
                  <c:v>0.72599999999999998</c:v>
                </c:pt>
                <c:pt idx="1224">
                  <c:v>0.877</c:v>
                </c:pt>
                <c:pt idx="1225">
                  <c:v>0.60299999999999998</c:v>
                </c:pt>
                <c:pt idx="1226">
                  <c:v>0.88500000000000001</c:v>
                </c:pt>
                <c:pt idx="1227">
                  <c:v>0.79900000000000004</c:v>
                </c:pt>
                <c:pt idx="1228">
                  <c:v>0.57899999999999996</c:v>
                </c:pt>
                <c:pt idx="1229">
                  <c:v>0.70699999999999996</c:v>
                </c:pt>
                <c:pt idx="1230">
                  <c:v>0.72899999999999998</c:v>
                </c:pt>
                <c:pt idx="1231">
                  <c:v>0.875</c:v>
                </c:pt>
                <c:pt idx="1232">
                  <c:v>0.68200000000000005</c:v>
                </c:pt>
                <c:pt idx="1233">
                  <c:v>0.88400000000000001</c:v>
                </c:pt>
                <c:pt idx="1234">
                  <c:v>0.88500000000000001</c:v>
                </c:pt>
                <c:pt idx="1235">
                  <c:v>0.69699999999999995</c:v>
                </c:pt>
                <c:pt idx="1236">
                  <c:v>0.70699999999999996</c:v>
                </c:pt>
                <c:pt idx="1237">
                  <c:v>0.90100000000000002</c:v>
                </c:pt>
                <c:pt idx="1238">
                  <c:v>0.85499999999999998</c:v>
                </c:pt>
                <c:pt idx="1239">
                  <c:v>0.36399999999999999</c:v>
                </c:pt>
                <c:pt idx="1240">
                  <c:v>0.68100000000000005</c:v>
                </c:pt>
                <c:pt idx="1241">
                  <c:v>0.81899999999999995</c:v>
                </c:pt>
                <c:pt idx="1242">
                  <c:v>0.84299999999999997</c:v>
                </c:pt>
                <c:pt idx="1243">
                  <c:v>0.92800000000000005</c:v>
                </c:pt>
                <c:pt idx="1244">
                  <c:v>0.82899999999999996</c:v>
                </c:pt>
                <c:pt idx="1245">
                  <c:v>0.66800000000000004</c:v>
                </c:pt>
                <c:pt idx="1246">
                  <c:v>0.91300000000000003</c:v>
                </c:pt>
                <c:pt idx="1247">
                  <c:v>0.71399999999999997</c:v>
                </c:pt>
                <c:pt idx="1248">
                  <c:v>0.879</c:v>
                </c:pt>
                <c:pt idx="1249">
                  <c:v>0.75</c:v>
                </c:pt>
                <c:pt idx="1250">
                  <c:v>0.81399999999999995</c:v>
                </c:pt>
                <c:pt idx="1251">
                  <c:v>0.68200000000000005</c:v>
                </c:pt>
                <c:pt idx="1252">
                  <c:v>0.88</c:v>
                </c:pt>
                <c:pt idx="1253">
                  <c:v>0.88</c:v>
                </c:pt>
                <c:pt idx="1254">
                  <c:v>0.89400000000000002</c:v>
                </c:pt>
                <c:pt idx="1255">
                  <c:v>0.71399999999999997</c:v>
                </c:pt>
                <c:pt idx="1256">
                  <c:v>0.33900000000000002</c:v>
                </c:pt>
                <c:pt idx="1257">
                  <c:v>0.9</c:v>
                </c:pt>
                <c:pt idx="1258">
                  <c:v>0.82299999999999995</c:v>
                </c:pt>
                <c:pt idx="1259">
                  <c:v>0.746</c:v>
                </c:pt>
                <c:pt idx="1260">
                  <c:v>0.33300000000000002</c:v>
                </c:pt>
                <c:pt idx="1261">
                  <c:v>0.53700000000000003</c:v>
                </c:pt>
                <c:pt idx="1262">
                  <c:v>0.80400000000000005</c:v>
                </c:pt>
                <c:pt idx="1263">
                  <c:v>0.86399999999999999</c:v>
                </c:pt>
                <c:pt idx="1264">
                  <c:v>0.873</c:v>
                </c:pt>
                <c:pt idx="1265">
                  <c:v>0.89300000000000002</c:v>
                </c:pt>
                <c:pt idx="1266">
                  <c:v>0.97499999999999998</c:v>
                </c:pt>
                <c:pt idx="1267">
                  <c:v>0.70599999999999996</c:v>
                </c:pt>
                <c:pt idx="1268">
                  <c:v>0.44500000000000001</c:v>
                </c:pt>
                <c:pt idx="1269">
                  <c:v>0.75700000000000001</c:v>
                </c:pt>
                <c:pt idx="1270">
                  <c:v>0.68200000000000005</c:v>
                </c:pt>
                <c:pt idx="1271">
                  <c:v>0.70099999999999996</c:v>
                </c:pt>
                <c:pt idx="1272">
                  <c:v>0.57899999999999996</c:v>
                </c:pt>
                <c:pt idx="1273">
                  <c:v>0.42899999999999999</c:v>
                </c:pt>
                <c:pt idx="1274">
                  <c:v>0.83199999999999996</c:v>
                </c:pt>
                <c:pt idx="1275">
                  <c:v>0.81100000000000005</c:v>
                </c:pt>
                <c:pt idx="1276">
                  <c:v>0.84099999999999997</c:v>
                </c:pt>
                <c:pt idx="1277">
                  <c:v>0.876</c:v>
                </c:pt>
                <c:pt idx="1278">
                  <c:v>0.82099999999999995</c:v>
                </c:pt>
                <c:pt idx="1279">
                  <c:v>0.78400000000000003</c:v>
                </c:pt>
                <c:pt idx="1280">
                  <c:v>0.63300000000000001</c:v>
                </c:pt>
                <c:pt idx="1281">
                  <c:v>0.65400000000000003</c:v>
                </c:pt>
                <c:pt idx="1282">
                  <c:v>0.85699999999999998</c:v>
                </c:pt>
                <c:pt idx="1283">
                  <c:v>0.86099999999999999</c:v>
                </c:pt>
                <c:pt idx="1284">
                  <c:v>0.9</c:v>
                </c:pt>
                <c:pt idx="1285">
                  <c:v>0.93</c:v>
                </c:pt>
                <c:pt idx="1286">
                  <c:v>0.95199999999999996</c:v>
                </c:pt>
                <c:pt idx="1287">
                  <c:v>0.437</c:v>
                </c:pt>
                <c:pt idx="1288">
                  <c:v>0.433</c:v>
                </c:pt>
                <c:pt idx="1289">
                  <c:v>0.41799999999999998</c:v>
                </c:pt>
                <c:pt idx="1290">
                  <c:v>0.36699999999999999</c:v>
                </c:pt>
                <c:pt idx="1291">
                  <c:v>0.40400000000000003</c:v>
                </c:pt>
                <c:pt idx="1292">
                  <c:v>0.93</c:v>
                </c:pt>
                <c:pt idx="1293">
                  <c:v>0.216</c:v>
                </c:pt>
                <c:pt idx="1294">
                  <c:v>0.83</c:v>
                </c:pt>
                <c:pt idx="1295">
                  <c:v>0.871</c:v>
                </c:pt>
                <c:pt idx="1296">
                  <c:v>0.88300000000000001</c:v>
                </c:pt>
                <c:pt idx="1297">
                  <c:v>0.89100000000000001</c:v>
                </c:pt>
                <c:pt idx="1298">
                  <c:v>0.75800000000000001</c:v>
                </c:pt>
                <c:pt idx="1299">
                  <c:v>0.68100000000000005</c:v>
                </c:pt>
                <c:pt idx="1300">
                  <c:v>0.52300000000000002</c:v>
                </c:pt>
                <c:pt idx="1301">
                  <c:v>0.69599999999999995</c:v>
                </c:pt>
                <c:pt idx="1302">
                  <c:v>0.82899999999999996</c:v>
                </c:pt>
                <c:pt idx="1303">
                  <c:v>0.629</c:v>
                </c:pt>
                <c:pt idx="1304">
                  <c:v>0.83299999999999996</c:v>
                </c:pt>
                <c:pt idx="1305">
                  <c:v>0.85599999999999998</c:v>
                </c:pt>
                <c:pt idx="1306">
                  <c:v>0.91100000000000003</c:v>
                </c:pt>
                <c:pt idx="1307">
                  <c:v>0.91700000000000004</c:v>
                </c:pt>
                <c:pt idx="1308">
                  <c:v>0.63200000000000001</c:v>
                </c:pt>
                <c:pt idx="1309">
                  <c:v>0.92700000000000005</c:v>
                </c:pt>
                <c:pt idx="1310">
                  <c:v>0.94699999999999995</c:v>
                </c:pt>
                <c:pt idx="1311">
                  <c:v>0.77100000000000002</c:v>
                </c:pt>
                <c:pt idx="1312">
                  <c:v>0.87</c:v>
                </c:pt>
                <c:pt idx="1313">
                  <c:v>0.876</c:v>
                </c:pt>
                <c:pt idx="1314">
                  <c:v>0.86499999999999999</c:v>
                </c:pt>
                <c:pt idx="1315">
                  <c:v>0.64800000000000002</c:v>
                </c:pt>
                <c:pt idx="1316">
                  <c:v>0.83399999999999996</c:v>
                </c:pt>
                <c:pt idx="1317">
                  <c:v>0.89</c:v>
                </c:pt>
                <c:pt idx="1318">
                  <c:v>0.89800000000000002</c:v>
                </c:pt>
                <c:pt idx="1319">
                  <c:v>0.95899999999999996</c:v>
                </c:pt>
                <c:pt idx="1320">
                  <c:v>0.56699999999999995</c:v>
                </c:pt>
                <c:pt idx="1321">
                  <c:v>0.72299999999999998</c:v>
                </c:pt>
                <c:pt idx="1322">
                  <c:v>0.84499999999999997</c:v>
                </c:pt>
                <c:pt idx="1323">
                  <c:v>0.85499999999999998</c:v>
                </c:pt>
                <c:pt idx="1324">
                  <c:v>0.83199999999999996</c:v>
                </c:pt>
                <c:pt idx="1325">
                  <c:v>0.73799999999999999</c:v>
                </c:pt>
                <c:pt idx="1326">
                  <c:v>0.49199999999999999</c:v>
                </c:pt>
                <c:pt idx="1327">
                  <c:v>0.90700000000000003</c:v>
                </c:pt>
                <c:pt idx="1328">
                  <c:v>0.91300000000000003</c:v>
                </c:pt>
                <c:pt idx="1329">
                  <c:v>0.60399999999999998</c:v>
                </c:pt>
                <c:pt idx="1330">
                  <c:v>0.83799999999999997</c:v>
                </c:pt>
                <c:pt idx="1331">
                  <c:v>0.84499999999999997</c:v>
                </c:pt>
                <c:pt idx="1332">
                  <c:v>0.88</c:v>
                </c:pt>
                <c:pt idx="1333">
                  <c:v>0.74</c:v>
                </c:pt>
                <c:pt idx="1334">
                  <c:v>0.747</c:v>
                </c:pt>
                <c:pt idx="1335">
                  <c:v>0.56000000000000005</c:v>
                </c:pt>
                <c:pt idx="1336">
                  <c:v>0.80300000000000005</c:v>
                </c:pt>
                <c:pt idx="1337">
                  <c:v>0.92</c:v>
                </c:pt>
                <c:pt idx="1338">
                  <c:v>0.95399999999999996</c:v>
                </c:pt>
                <c:pt idx="1339">
                  <c:v>0.53800000000000003</c:v>
                </c:pt>
                <c:pt idx="1340">
                  <c:v>0.79200000000000004</c:v>
                </c:pt>
                <c:pt idx="1341">
                  <c:v>0.70099999999999996</c:v>
                </c:pt>
                <c:pt idx="1342">
                  <c:v>0.25600000000000001</c:v>
                </c:pt>
                <c:pt idx="1343">
                  <c:v>0.85499999999999998</c:v>
                </c:pt>
                <c:pt idx="1344">
                  <c:v>0.90100000000000002</c:v>
                </c:pt>
                <c:pt idx="1345">
                  <c:v>0.56399999999999995</c:v>
                </c:pt>
                <c:pt idx="1346">
                  <c:v>0.49099999999999999</c:v>
                </c:pt>
                <c:pt idx="1347">
                  <c:v>0.92700000000000005</c:v>
                </c:pt>
                <c:pt idx="1348">
                  <c:v>0.78</c:v>
                </c:pt>
                <c:pt idx="1349">
                  <c:v>0.82799999999999996</c:v>
                </c:pt>
                <c:pt idx="1350">
                  <c:v>0.93100000000000005</c:v>
                </c:pt>
                <c:pt idx="1351">
                  <c:v>0.74099999999999999</c:v>
                </c:pt>
                <c:pt idx="1352">
                  <c:v>0.81499999999999995</c:v>
                </c:pt>
                <c:pt idx="1353">
                  <c:v>0.435</c:v>
                </c:pt>
                <c:pt idx="1354">
                  <c:v>0.97699999999999998</c:v>
                </c:pt>
                <c:pt idx="1355">
                  <c:v>0.79800000000000004</c:v>
                </c:pt>
                <c:pt idx="1356">
                  <c:v>0.73299999999999998</c:v>
                </c:pt>
                <c:pt idx="1357">
                  <c:v>0.91100000000000003</c:v>
                </c:pt>
                <c:pt idx="1358">
                  <c:v>0.8</c:v>
                </c:pt>
                <c:pt idx="1359">
                  <c:v>0.84399999999999997</c:v>
                </c:pt>
                <c:pt idx="1360">
                  <c:v>0.86799999999999999</c:v>
                </c:pt>
                <c:pt idx="1361">
                  <c:v>0.63200000000000001</c:v>
                </c:pt>
                <c:pt idx="1362">
                  <c:v>0.71599999999999997</c:v>
                </c:pt>
                <c:pt idx="1363">
                  <c:v>0.75800000000000001</c:v>
                </c:pt>
                <c:pt idx="1364">
                  <c:v>0.85299999999999998</c:v>
                </c:pt>
                <c:pt idx="1365">
                  <c:v>0.77200000000000002</c:v>
                </c:pt>
                <c:pt idx="1366">
                  <c:v>0.87</c:v>
                </c:pt>
                <c:pt idx="1367">
                  <c:v>0.215</c:v>
                </c:pt>
                <c:pt idx="1368">
                  <c:v>0.80800000000000005</c:v>
                </c:pt>
                <c:pt idx="1369">
                  <c:v>0.89</c:v>
                </c:pt>
                <c:pt idx="1370">
                  <c:v>0.94499999999999995</c:v>
                </c:pt>
                <c:pt idx="1371">
                  <c:v>0.84199999999999997</c:v>
                </c:pt>
                <c:pt idx="1372">
                  <c:v>0.70899999999999996</c:v>
                </c:pt>
                <c:pt idx="1373">
                  <c:v>0.88800000000000001</c:v>
                </c:pt>
                <c:pt idx="1374">
                  <c:v>0.51400000000000001</c:v>
                </c:pt>
                <c:pt idx="1375">
                  <c:v>0.623</c:v>
                </c:pt>
                <c:pt idx="1376">
                  <c:v>0.82199999999999995</c:v>
                </c:pt>
                <c:pt idx="1377">
                  <c:v>0.73699999999999999</c:v>
                </c:pt>
                <c:pt idx="1378">
                  <c:v>0.45600000000000002</c:v>
                </c:pt>
                <c:pt idx="1379">
                  <c:v>0.745</c:v>
                </c:pt>
                <c:pt idx="1380">
                  <c:v>0.78900000000000003</c:v>
                </c:pt>
                <c:pt idx="1381">
                  <c:v>0.88</c:v>
                </c:pt>
                <c:pt idx="1382">
                  <c:v>0.75900000000000001</c:v>
                </c:pt>
                <c:pt idx="1383">
                  <c:v>0.85</c:v>
                </c:pt>
                <c:pt idx="1384">
                  <c:v>0.89</c:v>
                </c:pt>
                <c:pt idx="1385">
                  <c:v>0.9</c:v>
                </c:pt>
                <c:pt idx="1386">
                  <c:v>0.92300000000000004</c:v>
                </c:pt>
                <c:pt idx="1387">
                  <c:v>0.93500000000000005</c:v>
                </c:pt>
                <c:pt idx="1388">
                  <c:v>0.85199999999999998</c:v>
                </c:pt>
                <c:pt idx="1389">
                  <c:v>0.88100000000000001</c:v>
                </c:pt>
                <c:pt idx="1390">
                  <c:v>2.5999999999999999E-2</c:v>
                </c:pt>
                <c:pt idx="1391">
                  <c:v>0.71799999999999997</c:v>
                </c:pt>
                <c:pt idx="1392">
                  <c:v>0.84299999999999997</c:v>
                </c:pt>
                <c:pt idx="1393">
                  <c:v>0.66200000000000003</c:v>
                </c:pt>
                <c:pt idx="1394">
                  <c:v>0.88400000000000001</c:v>
                </c:pt>
                <c:pt idx="1395">
                  <c:v>0.82699999999999996</c:v>
                </c:pt>
                <c:pt idx="1396">
                  <c:v>0.88900000000000001</c:v>
                </c:pt>
                <c:pt idx="1397">
                  <c:v>0.93200000000000005</c:v>
                </c:pt>
                <c:pt idx="1398">
                  <c:v>0.70799999999999996</c:v>
                </c:pt>
                <c:pt idx="1399">
                  <c:v>0.92700000000000005</c:v>
                </c:pt>
                <c:pt idx="1400">
                  <c:v>0.69099999999999995</c:v>
                </c:pt>
                <c:pt idx="1401">
                  <c:v>0.748</c:v>
                </c:pt>
                <c:pt idx="1402">
                  <c:v>0.82699999999999996</c:v>
                </c:pt>
                <c:pt idx="1403">
                  <c:v>0.77900000000000003</c:v>
                </c:pt>
                <c:pt idx="1404">
                  <c:v>0.88200000000000001</c:v>
                </c:pt>
                <c:pt idx="1405">
                  <c:v>0.72199999999999998</c:v>
                </c:pt>
                <c:pt idx="1406">
                  <c:v>0.86599999999999999</c:v>
                </c:pt>
                <c:pt idx="1407">
                  <c:v>0.92200000000000004</c:v>
                </c:pt>
                <c:pt idx="1408">
                  <c:v>0.80800000000000005</c:v>
                </c:pt>
                <c:pt idx="1409">
                  <c:v>0.85499999999999998</c:v>
                </c:pt>
                <c:pt idx="1410">
                  <c:v>0.81399999999999995</c:v>
                </c:pt>
                <c:pt idx="1411">
                  <c:v>0.873</c:v>
                </c:pt>
                <c:pt idx="1412">
                  <c:v>0.93500000000000005</c:v>
                </c:pt>
                <c:pt idx="1413">
                  <c:v>0.83099999999999996</c:v>
                </c:pt>
                <c:pt idx="1414">
                  <c:v>0.48199999999999998</c:v>
                </c:pt>
                <c:pt idx="1415">
                  <c:v>0.86099999999999999</c:v>
                </c:pt>
                <c:pt idx="1416">
                  <c:v>0.503</c:v>
                </c:pt>
                <c:pt idx="1417">
                  <c:v>0.45</c:v>
                </c:pt>
                <c:pt idx="1418">
                  <c:v>0.90900000000000003</c:v>
                </c:pt>
                <c:pt idx="1419">
                  <c:v>0.93400000000000005</c:v>
                </c:pt>
                <c:pt idx="1420">
                  <c:v>0.95699999999999996</c:v>
                </c:pt>
                <c:pt idx="1421">
                  <c:v>0.91200000000000003</c:v>
                </c:pt>
                <c:pt idx="1422">
                  <c:v>0.52600000000000002</c:v>
                </c:pt>
                <c:pt idx="1423">
                  <c:v>0.81599999999999995</c:v>
                </c:pt>
                <c:pt idx="1424">
                  <c:v>0.82</c:v>
                </c:pt>
                <c:pt idx="1425">
                  <c:v>0.439</c:v>
                </c:pt>
                <c:pt idx="1426">
                  <c:v>0.79800000000000004</c:v>
                </c:pt>
                <c:pt idx="1427">
                  <c:v>0.92200000000000004</c:v>
                </c:pt>
                <c:pt idx="1428">
                  <c:v>0.621</c:v>
                </c:pt>
                <c:pt idx="1429">
                  <c:v>0.48099999999999998</c:v>
                </c:pt>
                <c:pt idx="1430">
                  <c:v>0.83699999999999997</c:v>
                </c:pt>
                <c:pt idx="1431">
                  <c:v>0.60299999999999998</c:v>
                </c:pt>
                <c:pt idx="1432">
                  <c:v>0.77600000000000002</c:v>
                </c:pt>
                <c:pt idx="1433">
                  <c:v>0.78600000000000003</c:v>
                </c:pt>
                <c:pt idx="1434">
                  <c:v>0.88600000000000001</c:v>
                </c:pt>
                <c:pt idx="1435">
                  <c:v>0.6</c:v>
                </c:pt>
                <c:pt idx="1436">
                  <c:v>0.95799999999999996</c:v>
                </c:pt>
                <c:pt idx="1437">
                  <c:v>0.82199999999999995</c:v>
                </c:pt>
                <c:pt idx="1438">
                  <c:v>0.89400000000000002</c:v>
                </c:pt>
                <c:pt idx="1439">
                  <c:v>0.7</c:v>
                </c:pt>
                <c:pt idx="1440">
                  <c:v>0.77</c:v>
                </c:pt>
                <c:pt idx="1441">
                  <c:v>0.86799999999999999</c:v>
                </c:pt>
                <c:pt idx="1442">
                  <c:v>0.75800000000000001</c:v>
                </c:pt>
                <c:pt idx="1443">
                  <c:v>0.91</c:v>
                </c:pt>
                <c:pt idx="1444">
                  <c:v>0.91300000000000003</c:v>
                </c:pt>
                <c:pt idx="1445">
                  <c:v>0.90400000000000003</c:v>
                </c:pt>
                <c:pt idx="1446">
                  <c:v>0.77700000000000002</c:v>
                </c:pt>
                <c:pt idx="1447">
                  <c:v>0.83099999999999996</c:v>
                </c:pt>
                <c:pt idx="1448">
                  <c:v>0.90900000000000003</c:v>
                </c:pt>
                <c:pt idx="1449">
                  <c:v>0.93500000000000005</c:v>
                </c:pt>
                <c:pt idx="1450">
                  <c:v>0.67800000000000005</c:v>
                </c:pt>
                <c:pt idx="1451">
                  <c:v>0.78</c:v>
                </c:pt>
                <c:pt idx="1452">
                  <c:v>0.75700000000000001</c:v>
                </c:pt>
                <c:pt idx="1453">
                  <c:v>0.84299999999999997</c:v>
                </c:pt>
                <c:pt idx="1454">
                  <c:v>0.95599999999999996</c:v>
                </c:pt>
                <c:pt idx="1455">
                  <c:v>0.66700000000000004</c:v>
                </c:pt>
                <c:pt idx="1456">
                  <c:v>0.75900000000000001</c:v>
                </c:pt>
                <c:pt idx="1457">
                  <c:v>0.39300000000000002</c:v>
                </c:pt>
                <c:pt idx="1458">
                  <c:v>0.86499999999999999</c:v>
                </c:pt>
                <c:pt idx="1459">
                  <c:v>0.95</c:v>
                </c:pt>
                <c:pt idx="1460">
                  <c:v>0.78</c:v>
                </c:pt>
                <c:pt idx="1461">
                  <c:v>0.80200000000000005</c:v>
                </c:pt>
                <c:pt idx="1462">
                  <c:v>0.78800000000000003</c:v>
                </c:pt>
                <c:pt idx="1463">
                  <c:v>0.63300000000000001</c:v>
                </c:pt>
                <c:pt idx="1464">
                  <c:v>0.755</c:v>
                </c:pt>
                <c:pt idx="1465">
                  <c:v>0.61799999999999999</c:v>
                </c:pt>
                <c:pt idx="1466">
                  <c:v>0.72099999999999997</c:v>
                </c:pt>
                <c:pt idx="1467">
                  <c:v>0.84599999999999997</c:v>
                </c:pt>
                <c:pt idx="1468">
                  <c:v>0.52800000000000002</c:v>
                </c:pt>
                <c:pt idx="1469">
                  <c:v>0.82699999999999996</c:v>
                </c:pt>
                <c:pt idx="1470">
                  <c:v>0.22800000000000001</c:v>
                </c:pt>
                <c:pt idx="1471">
                  <c:v>0.74399999999999999</c:v>
                </c:pt>
                <c:pt idx="1472">
                  <c:v>0.73899999999999999</c:v>
                </c:pt>
                <c:pt idx="1473">
                  <c:v>0.81599999999999995</c:v>
                </c:pt>
                <c:pt idx="1474">
                  <c:v>0.66500000000000004</c:v>
                </c:pt>
                <c:pt idx="1475">
                  <c:v>0.82</c:v>
                </c:pt>
                <c:pt idx="1476">
                  <c:v>0.29799999999999999</c:v>
                </c:pt>
                <c:pt idx="1477">
                  <c:v>0.69</c:v>
                </c:pt>
                <c:pt idx="1478">
                  <c:v>0.93300000000000005</c:v>
                </c:pt>
                <c:pt idx="1479">
                  <c:v>0.752</c:v>
                </c:pt>
                <c:pt idx="1480">
                  <c:v>0.85899999999999999</c:v>
                </c:pt>
                <c:pt idx="1481">
                  <c:v>0.79500000000000004</c:v>
                </c:pt>
                <c:pt idx="1482">
                  <c:v>0.95299999999999996</c:v>
                </c:pt>
                <c:pt idx="1483">
                  <c:v>0.45100000000000001</c:v>
                </c:pt>
                <c:pt idx="1484">
                  <c:v>0.68400000000000005</c:v>
                </c:pt>
                <c:pt idx="1485">
                  <c:v>0.73299999999999998</c:v>
                </c:pt>
                <c:pt idx="1486">
                  <c:v>0.70199999999999996</c:v>
                </c:pt>
                <c:pt idx="1487">
                  <c:v>0.755</c:v>
                </c:pt>
                <c:pt idx="1488">
                  <c:v>0.85799999999999998</c:v>
                </c:pt>
                <c:pt idx="1489">
                  <c:v>0.55400000000000005</c:v>
                </c:pt>
                <c:pt idx="1490">
                  <c:v>0.96499999999999997</c:v>
                </c:pt>
                <c:pt idx="1491">
                  <c:v>0.79200000000000004</c:v>
                </c:pt>
                <c:pt idx="1492">
                  <c:v>0.80700000000000005</c:v>
                </c:pt>
                <c:pt idx="1493">
                  <c:v>0.81899999999999995</c:v>
                </c:pt>
                <c:pt idx="1494">
                  <c:v>0.92100000000000004</c:v>
                </c:pt>
                <c:pt idx="1495">
                  <c:v>0.82899999999999996</c:v>
                </c:pt>
                <c:pt idx="1496">
                  <c:v>0.65900000000000003</c:v>
                </c:pt>
                <c:pt idx="1497">
                  <c:v>0.68300000000000005</c:v>
                </c:pt>
                <c:pt idx="1498">
                  <c:v>0.85699999999999998</c:v>
                </c:pt>
                <c:pt idx="1499">
                  <c:v>0.88900000000000001</c:v>
                </c:pt>
                <c:pt idx="1500">
                  <c:v>0.90700000000000003</c:v>
                </c:pt>
                <c:pt idx="1501">
                  <c:v>0.94599999999999995</c:v>
                </c:pt>
                <c:pt idx="1502">
                  <c:v>0.85299999999999998</c:v>
                </c:pt>
                <c:pt idx="1503">
                  <c:v>0.86399999999999999</c:v>
                </c:pt>
                <c:pt idx="1504">
                  <c:v>0.66400000000000003</c:v>
                </c:pt>
                <c:pt idx="1505">
                  <c:v>0.6</c:v>
                </c:pt>
                <c:pt idx="1506">
                  <c:v>0.81599999999999995</c:v>
                </c:pt>
                <c:pt idx="1507">
                  <c:v>0.78400000000000003</c:v>
                </c:pt>
                <c:pt idx="1508">
                  <c:v>0.79900000000000004</c:v>
                </c:pt>
                <c:pt idx="1509">
                  <c:v>0.85</c:v>
                </c:pt>
                <c:pt idx="1510">
                  <c:v>0.4</c:v>
                </c:pt>
                <c:pt idx="1511">
                  <c:v>0.60599999999999998</c:v>
                </c:pt>
                <c:pt idx="1512">
                  <c:v>0.78800000000000003</c:v>
                </c:pt>
                <c:pt idx="1513">
                  <c:v>0.53300000000000003</c:v>
                </c:pt>
                <c:pt idx="1514">
                  <c:v>0.78900000000000003</c:v>
                </c:pt>
                <c:pt idx="1515">
                  <c:v>0.90500000000000003</c:v>
                </c:pt>
                <c:pt idx="1516">
                  <c:v>0.74399999999999999</c:v>
                </c:pt>
                <c:pt idx="1517">
                  <c:v>0.79700000000000004</c:v>
                </c:pt>
                <c:pt idx="1518">
                  <c:v>0.85299999999999998</c:v>
                </c:pt>
                <c:pt idx="1519">
                  <c:v>0.94899999999999995</c:v>
                </c:pt>
                <c:pt idx="1520">
                  <c:v>0.68200000000000005</c:v>
                </c:pt>
                <c:pt idx="1521">
                  <c:v>0.85099999999999998</c:v>
                </c:pt>
                <c:pt idx="1522">
                  <c:v>0.34899999999999998</c:v>
                </c:pt>
                <c:pt idx="1523">
                  <c:v>0.58699999999999997</c:v>
                </c:pt>
                <c:pt idx="1524">
                  <c:v>0.90800000000000003</c:v>
                </c:pt>
                <c:pt idx="1525">
                  <c:v>0.79600000000000004</c:v>
                </c:pt>
                <c:pt idx="1526">
                  <c:v>0.80600000000000005</c:v>
                </c:pt>
                <c:pt idx="1527">
                  <c:v>0.68</c:v>
                </c:pt>
                <c:pt idx="1528">
                  <c:v>0.88400000000000001</c:v>
                </c:pt>
                <c:pt idx="1529">
                  <c:v>0.79900000000000004</c:v>
                </c:pt>
                <c:pt idx="1530">
                  <c:v>0.55200000000000005</c:v>
                </c:pt>
                <c:pt idx="1531">
                  <c:v>0.84499999999999997</c:v>
                </c:pt>
                <c:pt idx="1532">
                  <c:v>0.83199999999999996</c:v>
                </c:pt>
                <c:pt idx="1533">
                  <c:v>0.71699999999999997</c:v>
                </c:pt>
                <c:pt idx="1534">
                  <c:v>0.70799999999999996</c:v>
                </c:pt>
                <c:pt idx="1535">
                  <c:v>0.877</c:v>
                </c:pt>
                <c:pt idx="1536">
                  <c:v>0.78700000000000003</c:v>
                </c:pt>
                <c:pt idx="1537">
                  <c:v>0.84599999999999997</c:v>
                </c:pt>
                <c:pt idx="1538">
                  <c:v>0.80600000000000005</c:v>
                </c:pt>
                <c:pt idx="1539">
                  <c:v>0.80800000000000005</c:v>
                </c:pt>
                <c:pt idx="1540">
                  <c:v>0.75800000000000001</c:v>
                </c:pt>
                <c:pt idx="1541">
                  <c:v>0.83699999999999997</c:v>
                </c:pt>
                <c:pt idx="1542">
                  <c:v>0.79400000000000004</c:v>
                </c:pt>
                <c:pt idx="1543">
                  <c:v>0.86199999999999999</c:v>
                </c:pt>
                <c:pt idx="1544">
                  <c:v>0.26300000000000001</c:v>
                </c:pt>
                <c:pt idx="1545">
                  <c:v>0.45300000000000001</c:v>
                </c:pt>
                <c:pt idx="1546">
                  <c:v>0.77800000000000002</c:v>
                </c:pt>
                <c:pt idx="1547">
                  <c:v>0.80800000000000005</c:v>
                </c:pt>
                <c:pt idx="1548">
                  <c:v>0.81499999999999995</c:v>
                </c:pt>
                <c:pt idx="1549">
                  <c:v>0.82599999999999996</c:v>
                </c:pt>
                <c:pt idx="1550">
                  <c:v>0.85799999999999998</c:v>
                </c:pt>
                <c:pt idx="1551">
                  <c:v>0.85899999999999999</c:v>
                </c:pt>
                <c:pt idx="1552">
                  <c:v>0.86099999999999999</c:v>
                </c:pt>
                <c:pt idx="1553">
                  <c:v>0.876</c:v>
                </c:pt>
                <c:pt idx="1554">
                  <c:v>0.88600000000000001</c:v>
                </c:pt>
                <c:pt idx="1555">
                  <c:v>0.89300000000000002</c:v>
                </c:pt>
                <c:pt idx="1556">
                  <c:v>0.90600000000000003</c:v>
                </c:pt>
                <c:pt idx="1557">
                  <c:v>0.91</c:v>
                </c:pt>
                <c:pt idx="1558">
                  <c:v>0.97699999999999998</c:v>
                </c:pt>
                <c:pt idx="1559">
                  <c:v>0.74</c:v>
                </c:pt>
                <c:pt idx="1560">
                  <c:v>0.66200000000000003</c:v>
                </c:pt>
                <c:pt idx="1561">
                  <c:v>0.73599999999999999</c:v>
                </c:pt>
                <c:pt idx="1562">
                  <c:v>0.53</c:v>
                </c:pt>
                <c:pt idx="1563">
                  <c:v>0.68700000000000006</c:v>
                </c:pt>
                <c:pt idx="1564">
                  <c:v>0.58599999999999997</c:v>
                </c:pt>
                <c:pt idx="1565">
                  <c:v>0.93300000000000005</c:v>
                </c:pt>
                <c:pt idx="1566">
                  <c:v>0.50900000000000001</c:v>
                </c:pt>
                <c:pt idx="1567">
                  <c:v>0.31900000000000001</c:v>
                </c:pt>
                <c:pt idx="1568">
                  <c:v>0.83799999999999997</c:v>
                </c:pt>
                <c:pt idx="1569">
                  <c:v>0.74</c:v>
                </c:pt>
                <c:pt idx="1570">
                  <c:v>0.47</c:v>
                </c:pt>
                <c:pt idx="1571">
                  <c:v>0.94199999999999995</c:v>
                </c:pt>
                <c:pt idx="1572">
                  <c:v>0.68700000000000006</c:v>
                </c:pt>
                <c:pt idx="1573">
                  <c:v>0.78700000000000003</c:v>
                </c:pt>
                <c:pt idx="1574">
                  <c:v>0.61699999999999999</c:v>
                </c:pt>
                <c:pt idx="1575">
                  <c:v>0.86799999999999999</c:v>
                </c:pt>
                <c:pt idx="1576">
                  <c:v>0.56699999999999995</c:v>
                </c:pt>
                <c:pt idx="1577">
                  <c:v>0.81899999999999995</c:v>
                </c:pt>
                <c:pt idx="1578">
                  <c:v>0.878</c:v>
                </c:pt>
                <c:pt idx="1579">
                  <c:v>0.58399999999999996</c:v>
                </c:pt>
                <c:pt idx="1580">
                  <c:v>0.82499999999999996</c:v>
                </c:pt>
                <c:pt idx="1581">
                  <c:v>0.86899999999999999</c:v>
                </c:pt>
                <c:pt idx="1582">
                  <c:v>0.76800000000000002</c:v>
                </c:pt>
                <c:pt idx="1583">
                  <c:v>0.92</c:v>
                </c:pt>
                <c:pt idx="1584">
                  <c:v>0.94699999999999995</c:v>
                </c:pt>
                <c:pt idx="1585">
                  <c:v>0.68600000000000005</c:v>
                </c:pt>
                <c:pt idx="1586">
                  <c:v>0.67500000000000004</c:v>
                </c:pt>
                <c:pt idx="1587">
                  <c:v>0.67800000000000005</c:v>
                </c:pt>
                <c:pt idx="1588">
                  <c:v>0.60099999999999998</c:v>
                </c:pt>
                <c:pt idx="1589">
                  <c:v>0.63300000000000001</c:v>
                </c:pt>
                <c:pt idx="1590">
                  <c:v>0.82299999999999995</c:v>
                </c:pt>
                <c:pt idx="1591">
                  <c:v>0.72399999999999998</c:v>
                </c:pt>
                <c:pt idx="1592">
                  <c:v>0.24199999999999999</c:v>
                </c:pt>
                <c:pt idx="1593">
                  <c:v>0.69399999999999995</c:v>
                </c:pt>
                <c:pt idx="1594">
                  <c:v>0.89500000000000002</c:v>
                </c:pt>
                <c:pt idx="1595">
                  <c:v>0.91900000000000004</c:v>
                </c:pt>
                <c:pt idx="1596">
                  <c:v>0.83299999999999996</c:v>
                </c:pt>
                <c:pt idx="1597">
                  <c:v>0.61799999999999999</c:v>
                </c:pt>
                <c:pt idx="1598">
                  <c:v>0.52600000000000002</c:v>
                </c:pt>
                <c:pt idx="1599">
                  <c:v>0.61599999999999999</c:v>
                </c:pt>
                <c:pt idx="1600">
                  <c:v>0.89800000000000002</c:v>
                </c:pt>
                <c:pt idx="1601">
                  <c:v>0.45600000000000002</c:v>
                </c:pt>
                <c:pt idx="1602">
                  <c:v>0.65600000000000003</c:v>
                </c:pt>
                <c:pt idx="1603">
                  <c:v>0.93400000000000005</c:v>
                </c:pt>
                <c:pt idx="1604">
                  <c:v>0.59</c:v>
                </c:pt>
                <c:pt idx="1605">
                  <c:v>0.78400000000000003</c:v>
                </c:pt>
                <c:pt idx="1606">
                  <c:v>0.88800000000000001</c:v>
                </c:pt>
                <c:pt idx="1607">
                  <c:v>0.93500000000000005</c:v>
                </c:pt>
                <c:pt idx="1608">
                  <c:v>0.55900000000000005</c:v>
                </c:pt>
                <c:pt idx="1609">
                  <c:v>0.91100000000000003</c:v>
                </c:pt>
                <c:pt idx="1610">
                  <c:v>0.90500000000000003</c:v>
                </c:pt>
                <c:pt idx="1611">
                  <c:v>0.74199999999999999</c:v>
                </c:pt>
                <c:pt idx="1612">
                  <c:v>0.91900000000000004</c:v>
                </c:pt>
                <c:pt idx="1613">
                  <c:v>0.879</c:v>
                </c:pt>
                <c:pt idx="1614">
                  <c:v>0.7</c:v>
                </c:pt>
                <c:pt idx="1615">
                  <c:v>0.88</c:v>
                </c:pt>
                <c:pt idx="1616">
                  <c:v>0.79400000000000004</c:v>
                </c:pt>
                <c:pt idx="1617">
                  <c:v>0.80300000000000005</c:v>
                </c:pt>
                <c:pt idx="1618">
                  <c:v>0.82199999999999995</c:v>
                </c:pt>
                <c:pt idx="1619">
                  <c:v>0.81299999999999994</c:v>
                </c:pt>
                <c:pt idx="1620">
                  <c:v>0.81499999999999995</c:v>
                </c:pt>
                <c:pt idx="1621">
                  <c:v>0.80500000000000005</c:v>
                </c:pt>
                <c:pt idx="1622">
                  <c:v>0.86</c:v>
                </c:pt>
                <c:pt idx="1623">
                  <c:v>0.623</c:v>
                </c:pt>
                <c:pt idx="1624">
                  <c:v>0.56999999999999995</c:v>
                </c:pt>
                <c:pt idx="1625">
                  <c:v>0.83699999999999997</c:v>
                </c:pt>
                <c:pt idx="1626">
                  <c:v>0.876</c:v>
                </c:pt>
                <c:pt idx="1627">
                  <c:v>0.96599999999999997</c:v>
                </c:pt>
                <c:pt idx="1628">
                  <c:v>0.29799999999999999</c:v>
                </c:pt>
                <c:pt idx="1629">
                  <c:v>0.51</c:v>
                </c:pt>
                <c:pt idx="1630">
                  <c:v>0.57399999999999995</c:v>
                </c:pt>
                <c:pt idx="1631">
                  <c:v>0.88900000000000001</c:v>
                </c:pt>
                <c:pt idx="1632">
                  <c:v>0.68100000000000005</c:v>
                </c:pt>
                <c:pt idx="1633">
                  <c:v>0.84599999999999997</c:v>
                </c:pt>
                <c:pt idx="1634">
                  <c:v>0.45700000000000002</c:v>
                </c:pt>
                <c:pt idx="1635">
                  <c:v>0.41599999999999998</c:v>
                </c:pt>
                <c:pt idx="1636">
                  <c:v>0.77500000000000002</c:v>
                </c:pt>
                <c:pt idx="1637">
                  <c:v>0.84799999999999998</c:v>
                </c:pt>
                <c:pt idx="1638">
                  <c:v>0.85299999999999998</c:v>
                </c:pt>
                <c:pt idx="1639">
                  <c:v>0.755</c:v>
                </c:pt>
                <c:pt idx="1640">
                  <c:v>0.81200000000000006</c:v>
                </c:pt>
                <c:pt idx="1641">
                  <c:v>0.72099999999999997</c:v>
                </c:pt>
                <c:pt idx="1642">
                  <c:v>0.77200000000000002</c:v>
                </c:pt>
                <c:pt idx="1643">
                  <c:v>0.80800000000000005</c:v>
                </c:pt>
                <c:pt idx="1644">
                  <c:v>0.88900000000000001</c:v>
                </c:pt>
                <c:pt idx="1645">
                  <c:v>0.89100000000000001</c:v>
                </c:pt>
                <c:pt idx="1646">
                  <c:v>0.92</c:v>
                </c:pt>
                <c:pt idx="1647">
                  <c:v>0.58299999999999996</c:v>
                </c:pt>
                <c:pt idx="1648">
                  <c:v>0.90100000000000002</c:v>
                </c:pt>
                <c:pt idx="1649">
                  <c:v>0.755</c:v>
                </c:pt>
                <c:pt idx="1650">
                  <c:v>0.92300000000000004</c:v>
                </c:pt>
                <c:pt idx="1651">
                  <c:v>0.71</c:v>
                </c:pt>
                <c:pt idx="1652">
                  <c:v>0.66100000000000003</c:v>
                </c:pt>
                <c:pt idx="1653">
                  <c:v>0.92600000000000005</c:v>
                </c:pt>
                <c:pt idx="1654">
                  <c:v>0.93100000000000005</c:v>
                </c:pt>
                <c:pt idx="1655">
                  <c:v>0.42</c:v>
                </c:pt>
                <c:pt idx="1656">
                  <c:v>0.877</c:v>
                </c:pt>
                <c:pt idx="1657">
                  <c:v>0.29899999999999999</c:v>
                </c:pt>
                <c:pt idx="1658">
                  <c:v>0.57099999999999995</c:v>
                </c:pt>
                <c:pt idx="1659">
                  <c:v>0.85099999999999998</c:v>
                </c:pt>
                <c:pt idx="1660">
                  <c:v>0.84299999999999997</c:v>
                </c:pt>
                <c:pt idx="1661">
                  <c:v>0.76600000000000001</c:v>
                </c:pt>
                <c:pt idx="1662">
                  <c:v>0.70399999999999996</c:v>
                </c:pt>
                <c:pt idx="1663">
                  <c:v>0.76900000000000002</c:v>
                </c:pt>
                <c:pt idx="1664">
                  <c:v>0.84499999999999997</c:v>
                </c:pt>
                <c:pt idx="1665">
                  <c:v>0.93100000000000005</c:v>
                </c:pt>
                <c:pt idx="1666">
                  <c:v>0.68899999999999995</c:v>
                </c:pt>
                <c:pt idx="1667">
                  <c:v>0.81799999999999995</c:v>
                </c:pt>
                <c:pt idx="1668">
                  <c:v>0.65300000000000002</c:v>
                </c:pt>
                <c:pt idx="1669">
                  <c:v>0.79800000000000004</c:v>
                </c:pt>
                <c:pt idx="1670">
                  <c:v>0.90800000000000003</c:v>
                </c:pt>
                <c:pt idx="1671">
                  <c:v>0.68100000000000005</c:v>
                </c:pt>
                <c:pt idx="1672">
                  <c:v>0.85099999999999998</c:v>
                </c:pt>
                <c:pt idx="1673">
                  <c:v>0</c:v>
                </c:pt>
                <c:pt idx="1674">
                  <c:v>0.57999999999999996</c:v>
                </c:pt>
                <c:pt idx="1675">
                  <c:v>0.70799999999999996</c:v>
                </c:pt>
                <c:pt idx="1676">
                  <c:v>0.65300000000000002</c:v>
                </c:pt>
                <c:pt idx="1677">
                  <c:v>0.23499999999999999</c:v>
                </c:pt>
                <c:pt idx="1678">
                  <c:v>0.59299999999999997</c:v>
                </c:pt>
                <c:pt idx="1679">
                  <c:v>0.90200000000000002</c:v>
                </c:pt>
                <c:pt idx="1680">
                  <c:v>0.96499999999999997</c:v>
                </c:pt>
                <c:pt idx="1681">
                  <c:v>0.69799999999999995</c:v>
                </c:pt>
                <c:pt idx="1682">
                  <c:v>0.84199999999999997</c:v>
                </c:pt>
                <c:pt idx="1683">
                  <c:v>0.69399999999999995</c:v>
                </c:pt>
                <c:pt idx="1684">
                  <c:v>0.88200000000000001</c:v>
                </c:pt>
                <c:pt idx="1685">
                  <c:v>0.50800000000000001</c:v>
                </c:pt>
                <c:pt idx="1686">
                  <c:v>0.39400000000000002</c:v>
                </c:pt>
                <c:pt idx="1687">
                  <c:v>0.81499999999999995</c:v>
                </c:pt>
                <c:pt idx="1688">
                  <c:v>0.82099999999999995</c:v>
                </c:pt>
                <c:pt idx="1689">
                  <c:v>0.89500000000000002</c:v>
                </c:pt>
                <c:pt idx="1690">
                  <c:v>0.77300000000000002</c:v>
                </c:pt>
                <c:pt idx="1691">
                  <c:v>0.70799999999999996</c:v>
                </c:pt>
                <c:pt idx="1692">
                  <c:v>0.74399999999999999</c:v>
                </c:pt>
                <c:pt idx="1693">
                  <c:v>0.89500000000000002</c:v>
                </c:pt>
                <c:pt idx="1694">
                  <c:v>0.94199999999999995</c:v>
                </c:pt>
                <c:pt idx="1695">
                  <c:v>0.442</c:v>
                </c:pt>
                <c:pt idx="1696">
                  <c:v>0.48599999999999999</c:v>
                </c:pt>
                <c:pt idx="1697">
                  <c:v>0.5</c:v>
                </c:pt>
                <c:pt idx="1698">
                  <c:v>0.83899999999999997</c:v>
                </c:pt>
                <c:pt idx="1699">
                  <c:v>0.82299999999999995</c:v>
                </c:pt>
                <c:pt idx="1700">
                  <c:v>0.316</c:v>
                </c:pt>
                <c:pt idx="1701">
                  <c:v>0.86</c:v>
                </c:pt>
                <c:pt idx="1702">
                  <c:v>0.86599999999999999</c:v>
                </c:pt>
                <c:pt idx="1703">
                  <c:v>0.83699999999999997</c:v>
                </c:pt>
                <c:pt idx="1704">
                  <c:v>0.79500000000000004</c:v>
                </c:pt>
                <c:pt idx="1705">
                  <c:v>0.78</c:v>
                </c:pt>
                <c:pt idx="1706">
                  <c:v>0.75900000000000001</c:v>
                </c:pt>
                <c:pt idx="1707">
                  <c:v>0.65300000000000002</c:v>
                </c:pt>
                <c:pt idx="1708">
                  <c:v>0.67800000000000005</c:v>
                </c:pt>
                <c:pt idx="1709">
                  <c:v>0.84199999999999997</c:v>
                </c:pt>
                <c:pt idx="1710">
                  <c:v>0.76600000000000001</c:v>
                </c:pt>
                <c:pt idx="1711">
                  <c:v>0.70099999999999996</c:v>
                </c:pt>
                <c:pt idx="1712">
                  <c:v>0.78</c:v>
                </c:pt>
                <c:pt idx="1713">
                  <c:v>0.88</c:v>
                </c:pt>
                <c:pt idx="1714">
                  <c:v>0.74299999999999999</c:v>
                </c:pt>
                <c:pt idx="1715">
                  <c:v>0.73299999999999998</c:v>
                </c:pt>
                <c:pt idx="1716">
                  <c:v>0.72299999999999998</c:v>
                </c:pt>
                <c:pt idx="1717">
                  <c:v>0.628</c:v>
                </c:pt>
                <c:pt idx="1718">
                  <c:v>0.49099999999999999</c:v>
                </c:pt>
                <c:pt idx="1719">
                  <c:v>0.68899999999999995</c:v>
                </c:pt>
                <c:pt idx="1720">
                  <c:v>0.71399999999999997</c:v>
                </c:pt>
                <c:pt idx="1721">
                  <c:v>0.73799999999999999</c:v>
                </c:pt>
                <c:pt idx="1722">
                  <c:v>0.79800000000000004</c:v>
                </c:pt>
                <c:pt idx="1723">
                  <c:v>0.80600000000000005</c:v>
                </c:pt>
                <c:pt idx="1724">
                  <c:v>0.9</c:v>
                </c:pt>
                <c:pt idx="1725">
                  <c:v>0.80900000000000005</c:v>
                </c:pt>
                <c:pt idx="1726">
                  <c:v>0.80700000000000005</c:v>
                </c:pt>
                <c:pt idx="1727">
                  <c:v>0.81799999999999995</c:v>
                </c:pt>
                <c:pt idx="1728">
                  <c:v>0.79500000000000004</c:v>
                </c:pt>
                <c:pt idx="1729">
                  <c:v>0.77100000000000002</c:v>
                </c:pt>
                <c:pt idx="1730">
                  <c:v>0.90400000000000003</c:v>
                </c:pt>
                <c:pt idx="1731">
                  <c:v>0.80500000000000005</c:v>
                </c:pt>
                <c:pt idx="1732">
                  <c:v>0.76</c:v>
                </c:pt>
                <c:pt idx="1733">
                  <c:v>0.76500000000000001</c:v>
                </c:pt>
                <c:pt idx="1734">
                  <c:v>0.88100000000000001</c:v>
                </c:pt>
                <c:pt idx="1735">
                  <c:v>0.36299999999999999</c:v>
                </c:pt>
                <c:pt idx="1736">
                  <c:v>0.71899999999999997</c:v>
                </c:pt>
                <c:pt idx="1737">
                  <c:v>0.57199999999999995</c:v>
                </c:pt>
                <c:pt idx="1738">
                  <c:v>0.73099999999999998</c:v>
                </c:pt>
                <c:pt idx="1739">
                  <c:v>0.73399999999999999</c:v>
                </c:pt>
                <c:pt idx="1740">
                  <c:v>0.93899999999999995</c:v>
                </c:pt>
                <c:pt idx="1741">
                  <c:v>0.72599999999999998</c:v>
                </c:pt>
                <c:pt idx="1742">
                  <c:v>0.93700000000000006</c:v>
                </c:pt>
                <c:pt idx="1743">
                  <c:v>0.90600000000000003</c:v>
                </c:pt>
                <c:pt idx="1744">
                  <c:v>0.64100000000000001</c:v>
                </c:pt>
                <c:pt idx="1745">
                  <c:v>0.78800000000000003</c:v>
                </c:pt>
                <c:pt idx="1746">
                  <c:v>0.83399999999999996</c:v>
                </c:pt>
                <c:pt idx="1747">
                  <c:v>0.61099999999999999</c:v>
                </c:pt>
                <c:pt idx="1748">
                  <c:v>0.85499999999999998</c:v>
                </c:pt>
                <c:pt idx="1749">
                  <c:v>0.54900000000000004</c:v>
                </c:pt>
                <c:pt idx="1750">
                  <c:v>0.59599999999999997</c:v>
                </c:pt>
                <c:pt idx="1751">
                  <c:v>0.63600000000000001</c:v>
                </c:pt>
                <c:pt idx="1752">
                  <c:v>0.92500000000000004</c:v>
                </c:pt>
                <c:pt idx="1753">
                  <c:v>0.93600000000000005</c:v>
                </c:pt>
                <c:pt idx="1754">
                  <c:v>0.94499999999999995</c:v>
                </c:pt>
                <c:pt idx="1755">
                  <c:v>0.94799999999999995</c:v>
                </c:pt>
                <c:pt idx="1756">
                  <c:v>0.72499999999999998</c:v>
                </c:pt>
                <c:pt idx="1757">
                  <c:v>0.71199999999999997</c:v>
                </c:pt>
                <c:pt idx="1758">
                  <c:v>0.66</c:v>
                </c:pt>
                <c:pt idx="1759">
                  <c:v>0.77600000000000002</c:v>
                </c:pt>
                <c:pt idx="1760">
                  <c:v>0.77</c:v>
                </c:pt>
                <c:pt idx="1761">
                  <c:v>0.91100000000000003</c:v>
                </c:pt>
                <c:pt idx="1762">
                  <c:v>0.70599999999999996</c:v>
                </c:pt>
                <c:pt idx="1763">
                  <c:v>0.61499999999999999</c:v>
                </c:pt>
                <c:pt idx="1764">
                  <c:v>0.77400000000000002</c:v>
                </c:pt>
                <c:pt idx="1765">
                  <c:v>0.88300000000000001</c:v>
                </c:pt>
                <c:pt idx="1766">
                  <c:v>0.629</c:v>
                </c:pt>
                <c:pt idx="1767">
                  <c:v>0.83899999999999997</c:v>
                </c:pt>
                <c:pt idx="1768">
                  <c:v>0.82</c:v>
                </c:pt>
                <c:pt idx="1769">
                  <c:v>0.82299999999999995</c:v>
                </c:pt>
                <c:pt idx="1770">
                  <c:v>0.83699999999999997</c:v>
                </c:pt>
                <c:pt idx="1771">
                  <c:v>0.28899999999999998</c:v>
                </c:pt>
                <c:pt idx="1772">
                  <c:v>0.874</c:v>
                </c:pt>
                <c:pt idx="1773">
                  <c:v>0.59199999999999997</c:v>
                </c:pt>
                <c:pt idx="1774">
                  <c:v>0.78800000000000003</c:v>
                </c:pt>
                <c:pt idx="1775">
                  <c:v>0.875</c:v>
                </c:pt>
                <c:pt idx="1776">
                  <c:v>0.41099999999999998</c:v>
                </c:pt>
                <c:pt idx="1777">
                  <c:v>0.68400000000000005</c:v>
                </c:pt>
                <c:pt idx="1778">
                  <c:v>0.76</c:v>
                </c:pt>
                <c:pt idx="1779">
                  <c:v>0.81399999999999995</c:v>
                </c:pt>
                <c:pt idx="1780">
                  <c:v>0.83899999999999997</c:v>
                </c:pt>
                <c:pt idx="1781">
                  <c:v>0.86599999999999999</c:v>
                </c:pt>
                <c:pt idx="1782">
                  <c:v>0.872</c:v>
                </c:pt>
                <c:pt idx="1783">
                  <c:v>0.90400000000000003</c:v>
                </c:pt>
                <c:pt idx="1784">
                  <c:v>0.90500000000000003</c:v>
                </c:pt>
                <c:pt idx="1785">
                  <c:v>0.95</c:v>
                </c:pt>
                <c:pt idx="1786">
                  <c:v>0.30299999999999999</c:v>
                </c:pt>
                <c:pt idx="1787">
                  <c:v>0.70799999999999996</c:v>
                </c:pt>
                <c:pt idx="1788">
                  <c:v>0.749</c:v>
                </c:pt>
                <c:pt idx="1789">
                  <c:v>0.89</c:v>
                </c:pt>
                <c:pt idx="1790">
                  <c:v>0.68799999999999994</c:v>
                </c:pt>
                <c:pt idx="1791">
                  <c:v>0.86</c:v>
                </c:pt>
                <c:pt idx="1792">
                  <c:v>0.59699999999999998</c:v>
                </c:pt>
                <c:pt idx="1793">
                  <c:v>0.88100000000000001</c:v>
                </c:pt>
                <c:pt idx="1794">
                  <c:v>0.89200000000000002</c:v>
                </c:pt>
                <c:pt idx="1795">
                  <c:v>0.54800000000000004</c:v>
                </c:pt>
                <c:pt idx="1796">
                  <c:v>0.79900000000000004</c:v>
                </c:pt>
                <c:pt idx="1797">
                  <c:v>0.94</c:v>
                </c:pt>
                <c:pt idx="1798">
                  <c:v>0.876</c:v>
                </c:pt>
                <c:pt idx="1799">
                  <c:v>0.79800000000000004</c:v>
                </c:pt>
                <c:pt idx="1800">
                  <c:v>0.83499999999999996</c:v>
                </c:pt>
                <c:pt idx="1801">
                  <c:v>0.88</c:v>
                </c:pt>
                <c:pt idx="1802">
                  <c:v>0.627</c:v>
                </c:pt>
                <c:pt idx="1803">
                  <c:v>0.85299999999999998</c:v>
                </c:pt>
                <c:pt idx="1804">
                  <c:v>0.91200000000000003</c:v>
                </c:pt>
                <c:pt idx="1805">
                  <c:v>0.78800000000000003</c:v>
                </c:pt>
                <c:pt idx="1806">
                  <c:v>0.84799999999999998</c:v>
                </c:pt>
                <c:pt idx="1807">
                  <c:v>0.84799999999999998</c:v>
                </c:pt>
                <c:pt idx="1808">
                  <c:v>0.76600000000000001</c:v>
                </c:pt>
                <c:pt idx="1809">
                  <c:v>0.59299999999999997</c:v>
                </c:pt>
                <c:pt idx="1810">
                  <c:v>0.73899999999999999</c:v>
                </c:pt>
                <c:pt idx="1811">
                  <c:v>0.73</c:v>
                </c:pt>
                <c:pt idx="1812">
                  <c:v>0.73199999999999998</c:v>
                </c:pt>
                <c:pt idx="1813">
                  <c:v>0.67200000000000004</c:v>
                </c:pt>
                <c:pt idx="1814">
                  <c:v>0.82099999999999995</c:v>
                </c:pt>
                <c:pt idx="1815">
                  <c:v>0.89200000000000002</c:v>
                </c:pt>
                <c:pt idx="1816">
                  <c:v>0.91300000000000003</c:v>
                </c:pt>
                <c:pt idx="1817">
                  <c:v>0.97899999999999998</c:v>
                </c:pt>
                <c:pt idx="1818">
                  <c:v>0.63600000000000001</c:v>
                </c:pt>
                <c:pt idx="1819">
                  <c:v>0.70199999999999996</c:v>
                </c:pt>
                <c:pt idx="1820">
                  <c:v>0.35299999999999998</c:v>
                </c:pt>
                <c:pt idx="1821">
                  <c:v>0.66</c:v>
                </c:pt>
                <c:pt idx="1822">
                  <c:v>0.75600000000000001</c:v>
                </c:pt>
                <c:pt idx="1823">
                  <c:v>0.47399999999999998</c:v>
                </c:pt>
                <c:pt idx="1824">
                  <c:v>0.82399999999999995</c:v>
                </c:pt>
                <c:pt idx="1825">
                  <c:v>0.81799999999999995</c:v>
                </c:pt>
                <c:pt idx="1826">
                  <c:v>0.86099999999999999</c:v>
                </c:pt>
                <c:pt idx="1827">
                  <c:v>0.86599999999999999</c:v>
                </c:pt>
                <c:pt idx="1828">
                  <c:v>0.83299999999999996</c:v>
                </c:pt>
                <c:pt idx="1829">
                  <c:v>0.42699999999999999</c:v>
                </c:pt>
                <c:pt idx="1830">
                  <c:v>0.81399999999999995</c:v>
                </c:pt>
                <c:pt idx="1831">
                  <c:v>0.4</c:v>
                </c:pt>
                <c:pt idx="1832">
                  <c:v>0.72099999999999997</c:v>
                </c:pt>
                <c:pt idx="1833">
                  <c:v>0.97099999999999997</c:v>
                </c:pt>
                <c:pt idx="1834">
                  <c:v>0.71099999999999997</c:v>
                </c:pt>
                <c:pt idx="1835">
                  <c:v>0.88700000000000001</c:v>
                </c:pt>
                <c:pt idx="1836">
                  <c:v>0.82899999999999996</c:v>
                </c:pt>
                <c:pt idx="1837">
                  <c:v>0.96399999999999997</c:v>
                </c:pt>
                <c:pt idx="1838">
                  <c:v>0.85799999999999998</c:v>
                </c:pt>
                <c:pt idx="1839">
                  <c:v>0.91200000000000003</c:v>
                </c:pt>
                <c:pt idx="1840">
                  <c:v>0.83199999999999996</c:v>
                </c:pt>
                <c:pt idx="1841">
                  <c:v>0.89500000000000002</c:v>
                </c:pt>
                <c:pt idx="1842">
                  <c:v>0.80600000000000005</c:v>
                </c:pt>
                <c:pt idx="1843">
                  <c:v>0.57799999999999996</c:v>
                </c:pt>
                <c:pt idx="1844">
                  <c:v>0.87</c:v>
                </c:pt>
                <c:pt idx="1845">
                  <c:v>0.92</c:v>
                </c:pt>
                <c:pt idx="1846">
                  <c:v>0.68100000000000005</c:v>
                </c:pt>
                <c:pt idx="1847">
                  <c:v>0.69699999999999995</c:v>
                </c:pt>
                <c:pt idx="1848">
                  <c:v>0.82599999999999996</c:v>
                </c:pt>
                <c:pt idx="1849">
                  <c:v>0.83</c:v>
                </c:pt>
                <c:pt idx="1850">
                  <c:v>0.72299999999999998</c:v>
                </c:pt>
                <c:pt idx="1851">
                  <c:v>0.94</c:v>
                </c:pt>
                <c:pt idx="1852">
                  <c:v>0.75800000000000001</c:v>
                </c:pt>
                <c:pt idx="1853">
                  <c:v>0.89400000000000002</c:v>
                </c:pt>
                <c:pt idx="1854">
                  <c:v>0.54900000000000004</c:v>
                </c:pt>
                <c:pt idx="1855">
                  <c:v>0.60899999999999999</c:v>
                </c:pt>
                <c:pt idx="1856">
                  <c:v>0.77900000000000003</c:v>
                </c:pt>
                <c:pt idx="1857">
                  <c:v>0.80200000000000005</c:v>
                </c:pt>
                <c:pt idx="1858">
                  <c:v>0.624</c:v>
                </c:pt>
                <c:pt idx="1859">
                  <c:v>0.66300000000000003</c:v>
                </c:pt>
                <c:pt idx="1860">
                  <c:v>0.81899999999999995</c:v>
                </c:pt>
                <c:pt idx="1861">
                  <c:v>0.79</c:v>
                </c:pt>
                <c:pt idx="1862">
                  <c:v>0.81499999999999995</c:v>
                </c:pt>
                <c:pt idx="1863">
                  <c:v>0.92600000000000005</c:v>
                </c:pt>
                <c:pt idx="1864">
                  <c:v>0.84099999999999997</c:v>
                </c:pt>
                <c:pt idx="1865">
                  <c:v>0.64100000000000001</c:v>
                </c:pt>
                <c:pt idx="1866">
                  <c:v>0.96799999999999997</c:v>
                </c:pt>
                <c:pt idx="1867">
                  <c:v>0.42499999999999999</c:v>
                </c:pt>
                <c:pt idx="1868">
                  <c:v>0.91400000000000003</c:v>
                </c:pt>
                <c:pt idx="1869">
                  <c:v>0.65400000000000003</c:v>
                </c:pt>
                <c:pt idx="1870">
                  <c:v>0.51100000000000001</c:v>
                </c:pt>
                <c:pt idx="1871">
                  <c:v>0.86499999999999999</c:v>
                </c:pt>
                <c:pt idx="1872">
                  <c:v>0.65900000000000003</c:v>
                </c:pt>
                <c:pt idx="1873">
                  <c:v>0.66500000000000004</c:v>
                </c:pt>
                <c:pt idx="1874">
                  <c:v>0.89</c:v>
                </c:pt>
                <c:pt idx="1875">
                  <c:v>0.83599999999999997</c:v>
                </c:pt>
                <c:pt idx="1876">
                  <c:v>0.83599999999999997</c:v>
                </c:pt>
                <c:pt idx="1877">
                  <c:v>0.59799999999999998</c:v>
                </c:pt>
                <c:pt idx="1878">
                  <c:v>0.90700000000000003</c:v>
                </c:pt>
                <c:pt idx="1879">
                  <c:v>0.93400000000000005</c:v>
                </c:pt>
                <c:pt idx="1880">
                  <c:v>0.624</c:v>
                </c:pt>
                <c:pt idx="1881">
                  <c:v>0.42499999999999999</c:v>
                </c:pt>
                <c:pt idx="1882">
                  <c:v>0.40899999999999997</c:v>
                </c:pt>
                <c:pt idx="1883">
                  <c:v>0.91100000000000003</c:v>
                </c:pt>
                <c:pt idx="1884">
                  <c:v>0.92</c:v>
                </c:pt>
                <c:pt idx="1885">
                  <c:v>0.98399999999999999</c:v>
                </c:pt>
                <c:pt idx="1886">
                  <c:v>0.875</c:v>
                </c:pt>
                <c:pt idx="1887">
                  <c:v>0.66300000000000003</c:v>
                </c:pt>
                <c:pt idx="1888">
                  <c:v>0.42099999999999999</c:v>
                </c:pt>
                <c:pt idx="1889">
                  <c:v>0.751</c:v>
                </c:pt>
                <c:pt idx="1890">
                  <c:v>0.80600000000000005</c:v>
                </c:pt>
                <c:pt idx="1891">
                  <c:v>0.69199999999999995</c:v>
                </c:pt>
                <c:pt idx="1892">
                  <c:v>0.755</c:v>
                </c:pt>
                <c:pt idx="1893">
                  <c:v>0.70099999999999996</c:v>
                </c:pt>
                <c:pt idx="1894">
                  <c:v>0.748</c:v>
                </c:pt>
                <c:pt idx="1895">
                  <c:v>0.755</c:v>
                </c:pt>
                <c:pt idx="1896">
                  <c:v>0.67300000000000004</c:v>
                </c:pt>
                <c:pt idx="1897">
                  <c:v>0.72799999999999998</c:v>
                </c:pt>
                <c:pt idx="1898">
                  <c:v>0.76500000000000001</c:v>
                </c:pt>
                <c:pt idx="1899">
                  <c:v>0.46</c:v>
                </c:pt>
                <c:pt idx="1900">
                  <c:v>0.56599999999999995</c:v>
                </c:pt>
                <c:pt idx="1901">
                  <c:v>0.86399999999999999</c:v>
                </c:pt>
                <c:pt idx="1902">
                  <c:v>0.89300000000000002</c:v>
                </c:pt>
                <c:pt idx="1903">
                  <c:v>0.92500000000000004</c:v>
                </c:pt>
                <c:pt idx="1904">
                  <c:v>0.67500000000000004</c:v>
                </c:pt>
                <c:pt idx="1905">
                  <c:v>0.69299999999999995</c:v>
                </c:pt>
                <c:pt idx="1906">
                  <c:v>0.81100000000000005</c:v>
                </c:pt>
                <c:pt idx="1907">
                  <c:v>0.57199999999999995</c:v>
                </c:pt>
                <c:pt idx="1908">
                  <c:v>0.55200000000000005</c:v>
                </c:pt>
                <c:pt idx="1909">
                  <c:v>0.626</c:v>
                </c:pt>
                <c:pt idx="1910">
                  <c:v>0.63600000000000001</c:v>
                </c:pt>
                <c:pt idx="1911">
                  <c:v>0.76900000000000002</c:v>
                </c:pt>
                <c:pt idx="1912">
                  <c:v>0.78600000000000003</c:v>
                </c:pt>
                <c:pt idx="1913">
                  <c:v>0.876</c:v>
                </c:pt>
                <c:pt idx="1914">
                  <c:v>0.82499999999999996</c:v>
                </c:pt>
                <c:pt idx="1915">
                  <c:v>0.77200000000000002</c:v>
                </c:pt>
                <c:pt idx="1916">
                  <c:v>0.76</c:v>
                </c:pt>
                <c:pt idx="1917">
                  <c:v>0.70299999999999996</c:v>
                </c:pt>
                <c:pt idx="1918">
                  <c:v>0.05</c:v>
                </c:pt>
                <c:pt idx="1919">
                  <c:v>0.84099999999999997</c:v>
                </c:pt>
                <c:pt idx="1920">
                  <c:v>0.90100000000000002</c:v>
                </c:pt>
                <c:pt idx="1921">
                  <c:v>0.90800000000000003</c:v>
                </c:pt>
                <c:pt idx="1922">
                  <c:v>0.92800000000000005</c:v>
                </c:pt>
                <c:pt idx="1923">
                  <c:v>0.67800000000000005</c:v>
                </c:pt>
                <c:pt idx="1924">
                  <c:v>0.40100000000000002</c:v>
                </c:pt>
                <c:pt idx="1925">
                  <c:v>0.81499999999999995</c:v>
                </c:pt>
                <c:pt idx="1926">
                  <c:v>0.66</c:v>
                </c:pt>
                <c:pt idx="1927">
                  <c:v>0.75700000000000001</c:v>
                </c:pt>
                <c:pt idx="1928">
                  <c:v>0.79600000000000004</c:v>
                </c:pt>
                <c:pt idx="1929">
                  <c:v>0.84799999999999998</c:v>
                </c:pt>
                <c:pt idx="1930">
                  <c:v>0.80600000000000005</c:v>
                </c:pt>
                <c:pt idx="1931">
                  <c:v>0.59399999999999997</c:v>
                </c:pt>
                <c:pt idx="1932">
                  <c:v>0.56000000000000005</c:v>
                </c:pt>
                <c:pt idx="1933">
                  <c:v>0.52</c:v>
                </c:pt>
                <c:pt idx="1934">
                  <c:v>0.85299999999999998</c:v>
                </c:pt>
                <c:pt idx="1935">
                  <c:v>0.875</c:v>
                </c:pt>
                <c:pt idx="1936">
                  <c:v>0.88600000000000001</c:v>
                </c:pt>
                <c:pt idx="1937">
                  <c:v>0.79900000000000004</c:v>
                </c:pt>
                <c:pt idx="1938">
                  <c:v>0.80100000000000005</c:v>
                </c:pt>
                <c:pt idx="1939">
                  <c:v>0.54500000000000004</c:v>
                </c:pt>
                <c:pt idx="1940">
                  <c:v>0.82</c:v>
                </c:pt>
                <c:pt idx="1941">
                  <c:v>0.82099999999999995</c:v>
                </c:pt>
                <c:pt idx="1942">
                  <c:v>0.86299999999999999</c:v>
                </c:pt>
                <c:pt idx="1943">
                  <c:v>0.88</c:v>
                </c:pt>
                <c:pt idx="1944">
                  <c:v>0.82699999999999996</c:v>
                </c:pt>
                <c:pt idx="1945">
                  <c:v>0.71599999999999997</c:v>
                </c:pt>
                <c:pt idx="1946">
                  <c:v>0.81100000000000005</c:v>
                </c:pt>
                <c:pt idx="1947">
                  <c:v>0.89500000000000002</c:v>
                </c:pt>
                <c:pt idx="1948">
                  <c:v>0.72099999999999997</c:v>
                </c:pt>
                <c:pt idx="1949">
                  <c:v>0.72599999999999998</c:v>
                </c:pt>
                <c:pt idx="1950">
                  <c:v>0.60199999999999998</c:v>
                </c:pt>
                <c:pt idx="1951">
                  <c:v>0.83599999999999997</c:v>
                </c:pt>
                <c:pt idx="1952">
                  <c:v>0.47</c:v>
                </c:pt>
                <c:pt idx="1953">
                  <c:v>0.38200000000000001</c:v>
                </c:pt>
                <c:pt idx="1954">
                  <c:v>0.67700000000000005</c:v>
                </c:pt>
                <c:pt idx="1955">
                  <c:v>0.70799999999999996</c:v>
                </c:pt>
                <c:pt idx="1956">
                  <c:v>0.77900000000000003</c:v>
                </c:pt>
                <c:pt idx="1957">
                  <c:v>0.88400000000000001</c:v>
                </c:pt>
                <c:pt idx="1958">
                  <c:v>0.89100000000000001</c:v>
                </c:pt>
                <c:pt idx="1959">
                  <c:v>0.91400000000000003</c:v>
                </c:pt>
                <c:pt idx="1960">
                  <c:v>0.92100000000000004</c:v>
                </c:pt>
                <c:pt idx="1961">
                  <c:v>0.40600000000000003</c:v>
                </c:pt>
                <c:pt idx="1962">
                  <c:v>0.64400000000000002</c:v>
                </c:pt>
                <c:pt idx="1963">
                  <c:v>0.35799999999999998</c:v>
                </c:pt>
                <c:pt idx="1964">
                  <c:v>0.65400000000000003</c:v>
                </c:pt>
                <c:pt idx="1965">
                  <c:v>0.84699999999999998</c:v>
                </c:pt>
                <c:pt idx="1966">
                  <c:v>0.82799999999999996</c:v>
                </c:pt>
                <c:pt idx="1967">
                  <c:v>0.77300000000000002</c:v>
                </c:pt>
                <c:pt idx="1968">
                  <c:v>0.83</c:v>
                </c:pt>
                <c:pt idx="1969">
                  <c:v>0.9</c:v>
                </c:pt>
                <c:pt idx="1970">
                  <c:v>0.84599999999999997</c:v>
                </c:pt>
                <c:pt idx="1971">
                  <c:v>0.88200000000000001</c:v>
                </c:pt>
                <c:pt idx="1972">
                  <c:v>0.317</c:v>
                </c:pt>
                <c:pt idx="1973">
                  <c:v>0.56999999999999995</c:v>
                </c:pt>
                <c:pt idx="1974">
                  <c:v>0.91800000000000004</c:v>
                </c:pt>
                <c:pt idx="1975">
                  <c:v>0.9</c:v>
                </c:pt>
                <c:pt idx="1976">
                  <c:v>0.88900000000000001</c:v>
                </c:pt>
                <c:pt idx="1977">
                  <c:v>0.56999999999999995</c:v>
                </c:pt>
                <c:pt idx="1978">
                  <c:v>0.94599999999999995</c:v>
                </c:pt>
                <c:pt idx="1979">
                  <c:v>0.92300000000000004</c:v>
                </c:pt>
                <c:pt idx="1980">
                  <c:v>0.80700000000000005</c:v>
                </c:pt>
                <c:pt idx="1981">
                  <c:v>0.67300000000000004</c:v>
                </c:pt>
                <c:pt idx="1982">
                  <c:v>0.78400000000000003</c:v>
                </c:pt>
                <c:pt idx="1983">
                  <c:v>0.86599999999999999</c:v>
                </c:pt>
                <c:pt idx="1984">
                  <c:v>0.91700000000000004</c:v>
                </c:pt>
                <c:pt idx="1985">
                  <c:v>0.74399999999999999</c:v>
                </c:pt>
                <c:pt idx="1986">
                  <c:v>0.76</c:v>
                </c:pt>
                <c:pt idx="1987">
                  <c:v>0.70199999999999996</c:v>
                </c:pt>
                <c:pt idx="1988">
                  <c:v>0.82399999999999995</c:v>
                </c:pt>
                <c:pt idx="1989">
                  <c:v>0.69899999999999995</c:v>
                </c:pt>
                <c:pt idx="1990">
                  <c:v>0.85899999999999999</c:v>
                </c:pt>
                <c:pt idx="1991">
                  <c:v>0.80900000000000005</c:v>
                </c:pt>
                <c:pt idx="1992">
                  <c:v>0.44700000000000001</c:v>
                </c:pt>
                <c:pt idx="1993">
                  <c:v>0.60599999999999998</c:v>
                </c:pt>
                <c:pt idx="1994">
                  <c:v>0.68899999999999995</c:v>
                </c:pt>
                <c:pt idx="1995">
                  <c:v>0.51800000000000002</c:v>
                </c:pt>
                <c:pt idx="1996">
                  <c:v>0.82899999999999996</c:v>
                </c:pt>
                <c:pt idx="1997">
                  <c:v>0.76</c:v>
                </c:pt>
                <c:pt idx="1998">
                  <c:v>0.88400000000000001</c:v>
                </c:pt>
                <c:pt idx="1999">
                  <c:v>0.90800000000000003</c:v>
                </c:pt>
                <c:pt idx="2000">
                  <c:v>0.83599999999999997</c:v>
                </c:pt>
                <c:pt idx="2001">
                  <c:v>0.78400000000000003</c:v>
                </c:pt>
                <c:pt idx="2002">
                  <c:v>0.95399999999999996</c:v>
                </c:pt>
                <c:pt idx="2003">
                  <c:v>0.76700000000000002</c:v>
                </c:pt>
                <c:pt idx="2004">
                  <c:v>0.80300000000000005</c:v>
                </c:pt>
                <c:pt idx="2005">
                  <c:v>0.69699999999999995</c:v>
                </c:pt>
                <c:pt idx="2006">
                  <c:v>0.81</c:v>
                </c:pt>
                <c:pt idx="2007">
                  <c:v>0.4</c:v>
                </c:pt>
                <c:pt idx="2008">
                  <c:v>0.91900000000000004</c:v>
                </c:pt>
                <c:pt idx="2009">
                  <c:v>0.70399999999999996</c:v>
                </c:pt>
                <c:pt idx="2010">
                  <c:v>0.47599999999999998</c:v>
                </c:pt>
                <c:pt idx="2011">
                  <c:v>0.83</c:v>
                </c:pt>
                <c:pt idx="2012">
                  <c:v>0.36799999999999999</c:v>
                </c:pt>
                <c:pt idx="2013">
                  <c:v>0.65100000000000002</c:v>
                </c:pt>
                <c:pt idx="2014">
                  <c:v>0.86199999999999999</c:v>
                </c:pt>
                <c:pt idx="2015">
                  <c:v>0.72499999999999998</c:v>
                </c:pt>
                <c:pt idx="2016">
                  <c:v>0.67100000000000004</c:v>
                </c:pt>
                <c:pt idx="2017">
                  <c:v>0.92300000000000004</c:v>
                </c:pt>
                <c:pt idx="2018">
                  <c:v>0.52200000000000002</c:v>
                </c:pt>
                <c:pt idx="2019">
                  <c:v>0.74099999999999999</c:v>
                </c:pt>
                <c:pt idx="2020">
                  <c:v>0.77600000000000002</c:v>
                </c:pt>
                <c:pt idx="2021">
                  <c:v>0.69799999999999995</c:v>
                </c:pt>
                <c:pt idx="2022">
                  <c:v>0.89400000000000002</c:v>
                </c:pt>
                <c:pt idx="2023">
                  <c:v>0.60899999999999999</c:v>
                </c:pt>
                <c:pt idx="2024">
                  <c:v>0.91200000000000003</c:v>
                </c:pt>
                <c:pt idx="2025">
                  <c:v>0.78100000000000003</c:v>
                </c:pt>
                <c:pt idx="2026">
                  <c:v>0.90800000000000003</c:v>
                </c:pt>
                <c:pt idx="2027">
                  <c:v>0.70699999999999996</c:v>
                </c:pt>
                <c:pt idx="2028">
                  <c:v>0.88</c:v>
                </c:pt>
                <c:pt idx="2029">
                  <c:v>0.33700000000000002</c:v>
                </c:pt>
                <c:pt idx="2030">
                  <c:v>0.74</c:v>
                </c:pt>
                <c:pt idx="2031">
                  <c:v>0.70799999999999996</c:v>
                </c:pt>
                <c:pt idx="2032">
                  <c:v>0.81699999999999995</c:v>
                </c:pt>
                <c:pt idx="2033">
                  <c:v>0.86199999999999999</c:v>
                </c:pt>
                <c:pt idx="2034">
                  <c:v>0.91700000000000004</c:v>
                </c:pt>
                <c:pt idx="2035">
                  <c:v>0.48</c:v>
                </c:pt>
                <c:pt idx="2036">
                  <c:v>0.375</c:v>
                </c:pt>
                <c:pt idx="2037">
                  <c:v>0.78500000000000003</c:v>
                </c:pt>
                <c:pt idx="2038">
                  <c:v>0.83699999999999997</c:v>
                </c:pt>
                <c:pt idx="2039">
                  <c:v>0.85799999999999998</c:v>
                </c:pt>
                <c:pt idx="2040">
                  <c:v>0.91100000000000003</c:v>
                </c:pt>
                <c:pt idx="2041">
                  <c:v>0.93100000000000005</c:v>
                </c:pt>
                <c:pt idx="2042">
                  <c:v>0.68</c:v>
                </c:pt>
                <c:pt idx="2043">
                  <c:v>0.82899999999999996</c:v>
                </c:pt>
                <c:pt idx="2044">
                  <c:v>0.69199999999999995</c:v>
                </c:pt>
                <c:pt idx="2045">
                  <c:v>0.90600000000000003</c:v>
                </c:pt>
                <c:pt idx="2046">
                  <c:v>0.746</c:v>
                </c:pt>
                <c:pt idx="2047">
                  <c:v>0.63300000000000001</c:v>
                </c:pt>
                <c:pt idx="2048">
                  <c:v>0.84499999999999997</c:v>
                </c:pt>
                <c:pt idx="2049">
                  <c:v>0.61299999999999999</c:v>
                </c:pt>
                <c:pt idx="2050">
                  <c:v>0.60599999999999998</c:v>
                </c:pt>
                <c:pt idx="2051">
                  <c:v>0.75900000000000001</c:v>
                </c:pt>
                <c:pt idx="2052">
                  <c:v>0.876</c:v>
                </c:pt>
                <c:pt idx="2053">
                  <c:v>0.376</c:v>
                </c:pt>
                <c:pt idx="2054">
                  <c:v>0.56200000000000006</c:v>
                </c:pt>
                <c:pt idx="2055">
                  <c:v>0.68899999999999995</c:v>
                </c:pt>
                <c:pt idx="2056">
                  <c:v>0.69799999999999995</c:v>
                </c:pt>
                <c:pt idx="2057">
                  <c:v>0.32400000000000001</c:v>
                </c:pt>
                <c:pt idx="2058">
                  <c:v>0.79300000000000004</c:v>
                </c:pt>
                <c:pt idx="2059">
                  <c:v>0.36299999999999999</c:v>
                </c:pt>
                <c:pt idx="2060">
                  <c:v>0.56999999999999995</c:v>
                </c:pt>
                <c:pt idx="2061">
                  <c:v>0.66500000000000004</c:v>
                </c:pt>
                <c:pt idx="2062">
                  <c:v>0.77400000000000002</c:v>
                </c:pt>
                <c:pt idx="2063">
                  <c:v>0.84299999999999997</c:v>
                </c:pt>
                <c:pt idx="2064">
                  <c:v>0.623</c:v>
                </c:pt>
                <c:pt idx="2065">
                  <c:v>0.85199999999999998</c:v>
                </c:pt>
                <c:pt idx="2066">
                  <c:v>0.20799999999999999</c:v>
                </c:pt>
                <c:pt idx="2067">
                  <c:v>0.84299999999999997</c:v>
                </c:pt>
                <c:pt idx="2068">
                  <c:v>0.70199999999999996</c:v>
                </c:pt>
                <c:pt idx="2069">
                  <c:v>0.77200000000000002</c:v>
                </c:pt>
                <c:pt idx="2070">
                  <c:v>0.64</c:v>
                </c:pt>
                <c:pt idx="2071">
                  <c:v>0.69</c:v>
                </c:pt>
                <c:pt idx="2072">
                  <c:v>0.33800000000000002</c:v>
                </c:pt>
                <c:pt idx="2073">
                  <c:v>0.54400000000000004</c:v>
                </c:pt>
                <c:pt idx="2074">
                  <c:v>0.81399999999999995</c:v>
                </c:pt>
                <c:pt idx="2075">
                  <c:v>0.91100000000000003</c:v>
                </c:pt>
                <c:pt idx="2076">
                  <c:v>0.63600000000000001</c:v>
                </c:pt>
                <c:pt idx="2077">
                  <c:v>0.57199999999999995</c:v>
                </c:pt>
                <c:pt idx="2078">
                  <c:v>0.70799999999999996</c:v>
                </c:pt>
                <c:pt idx="2079">
                  <c:v>0.89800000000000002</c:v>
                </c:pt>
                <c:pt idx="2080">
                  <c:v>0.84399999999999997</c:v>
                </c:pt>
                <c:pt idx="2081">
                  <c:v>0.875</c:v>
                </c:pt>
                <c:pt idx="2082">
                  <c:v>0.71899999999999997</c:v>
                </c:pt>
                <c:pt idx="2083">
                  <c:v>0.36599999999999999</c:v>
                </c:pt>
                <c:pt idx="2084">
                  <c:v>0.83899999999999997</c:v>
                </c:pt>
                <c:pt idx="2085">
                  <c:v>0.52100000000000002</c:v>
                </c:pt>
                <c:pt idx="2086">
                  <c:v>0.73399999999999999</c:v>
                </c:pt>
                <c:pt idx="2087">
                  <c:v>0.71399999999999997</c:v>
                </c:pt>
                <c:pt idx="2088">
                  <c:v>0.55500000000000005</c:v>
                </c:pt>
                <c:pt idx="2089">
                  <c:v>0.86699999999999999</c:v>
                </c:pt>
                <c:pt idx="2090">
                  <c:v>0.47399999999999998</c:v>
                </c:pt>
                <c:pt idx="2091">
                  <c:v>0.76900000000000002</c:v>
                </c:pt>
                <c:pt idx="2092">
                  <c:v>0.90200000000000002</c:v>
                </c:pt>
                <c:pt idx="2093">
                  <c:v>0.90900000000000003</c:v>
                </c:pt>
                <c:pt idx="2094">
                  <c:v>0.92100000000000004</c:v>
                </c:pt>
                <c:pt idx="2095">
                  <c:v>0.63400000000000001</c:v>
                </c:pt>
                <c:pt idx="2096">
                  <c:v>0.56499999999999995</c:v>
                </c:pt>
                <c:pt idx="2097">
                  <c:v>0.76</c:v>
                </c:pt>
                <c:pt idx="2098">
                  <c:v>0.81399999999999995</c:v>
                </c:pt>
                <c:pt idx="2099">
                  <c:v>0.52200000000000002</c:v>
                </c:pt>
                <c:pt idx="2100">
                  <c:v>0.76400000000000001</c:v>
                </c:pt>
                <c:pt idx="2101">
                  <c:v>0.51300000000000001</c:v>
                </c:pt>
                <c:pt idx="2102">
                  <c:v>0.58099999999999996</c:v>
                </c:pt>
                <c:pt idx="2103">
                  <c:v>0.45</c:v>
                </c:pt>
                <c:pt idx="2104">
                  <c:v>0.79700000000000004</c:v>
                </c:pt>
                <c:pt idx="2105">
                  <c:v>0.91300000000000003</c:v>
                </c:pt>
                <c:pt idx="2106">
                  <c:v>0.59599999999999997</c:v>
                </c:pt>
                <c:pt idx="2107">
                  <c:v>0.81100000000000005</c:v>
                </c:pt>
                <c:pt idx="2108">
                  <c:v>0.69399999999999995</c:v>
                </c:pt>
                <c:pt idx="2109">
                  <c:v>0.89</c:v>
                </c:pt>
                <c:pt idx="2110">
                  <c:v>0.59499999999999997</c:v>
                </c:pt>
                <c:pt idx="2111">
                  <c:v>0.85299999999999998</c:v>
                </c:pt>
                <c:pt idx="2112">
                  <c:v>0.83299999999999996</c:v>
                </c:pt>
                <c:pt idx="2113">
                  <c:v>0.68100000000000005</c:v>
                </c:pt>
                <c:pt idx="2114">
                  <c:v>0.83199999999999996</c:v>
                </c:pt>
                <c:pt idx="2115">
                  <c:v>0.69899999999999995</c:v>
                </c:pt>
                <c:pt idx="2116">
                  <c:v>0.70599999999999996</c:v>
                </c:pt>
                <c:pt idx="2117">
                  <c:v>0.69</c:v>
                </c:pt>
                <c:pt idx="2118">
                  <c:v>0.68100000000000005</c:v>
                </c:pt>
                <c:pt idx="2119">
                  <c:v>0.52300000000000002</c:v>
                </c:pt>
                <c:pt idx="2120">
                  <c:v>0.66700000000000004</c:v>
                </c:pt>
                <c:pt idx="2121">
                  <c:v>0.72699999999999998</c:v>
                </c:pt>
                <c:pt idx="2122">
                  <c:v>0.77600000000000002</c:v>
                </c:pt>
                <c:pt idx="2123">
                  <c:v>0.94299999999999995</c:v>
                </c:pt>
                <c:pt idx="2124">
                  <c:v>0.96899999999999997</c:v>
                </c:pt>
                <c:pt idx="2125">
                  <c:v>0.93899999999999995</c:v>
                </c:pt>
                <c:pt idx="2126">
                  <c:v>0.82299999999999995</c:v>
                </c:pt>
                <c:pt idx="2127">
                  <c:v>0.91300000000000003</c:v>
                </c:pt>
                <c:pt idx="2128">
                  <c:v>0.78900000000000003</c:v>
                </c:pt>
                <c:pt idx="2129">
                  <c:v>0.71499999999999997</c:v>
                </c:pt>
                <c:pt idx="2130">
                  <c:v>0.44900000000000001</c:v>
                </c:pt>
                <c:pt idx="2131">
                  <c:v>0.54700000000000004</c:v>
                </c:pt>
                <c:pt idx="2132">
                  <c:v>0.64</c:v>
                </c:pt>
                <c:pt idx="2133">
                  <c:v>0.77300000000000002</c:v>
                </c:pt>
                <c:pt idx="2134">
                  <c:v>0.76500000000000001</c:v>
                </c:pt>
                <c:pt idx="2135">
                  <c:v>0.80300000000000005</c:v>
                </c:pt>
                <c:pt idx="2136">
                  <c:v>0.94499999999999995</c:v>
                </c:pt>
                <c:pt idx="2137">
                  <c:v>0.16200000000000001</c:v>
                </c:pt>
                <c:pt idx="2138">
                  <c:v>0.41299999999999998</c:v>
                </c:pt>
                <c:pt idx="2139">
                  <c:v>0.93200000000000005</c:v>
                </c:pt>
                <c:pt idx="2140">
                  <c:v>0.68200000000000005</c:v>
                </c:pt>
                <c:pt idx="2141">
                  <c:v>0.80500000000000005</c:v>
                </c:pt>
                <c:pt idx="2142">
                  <c:v>0.47299999999999998</c:v>
                </c:pt>
                <c:pt idx="2143">
                  <c:v>0.83699999999999997</c:v>
                </c:pt>
                <c:pt idx="2144">
                  <c:v>0.65400000000000003</c:v>
                </c:pt>
                <c:pt idx="2145">
                  <c:v>0.42599999999999999</c:v>
                </c:pt>
                <c:pt idx="2146">
                  <c:v>0.54700000000000004</c:v>
                </c:pt>
                <c:pt idx="2147">
                  <c:v>0.81599999999999995</c:v>
                </c:pt>
                <c:pt idx="2148">
                  <c:v>0.80100000000000005</c:v>
                </c:pt>
                <c:pt idx="2149">
                  <c:v>0.38700000000000001</c:v>
                </c:pt>
                <c:pt idx="2150">
                  <c:v>0.83599999999999997</c:v>
                </c:pt>
                <c:pt idx="2151">
                  <c:v>0.92</c:v>
                </c:pt>
                <c:pt idx="2152">
                  <c:v>0.60099999999999998</c:v>
                </c:pt>
                <c:pt idx="2153">
                  <c:v>0.88800000000000001</c:v>
                </c:pt>
                <c:pt idx="2154">
                  <c:v>0.83799999999999997</c:v>
                </c:pt>
                <c:pt idx="2155">
                  <c:v>0.54800000000000004</c:v>
                </c:pt>
                <c:pt idx="2156">
                  <c:v>0.626</c:v>
                </c:pt>
                <c:pt idx="2157">
                  <c:v>0.628</c:v>
                </c:pt>
                <c:pt idx="2158">
                  <c:v>0.70399999999999996</c:v>
                </c:pt>
                <c:pt idx="2159">
                  <c:v>0.73299999999999998</c:v>
                </c:pt>
                <c:pt idx="2160">
                  <c:v>0.81699999999999995</c:v>
                </c:pt>
                <c:pt idx="2161">
                  <c:v>0.85599999999999998</c:v>
                </c:pt>
                <c:pt idx="2162">
                  <c:v>0.86699999999999999</c:v>
                </c:pt>
                <c:pt idx="2163">
                  <c:v>0.88500000000000001</c:v>
                </c:pt>
                <c:pt idx="2164">
                  <c:v>0.69299999999999995</c:v>
                </c:pt>
                <c:pt idx="2165">
                  <c:v>0.80100000000000005</c:v>
                </c:pt>
                <c:pt idx="2166">
                  <c:v>0.65100000000000002</c:v>
                </c:pt>
                <c:pt idx="2167">
                  <c:v>0.82799999999999996</c:v>
                </c:pt>
                <c:pt idx="2168">
                  <c:v>0.77600000000000002</c:v>
                </c:pt>
                <c:pt idx="2169">
                  <c:v>0.78700000000000003</c:v>
                </c:pt>
                <c:pt idx="2170">
                  <c:v>0.83</c:v>
                </c:pt>
                <c:pt idx="2171">
                  <c:v>0.73199999999999998</c:v>
                </c:pt>
                <c:pt idx="2172">
                  <c:v>0.84</c:v>
                </c:pt>
                <c:pt idx="2173">
                  <c:v>0.89</c:v>
                </c:pt>
                <c:pt idx="2174">
                  <c:v>0.84099999999999997</c:v>
                </c:pt>
                <c:pt idx="2175">
                  <c:v>0.33900000000000002</c:v>
                </c:pt>
                <c:pt idx="2176">
                  <c:v>0.74199999999999999</c:v>
                </c:pt>
                <c:pt idx="2177">
                  <c:v>0.77800000000000002</c:v>
                </c:pt>
                <c:pt idx="2178">
                  <c:v>0.57999999999999996</c:v>
                </c:pt>
                <c:pt idx="2179">
                  <c:v>0.623</c:v>
                </c:pt>
                <c:pt idx="2180">
                  <c:v>0.65</c:v>
                </c:pt>
                <c:pt idx="2181">
                  <c:v>0.94299999999999995</c:v>
                </c:pt>
                <c:pt idx="2182">
                  <c:v>0.75700000000000001</c:v>
                </c:pt>
                <c:pt idx="2183">
                  <c:v>0.44900000000000001</c:v>
                </c:pt>
                <c:pt idx="2184">
                  <c:v>0.84499999999999997</c:v>
                </c:pt>
                <c:pt idx="2185">
                  <c:v>0.52</c:v>
                </c:pt>
                <c:pt idx="2186">
                  <c:v>0.67500000000000004</c:v>
                </c:pt>
                <c:pt idx="2187">
                  <c:v>0.92</c:v>
                </c:pt>
                <c:pt idx="2188">
                  <c:v>0.94299999999999995</c:v>
                </c:pt>
                <c:pt idx="2189">
                  <c:v>0.54800000000000004</c:v>
                </c:pt>
                <c:pt idx="2190">
                  <c:v>0.72199999999999998</c:v>
                </c:pt>
                <c:pt idx="2191">
                  <c:v>0.80300000000000005</c:v>
                </c:pt>
                <c:pt idx="2192">
                  <c:v>0.73799999999999999</c:v>
                </c:pt>
                <c:pt idx="2193">
                  <c:v>0.67500000000000004</c:v>
                </c:pt>
                <c:pt idx="2194">
                  <c:v>0.69199999999999995</c:v>
                </c:pt>
                <c:pt idx="2195">
                  <c:v>0.81299999999999994</c:v>
                </c:pt>
                <c:pt idx="2196">
                  <c:v>0.81799999999999995</c:v>
                </c:pt>
                <c:pt idx="2197">
                  <c:v>0.9</c:v>
                </c:pt>
                <c:pt idx="2198">
                  <c:v>0.90200000000000002</c:v>
                </c:pt>
                <c:pt idx="2199">
                  <c:v>0.92500000000000004</c:v>
                </c:pt>
                <c:pt idx="2200">
                  <c:v>0.72399999999999998</c:v>
                </c:pt>
                <c:pt idx="2201">
                  <c:v>0.55600000000000005</c:v>
                </c:pt>
                <c:pt idx="2202">
                  <c:v>0.55100000000000005</c:v>
                </c:pt>
                <c:pt idx="2203">
                  <c:v>0.76100000000000001</c:v>
                </c:pt>
                <c:pt idx="2204">
                  <c:v>0.66300000000000003</c:v>
                </c:pt>
                <c:pt idx="2205">
                  <c:v>0.47699999999999998</c:v>
                </c:pt>
                <c:pt idx="2206">
                  <c:v>0.58099999999999996</c:v>
                </c:pt>
                <c:pt idx="2207">
                  <c:v>0.874</c:v>
                </c:pt>
                <c:pt idx="2208">
                  <c:v>0.64200000000000002</c:v>
                </c:pt>
                <c:pt idx="2209">
                  <c:v>0.63300000000000001</c:v>
                </c:pt>
                <c:pt idx="2210">
                  <c:v>0.66400000000000003</c:v>
                </c:pt>
                <c:pt idx="2211">
                  <c:v>0.432</c:v>
                </c:pt>
                <c:pt idx="2212">
                  <c:v>0.78400000000000003</c:v>
                </c:pt>
                <c:pt idx="2213">
                  <c:v>0.68200000000000005</c:v>
                </c:pt>
                <c:pt idx="2214">
                  <c:v>0.873</c:v>
                </c:pt>
                <c:pt idx="2215">
                  <c:v>0.65500000000000003</c:v>
                </c:pt>
                <c:pt idx="2216">
                  <c:v>0.83499999999999996</c:v>
                </c:pt>
                <c:pt idx="2217">
                  <c:v>0.94299999999999995</c:v>
                </c:pt>
                <c:pt idx="2218">
                  <c:v>0.55900000000000005</c:v>
                </c:pt>
                <c:pt idx="2219">
                  <c:v>0.45300000000000001</c:v>
                </c:pt>
                <c:pt idx="2220">
                  <c:v>0.61099999999999999</c:v>
                </c:pt>
                <c:pt idx="2221">
                  <c:v>0.73499999999999999</c:v>
                </c:pt>
                <c:pt idx="2222">
                  <c:v>0.63800000000000001</c:v>
                </c:pt>
                <c:pt idx="2223">
                  <c:v>0.66600000000000004</c:v>
                </c:pt>
                <c:pt idx="2224">
                  <c:v>0.77500000000000002</c:v>
                </c:pt>
                <c:pt idx="2225">
                  <c:v>0.35299999999999998</c:v>
                </c:pt>
                <c:pt idx="2226">
                  <c:v>0.70499999999999996</c:v>
                </c:pt>
                <c:pt idx="2227">
                  <c:v>0.64700000000000002</c:v>
                </c:pt>
                <c:pt idx="2228">
                  <c:v>0.84899999999999998</c:v>
                </c:pt>
                <c:pt idx="2229">
                  <c:v>0.68</c:v>
                </c:pt>
                <c:pt idx="2230">
                  <c:v>0.78800000000000003</c:v>
                </c:pt>
                <c:pt idx="2231">
                  <c:v>0.76900000000000002</c:v>
                </c:pt>
                <c:pt idx="2232">
                  <c:v>0.45400000000000001</c:v>
                </c:pt>
                <c:pt idx="2233">
                  <c:v>0.54700000000000004</c:v>
                </c:pt>
                <c:pt idx="2234">
                  <c:v>0.68700000000000006</c:v>
                </c:pt>
                <c:pt idx="2235">
                  <c:v>0.81499999999999995</c:v>
                </c:pt>
                <c:pt idx="2236">
                  <c:v>0.873</c:v>
                </c:pt>
                <c:pt idx="2237">
                  <c:v>0.88400000000000001</c:v>
                </c:pt>
                <c:pt idx="2238">
                  <c:v>0.90600000000000003</c:v>
                </c:pt>
                <c:pt idx="2239">
                  <c:v>0.32200000000000001</c:v>
                </c:pt>
                <c:pt idx="2240">
                  <c:v>0.80600000000000005</c:v>
                </c:pt>
                <c:pt idx="2241">
                  <c:v>0.79900000000000004</c:v>
                </c:pt>
                <c:pt idx="2242">
                  <c:v>0.307</c:v>
                </c:pt>
                <c:pt idx="2243">
                  <c:v>0.71899999999999997</c:v>
                </c:pt>
                <c:pt idx="2244">
                  <c:v>0.878</c:v>
                </c:pt>
                <c:pt idx="2245">
                  <c:v>0.64100000000000001</c:v>
                </c:pt>
                <c:pt idx="2246">
                  <c:v>0.754</c:v>
                </c:pt>
                <c:pt idx="2247">
                  <c:v>0.52200000000000002</c:v>
                </c:pt>
                <c:pt idx="2248">
                  <c:v>0.66800000000000004</c:v>
                </c:pt>
                <c:pt idx="2249">
                  <c:v>0.84199999999999997</c:v>
                </c:pt>
                <c:pt idx="2250">
                  <c:v>0.52500000000000002</c:v>
                </c:pt>
                <c:pt idx="2251">
                  <c:v>0.77500000000000002</c:v>
                </c:pt>
                <c:pt idx="2252">
                  <c:v>0.69399999999999995</c:v>
                </c:pt>
                <c:pt idx="2253">
                  <c:v>0.83</c:v>
                </c:pt>
                <c:pt idx="2254">
                  <c:v>0.71199999999999997</c:v>
                </c:pt>
                <c:pt idx="2255">
                  <c:v>0.86499999999999999</c:v>
                </c:pt>
                <c:pt idx="2256">
                  <c:v>0.85299999999999998</c:v>
                </c:pt>
                <c:pt idx="2257">
                  <c:v>0.58499999999999996</c:v>
                </c:pt>
                <c:pt idx="2258">
                  <c:v>0.76900000000000002</c:v>
                </c:pt>
                <c:pt idx="2259">
                  <c:v>0.82599999999999996</c:v>
                </c:pt>
                <c:pt idx="2260">
                  <c:v>0.57399999999999995</c:v>
                </c:pt>
                <c:pt idx="2261">
                  <c:v>0.89500000000000002</c:v>
                </c:pt>
                <c:pt idx="2262">
                  <c:v>0.59499999999999997</c:v>
                </c:pt>
                <c:pt idx="2263">
                  <c:v>0.64</c:v>
                </c:pt>
                <c:pt idx="2264">
                  <c:v>0.55900000000000005</c:v>
                </c:pt>
                <c:pt idx="2265">
                  <c:v>0.77100000000000002</c:v>
                </c:pt>
                <c:pt idx="2266">
                  <c:v>0.76100000000000001</c:v>
                </c:pt>
                <c:pt idx="2267">
                  <c:v>0.68500000000000005</c:v>
                </c:pt>
                <c:pt idx="2268">
                  <c:v>0.89600000000000002</c:v>
                </c:pt>
                <c:pt idx="2269">
                  <c:v>0.45700000000000002</c:v>
                </c:pt>
                <c:pt idx="2270">
                  <c:v>0.745</c:v>
                </c:pt>
                <c:pt idx="2271">
                  <c:v>0.86099999999999999</c:v>
                </c:pt>
                <c:pt idx="2272">
                  <c:v>0.88900000000000001</c:v>
                </c:pt>
                <c:pt idx="2273">
                  <c:v>0.61599999999999999</c:v>
                </c:pt>
                <c:pt idx="2274">
                  <c:v>0.83199999999999996</c:v>
                </c:pt>
                <c:pt idx="2275">
                  <c:v>0.69</c:v>
                </c:pt>
                <c:pt idx="2276">
                  <c:v>0.90500000000000003</c:v>
                </c:pt>
                <c:pt idx="2277">
                  <c:v>0.64300000000000002</c:v>
                </c:pt>
                <c:pt idx="2278">
                  <c:v>0.94</c:v>
                </c:pt>
                <c:pt idx="2279">
                  <c:v>0.78100000000000003</c:v>
                </c:pt>
                <c:pt idx="2280">
                  <c:v>0.871</c:v>
                </c:pt>
                <c:pt idx="2281">
                  <c:v>0.73699999999999999</c:v>
                </c:pt>
                <c:pt idx="2282">
                  <c:v>0.73899999999999999</c:v>
                </c:pt>
                <c:pt idx="2283">
                  <c:v>0.372</c:v>
                </c:pt>
                <c:pt idx="2284">
                  <c:v>0.59599999999999997</c:v>
                </c:pt>
                <c:pt idx="2285">
                  <c:v>0.95599999999999996</c:v>
                </c:pt>
                <c:pt idx="2286">
                  <c:v>0.77900000000000003</c:v>
                </c:pt>
                <c:pt idx="2287">
                  <c:v>0.72499999999999998</c:v>
                </c:pt>
                <c:pt idx="2288">
                  <c:v>0.76900000000000002</c:v>
                </c:pt>
                <c:pt idx="2289">
                  <c:v>0.54800000000000004</c:v>
                </c:pt>
                <c:pt idx="2290">
                  <c:v>0.90800000000000003</c:v>
                </c:pt>
                <c:pt idx="2291">
                  <c:v>0.44900000000000001</c:v>
                </c:pt>
                <c:pt idx="2292">
                  <c:v>0.81100000000000005</c:v>
                </c:pt>
                <c:pt idx="2293">
                  <c:v>0.622</c:v>
                </c:pt>
                <c:pt idx="2294">
                  <c:v>0.70099999999999996</c:v>
                </c:pt>
                <c:pt idx="2295">
                  <c:v>0.70099999999999996</c:v>
                </c:pt>
                <c:pt idx="2296">
                  <c:v>0.71599999999999997</c:v>
                </c:pt>
                <c:pt idx="2297">
                  <c:v>0.61499999999999999</c:v>
                </c:pt>
                <c:pt idx="2298">
                  <c:v>0.47499999999999998</c:v>
                </c:pt>
                <c:pt idx="2299">
                  <c:v>0.36699999999999999</c:v>
                </c:pt>
                <c:pt idx="2300">
                  <c:v>0.86699999999999999</c:v>
                </c:pt>
                <c:pt idx="2301">
                  <c:v>0.73799999999999999</c:v>
                </c:pt>
                <c:pt idx="2302">
                  <c:v>0.371</c:v>
                </c:pt>
                <c:pt idx="2303">
                  <c:v>0.50700000000000001</c:v>
                </c:pt>
                <c:pt idx="2304">
                  <c:v>0.85399999999999998</c:v>
                </c:pt>
                <c:pt idx="2305">
                  <c:v>0.67300000000000004</c:v>
                </c:pt>
                <c:pt idx="2306">
                  <c:v>0.64100000000000001</c:v>
                </c:pt>
                <c:pt idx="2307">
                  <c:v>0.68799999999999994</c:v>
                </c:pt>
                <c:pt idx="2308">
                  <c:v>0.91</c:v>
                </c:pt>
                <c:pt idx="2309">
                  <c:v>0.72</c:v>
                </c:pt>
                <c:pt idx="2310">
                  <c:v>0.77400000000000002</c:v>
                </c:pt>
                <c:pt idx="2311">
                  <c:v>0.748</c:v>
                </c:pt>
                <c:pt idx="2312">
                  <c:v>0.42399999999999999</c:v>
                </c:pt>
                <c:pt idx="2313">
                  <c:v>0.52500000000000002</c:v>
                </c:pt>
                <c:pt idx="2314">
                  <c:v>0.26400000000000001</c:v>
                </c:pt>
                <c:pt idx="2315">
                  <c:v>0.871</c:v>
                </c:pt>
                <c:pt idx="2316">
                  <c:v>0.503</c:v>
                </c:pt>
                <c:pt idx="2317">
                  <c:v>0.73899999999999999</c:v>
                </c:pt>
                <c:pt idx="2318">
                  <c:v>0.63900000000000001</c:v>
                </c:pt>
                <c:pt idx="2319">
                  <c:v>0.54300000000000004</c:v>
                </c:pt>
                <c:pt idx="2320">
                  <c:v>0.57999999999999996</c:v>
                </c:pt>
                <c:pt idx="2321">
                  <c:v>0.68200000000000005</c:v>
                </c:pt>
                <c:pt idx="2322">
                  <c:v>0.61199999999999999</c:v>
                </c:pt>
                <c:pt idx="2323">
                  <c:v>0.65</c:v>
                </c:pt>
                <c:pt idx="2324">
                  <c:v>0.68400000000000005</c:v>
                </c:pt>
                <c:pt idx="2325">
                  <c:v>0.63800000000000001</c:v>
                </c:pt>
                <c:pt idx="2326">
                  <c:v>0.29699999999999999</c:v>
                </c:pt>
                <c:pt idx="2327">
                  <c:v>0.371</c:v>
                </c:pt>
                <c:pt idx="2328">
                  <c:v>0.4</c:v>
                </c:pt>
                <c:pt idx="2329">
                  <c:v>0.50600000000000001</c:v>
                </c:pt>
                <c:pt idx="2330">
                  <c:v>0.56299999999999994</c:v>
                </c:pt>
                <c:pt idx="2331">
                  <c:v>0.63800000000000001</c:v>
                </c:pt>
                <c:pt idx="2332">
                  <c:v>0.66700000000000004</c:v>
                </c:pt>
                <c:pt idx="2333">
                  <c:v>0.74199999999999999</c:v>
                </c:pt>
                <c:pt idx="2334">
                  <c:v>0.78900000000000003</c:v>
                </c:pt>
                <c:pt idx="2335">
                  <c:v>0.79100000000000004</c:v>
                </c:pt>
                <c:pt idx="2336">
                  <c:v>0.81</c:v>
                </c:pt>
                <c:pt idx="2337">
                  <c:v>0.86499999999999999</c:v>
                </c:pt>
                <c:pt idx="2338">
                  <c:v>0.86699999999999999</c:v>
                </c:pt>
                <c:pt idx="2339">
                  <c:v>0.89600000000000002</c:v>
                </c:pt>
                <c:pt idx="2340">
                  <c:v>0.89600000000000002</c:v>
                </c:pt>
                <c:pt idx="2341">
                  <c:v>0.91</c:v>
                </c:pt>
                <c:pt idx="2342">
                  <c:v>0.91800000000000004</c:v>
                </c:pt>
                <c:pt idx="2343">
                  <c:v>0.92800000000000005</c:v>
                </c:pt>
                <c:pt idx="2344">
                  <c:v>0.93100000000000005</c:v>
                </c:pt>
                <c:pt idx="2345">
                  <c:v>0.94099999999999995</c:v>
                </c:pt>
                <c:pt idx="2346">
                  <c:v>0.97</c:v>
                </c:pt>
                <c:pt idx="2347">
                  <c:v>0.44800000000000001</c:v>
                </c:pt>
                <c:pt idx="2348">
                  <c:v>0.70599999999999996</c:v>
                </c:pt>
                <c:pt idx="2349">
                  <c:v>0.48</c:v>
                </c:pt>
                <c:pt idx="2350">
                  <c:v>0.77900000000000003</c:v>
                </c:pt>
                <c:pt idx="2351">
                  <c:v>0.51800000000000002</c:v>
                </c:pt>
                <c:pt idx="2352">
                  <c:v>0.82399999999999995</c:v>
                </c:pt>
                <c:pt idx="2353">
                  <c:v>0.90600000000000003</c:v>
                </c:pt>
                <c:pt idx="2354">
                  <c:v>0.497</c:v>
                </c:pt>
                <c:pt idx="2355">
                  <c:v>0.69799999999999995</c:v>
                </c:pt>
                <c:pt idx="2356">
                  <c:v>0.19700000000000001</c:v>
                </c:pt>
                <c:pt idx="2357">
                  <c:v>0.72199999999999998</c:v>
                </c:pt>
                <c:pt idx="2358">
                  <c:v>0.68400000000000005</c:v>
                </c:pt>
                <c:pt idx="2359">
                  <c:v>0.223</c:v>
                </c:pt>
                <c:pt idx="2360">
                  <c:v>0.59399999999999997</c:v>
                </c:pt>
                <c:pt idx="2361">
                  <c:v>0.70899999999999996</c:v>
                </c:pt>
                <c:pt idx="2362">
                  <c:v>0.57599999999999996</c:v>
                </c:pt>
                <c:pt idx="2363">
                  <c:v>0.84699999999999998</c:v>
                </c:pt>
                <c:pt idx="2364">
                  <c:v>0.34899999999999998</c:v>
                </c:pt>
                <c:pt idx="2365">
                  <c:v>0.495</c:v>
                </c:pt>
                <c:pt idx="2366">
                  <c:v>0.79100000000000004</c:v>
                </c:pt>
                <c:pt idx="2367">
                  <c:v>0.76800000000000002</c:v>
                </c:pt>
                <c:pt idx="2368">
                  <c:v>0.32700000000000001</c:v>
                </c:pt>
                <c:pt idx="2369">
                  <c:v>0.67700000000000005</c:v>
                </c:pt>
                <c:pt idx="2370">
                  <c:v>0.66400000000000003</c:v>
                </c:pt>
                <c:pt idx="2371">
                  <c:v>0.71399999999999997</c:v>
                </c:pt>
                <c:pt idx="2372">
                  <c:v>0.80300000000000005</c:v>
                </c:pt>
                <c:pt idx="2373">
                  <c:v>0.82099999999999995</c:v>
                </c:pt>
                <c:pt idx="2374">
                  <c:v>0.51500000000000001</c:v>
                </c:pt>
                <c:pt idx="2375">
                  <c:v>0.72</c:v>
                </c:pt>
                <c:pt idx="2376">
                  <c:v>0.89</c:v>
                </c:pt>
                <c:pt idx="2377">
                  <c:v>0.45700000000000002</c:v>
                </c:pt>
                <c:pt idx="2378">
                  <c:v>0.55800000000000005</c:v>
                </c:pt>
                <c:pt idx="2379">
                  <c:v>0.86899999999999999</c:v>
                </c:pt>
                <c:pt idx="2380">
                  <c:v>0.875</c:v>
                </c:pt>
                <c:pt idx="2381">
                  <c:v>0.72899999999999998</c:v>
                </c:pt>
                <c:pt idx="2382">
                  <c:v>0.55200000000000005</c:v>
                </c:pt>
                <c:pt idx="2383">
                  <c:v>0.67</c:v>
                </c:pt>
                <c:pt idx="2384">
                  <c:v>0.626</c:v>
                </c:pt>
                <c:pt idx="2385">
                  <c:v>0.84099999999999997</c:v>
                </c:pt>
                <c:pt idx="2386">
                  <c:v>0.877</c:v>
                </c:pt>
                <c:pt idx="2387">
                  <c:v>0.85799999999999998</c:v>
                </c:pt>
                <c:pt idx="2388">
                  <c:v>0.36499999999999999</c:v>
                </c:pt>
                <c:pt idx="2389">
                  <c:v>0.82899999999999996</c:v>
                </c:pt>
                <c:pt idx="2390">
                  <c:v>0.59799999999999998</c:v>
                </c:pt>
                <c:pt idx="2391">
                  <c:v>0.74299999999999999</c:v>
                </c:pt>
                <c:pt idx="2392">
                  <c:v>0.77700000000000002</c:v>
                </c:pt>
                <c:pt idx="2393">
                  <c:v>0.92600000000000005</c:v>
                </c:pt>
                <c:pt idx="2394">
                  <c:v>0.81799999999999995</c:v>
                </c:pt>
                <c:pt idx="2395">
                  <c:v>0.70699999999999996</c:v>
                </c:pt>
                <c:pt idx="2396">
                  <c:v>0.48399999999999999</c:v>
                </c:pt>
                <c:pt idx="2397">
                  <c:v>0.76300000000000001</c:v>
                </c:pt>
                <c:pt idx="2398">
                  <c:v>0.84299999999999997</c:v>
                </c:pt>
                <c:pt idx="2399">
                  <c:v>0.86099999999999999</c:v>
                </c:pt>
                <c:pt idx="2400">
                  <c:v>0.94199999999999995</c:v>
                </c:pt>
                <c:pt idx="2401">
                  <c:v>0.71699999999999997</c:v>
                </c:pt>
                <c:pt idx="2402">
                  <c:v>0.56100000000000005</c:v>
                </c:pt>
                <c:pt idx="2403">
                  <c:v>0.81399999999999995</c:v>
                </c:pt>
                <c:pt idx="2404">
                  <c:v>0.48699999999999999</c:v>
                </c:pt>
                <c:pt idx="2405">
                  <c:v>0.89300000000000002</c:v>
                </c:pt>
                <c:pt idx="2406">
                  <c:v>0.83899999999999997</c:v>
                </c:pt>
                <c:pt idx="2407">
                  <c:v>0.72599999999999998</c:v>
                </c:pt>
                <c:pt idx="2408">
                  <c:v>0.68700000000000006</c:v>
                </c:pt>
                <c:pt idx="2409">
                  <c:v>0.82899999999999996</c:v>
                </c:pt>
                <c:pt idx="2410">
                  <c:v>0.79200000000000004</c:v>
                </c:pt>
                <c:pt idx="2411">
                  <c:v>0.86199999999999999</c:v>
                </c:pt>
                <c:pt idx="2412">
                  <c:v>0.76200000000000001</c:v>
                </c:pt>
                <c:pt idx="2413">
                  <c:v>0.64100000000000001</c:v>
                </c:pt>
                <c:pt idx="2414">
                  <c:v>0.79400000000000004</c:v>
                </c:pt>
                <c:pt idx="2415">
                  <c:v>0.84699999999999998</c:v>
                </c:pt>
                <c:pt idx="2416">
                  <c:v>0.36399999999999999</c:v>
                </c:pt>
                <c:pt idx="2417">
                  <c:v>0.59899999999999998</c:v>
                </c:pt>
                <c:pt idx="2418">
                  <c:v>0.32</c:v>
                </c:pt>
                <c:pt idx="2419">
                  <c:v>0.54700000000000004</c:v>
                </c:pt>
                <c:pt idx="2420">
                  <c:v>0.56299999999999994</c:v>
                </c:pt>
                <c:pt idx="2421">
                  <c:v>0.77900000000000003</c:v>
                </c:pt>
                <c:pt idx="2422">
                  <c:v>0.68</c:v>
                </c:pt>
                <c:pt idx="2423">
                  <c:v>0.878</c:v>
                </c:pt>
                <c:pt idx="2424">
                  <c:v>0.59799999999999998</c:v>
                </c:pt>
                <c:pt idx="2425">
                  <c:v>0.71699999999999997</c:v>
                </c:pt>
                <c:pt idx="2426">
                  <c:v>0.76500000000000001</c:v>
                </c:pt>
                <c:pt idx="2427">
                  <c:v>0.61299999999999999</c:v>
                </c:pt>
                <c:pt idx="2428">
                  <c:v>0.75900000000000001</c:v>
                </c:pt>
                <c:pt idx="2429">
                  <c:v>0.70099999999999996</c:v>
                </c:pt>
                <c:pt idx="2430">
                  <c:v>0.75600000000000001</c:v>
                </c:pt>
                <c:pt idx="2431">
                  <c:v>0.77800000000000002</c:v>
                </c:pt>
                <c:pt idx="2432">
                  <c:v>0.93799999999999994</c:v>
                </c:pt>
                <c:pt idx="2433">
                  <c:v>0.49099999999999999</c:v>
                </c:pt>
                <c:pt idx="2434">
                  <c:v>0.81699999999999995</c:v>
                </c:pt>
                <c:pt idx="2435">
                  <c:v>0.65800000000000003</c:v>
                </c:pt>
                <c:pt idx="2436">
                  <c:v>0.81399999999999995</c:v>
                </c:pt>
                <c:pt idx="2437">
                  <c:v>0.92800000000000005</c:v>
                </c:pt>
                <c:pt idx="2438">
                  <c:v>0.69</c:v>
                </c:pt>
                <c:pt idx="2439">
                  <c:v>0.78200000000000003</c:v>
                </c:pt>
                <c:pt idx="2440">
                  <c:v>0.81699999999999995</c:v>
                </c:pt>
                <c:pt idx="2441">
                  <c:v>0.84099999999999997</c:v>
                </c:pt>
                <c:pt idx="2442">
                  <c:v>0.46500000000000002</c:v>
                </c:pt>
                <c:pt idx="2443">
                  <c:v>0.44400000000000001</c:v>
                </c:pt>
                <c:pt idx="2444">
                  <c:v>0.52500000000000002</c:v>
                </c:pt>
                <c:pt idx="2445">
                  <c:v>0.747</c:v>
                </c:pt>
                <c:pt idx="2446">
                  <c:v>0.67500000000000004</c:v>
                </c:pt>
                <c:pt idx="2447">
                  <c:v>0.78900000000000003</c:v>
                </c:pt>
                <c:pt idx="2448">
                  <c:v>0.83899999999999997</c:v>
                </c:pt>
                <c:pt idx="2449">
                  <c:v>0.71499999999999997</c:v>
                </c:pt>
                <c:pt idx="2450">
                  <c:v>0.871</c:v>
                </c:pt>
                <c:pt idx="2451">
                  <c:v>0.434</c:v>
                </c:pt>
                <c:pt idx="2452">
                  <c:v>0.67600000000000005</c:v>
                </c:pt>
                <c:pt idx="2453">
                  <c:v>0.74299999999999999</c:v>
                </c:pt>
                <c:pt idx="2454">
                  <c:v>0.69</c:v>
                </c:pt>
                <c:pt idx="2455">
                  <c:v>0.85199999999999998</c:v>
                </c:pt>
                <c:pt idx="2456">
                  <c:v>0.47399999999999998</c:v>
                </c:pt>
                <c:pt idx="2457">
                  <c:v>0.61399999999999999</c:v>
                </c:pt>
                <c:pt idx="2458">
                  <c:v>0.68500000000000005</c:v>
                </c:pt>
                <c:pt idx="2459">
                  <c:v>0.81100000000000005</c:v>
                </c:pt>
                <c:pt idx="2460">
                  <c:v>0.38500000000000001</c:v>
                </c:pt>
                <c:pt idx="2461">
                  <c:v>0.83299999999999996</c:v>
                </c:pt>
                <c:pt idx="2462">
                  <c:v>0.504</c:v>
                </c:pt>
                <c:pt idx="2463">
                  <c:v>0.67400000000000004</c:v>
                </c:pt>
                <c:pt idx="2464">
                  <c:v>0.73199999999999998</c:v>
                </c:pt>
                <c:pt idx="2465">
                  <c:v>0.41599999999999998</c:v>
                </c:pt>
                <c:pt idx="2466">
                  <c:v>0.66600000000000004</c:v>
                </c:pt>
                <c:pt idx="2467">
                  <c:v>0.58899999999999997</c:v>
                </c:pt>
                <c:pt idx="2468">
                  <c:v>0.60299999999999998</c:v>
                </c:pt>
                <c:pt idx="2469">
                  <c:v>0.85299999999999998</c:v>
                </c:pt>
                <c:pt idx="2470">
                  <c:v>0.878</c:v>
                </c:pt>
                <c:pt idx="2471">
                  <c:v>0.59399999999999997</c:v>
                </c:pt>
                <c:pt idx="2472">
                  <c:v>0.73699999999999999</c:v>
                </c:pt>
                <c:pt idx="2473">
                  <c:v>0.36399999999999999</c:v>
                </c:pt>
                <c:pt idx="2474">
                  <c:v>0.39600000000000002</c:v>
                </c:pt>
                <c:pt idx="2475">
                  <c:v>0.56299999999999994</c:v>
                </c:pt>
                <c:pt idx="2476">
                  <c:v>0.67</c:v>
                </c:pt>
                <c:pt idx="2477">
                  <c:v>0.74099999999999999</c:v>
                </c:pt>
                <c:pt idx="2478">
                  <c:v>0.73299999999999998</c:v>
                </c:pt>
                <c:pt idx="2479">
                  <c:v>0.80300000000000005</c:v>
                </c:pt>
                <c:pt idx="2480">
                  <c:v>0.45400000000000001</c:v>
                </c:pt>
                <c:pt idx="2481">
                  <c:v>0.79100000000000004</c:v>
                </c:pt>
                <c:pt idx="2482">
                  <c:v>0.59599999999999997</c:v>
                </c:pt>
                <c:pt idx="2483">
                  <c:v>0.60099999999999998</c:v>
                </c:pt>
                <c:pt idx="2484">
                  <c:v>0.72699999999999998</c:v>
                </c:pt>
                <c:pt idx="2485">
                  <c:v>0.83899999999999997</c:v>
                </c:pt>
                <c:pt idx="2486">
                  <c:v>0.86499999999999999</c:v>
                </c:pt>
                <c:pt idx="2487">
                  <c:v>0.191</c:v>
                </c:pt>
                <c:pt idx="2488">
                  <c:v>0.76300000000000001</c:v>
                </c:pt>
                <c:pt idx="2489">
                  <c:v>0.754</c:v>
                </c:pt>
                <c:pt idx="2490">
                  <c:v>0.76500000000000001</c:v>
                </c:pt>
                <c:pt idx="2491">
                  <c:v>0.754</c:v>
                </c:pt>
                <c:pt idx="2492">
                  <c:v>0.68600000000000005</c:v>
                </c:pt>
                <c:pt idx="2493">
                  <c:v>0.58499999999999996</c:v>
                </c:pt>
                <c:pt idx="2494">
                  <c:v>0.55200000000000005</c:v>
                </c:pt>
                <c:pt idx="2495">
                  <c:v>0.38</c:v>
                </c:pt>
                <c:pt idx="2496">
                  <c:v>0.90800000000000003</c:v>
                </c:pt>
                <c:pt idx="2497">
                  <c:v>0.58699999999999997</c:v>
                </c:pt>
                <c:pt idx="2498">
                  <c:v>0.59199999999999997</c:v>
                </c:pt>
                <c:pt idx="2499">
                  <c:v>0.63600000000000001</c:v>
                </c:pt>
                <c:pt idx="2500">
                  <c:v>0.86299999999999999</c:v>
                </c:pt>
                <c:pt idx="2501">
                  <c:v>0.26300000000000001</c:v>
                </c:pt>
                <c:pt idx="2502">
                  <c:v>0.31900000000000001</c:v>
                </c:pt>
                <c:pt idx="2503">
                  <c:v>0.83</c:v>
                </c:pt>
                <c:pt idx="2504">
                  <c:v>0.68700000000000006</c:v>
                </c:pt>
                <c:pt idx="2505">
                  <c:v>0.79300000000000004</c:v>
                </c:pt>
                <c:pt idx="2506">
                  <c:v>0.83</c:v>
                </c:pt>
                <c:pt idx="2507">
                  <c:v>0.79900000000000004</c:v>
                </c:pt>
                <c:pt idx="2508">
                  <c:v>0.76500000000000001</c:v>
                </c:pt>
                <c:pt idx="2509">
                  <c:v>0.71499999999999997</c:v>
                </c:pt>
                <c:pt idx="2510">
                  <c:v>0.55200000000000005</c:v>
                </c:pt>
                <c:pt idx="2511">
                  <c:v>0.38900000000000001</c:v>
                </c:pt>
                <c:pt idx="2512">
                  <c:v>0.40500000000000003</c:v>
                </c:pt>
                <c:pt idx="2513">
                  <c:v>0.77</c:v>
                </c:pt>
                <c:pt idx="2514">
                  <c:v>0.55800000000000005</c:v>
                </c:pt>
                <c:pt idx="2515">
                  <c:v>0.70099999999999996</c:v>
                </c:pt>
                <c:pt idx="2516">
                  <c:v>0.69899999999999995</c:v>
                </c:pt>
                <c:pt idx="2517">
                  <c:v>0.72699999999999998</c:v>
                </c:pt>
                <c:pt idx="2518">
                  <c:v>0.80900000000000005</c:v>
                </c:pt>
                <c:pt idx="2519">
                  <c:v>0.86</c:v>
                </c:pt>
                <c:pt idx="2520">
                  <c:v>0.71299999999999997</c:v>
                </c:pt>
                <c:pt idx="2521">
                  <c:v>0.41599999999999998</c:v>
                </c:pt>
                <c:pt idx="2522">
                  <c:v>0</c:v>
                </c:pt>
                <c:pt idx="2523">
                  <c:v>0.59499999999999997</c:v>
                </c:pt>
                <c:pt idx="2524">
                  <c:v>0.82899999999999996</c:v>
                </c:pt>
                <c:pt idx="2525">
                  <c:v>0.90900000000000003</c:v>
                </c:pt>
                <c:pt idx="2526">
                  <c:v>0.55900000000000005</c:v>
                </c:pt>
                <c:pt idx="2527">
                  <c:v>0.86399999999999999</c:v>
                </c:pt>
                <c:pt idx="2528">
                  <c:v>0.52500000000000002</c:v>
                </c:pt>
                <c:pt idx="2529">
                  <c:v>0.72899999999999998</c:v>
                </c:pt>
                <c:pt idx="2530">
                  <c:v>0.438</c:v>
                </c:pt>
                <c:pt idx="2531">
                  <c:v>0.622</c:v>
                </c:pt>
                <c:pt idx="2532">
                  <c:v>0.80900000000000005</c:v>
                </c:pt>
                <c:pt idx="2533">
                  <c:v>0.65</c:v>
                </c:pt>
                <c:pt idx="2534">
                  <c:v>0.69399999999999995</c:v>
                </c:pt>
                <c:pt idx="2535">
                  <c:v>0.91100000000000003</c:v>
                </c:pt>
                <c:pt idx="2536">
                  <c:v>0.30499999999999999</c:v>
                </c:pt>
                <c:pt idx="2537">
                  <c:v>0.63100000000000001</c:v>
                </c:pt>
                <c:pt idx="2538">
                  <c:v>0.81699999999999995</c:v>
                </c:pt>
                <c:pt idx="2539">
                  <c:v>0.71499999999999997</c:v>
                </c:pt>
                <c:pt idx="2540">
                  <c:v>0.72</c:v>
                </c:pt>
                <c:pt idx="2541">
                  <c:v>0.34</c:v>
                </c:pt>
                <c:pt idx="2542">
                  <c:v>0.67</c:v>
                </c:pt>
                <c:pt idx="2543">
                  <c:v>0.69499999999999995</c:v>
                </c:pt>
                <c:pt idx="2544">
                  <c:v>0.745</c:v>
                </c:pt>
                <c:pt idx="2545">
                  <c:v>0.752</c:v>
                </c:pt>
                <c:pt idx="2546">
                  <c:v>0.376</c:v>
                </c:pt>
                <c:pt idx="2547">
                  <c:v>0.752</c:v>
                </c:pt>
                <c:pt idx="2548">
                  <c:v>0.90200000000000002</c:v>
                </c:pt>
                <c:pt idx="2549">
                  <c:v>0.70299999999999996</c:v>
                </c:pt>
                <c:pt idx="2550">
                  <c:v>0.84499999999999997</c:v>
                </c:pt>
                <c:pt idx="2551">
                  <c:v>0.438</c:v>
                </c:pt>
                <c:pt idx="2552">
                  <c:v>0.66</c:v>
                </c:pt>
                <c:pt idx="2553">
                  <c:v>0.89100000000000001</c:v>
                </c:pt>
                <c:pt idx="2554">
                  <c:v>0.621</c:v>
                </c:pt>
                <c:pt idx="2555">
                  <c:v>0.52400000000000002</c:v>
                </c:pt>
                <c:pt idx="2556">
                  <c:v>0.85499999999999998</c:v>
                </c:pt>
                <c:pt idx="2557">
                  <c:v>0.57199999999999995</c:v>
                </c:pt>
                <c:pt idx="2558">
                  <c:v>0.58399999999999996</c:v>
                </c:pt>
                <c:pt idx="2559">
                  <c:v>0.52200000000000002</c:v>
                </c:pt>
                <c:pt idx="2560">
                  <c:v>0.872</c:v>
                </c:pt>
                <c:pt idx="2561">
                  <c:v>0.93300000000000005</c:v>
                </c:pt>
                <c:pt idx="2562">
                  <c:v>0.93899999999999995</c:v>
                </c:pt>
                <c:pt idx="2563">
                  <c:v>0.72399999999999998</c:v>
                </c:pt>
                <c:pt idx="2564">
                  <c:v>0.92900000000000005</c:v>
                </c:pt>
                <c:pt idx="2565">
                  <c:v>0.65700000000000003</c:v>
                </c:pt>
                <c:pt idx="2566">
                  <c:v>0.34499999999999997</c:v>
                </c:pt>
                <c:pt idx="2567">
                  <c:v>0.52100000000000002</c:v>
                </c:pt>
                <c:pt idx="2568">
                  <c:v>0.68799999999999994</c:v>
                </c:pt>
                <c:pt idx="2569">
                  <c:v>0.73099999999999998</c:v>
                </c:pt>
                <c:pt idx="2570">
                  <c:v>0.75600000000000001</c:v>
                </c:pt>
                <c:pt idx="2571">
                  <c:v>0.55200000000000005</c:v>
                </c:pt>
                <c:pt idx="2572">
                  <c:v>0.51100000000000001</c:v>
                </c:pt>
                <c:pt idx="2573">
                  <c:v>0.65600000000000003</c:v>
                </c:pt>
                <c:pt idx="2574">
                  <c:v>0.68</c:v>
                </c:pt>
                <c:pt idx="2575">
                  <c:v>0.72899999999999998</c:v>
                </c:pt>
                <c:pt idx="2576">
                  <c:v>0.76600000000000001</c:v>
                </c:pt>
                <c:pt idx="2577">
                  <c:v>0.73299999999999998</c:v>
                </c:pt>
                <c:pt idx="2578">
                  <c:v>0.45200000000000001</c:v>
                </c:pt>
                <c:pt idx="2579">
                  <c:v>0.57499999999999996</c:v>
                </c:pt>
                <c:pt idx="2580">
                  <c:v>0.30299999999999999</c:v>
                </c:pt>
                <c:pt idx="2581">
                  <c:v>0.76900000000000002</c:v>
                </c:pt>
                <c:pt idx="2582">
                  <c:v>0.85199999999999998</c:v>
                </c:pt>
                <c:pt idx="2583">
                  <c:v>0.86</c:v>
                </c:pt>
                <c:pt idx="2584">
                  <c:v>0.89200000000000002</c:v>
                </c:pt>
                <c:pt idx="2585">
                  <c:v>0.77500000000000002</c:v>
                </c:pt>
                <c:pt idx="2586">
                  <c:v>0.78900000000000003</c:v>
                </c:pt>
                <c:pt idx="2587">
                  <c:v>0.56399999999999995</c:v>
                </c:pt>
                <c:pt idx="2588">
                  <c:v>0.77300000000000002</c:v>
                </c:pt>
                <c:pt idx="2589">
                  <c:v>0.27100000000000002</c:v>
                </c:pt>
                <c:pt idx="2590">
                  <c:v>0.42099999999999999</c:v>
                </c:pt>
                <c:pt idx="2591">
                  <c:v>0.56799999999999995</c:v>
                </c:pt>
                <c:pt idx="2592">
                  <c:v>0.623</c:v>
                </c:pt>
                <c:pt idx="2593">
                  <c:v>0.65500000000000003</c:v>
                </c:pt>
                <c:pt idx="2594">
                  <c:v>0.875</c:v>
                </c:pt>
                <c:pt idx="2595">
                  <c:v>0.76200000000000001</c:v>
                </c:pt>
                <c:pt idx="2596">
                  <c:v>0.42199999999999999</c:v>
                </c:pt>
                <c:pt idx="2597">
                  <c:v>0.45900000000000002</c:v>
                </c:pt>
                <c:pt idx="2598">
                  <c:v>0.89900000000000002</c:v>
                </c:pt>
                <c:pt idx="2599">
                  <c:v>0.90100000000000002</c:v>
                </c:pt>
                <c:pt idx="2600">
                  <c:v>0.68300000000000005</c:v>
                </c:pt>
                <c:pt idx="2601">
                  <c:v>0.79900000000000004</c:v>
                </c:pt>
                <c:pt idx="2602">
                  <c:v>0.873</c:v>
                </c:pt>
                <c:pt idx="2603">
                  <c:v>0.73699999999999999</c:v>
                </c:pt>
                <c:pt idx="2604">
                  <c:v>0.755</c:v>
                </c:pt>
                <c:pt idx="2605">
                  <c:v>0.94699999999999995</c:v>
                </c:pt>
                <c:pt idx="2606">
                  <c:v>0.57599999999999996</c:v>
                </c:pt>
                <c:pt idx="2607">
                  <c:v>0.84099999999999997</c:v>
                </c:pt>
                <c:pt idx="2608">
                  <c:v>0.42399999999999999</c:v>
                </c:pt>
                <c:pt idx="2609">
                  <c:v>0.497</c:v>
                </c:pt>
                <c:pt idx="2610">
                  <c:v>0.747</c:v>
                </c:pt>
                <c:pt idx="2611">
                  <c:v>0.69599999999999995</c:v>
                </c:pt>
                <c:pt idx="2612">
                  <c:v>0.72199999999999998</c:v>
                </c:pt>
                <c:pt idx="2613">
                  <c:v>0.93700000000000006</c:v>
                </c:pt>
                <c:pt idx="2614">
                  <c:v>0.59299999999999997</c:v>
                </c:pt>
                <c:pt idx="2615">
                  <c:v>0.68799999999999994</c:v>
                </c:pt>
                <c:pt idx="2616">
                  <c:v>0.82199999999999995</c:v>
                </c:pt>
                <c:pt idx="2617">
                  <c:v>0.50700000000000001</c:v>
                </c:pt>
                <c:pt idx="2618">
                  <c:v>0.624</c:v>
                </c:pt>
                <c:pt idx="2619">
                  <c:v>0.64100000000000001</c:v>
                </c:pt>
                <c:pt idx="2620">
                  <c:v>0.64800000000000002</c:v>
                </c:pt>
                <c:pt idx="2621">
                  <c:v>0.65300000000000002</c:v>
                </c:pt>
                <c:pt idx="2622">
                  <c:v>0.78</c:v>
                </c:pt>
                <c:pt idx="2623">
                  <c:v>0.84699999999999998</c:v>
                </c:pt>
                <c:pt idx="2624">
                  <c:v>0.89400000000000002</c:v>
                </c:pt>
                <c:pt idx="2625">
                  <c:v>0.89800000000000002</c:v>
                </c:pt>
                <c:pt idx="2626">
                  <c:v>0.91500000000000004</c:v>
                </c:pt>
                <c:pt idx="2627">
                  <c:v>0.95</c:v>
                </c:pt>
                <c:pt idx="2628">
                  <c:v>0.77300000000000002</c:v>
                </c:pt>
                <c:pt idx="2629">
                  <c:v>0.76100000000000001</c:v>
                </c:pt>
                <c:pt idx="2630">
                  <c:v>0.53700000000000003</c:v>
                </c:pt>
                <c:pt idx="2631">
                  <c:v>0.54400000000000004</c:v>
                </c:pt>
                <c:pt idx="2632">
                  <c:v>0.78900000000000003</c:v>
                </c:pt>
                <c:pt idx="2633">
                  <c:v>0.63300000000000001</c:v>
                </c:pt>
                <c:pt idx="2634">
                  <c:v>0.64800000000000002</c:v>
                </c:pt>
                <c:pt idx="2635">
                  <c:v>0.79300000000000004</c:v>
                </c:pt>
                <c:pt idx="2636">
                  <c:v>0.79500000000000004</c:v>
                </c:pt>
                <c:pt idx="2637">
                  <c:v>0.74</c:v>
                </c:pt>
                <c:pt idx="2638">
                  <c:v>0.56200000000000006</c:v>
                </c:pt>
                <c:pt idx="2639">
                  <c:v>0.40100000000000002</c:v>
                </c:pt>
                <c:pt idx="2640">
                  <c:v>0.69399999999999995</c:v>
                </c:pt>
                <c:pt idx="2641">
                  <c:v>0.503</c:v>
                </c:pt>
                <c:pt idx="2642">
                  <c:v>0.82399999999999995</c:v>
                </c:pt>
                <c:pt idx="2643">
                  <c:v>0.64300000000000002</c:v>
                </c:pt>
                <c:pt idx="2644">
                  <c:v>0.69</c:v>
                </c:pt>
                <c:pt idx="2645">
                  <c:v>0.752</c:v>
                </c:pt>
                <c:pt idx="2646">
                  <c:v>0.872</c:v>
                </c:pt>
                <c:pt idx="2647">
                  <c:v>0.78100000000000003</c:v>
                </c:pt>
                <c:pt idx="2648">
                  <c:v>0.59099999999999997</c:v>
                </c:pt>
                <c:pt idx="2649">
                  <c:v>0.46700000000000003</c:v>
                </c:pt>
                <c:pt idx="2650">
                  <c:v>0.63600000000000001</c:v>
                </c:pt>
                <c:pt idx="2651">
                  <c:v>0.71599999999999997</c:v>
                </c:pt>
                <c:pt idx="2652">
                  <c:v>0.34599999999999997</c:v>
                </c:pt>
                <c:pt idx="2653">
                  <c:v>0.77100000000000002</c:v>
                </c:pt>
                <c:pt idx="2654">
                  <c:v>0.38800000000000001</c:v>
                </c:pt>
                <c:pt idx="2655">
                  <c:v>0.65</c:v>
                </c:pt>
                <c:pt idx="2656">
                  <c:v>0.36</c:v>
                </c:pt>
                <c:pt idx="2657">
                  <c:v>0.80400000000000005</c:v>
                </c:pt>
                <c:pt idx="2658">
                  <c:v>0.82399999999999995</c:v>
                </c:pt>
                <c:pt idx="2659">
                  <c:v>0.74399999999999999</c:v>
                </c:pt>
                <c:pt idx="2660">
                  <c:v>0.45200000000000001</c:v>
                </c:pt>
                <c:pt idx="2661">
                  <c:v>0.66700000000000004</c:v>
                </c:pt>
                <c:pt idx="2662">
                  <c:v>0.88600000000000001</c:v>
                </c:pt>
                <c:pt idx="2663">
                  <c:v>0.92600000000000005</c:v>
                </c:pt>
                <c:pt idx="2664">
                  <c:v>0.80300000000000005</c:v>
                </c:pt>
                <c:pt idx="2665">
                  <c:v>0.73599999999999999</c:v>
                </c:pt>
                <c:pt idx="2666">
                  <c:v>0.61</c:v>
                </c:pt>
                <c:pt idx="2667">
                  <c:v>0.60199999999999998</c:v>
                </c:pt>
                <c:pt idx="2668">
                  <c:v>0.79900000000000004</c:v>
                </c:pt>
                <c:pt idx="2669">
                  <c:v>0.75800000000000001</c:v>
                </c:pt>
                <c:pt idx="2670">
                  <c:v>0.63500000000000001</c:v>
                </c:pt>
                <c:pt idx="2671">
                  <c:v>0.8</c:v>
                </c:pt>
                <c:pt idx="2672">
                  <c:v>0.70199999999999996</c:v>
                </c:pt>
                <c:pt idx="2673">
                  <c:v>0.60399999999999998</c:v>
                </c:pt>
                <c:pt idx="2674">
                  <c:v>0.70199999999999996</c:v>
                </c:pt>
                <c:pt idx="2675">
                  <c:v>0.73</c:v>
                </c:pt>
                <c:pt idx="2676">
                  <c:v>0.49099999999999999</c:v>
                </c:pt>
                <c:pt idx="2677">
                  <c:v>0.32400000000000001</c:v>
                </c:pt>
                <c:pt idx="2678">
                  <c:v>0.64100000000000001</c:v>
                </c:pt>
                <c:pt idx="2679">
                  <c:v>0.86599999999999999</c:v>
                </c:pt>
                <c:pt idx="2680">
                  <c:v>0.60899999999999999</c:v>
                </c:pt>
                <c:pt idx="2681">
                  <c:v>0.56999999999999995</c:v>
                </c:pt>
                <c:pt idx="2682">
                  <c:v>0.34300000000000003</c:v>
                </c:pt>
                <c:pt idx="2683">
                  <c:v>0.38600000000000001</c:v>
                </c:pt>
                <c:pt idx="2684">
                  <c:v>0.88700000000000001</c:v>
                </c:pt>
                <c:pt idx="2685">
                  <c:v>0.64</c:v>
                </c:pt>
                <c:pt idx="2686">
                  <c:v>0.85</c:v>
                </c:pt>
                <c:pt idx="2687">
                  <c:v>0.71199999999999997</c:v>
                </c:pt>
                <c:pt idx="2688">
                  <c:v>0.70499999999999996</c:v>
                </c:pt>
                <c:pt idx="2689">
                  <c:v>0.67</c:v>
                </c:pt>
                <c:pt idx="2690">
                  <c:v>0.55800000000000005</c:v>
                </c:pt>
                <c:pt idx="2691">
                  <c:v>0.81799999999999995</c:v>
                </c:pt>
                <c:pt idx="2692">
                  <c:v>0.28499999999999998</c:v>
                </c:pt>
                <c:pt idx="2693">
                  <c:v>0.86499999999999999</c:v>
                </c:pt>
                <c:pt idx="2694">
                  <c:v>0.79300000000000004</c:v>
                </c:pt>
                <c:pt idx="2695">
                  <c:v>0.68100000000000005</c:v>
                </c:pt>
                <c:pt idx="2696">
                  <c:v>0.45500000000000002</c:v>
                </c:pt>
                <c:pt idx="2697">
                  <c:v>0.22500000000000001</c:v>
                </c:pt>
                <c:pt idx="2698">
                  <c:v>0.51100000000000001</c:v>
                </c:pt>
                <c:pt idx="2699">
                  <c:v>0.48799999999999999</c:v>
                </c:pt>
                <c:pt idx="2700">
                  <c:v>0.68799999999999994</c:v>
                </c:pt>
                <c:pt idx="2701">
                  <c:v>0.74399999999999999</c:v>
                </c:pt>
                <c:pt idx="2702">
                  <c:v>0.61</c:v>
                </c:pt>
                <c:pt idx="2703">
                  <c:v>0.78200000000000003</c:v>
                </c:pt>
                <c:pt idx="2704">
                  <c:v>0.245</c:v>
                </c:pt>
                <c:pt idx="2705">
                  <c:v>0.65700000000000003</c:v>
                </c:pt>
                <c:pt idx="2706">
                  <c:v>0.66700000000000004</c:v>
                </c:pt>
                <c:pt idx="2707">
                  <c:v>0.67400000000000004</c:v>
                </c:pt>
                <c:pt idx="2708">
                  <c:v>0.63600000000000001</c:v>
                </c:pt>
                <c:pt idx="2709">
                  <c:v>0.50700000000000001</c:v>
                </c:pt>
                <c:pt idx="2710">
                  <c:v>0.63800000000000001</c:v>
                </c:pt>
                <c:pt idx="2711">
                  <c:v>0.56799999999999995</c:v>
                </c:pt>
                <c:pt idx="2712">
                  <c:v>0.6</c:v>
                </c:pt>
                <c:pt idx="2713">
                  <c:v>0.73199999999999998</c:v>
                </c:pt>
                <c:pt idx="2714">
                  <c:v>0.83</c:v>
                </c:pt>
                <c:pt idx="2715">
                  <c:v>0.78200000000000003</c:v>
                </c:pt>
                <c:pt idx="2716">
                  <c:v>0.78900000000000003</c:v>
                </c:pt>
                <c:pt idx="2717">
                  <c:v>0.89400000000000002</c:v>
                </c:pt>
                <c:pt idx="2718">
                  <c:v>0.91400000000000003</c:v>
                </c:pt>
                <c:pt idx="2719">
                  <c:v>0.748</c:v>
                </c:pt>
                <c:pt idx="2720">
                  <c:v>0.91300000000000003</c:v>
                </c:pt>
                <c:pt idx="2721">
                  <c:v>0.53500000000000003</c:v>
                </c:pt>
                <c:pt idx="2722">
                  <c:v>0.45400000000000001</c:v>
                </c:pt>
                <c:pt idx="2723">
                  <c:v>0.64800000000000002</c:v>
                </c:pt>
                <c:pt idx="2724">
                  <c:v>0.51200000000000001</c:v>
                </c:pt>
                <c:pt idx="2725">
                  <c:v>0.497</c:v>
                </c:pt>
                <c:pt idx="2726">
                  <c:v>0.72899999999999998</c:v>
                </c:pt>
                <c:pt idx="2727">
                  <c:v>0.66</c:v>
                </c:pt>
                <c:pt idx="2728">
                  <c:v>0.752</c:v>
                </c:pt>
                <c:pt idx="2729">
                  <c:v>0.58899999999999997</c:v>
                </c:pt>
                <c:pt idx="2730">
                  <c:v>0.81499999999999995</c:v>
                </c:pt>
                <c:pt idx="2731">
                  <c:v>0.53</c:v>
                </c:pt>
                <c:pt idx="2732">
                  <c:v>0.78</c:v>
                </c:pt>
                <c:pt idx="2733">
                  <c:v>0.67800000000000005</c:v>
                </c:pt>
                <c:pt idx="2734">
                  <c:v>0.68400000000000005</c:v>
                </c:pt>
                <c:pt idx="2735">
                  <c:v>0.83499999999999996</c:v>
                </c:pt>
                <c:pt idx="2736">
                  <c:v>0.34300000000000003</c:v>
                </c:pt>
                <c:pt idx="2737">
                  <c:v>0.54700000000000004</c:v>
                </c:pt>
                <c:pt idx="2738">
                  <c:v>0.58099999999999996</c:v>
                </c:pt>
                <c:pt idx="2739">
                  <c:v>0.63600000000000001</c:v>
                </c:pt>
                <c:pt idx="2740">
                  <c:v>0.64200000000000002</c:v>
                </c:pt>
                <c:pt idx="2741">
                  <c:v>0.64700000000000002</c:v>
                </c:pt>
                <c:pt idx="2742">
                  <c:v>0.70399999999999996</c:v>
                </c:pt>
                <c:pt idx="2743">
                  <c:v>0.70599999999999996</c:v>
                </c:pt>
                <c:pt idx="2744">
                  <c:v>0.83299999999999996</c:v>
                </c:pt>
                <c:pt idx="2745">
                  <c:v>0.83699999999999997</c:v>
                </c:pt>
                <c:pt idx="2746">
                  <c:v>0.83899999999999997</c:v>
                </c:pt>
                <c:pt idx="2747">
                  <c:v>0.9</c:v>
                </c:pt>
                <c:pt idx="2748">
                  <c:v>0.92100000000000004</c:v>
                </c:pt>
                <c:pt idx="2749">
                  <c:v>0.58899999999999997</c:v>
                </c:pt>
                <c:pt idx="2750">
                  <c:v>0.46899999999999997</c:v>
                </c:pt>
                <c:pt idx="2751">
                  <c:v>0.56100000000000005</c:v>
                </c:pt>
                <c:pt idx="2752">
                  <c:v>0.746</c:v>
                </c:pt>
                <c:pt idx="2753">
                  <c:v>0.67400000000000004</c:v>
                </c:pt>
                <c:pt idx="2754">
                  <c:v>0.80800000000000005</c:v>
                </c:pt>
                <c:pt idx="2755">
                  <c:v>0.54</c:v>
                </c:pt>
                <c:pt idx="2756">
                  <c:v>0.47099999999999997</c:v>
                </c:pt>
                <c:pt idx="2757">
                  <c:v>0.78400000000000003</c:v>
                </c:pt>
                <c:pt idx="2758">
                  <c:v>0.70499999999999996</c:v>
                </c:pt>
                <c:pt idx="2759">
                  <c:v>0.746</c:v>
                </c:pt>
                <c:pt idx="2760">
                  <c:v>0.39700000000000002</c:v>
                </c:pt>
                <c:pt idx="2761">
                  <c:v>0.80300000000000005</c:v>
                </c:pt>
                <c:pt idx="2762">
                  <c:v>0.89800000000000002</c:v>
                </c:pt>
                <c:pt idx="2763">
                  <c:v>0.27400000000000002</c:v>
                </c:pt>
                <c:pt idx="2764">
                  <c:v>0.749</c:v>
                </c:pt>
                <c:pt idx="2765">
                  <c:v>0.56999999999999995</c:v>
                </c:pt>
                <c:pt idx="2766">
                  <c:v>0.85399999999999998</c:v>
                </c:pt>
                <c:pt idx="2767">
                  <c:v>0.747</c:v>
                </c:pt>
                <c:pt idx="2768">
                  <c:v>0.55400000000000005</c:v>
                </c:pt>
                <c:pt idx="2769">
                  <c:v>0.88300000000000001</c:v>
                </c:pt>
                <c:pt idx="2770">
                  <c:v>0.79200000000000004</c:v>
                </c:pt>
                <c:pt idx="2771">
                  <c:v>0.42299999999999999</c:v>
                </c:pt>
                <c:pt idx="2772">
                  <c:v>0.54100000000000004</c:v>
                </c:pt>
                <c:pt idx="2773">
                  <c:v>0.75800000000000001</c:v>
                </c:pt>
                <c:pt idx="2774">
                  <c:v>0.91700000000000004</c:v>
                </c:pt>
                <c:pt idx="2775">
                  <c:v>0.66200000000000003</c:v>
                </c:pt>
                <c:pt idx="2776">
                  <c:v>0.83</c:v>
                </c:pt>
                <c:pt idx="2777">
                  <c:v>0.65700000000000003</c:v>
                </c:pt>
                <c:pt idx="2778">
                  <c:v>0.71099999999999997</c:v>
                </c:pt>
                <c:pt idx="2779">
                  <c:v>0.53800000000000003</c:v>
                </c:pt>
                <c:pt idx="2780">
                  <c:v>0.57699999999999996</c:v>
                </c:pt>
                <c:pt idx="2781">
                  <c:v>0.73199999999999998</c:v>
                </c:pt>
                <c:pt idx="2782">
                  <c:v>0.77200000000000002</c:v>
                </c:pt>
                <c:pt idx="2783">
                  <c:v>0.92500000000000004</c:v>
                </c:pt>
                <c:pt idx="2784">
                  <c:v>0.90700000000000003</c:v>
                </c:pt>
                <c:pt idx="2785">
                  <c:v>0.77900000000000003</c:v>
                </c:pt>
                <c:pt idx="2786">
                  <c:v>0.41299999999999998</c:v>
                </c:pt>
                <c:pt idx="2787">
                  <c:v>0.74099999999999999</c:v>
                </c:pt>
                <c:pt idx="2788">
                  <c:v>0.86099999999999999</c:v>
                </c:pt>
                <c:pt idx="2789">
                  <c:v>0.76300000000000001</c:v>
                </c:pt>
                <c:pt idx="2790">
                  <c:v>0.83699999999999997</c:v>
                </c:pt>
                <c:pt idx="2791">
                  <c:v>0.87</c:v>
                </c:pt>
                <c:pt idx="2792">
                  <c:v>0.433</c:v>
                </c:pt>
                <c:pt idx="2793">
                  <c:v>0.60099999999999998</c:v>
                </c:pt>
                <c:pt idx="2794">
                  <c:v>0.53900000000000003</c:v>
                </c:pt>
                <c:pt idx="2795">
                  <c:v>0.58299999999999996</c:v>
                </c:pt>
                <c:pt idx="2796">
                  <c:v>0.59499999999999997</c:v>
                </c:pt>
                <c:pt idx="2797">
                  <c:v>0.40200000000000002</c:v>
                </c:pt>
                <c:pt idx="2798">
                  <c:v>0.54400000000000004</c:v>
                </c:pt>
                <c:pt idx="2799">
                  <c:v>0.60599999999999998</c:v>
                </c:pt>
                <c:pt idx="2800">
                  <c:v>0.65900000000000003</c:v>
                </c:pt>
                <c:pt idx="2801">
                  <c:v>0.71</c:v>
                </c:pt>
                <c:pt idx="2802">
                  <c:v>0.56999999999999995</c:v>
                </c:pt>
                <c:pt idx="2803">
                  <c:v>0.76900000000000002</c:v>
                </c:pt>
                <c:pt idx="2804">
                  <c:v>0.23599999999999999</c:v>
                </c:pt>
                <c:pt idx="2805">
                  <c:v>0.441</c:v>
                </c:pt>
                <c:pt idx="2806">
                  <c:v>0.57299999999999995</c:v>
                </c:pt>
                <c:pt idx="2807">
                  <c:v>0.77600000000000002</c:v>
                </c:pt>
                <c:pt idx="2808">
                  <c:v>0.60599999999999998</c:v>
                </c:pt>
                <c:pt idx="2809">
                  <c:v>0.55700000000000005</c:v>
                </c:pt>
                <c:pt idx="2810">
                  <c:v>0.45700000000000002</c:v>
                </c:pt>
                <c:pt idx="2811">
                  <c:v>0.71</c:v>
                </c:pt>
                <c:pt idx="2812">
                  <c:v>0.58899999999999997</c:v>
                </c:pt>
                <c:pt idx="2813">
                  <c:v>0.185</c:v>
                </c:pt>
                <c:pt idx="2814">
                  <c:v>0.59599999999999997</c:v>
                </c:pt>
                <c:pt idx="2815">
                  <c:v>0.73199999999999998</c:v>
                </c:pt>
                <c:pt idx="2816">
                  <c:v>0.36199999999999999</c:v>
                </c:pt>
                <c:pt idx="2817">
                  <c:v>0.439</c:v>
                </c:pt>
                <c:pt idx="2818">
                  <c:v>0.78100000000000003</c:v>
                </c:pt>
                <c:pt idx="2819">
                  <c:v>0.87</c:v>
                </c:pt>
                <c:pt idx="2820">
                  <c:v>0.46800000000000003</c:v>
                </c:pt>
                <c:pt idx="2821">
                  <c:v>0.32700000000000001</c:v>
                </c:pt>
                <c:pt idx="2822">
                  <c:v>0.75900000000000001</c:v>
                </c:pt>
                <c:pt idx="2823">
                  <c:v>0.89800000000000002</c:v>
                </c:pt>
                <c:pt idx="2824">
                  <c:v>0.627</c:v>
                </c:pt>
                <c:pt idx="2825">
                  <c:v>0.71099999999999997</c:v>
                </c:pt>
                <c:pt idx="2826">
                  <c:v>0.81599999999999995</c:v>
                </c:pt>
                <c:pt idx="2827">
                  <c:v>0.82699999999999996</c:v>
                </c:pt>
                <c:pt idx="2828">
                  <c:v>0.85299999999999998</c:v>
                </c:pt>
                <c:pt idx="2829">
                  <c:v>0.59599999999999997</c:v>
                </c:pt>
                <c:pt idx="2830">
                  <c:v>0.71</c:v>
                </c:pt>
                <c:pt idx="2831">
                  <c:v>0.627</c:v>
                </c:pt>
                <c:pt idx="2832">
                  <c:v>0.70699999999999996</c:v>
                </c:pt>
                <c:pt idx="2833">
                  <c:v>0.89400000000000002</c:v>
                </c:pt>
                <c:pt idx="2834">
                  <c:v>0.68799999999999994</c:v>
                </c:pt>
                <c:pt idx="2835">
                  <c:v>0.77600000000000002</c:v>
                </c:pt>
                <c:pt idx="2836">
                  <c:v>0.56000000000000005</c:v>
                </c:pt>
                <c:pt idx="2837">
                  <c:v>0.65100000000000002</c:v>
                </c:pt>
                <c:pt idx="2838">
                  <c:v>0.83099999999999996</c:v>
                </c:pt>
                <c:pt idx="2839">
                  <c:v>0.67</c:v>
                </c:pt>
                <c:pt idx="2840">
                  <c:v>0.54400000000000004</c:v>
                </c:pt>
                <c:pt idx="2841">
                  <c:v>0.70499999999999996</c:v>
                </c:pt>
                <c:pt idx="2842">
                  <c:v>0.93300000000000005</c:v>
                </c:pt>
                <c:pt idx="2843">
                  <c:v>0.94599999999999995</c:v>
                </c:pt>
                <c:pt idx="2844">
                  <c:v>0.80100000000000005</c:v>
                </c:pt>
                <c:pt idx="2845">
                  <c:v>0.443</c:v>
                </c:pt>
                <c:pt idx="2846">
                  <c:v>0.76200000000000001</c:v>
                </c:pt>
                <c:pt idx="2847">
                  <c:v>0.46300000000000002</c:v>
                </c:pt>
                <c:pt idx="2848">
                  <c:v>0.92500000000000004</c:v>
                </c:pt>
                <c:pt idx="2849">
                  <c:v>0.50600000000000001</c:v>
                </c:pt>
                <c:pt idx="2850">
                  <c:v>0.66900000000000004</c:v>
                </c:pt>
                <c:pt idx="2851">
                  <c:v>0.73199999999999998</c:v>
                </c:pt>
                <c:pt idx="2852">
                  <c:v>0.48599999999999999</c:v>
                </c:pt>
                <c:pt idx="2853">
                  <c:v>0.54100000000000004</c:v>
                </c:pt>
                <c:pt idx="2854">
                  <c:v>0.55600000000000005</c:v>
                </c:pt>
                <c:pt idx="2855">
                  <c:v>0.79500000000000004</c:v>
                </c:pt>
                <c:pt idx="2856">
                  <c:v>0.67500000000000004</c:v>
                </c:pt>
                <c:pt idx="2857">
                  <c:v>0.622</c:v>
                </c:pt>
                <c:pt idx="2858">
                  <c:v>0.83099999999999996</c:v>
                </c:pt>
                <c:pt idx="2859">
                  <c:v>0.498</c:v>
                </c:pt>
                <c:pt idx="2860">
                  <c:v>0.78500000000000003</c:v>
                </c:pt>
                <c:pt idx="2861">
                  <c:v>0.48</c:v>
                </c:pt>
                <c:pt idx="2862">
                  <c:v>0.90100000000000002</c:v>
                </c:pt>
                <c:pt idx="2863">
                  <c:v>0.55600000000000005</c:v>
                </c:pt>
                <c:pt idx="2864">
                  <c:v>0.49399999999999999</c:v>
                </c:pt>
                <c:pt idx="2865">
                  <c:v>0.64200000000000002</c:v>
                </c:pt>
                <c:pt idx="2866">
                  <c:v>0.65800000000000003</c:v>
                </c:pt>
                <c:pt idx="2867">
                  <c:v>0.86099999999999999</c:v>
                </c:pt>
                <c:pt idx="2868">
                  <c:v>0.61099999999999999</c:v>
                </c:pt>
                <c:pt idx="2869">
                  <c:v>0.80400000000000005</c:v>
                </c:pt>
                <c:pt idx="2870">
                  <c:v>0.42</c:v>
                </c:pt>
                <c:pt idx="2871">
                  <c:v>0.68700000000000006</c:v>
                </c:pt>
                <c:pt idx="2872">
                  <c:v>0.36299999999999999</c:v>
                </c:pt>
                <c:pt idx="2873">
                  <c:v>0.63900000000000001</c:v>
                </c:pt>
                <c:pt idx="2874">
                  <c:v>0.61199999999999999</c:v>
                </c:pt>
                <c:pt idx="2875">
                  <c:v>0.75900000000000001</c:v>
                </c:pt>
                <c:pt idx="2876">
                  <c:v>0.71699999999999997</c:v>
                </c:pt>
                <c:pt idx="2877">
                  <c:v>0.73599999999999999</c:v>
                </c:pt>
                <c:pt idx="2878">
                  <c:v>0.7</c:v>
                </c:pt>
                <c:pt idx="2879">
                  <c:v>0.36599999999999999</c:v>
                </c:pt>
                <c:pt idx="2880">
                  <c:v>0.58299999999999996</c:v>
                </c:pt>
                <c:pt idx="2881">
                  <c:v>0.623</c:v>
                </c:pt>
                <c:pt idx="2882">
                  <c:v>0.65800000000000003</c:v>
                </c:pt>
                <c:pt idx="2883">
                  <c:v>0.69799999999999995</c:v>
                </c:pt>
                <c:pt idx="2884">
                  <c:v>0.73299999999999998</c:v>
                </c:pt>
                <c:pt idx="2885">
                  <c:v>0.73699999999999999</c:v>
                </c:pt>
                <c:pt idx="2886">
                  <c:v>0.74299999999999999</c:v>
                </c:pt>
                <c:pt idx="2887">
                  <c:v>0.745</c:v>
                </c:pt>
                <c:pt idx="2888">
                  <c:v>0.755</c:v>
                </c:pt>
                <c:pt idx="2889">
                  <c:v>0.87</c:v>
                </c:pt>
                <c:pt idx="2890">
                  <c:v>0.871</c:v>
                </c:pt>
                <c:pt idx="2891">
                  <c:v>0.69499999999999995</c:v>
                </c:pt>
                <c:pt idx="2892">
                  <c:v>0.25900000000000001</c:v>
                </c:pt>
                <c:pt idx="2893">
                  <c:v>0.44400000000000001</c:v>
                </c:pt>
                <c:pt idx="2894">
                  <c:v>0.57999999999999996</c:v>
                </c:pt>
                <c:pt idx="2895">
                  <c:v>0.629</c:v>
                </c:pt>
                <c:pt idx="2896">
                  <c:v>0.67900000000000005</c:v>
                </c:pt>
                <c:pt idx="2897">
                  <c:v>0.60699999999999998</c:v>
                </c:pt>
                <c:pt idx="2898">
                  <c:v>0.72499999999999998</c:v>
                </c:pt>
                <c:pt idx="2899">
                  <c:v>0.67700000000000005</c:v>
                </c:pt>
                <c:pt idx="2900">
                  <c:v>0.67500000000000004</c:v>
                </c:pt>
                <c:pt idx="2901">
                  <c:v>0.68500000000000005</c:v>
                </c:pt>
                <c:pt idx="2902">
                  <c:v>0.65500000000000003</c:v>
                </c:pt>
                <c:pt idx="2903">
                  <c:v>0.503</c:v>
                </c:pt>
                <c:pt idx="2904">
                  <c:v>0.41899999999999998</c:v>
                </c:pt>
                <c:pt idx="2905">
                  <c:v>0.754</c:v>
                </c:pt>
                <c:pt idx="2906">
                  <c:v>0.55500000000000005</c:v>
                </c:pt>
                <c:pt idx="2907">
                  <c:v>0.92300000000000004</c:v>
                </c:pt>
                <c:pt idx="2908">
                  <c:v>0.754</c:v>
                </c:pt>
                <c:pt idx="2909">
                  <c:v>0.58699999999999997</c:v>
                </c:pt>
                <c:pt idx="2910">
                  <c:v>0.502</c:v>
                </c:pt>
                <c:pt idx="2911">
                  <c:v>0.78900000000000003</c:v>
                </c:pt>
                <c:pt idx="2912">
                  <c:v>0.64</c:v>
                </c:pt>
                <c:pt idx="2913">
                  <c:v>0.35099999999999998</c:v>
                </c:pt>
                <c:pt idx="2914">
                  <c:v>0.68600000000000005</c:v>
                </c:pt>
                <c:pt idx="2915">
                  <c:v>0.56200000000000006</c:v>
                </c:pt>
                <c:pt idx="2916">
                  <c:v>0.28399999999999997</c:v>
                </c:pt>
                <c:pt idx="2917">
                  <c:v>0.76100000000000001</c:v>
                </c:pt>
                <c:pt idx="2918">
                  <c:v>0.48699999999999999</c:v>
                </c:pt>
                <c:pt idx="2919">
                  <c:v>0.71099999999999997</c:v>
                </c:pt>
                <c:pt idx="2920">
                  <c:v>0.83</c:v>
                </c:pt>
                <c:pt idx="2921">
                  <c:v>0.48399999999999999</c:v>
                </c:pt>
                <c:pt idx="2922">
                  <c:v>0.77600000000000002</c:v>
                </c:pt>
                <c:pt idx="2923">
                  <c:v>0.57499999999999996</c:v>
                </c:pt>
                <c:pt idx="2924">
                  <c:v>0.39</c:v>
                </c:pt>
                <c:pt idx="2925">
                  <c:v>0.73099999999999998</c:v>
                </c:pt>
                <c:pt idx="2926">
                  <c:v>0.28000000000000003</c:v>
                </c:pt>
                <c:pt idx="2927">
                  <c:v>0.88500000000000001</c:v>
                </c:pt>
                <c:pt idx="2928">
                  <c:v>0.33600000000000002</c:v>
                </c:pt>
                <c:pt idx="2929">
                  <c:v>0.51</c:v>
                </c:pt>
                <c:pt idx="2930">
                  <c:v>0.85899999999999999</c:v>
                </c:pt>
                <c:pt idx="2931">
                  <c:v>0.72599999999999998</c:v>
                </c:pt>
                <c:pt idx="2932">
                  <c:v>0.92800000000000005</c:v>
                </c:pt>
                <c:pt idx="2933">
                  <c:v>0.69899999999999995</c:v>
                </c:pt>
                <c:pt idx="2934">
                  <c:v>0.436</c:v>
                </c:pt>
                <c:pt idx="2935">
                  <c:v>0.90700000000000003</c:v>
                </c:pt>
                <c:pt idx="2936">
                  <c:v>0.54300000000000004</c:v>
                </c:pt>
                <c:pt idx="2937">
                  <c:v>0.503</c:v>
                </c:pt>
                <c:pt idx="2938">
                  <c:v>0.58499999999999996</c:v>
                </c:pt>
                <c:pt idx="2939">
                  <c:v>0.79600000000000004</c:v>
                </c:pt>
                <c:pt idx="2940">
                  <c:v>0.46100000000000002</c:v>
                </c:pt>
                <c:pt idx="2941">
                  <c:v>0.57999999999999996</c:v>
                </c:pt>
                <c:pt idx="2942">
                  <c:v>0.51</c:v>
                </c:pt>
                <c:pt idx="2943">
                  <c:v>0.91600000000000004</c:v>
                </c:pt>
                <c:pt idx="2944">
                  <c:v>0.52100000000000002</c:v>
                </c:pt>
                <c:pt idx="2945">
                  <c:v>0.57799999999999996</c:v>
                </c:pt>
                <c:pt idx="2946">
                  <c:v>0.629</c:v>
                </c:pt>
                <c:pt idx="2947">
                  <c:v>0.63</c:v>
                </c:pt>
                <c:pt idx="2948">
                  <c:v>0.46</c:v>
                </c:pt>
                <c:pt idx="2949">
                  <c:v>0.59699999999999998</c:v>
                </c:pt>
                <c:pt idx="2950">
                  <c:v>0.82599999999999996</c:v>
                </c:pt>
                <c:pt idx="2951">
                  <c:v>0.81399999999999995</c:v>
                </c:pt>
                <c:pt idx="2952">
                  <c:v>0.92200000000000004</c:v>
                </c:pt>
                <c:pt idx="2953">
                  <c:v>0.67600000000000005</c:v>
                </c:pt>
                <c:pt idx="2954">
                  <c:v>0.61599999999999999</c:v>
                </c:pt>
                <c:pt idx="2955">
                  <c:v>0.438</c:v>
                </c:pt>
                <c:pt idx="2956">
                  <c:v>0.52900000000000003</c:v>
                </c:pt>
                <c:pt idx="2957">
                  <c:v>0.34300000000000003</c:v>
                </c:pt>
                <c:pt idx="2958">
                  <c:v>0.75</c:v>
                </c:pt>
                <c:pt idx="2959">
                  <c:v>0.56299999999999994</c:v>
                </c:pt>
                <c:pt idx="2960">
                  <c:v>0.60699999999999998</c:v>
                </c:pt>
                <c:pt idx="2961">
                  <c:v>0.75900000000000001</c:v>
                </c:pt>
                <c:pt idx="2962">
                  <c:v>0.86699999999999999</c:v>
                </c:pt>
                <c:pt idx="2963">
                  <c:v>0.82</c:v>
                </c:pt>
                <c:pt idx="2964">
                  <c:v>0.45800000000000002</c:v>
                </c:pt>
                <c:pt idx="2965">
                  <c:v>0.80800000000000005</c:v>
                </c:pt>
                <c:pt idx="2966">
                  <c:v>0.83499999999999996</c:v>
                </c:pt>
                <c:pt idx="2967">
                  <c:v>0.62</c:v>
                </c:pt>
                <c:pt idx="2968">
                  <c:v>0.38600000000000001</c:v>
                </c:pt>
                <c:pt idx="2969">
                  <c:v>0.76400000000000001</c:v>
                </c:pt>
                <c:pt idx="2970">
                  <c:v>0.25900000000000001</c:v>
                </c:pt>
                <c:pt idx="2971">
                  <c:v>0.64600000000000002</c:v>
                </c:pt>
                <c:pt idx="2972">
                  <c:v>0.70299999999999996</c:v>
                </c:pt>
                <c:pt idx="2973">
                  <c:v>0.61799999999999999</c:v>
                </c:pt>
                <c:pt idx="2974">
                  <c:v>0.88600000000000001</c:v>
                </c:pt>
                <c:pt idx="2975">
                  <c:v>0.25700000000000001</c:v>
                </c:pt>
                <c:pt idx="2976">
                  <c:v>0.52500000000000002</c:v>
                </c:pt>
                <c:pt idx="2977">
                  <c:v>0.59199999999999997</c:v>
                </c:pt>
                <c:pt idx="2978">
                  <c:v>0.56200000000000006</c:v>
                </c:pt>
                <c:pt idx="2979">
                  <c:v>0.54300000000000004</c:v>
                </c:pt>
                <c:pt idx="2980">
                  <c:v>0.54</c:v>
                </c:pt>
                <c:pt idx="2981">
                  <c:v>0.56999999999999995</c:v>
                </c:pt>
                <c:pt idx="2982">
                  <c:v>0.312</c:v>
                </c:pt>
                <c:pt idx="2983">
                  <c:v>0.34699999999999998</c:v>
                </c:pt>
                <c:pt idx="2984">
                  <c:v>0.41399999999999998</c:v>
                </c:pt>
                <c:pt idx="2985">
                  <c:v>0.69799999999999995</c:v>
                </c:pt>
                <c:pt idx="2986">
                  <c:v>0.86899999999999999</c:v>
                </c:pt>
                <c:pt idx="2987">
                  <c:v>0.88700000000000001</c:v>
                </c:pt>
                <c:pt idx="2988">
                  <c:v>0.88700000000000001</c:v>
                </c:pt>
                <c:pt idx="2989">
                  <c:v>0.54500000000000004</c:v>
                </c:pt>
                <c:pt idx="2990">
                  <c:v>0.28499999999999998</c:v>
                </c:pt>
                <c:pt idx="2991">
                  <c:v>0.67500000000000004</c:v>
                </c:pt>
                <c:pt idx="2992">
                  <c:v>0.84599999999999997</c:v>
                </c:pt>
                <c:pt idx="2993">
                  <c:v>0.71499999999999997</c:v>
                </c:pt>
                <c:pt idx="2994">
                  <c:v>0.89300000000000002</c:v>
                </c:pt>
                <c:pt idx="2995">
                  <c:v>0.54500000000000004</c:v>
                </c:pt>
                <c:pt idx="2996">
                  <c:v>0.60599999999999998</c:v>
                </c:pt>
                <c:pt idx="2997">
                  <c:v>0.61499999999999999</c:v>
                </c:pt>
                <c:pt idx="2998">
                  <c:v>0.80200000000000005</c:v>
                </c:pt>
                <c:pt idx="2999">
                  <c:v>0.78200000000000003</c:v>
                </c:pt>
                <c:pt idx="3000">
                  <c:v>0.60699999999999998</c:v>
                </c:pt>
                <c:pt idx="3001">
                  <c:v>0.83799999999999997</c:v>
                </c:pt>
                <c:pt idx="3002">
                  <c:v>0.89900000000000002</c:v>
                </c:pt>
                <c:pt idx="3003">
                  <c:v>0.83</c:v>
                </c:pt>
                <c:pt idx="3004">
                  <c:v>0.47299999999999998</c:v>
                </c:pt>
                <c:pt idx="3005">
                  <c:v>0.81100000000000005</c:v>
                </c:pt>
                <c:pt idx="3006">
                  <c:v>0.57299999999999995</c:v>
                </c:pt>
                <c:pt idx="3007">
                  <c:v>0.53100000000000003</c:v>
                </c:pt>
                <c:pt idx="3008">
                  <c:v>0.59899999999999998</c:v>
                </c:pt>
                <c:pt idx="3009">
                  <c:v>0.70599999999999996</c:v>
                </c:pt>
                <c:pt idx="3010">
                  <c:v>0.85799999999999998</c:v>
                </c:pt>
                <c:pt idx="3011">
                  <c:v>0.86499999999999999</c:v>
                </c:pt>
                <c:pt idx="3012">
                  <c:v>0.51900000000000002</c:v>
                </c:pt>
                <c:pt idx="3013">
                  <c:v>0.86399999999999999</c:v>
                </c:pt>
                <c:pt idx="3014">
                  <c:v>0.53500000000000003</c:v>
                </c:pt>
                <c:pt idx="3015">
                  <c:v>0.79100000000000004</c:v>
                </c:pt>
                <c:pt idx="3016">
                  <c:v>0.76200000000000001</c:v>
                </c:pt>
                <c:pt idx="3017">
                  <c:v>0.498</c:v>
                </c:pt>
                <c:pt idx="3018">
                  <c:v>0.54900000000000004</c:v>
                </c:pt>
                <c:pt idx="3019">
                  <c:v>0.89100000000000001</c:v>
                </c:pt>
                <c:pt idx="3020">
                  <c:v>0.56299999999999994</c:v>
                </c:pt>
                <c:pt idx="3021">
                  <c:v>0.68600000000000005</c:v>
                </c:pt>
                <c:pt idx="3022">
                  <c:v>0.64600000000000002</c:v>
                </c:pt>
                <c:pt idx="3023">
                  <c:v>0.81</c:v>
                </c:pt>
                <c:pt idx="3024">
                  <c:v>0.89100000000000001</c:v>
                </c:pt>
                <c:pt idx="3025">
                  <c:v>0.498</c:v>
                </c:pt>
                <c:pt idx="3026">
                  <c:v>0.45700000000000002</c:v>
                </c:pt>
                <c:pt idx="3027">
                  <c:v>0.87</c:v>
                </c:pt>
                <c:pt idx="3028">
                  <c:v>0.96299999999999997</c:v>
                </c:pt>
                <c:pt idx="3029">
                  <c:v>0.78600000000000003</c:v>
                </c:pt>
                <c:pt idx="3030">
                  <c:v>0.84899999999999998</c:v>
                </c:pt>
                <c:pt idx="3031">
                  <c:v>0.48699999999999999</c:v>
                </c:pt>
                <c:pt idx="3032">
                  <c:v>0.55800000000000005</c:v>
                </c:pt>
                <c:pt idx="3033">
                  <c:v>0.86099999999999999</c:v>
                </c:pt>
                <c:pt idx="3034">
                  <c:v>0.29199999999999998</c:v>
                </c:pt>
                <c:pt idx="3035">
                  <c:v>0.51300000000000001</c:v>
                </c:pt>
                <c:pt idx="3036">
                  <c:v>0.39400000000000002</c:v>
                </c:pt>
                <c:pt idx="3037">
                  <c:v>0.48399999999999999</c:v>
                </c:pt>
                <c:pt idx="3038">
                  <c:v>0.71899999999999997</c:v>
                </c:pt>
                <c:pt idx="3039">
                  <c:v>0.57399999999999995</c:v>
                </c:pt>
                <c:pt idx="3040">
                  <c:v>0.82699999999999996</c:v>
                </c:pt>
                <c:pt idx="3041">
                  <c:v>0.81399999999999995</c:v>
                </c:pt>
                <c:pt idx="3042">
                  <c:v>0.47699999999999998</c:v>
                </c:pt>
                <c:pt idx="3043">
                  <c:v>0.66700000000000004</c:v>
                </c:pt>
                <c:pt idx="3044">
                  <c:v>0.72599999999999998</c:v>
                </c:pt>
                <c:pt idx="3045">
                  <c:v>0.50700000000000001</c:v>
                </c:pt>
                <c:pt idx="3046">
                  <c:v>0.184</c:v>
                </c:pt>
                <c:pt idx="3047">
                  <c:v>0.80500000000000005</c:v>
                </c:pt>
                <c:pt idx="3048">
                  <c:v>0.73</c:v>
                </c:pt>
                <c:pt idx="3049">
                  <c:v>0.875</c:v>
                </c:pt>
                <c:pt idx="3050">
                  <c:v>0.91800000000000004</c:v>
                </c:pt>
                <c:pt idx="3051">
                  <c:v>0.62</c:v>
                </c:pt>
                <c:pt idx="3052">
                  <c:v>0.42799999999999999</c:v>
                </c:pt>
                <c:pt idx="3053">
                  <c:v>0.44800000000000001</c:v>
                </c:pt>
                <c:pt idx="3054">
                  <c:v>0.66200000000000003</c:v>
                </c:pt>
                <c:pt idx="3055">
                  <c:v>0.82099999999999995</c:v>
                </c:pt>
                <c:pt idx="3056">
                  <c:v>0.84599999999999997</c:v>
                </c:pt>
                <c:pt idx="3057">
                  <c:v>0.52600000000000002</c:v>
                </c:pt>
                <c:pt idx="3058">
                  <c:v>0.55000000000000004</c:v>
                </c:pt>
                <c:pt idx="3059">
                  <c:v>0.83699999999999997</c:v>
                </c:pt>
                <c:pt idx="3060">
                  <c:v>0.70399999999999996</c:v>
                </c:pt>
                <c:pt idx="3061">
                  <c:v>0.4</c:v>
                </c:pt>
                <c:pt idx="3062">
                  <c:v>0.628</c:v>
                </c:pt>
                <c:pt idx="3063">
                  <c:v>0.44900000000000001</c:v>
                </c:pt>
                <c:pt idx="3064">
                  <c:v>0.94099999999999995</c:v>
                </c:pt>
                <c:pt idx="3065">
                  <c:v>0.86799999999999999</c:v>
                </c:pt>
                <c:pt idx="3066">
                  <c:v>0.62</c:v>
                </c:pt>
                <c:pt idx="3067">
                  <c:v>0.48499999999999999</c:v>
                </c:pt>
                <c:pt idx="3068">
                  <c:v>0.53300000000000003</c:v>
                </c:pt>
                <c:pt idx="3069">
                  <c:v>0.61399999999999999</c:v>
                </c:pt>
                <c:pt idx="3070">
                  <c:v>0.56100000000000005</c:v>
                </c:pt>
                <c:pt idx="3071">
                  <c:v>0.42</c:v>
                </c:pt>
                <c:pt idx="3072">
                  <c:v>0.48</c:v>
                </c:pt>
                <c:pt idx="3073">
                  <c:v>0.59899999999999998</c:v>
                </c:pt>
                <c:pt idx="3074">
                  <c:v>0.66900000000000004</c:v>
                </c:pt>
                <c:pt idx="3075">
                  <c:v>0.81200000000000006</c:v>
                </c:pt>
                <c:pt idx="3076">
                  <c:v>0.71699999999999997</c:v>
                </c:pt>
                <c:pt idx="3077">
                  <c:v>0.72499999999999998</c:v>
                </c:pt>
                <c:pt idx="3078">
                  <c:v>0.63</c:v>
                </c:pt>
                <c:pt idx="3079">
                  <c:v>0.41499999999999998</c:v>
                </c:pt>
                <c:pt idx="3080">
                  <c:v>0.48399999999999999</c:v>
                </c:pt>
                <c:pt idx="3081">
                  <c:v>0.73099999999999998</c:v>
                </c:pt>
                <c:pt idx="3082">
                  <c:v>0.59699999999999998</c:v>
                </c:pt>
                <c:pt idx="3083">
                  <c:v>0.73099999999999998</c:v>
                </c:pt>
                <c:pt idx="3084">
                  <c:v>0.47199999999999998</c:v>
                </c:pt>
                <c:pt idx="3085">
                  <c:v>0.42</c:v>
                </c:pt>
                <c:pt idx="3086">
                  <c:v>0.84</c:v>
                </c:pt>
                <c:pt idx="3087">
                  <c:v>0.70199999999999996</c:v>
                </c:pt>
                <c:pt idx="3088">
                  <c:v>0.505</c:v>
                </c:pt>
                <c:pt idx="3089">
                  <c:v>0.69</c:v>
                </c:pt>
                <c:pt idx="3090">
                  <c:v>0.53300000000000003</c:v>
                </c:pt>
                <c:pt idx="3091">
                  <c:v>0.67400000000000004</c:v>
                </c:pt>
                <c:pt idx="3092">
                  <c:v>0.51</c:v>
                </c:pt>
                <c:pt idx="3093">
                  <c:v>0.66</c:v>
                </c:pt>
                <c:pt idx="3094">
                  <c:v>0.84599999999999997</c:v>
                </c:pt>
                <c:pt idx="3095">
                  <c:v>0.75</c:v>
                </c:pt>
                <c:pt idx="3096">
                  <c:v>0.72199999999999998</c:v>
                </c:pt>
                <c:pt idx="3097">
                  <c:v>0.70799999999999996</c:v>
                </c:pt>
                <c:pt idx="3098">
                  <c:v>0.81399999999999995</c:v>
                </c:pt>
                <c:pt idx="3099">
                  <c:v>0.31900000000000001</c:v>
                </c:pt>
                <c:pt idx="3100">
                  <c:v>0.71699999999999997</c:v>
                </c:pt>
                <c:pt idx="3101">
                  <c:v>0.41499999999999998</c:v>
                </c:pt>
                <c:pt idx="3102">
                  <c:v>0.57399999999999995</c:v>
                </c:pt>
                <c:pt idx="3103">
                  <c:v>0.625</c:v>
                </c:pt>
                <c:pt idx="3104">
                  <c:v>0.71199999999999997</c:v>
                </c:pt>
                <c:pt idx="3105">
                  <c:v>0.56000000000000005</c:v>
                </c:pt>
                <c:pt idx="3106">
                  <c:v>0.76800000000000002</c:v>
                </c:pt>
                <c:pt idx="3107">
                  <c:v>0.84499999999999997</c:v>
                </c:pt>
                <c:pt idx="3108">
                  <c:v>0.72099999999999997</c:v>
                </c:pt>
                <c:pt idx="3109">
                  <c:v>0.66900000000000004</c:v>
                </c:pt>
                <c:pt idx="3110">
                  <c:v>0.75800000000000001</c:v>
                </c:pt>
                <c:pt idx="3111">
                  <c:v>0.54600000000000004</c:v>
                </c:pt>
                <c:pt idx="3112">
                  <c:v>0.443</c:v>
                </c:pt>
                <c:pt idx="3113">
                  <c:v>0.73</c:v>
                </c:pt>
                <c:pt idx="3114">
                  <c:v>0.61499999999999999</c:v>
                </c:pt>
                <c:pt idx="3115">
                  <c:v>0.60599999999999998</c:v>
                </c:pt>
                <c:pt idx="3116">
                  <c:v>0.745</c:v>
                </c:pt>
                <c:pt idx="3117">
                  <c:v>0.83199999999999996</c:v>
                </c:pt>
                <c:pt idx="3118">
                  <c:v>0.39700000000000002</c:v>
                </c:pt>
                <c:pt idx="3119">
                  <c:v>0.63700000000000001</c:v>
                </c:pt>
                <c:pt idx="3120">
                  <c:v>0.72799999999999998</c:v>
                </c:pt>
                <c:pt idx="3121">
                  <c:v>0.51600000000000001</c:v>
                </c:pt>
                <c:pt idx="3122">
                  <c:v>0.49</c:v>
                </c:pt>
                <c:pt idx="3123">
                  <c:v>0.314</c:v>
                </c:pt>
                <c:pt idx="3124">
                  <c:v>0.56399999999999995</c:v>
                </c:pt>
                <c:pt idx="3125">
                  <c:v>0.49399999999999999</c:v>
                </c:pt>
                <c:pt idx="3126">
                  <c:v>0.40100000000000002</c:v>
                </c:pt>
                <c:pt idx="3127">
                  <c:v>0.57299999999999995</c:v>
                </c:pt>
                <c:pt idx="3128">
                  <c:v>0.60599999999999998</c:v>
                </c:pt>
                <c:pt idx="3129">
                  <c:v>0.48099999999999998</c:v>
                </c:pt>
                <c:pt idx="3130">
                  <c:v>0.82099999999999995</c:v>
                </c:pt>
                <c:pt idx="3131">
                  <c:v>0.68</c:v>
                </c:pt>
                <c:pt idx="3132">
                  <c:v>0.79300000000000004</c:v>
                </c:pt>
                <c:pt idx="3133">
                  <c:v>0.68600000000000005</c:v>
                </c:pt>
                <c:pt idx="3134">
                  <c:v>0.72</c:v>
                </c:pt>
                <c:pt idx="3135">
                  <c:v>0.36099999999999999</c:v>
                </c:pt>
                <c:pt idx="3136">
                  <c:v>0.626</c:v>
                </c:pt>
                <c:pt idx="3137">
                  <c:v>0.49399999999999999</c:v>
                </c:pt>
                <c:pt idx="3138">
                  <c:v>0.40699999999999997</c:v>
                </c:pt>
                <c:pt idx="3139">
                  <c:v>0.56299999999999994</c:v>
                </c:pt>
                <c:pt idx="3140">
                  <c:v>0.56999999999999995</c:v>
                </c:pt>
                <c:pt idx="3141">
                  <c:v>0.58399999999999996</c:v>
                </c:pt>
                <c:pt idx="3142">
                  <c:v>0.65900000000000003</c:v>
                </c:pt>
                <c:pt idx="3143">
                  <c:v>0.73399999999999999</c:v>
                </c:pt>
                <c:pt idx="3144">
                  <c:v>0.79500000000000004</c:v>
                </c:pt>
                <c:pt idx="3145">
                  <c:v>0.85499999999999998</c:v>
                </c:pt>
                <c:pt idx="3146">
                  <c:v>0.88800000000000001</c:v>
                </c:pt>
                <c:pt idx="3147">
                  <c:v>0.89400000000000002</c:v>
                </c:pt>
                <c:pt idx="3148">
                  <c:v>0.93700000000000006</c:v>
                </c:pt>
                <c:pt idx="3149">
                  <c:v>0.94799999999999995</c:v>
                </c:pt>
                <c:pt idx="3150">
                  <c:v>0.96299999999999997</c:v>
                </c:pt>
                <c:pt idx="3151">
                  <c:v>0.72</c:v>
                </c:pt>
                <c:pt idx="3152">
                  <c:v>0.58699999999999997</c:v>
                </c:pt>
                <c:pt idx="3153">
                  <c:v>0.59399999999999997</c:v>
                </c:pt>
                <c:pt idx="3154">
                  <c:v>0.46700000000000003</c:v>
                </c:pt>
                <c:pt idx="3155">
                  <c:v>0.78200000000000003</c:v>
                </c:pt>
                <c:pt idx="3156">
                  <c:v>0.56899999999999995</c:v>
                </c:pt>
                <c:pt idx="3157">
                  <c:v>0.66300000000000003</c:v>
                </c:pt>
                <c:pt idx="3158">
                  <c:v>0.55200000000000005</c:v>
                </c:pt>
                <c:pt idx="3159">
                  <c:v>0.70599999999999996</c:v>
                </c:pt>
                <c:pt idx="3160">
                  <c:v>0.52300000000000002</c:v>
                </c:pt>
                <c:pt idx="3161">
                  <c:v>0.73799999999999999</c:v>
                </c:pt>
                <c:pt idx="3162">
                  <c:v>0.83</c:v>
                </c:pt>
                <c:pt idx="3163">
                  <c:v>0.64900000000000002</c:v>
                </c:pt>
                <c:pt idx="3164">
                  <c:v>0.72199999999999998</c:v>
                </c:pt>
                <c:pt idx="3165">
                  <c:v>0.51100000000000001</c:v>
                </c:pt>
                <c:pt idx="3166">
                  <c:v>0.76200000000000001</c:v>
                </c:pt>
                <c:pt idx="3167">
                  <c:v>0.60099999999999998</c:v>
                </c:pt>
                <c:pt idx="3168">
                  <c:v>0.79700000000000004</c:v>
                </c:pt>
                <c:pt idx="3169">
                  <c:v>0.42899999999999999</c:v>
                </c:pt>
                <c:pt idx="3170">
                  <c:v>0.55300000000000005</c:v>
                </c:pt>
                <c:pt idx="3171">
                  <c:v>0.434</c:v>
                </c:pt>
                <c:pt idx="3172">
                  <c:v>0.60199999999999998</c:v>
                </c:pt>
                <c:pt idx="3173">
                  <c:v>0.67500000000000004</c:v>
                </c:pt>
                <c:pt idx="3174">
                  <c:v>0.84199999999999997</c:v>
                </c:pt>
                <c:pt idx="3175">
                  <c:v>0.70099999999999996</c:v>
                </c:pt>
                <c:pt idx="3176">
                  <c:v>0.754</c:v>
                </c:pt>
                <c:pt idx="3177">
                  <c:v>0.50900000000000001</c:v>
                </c:pt>
                <c:pt idx="3178">
                  <c:v>0.76600000000000001</c:v>
                </c:pt>
                <c:pt idx="3179">
                  <c:v>0.55000000000000004</c:v>
                </c:pt>
                <c:pt idx="3180">
                  <c:v>0.83399999999999996</c:v>
                </c:pt>
                <c:pt idx="3181">
                  <c:v>0.84799999999999998</c:v>
                </c:pt>
                <c:pt idx="3182">
                  <c:v>0.68500000000000005</c:v>
                </c:pt>
                <c:pt idx="3183">
                  <c:v>0.70799999999999996</c:v>
                </c:pt>
                <c:pt idx="3184">
                  <c:v>0.46200000000000002</c:v>
                </c:pt>
                <c:pt idx="3185">
                  <c:v>0.65600000000000003</c:v>
                </c:pt>
                <c:pt idx="3186">
                  <c:v>0.82399999999999995</c:v>
                </c:pt>
                <c:pt idx="3187">
                  <c:v>0.50700000000000001</c:v>
                </c:pt>
                <c:pt idx="3188">
                  <c:v>0.748</c:v>
                </c:pt>
                <c:pt idx="3189">
                  <c:v>0.78900000000000003</c:v>
                </c:pt>
                <c:pt idx="3190">
                  <c:v>0.15</c:v>
                </c:pt>
                <c:pt idx="3191">
                  <c:v>0.58599999999999997</c:v>
                </c:pt>
                <c:pt idx="3192">
                  <c:v>0.83299999999999996</c:v>
                </c:pt>
                <c:pt idx="3193">
                  <c:v>0.221</c:v>
                </c:pt>
                <c:pt idx="3194">
                  <c:v>0.39100000000000001</c:v>
                </c:pt>
                <c:pt idx="3195">
                  <c:v>0.877</c:v>
                </c:pt>
                <c:pt idx="3196">
                  <c:v>0.40500000000000003</c:v>
                </c:pt>
                <c:pt idx="3197">
                  <c:v>0.627</c:v>
                </c:pt>
                <c:pt idx="3198">
                  <c:v>0.90600000000000003</c:v>
                </c:pt>
                <c:pt idx="3199">
                  <c:v>0.94399999999999995</c:v>
                </c:pt>
                <c:pt idx="3200">
                  <c:v>0.52900000000000003</c:v>
                </c:pt>
                <c:pt idx="3201">
                  <c:v>0.40500000000000003</c:v>
                </c:pt>
                <c:pt idx="3202">
                  <c:v>0.7</c:v>
                </c:pt>
                <c:pt idx="3203">
                  <c:v>0.89400000000000002</c:v>
                </c:pt>
                <c:pt idx="3204">
                  <c:v>0.65700000000000003</c:v>
                </c:pt>
                <c:pt idx="3205">
                  <c:v>0.878</c:v>
                </c:pt>
                <c:pt idx="3206">
                  <c:v>0.66800000000000004</c:v>
                </c:pt>
                <c:pt idx="3207">
                  <c:v>0.70299999999999996</c:v>
                </c:pt>
                <c:pt idx="3208">
                  <c:v>0.752</c:v>
                </c:pt>
                <c:pt idx="3209">
                  <c:v>0.80500000000000005</c:v>
                </c:pt>
                <c:pt idx="3210">
                  <c:v>0.66700000000000004</c:v>
                </c:pt>
                <c:pt idx="3211">
                  <c:v>0.53600000000000003</c:v>
                </c:pt>
                <c:pt idx="3212">
                  <c:v>0.71799999999999997</c:v>
                </c:pt>
                <c:pt idx="3213">
                  <c:v>0.56999999999999995</c:v>
                </c:pt>
                <c:pt idx="3214">
                  <c:v>0.71599999999999997</c:v>
                </c:pt>
                <c:pt idx="3215">
                  <c:v>0.55700000000000005</c:v>
                </c:pt>
                <c:pt idx="3216">
                  <c:v>0.78600000000000003</c:v>
                </c:pt>
                <c:pt idx="3217">
                  <c:v>0.5</c:v>
                </c:pt>
                <c:pt idx="3218">
                  <c:v>0.45800000000000002</c:v>
                </c:pt>
                <c:pt idx="3219">
                  <c:v>0.755</c:v>
                </c:pt>
                <c:pt idx="3220">
                  <c:v>0.70099999999999996</c:v>
                </c:pt>
                <c:pt idx="3221">
                  <c:v>0.48899999999999999</c:v>
                </c:pt>
                <c:pt idx="3222">
                  <c:v>0.52300000000000002</c:v>
                </c:pt>
                <c:pt idx="3223">
                  <c:v>0.39</c:v>
                </c:pt>
                <c:pt idx="3224">
                  <c:v>0.50600000000000001</c:v>
                </c:pt>
                <c:pt idx="3225">
                  <c:v>0.54400000000000004</c:v>
                </c:pt>
                <c:pt idx="3226">
                  <c:v>0.81200000000000006</c:v>
                </c:pt>
                <c:pt idx="3227">
                  <c:v>0.35299999999999998</c:v>
                </c:pt>
                <c:pt idx="3228">
                  <c:v>0.52300000000000002</c:v>
                </c:pt>
                <c:pt idx="3229">
                  <c:v>0.34799999999999998</c:v>
                </c:pt>
                <c:pt idx="3230">
                  <c:v>0.71799999999999997</c:v>
                </c:pt>
                <c:pt idx="3231">
                  <c:v>0.33800000000000002</c:v>
                </c:pt>
                <c:pt idx="3232">
                  <c:v>0.84899999999999998</c:v>
                </c:pt>
                <c:pt idx="3233">
                  <c:v>0.86799999999999999</c:v>
                </c:pt>
                <c:pt idx="3234">
                  <c:v>0.47</c:v>
                </c:pt>
                <c:pt idx="3235">
                  <c:v>0.71199999999999997</c:v>
                </c:pt>
                <c:pt idx="3236">
                  <c:v>0.49199999999999999</c:v>
                </c:pt>
                <c:pt idx="3237">
                  <c:v>0.45500000000000002</c:v>
                </c:pt>
                <c:pt idx="3238">
                  <c:v>0.85599999999999998</c:v>
                </c:pt>
                <c:pt idx="3239">
                  <c:v>0.90800000000000003</c:v>
                </c:pt>
                <c:pt idx="3240">
                  <c:v>0.38400000000000001</c:v>
                </c:pt>
                <c:pt idx="3241">
                  <c:v>0.50800000000000001</c:v>
                </c:pt>
                <c:pt idx="3242">
                  <c:v>0.71699999999999997</c:v>
                </c:pt>
                <c:pt idx="3243">
                  <c:v>0.65700000000000003</c:v>
                </c:pt>
                <c:pt idx="3244">
                  <c:v>0.39400000000000002</c:v>
                </c:pt>
                <c:pt idx="3245">
                  <c:v>0.45600000000000002</c:v>
                </c:pt>
                <c:pt idx="3246">
                  <c:v>0.82499999999999996</c:v>
                </c:pt>
                <c:pt idx="3247">
                  <c:v>0.307</c:v>
                </c:pt>
                <c:pt idx="3248">
                  <c:v>0.64800000000000002</c:v>
                </c:pt>
                <c:pt idx="3249">
                  <c:v>0.995</c:v>
                </c:pt>
                <c:pt idx="3250">
                  <c:v>0.80700000000000005</c:v>
                </c:pt>
                <c:pt idx="3251">
                  <c:v>0.114</c:v>
                </c:pt>
                <c:pt idx="3252">
                  <c:v>0.47499999999999998</c:v>
                </c:pt>
                <c:pt idx="3253">
                  <c:v>0.69399999999999995</c:v>
                </c:pt>
                <c:pt idx="3254">
                  <c:v>0.60899999999999999</c:v>
                </c:pt>
                <c:pt idx="3255">
                  <c:v>0.66</c:v>
                </c:pt>
                <c:pt idx="3256">
                  <c:v>0.39900000000000002</c:v>
                </c:pt>
                <c:pt idx="3257">
                  <c:v>0.52900000000000003</c:v>
                </c:pt>
                <c:pt idx="3258">
                  <c:v>0.77</c:v>
                </c:pt>
                <c:pt idx="3259">
                  <c:v>0.78200000000000003</c:v>
                </c:pt>
                <c:pt idx="3260">
                  <c:v>0.80900000000000005</c:v>
                </c:pt>
                <c:pt idx="3261">
                  <c:v>0.88600000000000001</c:v>
                </c:pt>
                <c:pt idx="3262">
                  <c:v>0.89600000000000002</c:v>
                </c:pt>
                <c:pt idx="3263">
                  <c:v>0.93400000000000005</c:v>
                </c:pt>
                <c:pt idx="3264">
                  <c:v>0.32800000000000001</c:v>
                </c:pt>
                <c:pt idx="3265">
                  <c:v>0.60299999999999998</c:v>
                </c:pt>
                <c:pt idx="3266">
                  <c:v>0.90700000000000003</c:v>
                </c:pt>
                <c:pt idx="3267">
                  <c:v>0.47399999999999998</c:v>
                </c:pt>
                <c:pt idx="3268">
                  <c:v>0.69099999999999995</c:v>
                </c:pt>
                <c:pt idx="3269">
                  <c:v>0.32200000000000001</c:v>
                </c:pt>
                <c:pt idx="3270">
                  <c:v>0.46300000000000002</c:v>
                </c:pt>
                <c:pt idx="3271">
                  <c:v>0.77100000000000002</c:v>
                </c:pt>
                <c:pt idx="3272">
                  <c:v>0.73499999999999999</c:v>
                </c:pt>
                <c:pt idx="3273">
                  <c:v>0.51300000000000001</c:v>
                </c:pt>
                <c:pt idx="3274">
                  <c:v>0.48399999999999999</c:v>
                </c:pt>
                <c:pt idx="3275">
                  <c:v>0.59099999999999997</c:v>
                </c:pt>
                <c:pt idx="3276">
                  <c:v>0.92600000000000005</c:v>
                </c:pt>
                <c:pt idx="3277">
                  <c:v>0.95799999999999996</c:v>
                </c:pt>
                <c:pt idx="3278">
                  <c:v>0.72199999999999998</c:v>
                </c:pt>
                <c:pt idx="3279">
                  <c:v>0.86299999999999999</c:v>
                </c:pt>
                <c:pt idx="3280">
                  <c:v>0.51400000000000001</c:v>
                </c:pt>
                <c:pt idx="3281">
                  <c:v>0.313</c:v>
                </c:pt>
                <c:pt idx="3282">
                  <c:v>0.64500000000000002</c:v>
                </c:pt>
                <c:pt idx="3283">
                  <c:v>0.82399999999999995</c:v>
                </c:pt>
                <c:pt idx="3284">
                  <c:v>0.77700000000000002</c:v>
                </c:pt>
                <c:pt idx="3285">
                  <c:v>0.63300000000000001</c:v>
                </c:pt>
                <c:pt idx="3286">
                  <c:v>0.58499999999999996</c:v>
                </c:pt>
                <c:pt idx="3287">
                  <c:v>0.80200000000000005</c:v>
                </c:pt>
                <c:pt idx="3288">
                  <c:v>0.84299999999999997</c:v>
                </c:pt>
                <c:pt idx="3289">
                  <c:v>0.45400000000000001</c:v>
                </c:pt>
                <c:pt idx="3290">
                  <c:v>0.61799999999999999</c:v>
                </c:pt>
                <c:pt idx="3291">
                  <c:v>0.79900000000000004</c:v>
                </c:pt>
                <c:pt idx="3292">
                  <c:v>0.80600000000000005</c:v>
                </c:pt>
                <c:pt idx="3293">
                  <c:v>0.69599999999999995</c:v>
                </c:pt>
                <c:pt idx="3294">
                  <c:v>9.6000000000000002E-2</c:v>
                </c:pt>
                <c:pt idx="3295">
                  <c:v>0.433</c:v>
                </c:pt>
                <c:pt idx="3296">
                  <c:v>0.6</c:v>
                </c:pt>
                <c:pt idx="3297">
                  <c:v>0.51200000000000001</c:v>
                </c:pt>
                <c:pt idx="3298">
                  <c:v>0.47499999999999998</c:v>
                </c:pt>
                <c:pt idx="3299">
                  <c:v>0.56799999999999995</c:v>
                </c:pt>
                <c:pt idx="3300">
                  <c:v>0.61699999999999999</c:v>
                </c:pt>
                <c:pt idx="3301">
                  <c:v>0.67300000000000004</c:v>
                </c:pt>
                <c:pt idx="3302">
                  <c:v>0.8</c:v>
                </c:pt>
                <c:pt idx="3303">
                  <c:v>0.81699999999999995</c:v>
                </c:pt>
                <c:pt idx="3304">
                  <c:v>0.93300000000000005</c:v>
                </c:pt>
                <c:pt idx="3305">
                  <c:v>0.65400000000000003</c:v>
                </c:pt>
                <c:pt idx="3306">
                  <c:v>0.496</c:v>
                </c:pt>
                <c:pt idx="3307">
                  <c:v>0.57599999999999996</c:v>
                </c:pt>
                <c:pt idx="3308">
                  <c:v>0.60499999999999998</c:v>
                </c:pt>
                <c:pt idx="3309">
                  <c:v>0.72499999999999998</c:v>
                </c:pt>
                <c:pt idx="3310">
                  <c:v>0.44900000000000001</c:v>
                </c:pt>
                <c:pt idx="3311">
                  <c:v>0.7</c:v>
                </c:pt>
                <c:pt idx="3312">
                  <c:v>0.76400000000000001</c:v>
                </c:pt>
                <c:pt idx="3313">
                  <c:v>0.496</c:v>
                </c:pt>
                <c:pt idx="3314">
                  <c:v>0.72399999999999998</c:v>
                </c:pt>
                <c:pt idx="3315">
                  <c:v>0.93300000000000005</c:v>
                </c:pt>
                <c:pt idx="3316">
                  <c:v>0.53200000000000003</c:v>
                </c:pt>
                <c:pt idx="3317">
                  <c:v>0.81799999999999995</c:v>
                </c:pt>
                <c:pt idx="3318">
                  <c:v>0.373</c:v>
                </c:pt>
                <c:pt idx="3319">
                  <c:v>0.55900000000000005</c:v>
                </c:pt>
                <c:pt idx="3320">
                  <c:v>0.55100000000000005</c:v>
                </c:pt>
                <c:pt idx="3321">
                  <c:v>0.51800000000000002</c:v>
                </c:pt>
                <c:pt idx="3322">
                  <c:v>0.64200000000000002</c:v>
                </c:pt>
                <c:pt idx="3323">
                  <c:v>0.47399999999999998</c:v>
                </c:pt>
                <c:pt idx="3324">
                  <c:v>0.35899999999999999</c:v>
                </c:pt>
                <c:pt idx="3325">
                  <c:v>0.439</c:v>
                </c:pt>
                <c:pt idx="3326">
                  <c:v>0.65500000000000003</c:v>
                </c:pt>
                <c:pt idx="3327">
                  <c:v>0.97799999999999998</c:v>
                </c:pt>
                <c:pt idx="3328">
                  <c:v>0.60499999999999998</c:v>
                </c:pt>
                <c:pt idx="3329">
                  <c:v>0.76700000000000002</c:v>
                </c:pt>
                <c:pt idx="3330">
                  <c:v>0.53100000000000003</c:v>
                </c:pt>
                <c:pt idx="3331">
                  <c:v>0.65700000000000003</c:v>
                </c:pt>
                <c:pt idx="3332">
                  <c:v>0.53700000000000003</c:v>
                </c:pt>
                <c:pt idx="3333">
                  <c:v>0.48899999999999999</c:v>
                </c:pt>
                <c:pt idx="3334">
                  <c:v>0.83699999999999997</c:v>
                </c:pt>
                <c:pt idx="3335">
                  <c:v>0.81899999999999995</c:v>
                </c:pt>
                <c:pt idx="3336">
                  <c:v>0.65400000000000003</c:v>
                </c:pt>
                <c:pt idx="3337">
                  <c:v>0.85099999999999998</c:v>
                </c:pt>
                <c:pt idx="3338">
                  <c:v>0.75900000000000001</c:v>
                </c:pt>
                <c:pt idx="3339">
                  <c:v>0.56200000000000006</c:v>
                </c:pt>
                <c:pt idx="3340">
                  <c:v>0.45400000000000001</c:v>
                </c:pt>
                <c:pt idx="3341">
                  <c:v>0.34599999999999997</c:v>
                </c:pt>
                <c:pt idx="3342">
                  <c:v>0.5</c:v>
                </c:pt>
                <c:pt idx="3343">
                  <c:v>0.65900000000000003</c:v>
                </c:pt>
                <c:pt idx="3344">
                  <c:v>0.81799999999999995</c:v>
                </c:pt>
                <c:pt idx="3345">
                  <c:v>0.82399999999999995</c:v>
                </c:pt>
                <c:pt idx="3346">
                  <c:v>0.88</c:v>
                </c:pt>
                <c:pt idx="3347">
                  <c:v>0.56200000000000006</c:v>
                </c:pt>
                <c:pt idx="3348">
                  <c:v>9.6000000000000002E-2</c:v>
                </c:pt>
                <c:pt idx="3349">
                  <c:v>0.57799999999999996</c:v>
                </c:pt>
                <c:pt idx="3350">
                  <c:v>0.60699999999999998</c:v>
                </c:pt>
                <c:pt idx="3351">
                  <c:v>0.497</c:v>
                </c:pt>
                <c:pt idx="3352">
                  <c:v>0.41299999999999998</c:v>
                </c:pt>
                <c:pt idx="3353">
                  <c:v>0.42299999999999999</c:v>
                </c:pt>
                <c:pt idx="3354">
                  <c:v>0.24199999999999999</c:v>
                </c:pt>
                <c:pt idx="3355">
                  <c:v>0.224</c:v>
                </c:pt>
                <c:pt idx="3356">
                  <c:v>0.65300000000000002</c:v>
                </c:pt>
                <c:pt idx="3357">
                  <c:v>0.755</c:v>
                </c:pt>
                <c:pt idx="3358">
                  <c:v>0.52200000000000002</c:v>
                </c:pt>
                <c:pt idx="3359">
                  <c:v>0.29499999999999998</c:v>
                </c:pt>
                <c:pt idx="3360">
                  <c:v>0.80300000000000005</c:v>
                </c:pt>
                <c:pt idx="3361">
                  <c:v>0.53400000000000003</c:v>
                </c:pt>
                <c:pt idx="3362">
                  <c:v>0.80300000000000005</c:v>
                </c:pt>
                <c:pt idx="3363">
                  <c:v>0.68100000000000005</c:v>
                </c:pt>
                <c:pt idx="3364">
                  <c:v>0.54100000000000004</c:v>
                </c:pt>
                <c:pt idx="3365">
                  <c:v>0.57899999999999996</c:v>
                </c:pt>
                <c:pt idx="3366">
                  <c:v>0.77600000000000002</c:v>
                </c:pt>
                <c:pt idx="3367">
                  <c:v>0.84</c:v>
                </c:pt>
                <c:pt idx="3368">
                  <c:v>0.872</c:v>
                </c:pt>
                <c:pt idx="3369">
                  <c:v>0.89200000000000002</c:v>
                </c:pt>
                <c:pt idx="3370">
                  <c:v>0.90100000000000002</c:v>
                </c:pt>
                <c:pt idx="3371">
                  <c:v>0.34200000000000003</c:v>
                </c:pt>
                <c:pt idx="3372">
                  <c:v>0.52300000000000002</c:v>
                </c:pt>
                <c:pt idx="3373">
                  <c:v>0.52800000000000002</c:v>
                </c:pt>
                <c:pt idx="3374">
                  <c:v>0.65200000000000002</c:v>
                </c:pt>
                <c:pt idx="3375">
                  <c:v>0.70599999999999996</c:v>
                </c:pt>
                <c:pt idx="3376">
                  <c:v>0.73599999999999999</c:v>
                </c:pt>
                <c:pt idx="3377">
                  <c:v>0.91300000000000003</c:v>
                </c:pt>
                <c:pt idx="3378">
                  <c:v>0.7</c:v>
                </c:pt>
                <c:pt idx="3379">
                  <c:v>0.33200000000000002</c:v>
                </c:pt>
                <c:pt idx="3380">
                  <c:v>0.52700000000000002</c:v>
                </c:pt>
                <c:pt idx="3381">
                  <c:v>0.49</c:v>
                </c:pt>
                <c:pt idx="3382">
                  <c:v>0.34</c:v>
                </c:pt>
                <c:pt idx="3383">
                  <c:v>0.47699999999999998</c:v>
                </c:pt>
                <c:pt idx="3384">
                  <c:v>0.78400000000000003</c:v>
                </c:pt>
                <c:pt idx="3385">
                  <c:v>0.69399999999999995</c:v>
                </c:pt>
                <c:pt idx="3386">
                  <c:v>0.12</c:v>
                </c:pt>
                <c:pt idx="3387">
                  <c:v>0.78100000000000003</c:v>
                </c:pt>
                <c:pt idx="3388">
                  <c:v>0.80100000000000005</c:v>
                </c:pt>
                <c:pt idx="3389">
                  <c:v>0.624</c:v>
                </c:pt>
                <c:pt idx="3390">
                  <c:v>0.4</c:v>
                </c:pt>
                <c:pt idx="3391">
                  <c:v>0.51500000000000001</c:v>
                </c:pt>
                <c:pt idx="3392">
                  <c:v>0.69499999999999995</c:v>
                </c:pt>
                <c:pt idx="3393">
                  <c:v>0.23400000000000001</c:v>
                </c:pt>
                <c:pt idx="3394">
                  <c:v>0.72</c:v>
                </c:pt>
                <c:pt idx="3395">
                  <c:v>0.40300000000000002</c:v>
                </c:pt>
                <c:pt idx="3396">
                  <c:v>0.63</c:v>
                </c:pt>
                <c:pt idx="3397">
                  <c:v>0.72899999999999998</c:v>
                </c:pt>
                <c:pt idx="3398">
                  <c:v>0.61499999999999999</c:v>
                </c:pt>
                <c:pt idx="3399">
                  <c:v>0.45100000000000001</c:v>
                </c:pt>
                <c:pt idx="3400">
                  <c:v>0.52700000000000002</c:v>
                </c:pt>
                <c:pt idx="3401">
                  <c:v>0.60599999999999998</c:v>
                </c:pt>
                <c:pt idx="3402">
                  <c:v>0.78800000000000003</c:v>
                </c:pt>
                <c:pt idx="3403">
                  <c:v>0.877</c:v>
                </c:pt>
                <c:pt idx="3404">
                  <c:v>0.92100000000000004</c:v>
                </c:pt>
                <c:pt idx="3405">
                  <c:v>0.505</c:v>
                </c:pt>
                <c:pt idx="3406">
                  <c:v>0.70099999999999996</c:v>
                </c:pt>
                <c:pt idx="3407">
                  <c:v>0.745</c:v>
                </c:pt>
                <c:pt idx="3408">
                  <c:v>0.69599999999999995</c:v>
                </c:pt>
                <c:pt idx="3409">
                  <c:v>0.58099999999999996</c:v>
                </c:pt>
                <c:pt idx="3410">
                  <c:v>0.84199999999999997</c:v>
                </c:pt>
                <c:pt idx="3411">
                  <c:v>0.70399999999999996</c:v>
                </c:pt>
                <c:pt idx="3412">
                  <c:v>0.61899999999999999</c:v>
                </c:pt>
                <c:pt idx="3413">
                  <c:v>0.54700000000000004</c:v>
                </c:pt>
                <c:pt idx="3414">
                  <c:v>0.8</c:v>
                </c:pt>
                <c:pt idx="3415">
                  <c:v>0.64900000000000002</c:v>
                </c:pt>
                <c:pt idx="3416">
                  <c:v>0.65100000000000002</c:v>
                </c:pt>
                <c:pt idx="3417">
                  <c:v>0.74</c:v>
                </c:pt>
                <c:pt idx="3418">
                  <c:v>0.39400000000000002</c:v>
                </c:pt>
                <c:pt idx="3419">
                  <c:v>0.435</c:v>
                </c:pt>
                <c:pt idx="3420">
                  <c:v>0.67800000000000005</c:v>
                </c:pt>
                <c:pt idx="3421">
                  <c:v>0.51500000000000001</c:v>
                </c:pt>
                <c:pt idx="3422">
                  <c:v>0.83799999999999997</c:v>
                </c:pt>
                <c:pt idx="3423">
                  <c:v>0.45500000000000002</c:v>
                </c:pt>
                <c:pt idx="3424">
                  <c:v>0.70399999999999996</c:v>
                </c:pt>
                <c:pt idx="3425">
                  <c:v>0.85499999999999998</c:v>
                </c:pt>
                <c:pt idx="3426">
                  <c:v>0.217</c:v>
                </c:pt>
                <c:pt idx="3427">
                  <c:v>0.45800000000000002</c:v>
                </c:pt>
                <c:pt idx="3428">
                  <c:v>0.53</c:v>
                </c:pt>
                <c:pt idx="3429">
                  <c:v>0.54900000000000004</c:v>
                </c:pt>
                <c:pt idx="3430">
                  <c:v>0.47199999999999998</c:v>
                </c:pt>
                <c:pt idx="3431">
                  <c:v>0.34100000000000003</c:v>
                </c:pt>
                <c:pt idx="3432">
                  <c:v>0.57999999999999996</c:v>
                </c:pt>
                <c:pt idx="3433">
                  <c:v>0.51500000000000001</c:v>
                </c:pt>
                <c:pt idx="3434">
                  <c:v>0.52900000000000003</c:v>
                </c:pt>
                <c:pt idx="3435">
                  <c:v>0.89300000000000002</c:v>
                </c:pt>
                <c:pt idx="3436">
                  <c:v>0.45500000000000002</c:v>
                </c:pt>
                <c:pt idx="3437">
                  <c:v>0.58499999999999996</c:v>
                </c:pt>
                <c:pt idx="3438">
                  <c:v>0.45400000000000001</c:v>
                </c:pt>
                <c:pt idx="3439">
                  <c:v>0.65900000000000003</c:v>
                </c:pt>
                <c:pt idx="3440">
                  <c:v>0.751</c:v>
                </c:pt>
                <c:pt idx="3441">
                  <c:v>0.438</c:v>
                </c:pt>
                <c:pt idx="3442">
                  <c:v>0.66400000000000003</c:v>
                </c:pt>
                <c:pt idx="3443">
                  <c:v>0.309</c:v>
                </c:pt>
                <c:pt idx="3444">
                  <c:v>0.74199999999999999</c:v>
                </c:pt>
                <c:pt idx="3445">
                  <c:v>0.89600000000000002</c:v>
                </c:pt>
                <c:pt idx="3446">
                  <c:v>0.625</c:v>
                </c:pt>
                <c:pt idx="3447">
                  <c:v>0.36399999999999999</c:v>
                </c:pt>
                <c:pt idx="3448">
                  <c:v>0.51900000000000002</c:v>
                </c:pt>
                <c:pt idx="3449">
                  <c:v>0.51900000000000002</c:v>
                </c:pt>
                <c:pt idx="3450">
                  <c:v>0.73399999999999999</c:v>
                </c:pt>
                <c:pt idx="3451">
                  <c:v>0.48799999999999999</c:v>
                </c:pt>
                <c:pt idx="3452">
                  <c:v>0.497</c:v>
                </c:pt>
                <c:pt idx="3453">
                  <c:v>0.76</c:v>
                </c:pt>
                <c:pt idx="3454">
                  <c:v>0.77200000000000002</c:v>
                </c:pt>
                <c:pt idx="3455">
                  <c:v>0.63800000000000001</c:v>
                </c:pt>
                <c:pt idx="3456">
                  <c:v>0.54500000000000004</c:v>
                </c:pt>
                <c:pt idx="3457">
                  <c:v>0.66</c:v>
                </c:pt>
                <c:pt idx="3458">
                  <c:v>0.66700000000000004</c:v>
                </c:pt>
                <c:pt idx="3459">
                  <c:v>0.69799999999999995</c:v>
                </c:pt>
                <c:pt idx="3460">
                  <c:v>0.89400000000000002</c:v>
                </c:pt>
                <c:pt idx="3461">
                  <c:v>0.41</c:v>
                </c:pt>
                <c:pt idx="3462">
                  <c:v>0.36499999999999999</c:v>
                </c:pt>
                <c:pt idx="3463">
                  <c:v>0.51</c:v>
                </c:pt>
                <c:pt idx="3464">
                  <c:v>0.70599999999999996</c:v>
                </c:pt>
                <c:pt idx="3465">
                  <c:v>0.52200000000000002</c:v>
                </c:pt>
                <c:pt idx="3466">
                  <c:v>0.81399999999999995</c:v>
                </c:pt>
                <c:pt idx="3467">
                  <c:v>0.499</c:v>
                </c:pt>
                <c:pt idx="3468">
                  <c:v>0.71199999999999997</c:v>
                </c:pt>
                <c:pt idx="3469">
                  <c:v>0.56499999999999995</c:v>
                </c:pt>
                <c:pt idx="3470">
                  <c:v>0.48499999999999999</c:v>
                </c:pt>
                <c:pt idx="3471">
                  <c:v>0.84</c:v>
                </c:pt>
                <c:pt idx="3472">
                  <c:v>0.71</c:v>
                </c:pt>
                <c:pt idx="3473">
                  <c:v>0.54500000000000004</c:v>
                </c:pt>
                <c:pt idx="3474">
                  <c:v>0.49</c:v>
                </c:pt>
                <c:pt idx="3475">
                  <c:v>0.65600000000000003</c:v>
                </c:pt>
                <c:pt idx="3476">
                  <c:v>0.74</c:v>
                </c:pt>
                <c:pt idx="3477">
                  <c:v>0.504</c:v>
                </c:pt>
                <c:pt idx="3478">
                  <c:v>0.51300000000000001</c:v>
                </c:pt>
                <c:pt idx="3479">
                  <c:v>0.54800000000000004</c:v>
                </c:pt>
                <c:pt idx="3480">
                  <c:v>0.52500000000000002</c:v>
                </c:pt>
                <c:pt idx="3481">
                  <c:v>0.53800000000000003</c:v>
                </c:pt>
                <c:pt idx="3482">
                  <c:v>0.41199999999999998</c:v>
                </c:pt>
                <c:pt idx="3483">
                  <c:v>0.45800000000000002</c:v>
                </c:pt>
                <c:pt idx="3484">
                  <c:v>0.70299999999999996</c:v>
                </c:pt>
                <c:pt idx="3485">
                  <c:v>0.85199999999999998</c:v>
                </c:pt>
                <c:pt idx="3486">
                  <c:v>0.94099999999999995</c:v>
                </c:pt>
                <c:pt idx="3487">
                  <c:v>0.59199999999999997</c:v>
                </c:pt>
                <c:pt idx="3488">
                  <c:v>0.59699999999999998</c:v>
                </c:pt>
                <c:pt idx="3489">
                  <c:v>0.64600000000000002</c:v>
                </c:pt>
                <c:pt idx="3490">
                  <c:v>0.435</c:v>
                </c:pt>
                <c:pt idx="3491">
                  <c:v>0.35499999999999998</c:v>
                </c:pt>
                <c:pt idx="3492">
                  <c:v>0.82499999999999996</c:v>
                </c:pt>
                <c:pt idx="3493">
                  <c:v>0.35499999999999998</c:v>
                </c:pt>
                <c:pt idx="3494">
                  <c:v>0.69</c:v>
                </c:pt>
                <c:pt idx="3495">
                  <c:v>0.83899999999999997</c:v>
                </c:pt>
                <c:pt idx="3496">
                  <c:v>0.53800000000000003</c:v>
                </c:pt>
                <c:pt idx="3497">
                  <c:v>0.56999999999999995</c:v>
                </c:pt>
                <c:pt idx="3498">
                  <c:v>0.46700000000000003</c:v>
                </c:pt>
                <c:pt idx="3499">
                  <c:v>0.78700000000000003</c:v>
                </c:pt>
                <c:pt idx="3500">
                  <c:v>0.79300000000000004</c:v>
                </c:pt>
                <c:pt idx="3501">
                  <c:v>0.93799999999999994</c:v>
                </c:pt>
                <c:pt idx="3502">
                  <c:v>0.43</c:v>
                </c:pt>
                <c:pt idx="3503">
                  <c:v>0.81200000000000006</c:v>
                </c:pt>
                <c:pt idx="3504">
                  <c:v>0.85599999999999998</c:v>
                </c:pt>
                <c:pt idx="3505">
                  <c:v>0.61599999999999999</c:v>
                </c:pt>
                <c:pt idx="3506">
                  <c:v>0.47399999999999998</c:v>
                </c:pt>
                <c:pt idx="3507">
                  <c:v>0.49199999999999999</c:v>
                </c:pt>
                <c:pt idx="3508">
                  <c:v>0.50700000000000001</c:v>
                </c:pt>
                <c:pt idx="3509">
                  <c:v>0.72299999999999998</c:v>
                </c:pt>
                <c:pt idx="3510">
                  <c:v>0.76800000000000002</c:v>
                </c:pt>
                <c:pt idx="3511">
                  <c:v>0.79100000000000004</c:v>
                </c:pt>
                <c:pt idx="3512">
                  <c:v>0.81799999999999995</c:v>
                </c:pt>
                <c:pt idx="3513">
                  <c:v>0.42299999999999999</c:v>
                </c:pt>
                <c:pt idx="3514">
                  <c:v>0.36699999999999999</c:v>
                </c:pt>
                <c:pt idx="3515">
                  <c:v>0.436</c:v>
                </c:pt>
                <c:pt idx="3516">
                  <c:v>0.69699999999999995</c:v>
                </c:pt>
                <c:pt idx="3517">
                  <c:v>0.63600000000000001</c:v>
                </c:pt>
                <c:pt idx="3518">
                  <c:v>0.56399999999999995</c:v>
                </c:pt>
                <c:pt idx="3519">
                  <c:v>0.70599999999999996</c:v>
                </c:pt>
                <c:pt idx="3520">
                  <c:v>0.46400000000000002</c:v>
                </c:pt>
                <c:pt idx="3521">
                  <c:v>0.88</c:v>
                </c:pt>
                <c:pt idx="3522">
                  <c:v>0.56200000000000006</c:v>
                </c:pt>
                <c:pt idx="3523">
                  <c:v>0.59699999999999998</c:v>
                </c:pt>
                <c:pt idx="3524">
                  <c:v>0.53200000000000003</c:v>
                </c:pt>
                <c:pt idx="3525">
                  <c:v>0.627</c:v>
                </c:pt>
                <c:pt idx="3526">
                  <c:v>0.53300000000000003</c:v>
                </c:pt>
                <c:pt idx="3527">
                  <c:v>0.79200000000000004</c:v>
                </c:pt>
                <c:pt idx="3528">
                  <c:v>0.72499999999999998</c:v>
                </c:pt>
                <c:pt idx="3529">
                  <c:v>0.499</c:v>
                </c:pt>
                <c:pt idx="3530">
                  <c:v>0.79500000000000004</c:v>
                </c:pt>
                <c:pt idx="3531">
                  <c:v>0.66400000000000003</c:v>
                </c:pt>
                <c:pt idx="3532">
                  <c:v>0.56699999999999995</c:v>
                </c:pt>
                <c:pt idx="3533">
                  <c:v>0.71799999999999997</c:v>
                </c:pt>
                <c:pt idx="3534">
                  <c:v>0.754</c:v>
                </c:pt>
                <c:pt idx="3535">
                  <c:v>0.89500000000000002</c:v>
                </c:pt>
                <c:pt idx="3536">
                  <c:v>0.61899999999999999</c:v>
                </c:pt>
                <c:pt idx="3537">
                  <c:v>0.67300000000000004</c:v>
                </c:pt>
                <c:pt idx="3538">
                  <c:v>0.83099999999999996</c:v>
                </c:pt>
                <c:pt idx="3539">
                  <c:v>0.42199999999999999</c:v>
                </c:pt>
                <c:pt idx="3540">
                  <c:v>0.48499999999999999</c:v>
                </c:pt>
                <c:pt idx="3541">
                  <c:v>0.51200000000000001</c:v>
                </c:pt>
                <c:pt idx="3542">
                  <c:v>0.61299999999999999</c:v>
                </c:pt>
                <c:pt idx="3543">
                  <c:v>0.13</c:v>
                </c:pt>
                <c:pt idx="3544">
                  <c:v>0.754</c:v>
                </c:pt>
                <c:pt idx="3545">
                  <c:v>0.79200000000000004</c:v>
                </c:pt>
                <c:pt idx="3546">
                  <c:v>0.66400000000000003</c:v>
                </c:pt>
                <c:pt idx="3547">
                  <c:v>0.42399999999999999</c:v>
                </c:pt>
                <c:pt idx="3548">
                  <c:v>0.27500000000000002</c:v>
                </c:pt>
                <c:pt idx="3549">
                  <c:v>0.38700000000000001</c:v>
                </c:pt>
                <c:pt idx="3550">
                  <c:v>0.60699999999999998</c:v>
                </c:pt>
                <c:pt idx="3551">
                  <c:v>0.94</c:v>
                </c:pt>
                <c:pt idx="3552">
                  <c:v>0.249</c:v>
                </c:pt>
                <c:pt idx="3553">
                  <c:v>0.86199999999999999</c:v>
                </c:pt>
                <c:pt idx="3554">
                  <c:v>0.46899999999999997</c:v>
                </c:pt>
                <c:pt idx="3555">
                  <c:v>0.48499999999999999</c:v>
                </c:pt>
                <c:pt idx="3556">
                  <c:v>0.54</c:v>
                </c:pt>
                <c:pt idx="3557">
                  <c:v>0.67100000000000004</c:v>
                </c:pt>
                <c:pt idx="3558">
                  <c:v>0.73499999999999999</c:v>
                </c:pt>
                <c:pt idx="3559">
                  <c:v>0.53900000000000003</c:v>
                </c:pt>
                <c:pt idx="3560">
                  <c:v>0.65100000000000002</c:v>
                </c:pt>
                <c:pt idx="3561">
                  <c:v>0.53100000000000003</c:v>
                </c:pt>
                <c:pt idx="3562">
                  <c:v>0.51600000000000001</c:v>
                </c:pt>
                <c:pt idx="3563">
                  <c:v>0.56699999999999995</c:v>
                </c:pt>
                <c:pt idx="3564">
                  <c:v>0.69299999999999995</c:v>
                </c:pt>
                <c:pt idx="3565">
                  <c:v>0.59799999999999998</c:v>
                </c:pt>
                <c:pt idx="3566">
                  <c:v>0.63200000000000001</c:v>
                </c:pt>
                <c:pt idx="3567">
                  <c:v>0.752</c:v>
                </c:pt>
                <c:pt idx="3568">
                  <c:v>0.57899999999999996</c:v>
                </c:pt>
                <c:pt idx="3569">
                  <c:v>0.54300000000000004</c:v>
                </c:pt>
                <c:pt idx="3570">
                  <c:v>0.85499999999999998</c:v>
                </c:pt>
                <c:pt idx="3571">
                  <c:v>0.41899999999999998</c:v>
                </c:pt>
                <c:pt idx="3572">
                  <c:v>0.41499999999999998</c:v>
                </c:pt>
                <c:pt idx="3573">
                  <c:v>0.35199999999999998</c:v>
                </c:pt>
                <c:pt idx="3574">
                  <c:v>0.26900000000000002</c:v>
                </c:pt>
                <c:pt idx="3575">
                  <c:v>0.52</c:v>
                </c:pt>
                <c:pt idx="3576">
                  <c:v>0.65500000000000003</c:v>
                </c:pt>
                <c:pt idx="3577">
                  <c:v>0.56299999999999994</c:v>
                </c:pt>
                <c:pt idx="3578">
                  <c:v>0.32600000000000001</c:v>
                </c:pt>
                <c:pt idx="3579">
                  <c:v>0.69499999999999995</c:v>
                </c:pt>
                <c:pt idx="3580">
                  <c:v>0.81299999999999994</c:v>
                </c:pt>
                <c:pt idx="3581">
                  <c:v>0.78500000000000003</c:v>
                </c:pt>
                <c:pt idx="3582">
                  <c:v>0.74299999999999999</c:v>
                </c:pt>
                <c:pt idx="3583">
                  <c:v>0.52200000000000002</c:v>
                </c:pt>
                <c:pt idx="3584">
                  <c:v>0.879</c:v>
                </c:pt>
                <c:pt idx="3585">
                  <c:v>0.78300000000000003</c:v>
                </c:pt>
                <c:pt idx="3586">
                  <c:v>0.88400000000000001</c:v>
                </c:pt>
                <c:pt idx="3587">
                  <c:v>0.63200000000000001</c:v>
                </c:pt>
                <c:pt idx="3588">
                  <c:v>0.67200000000000004</c:v>
                </c:pt>
                <c:pt idx="3589">
                  <c:v>0.70499999999999996</c:v>
                </c:pt>
                <c:pt idx="3590">
                  <c:v>0.35699999999999998</c:v>
                </c:pt>
                <c:pt idx="3591">
                  <c:v>0.69</c:v>
                </c:pt>
                <c:pt idx="3592">
                  <c:v>0.58399999999999996</c:v>
                </c:pt>
                <c:pt idx="3593">
                  <c:v>0.88300000000000001</c:v>
                </c:pt>
                <c:pt idx="3594">
                  <c:v>0.54200000000000004</c:v>
                </c:pt>
                <c:pt idx="3595">
                  <c:v>0.53300000000000003</c:v>
                </c:pt>
                <c:pt idx="3596">
                  <c:v>0.182</c:v>
                </c:pt>
                <c:pt idx="3597">
                  <c:v>0.755</c:v>
                </c:pt>
                <c:pt idx="3598">
                  <c:v>0.64200000000000002</c:v>
                </c:pt>
                <c:pt idx="3599">
                  <c:v>0.66500000000000004</c:v>
                </c:pt>
                <c:pt idx="3600">
                  <c:v>0.504</c:v>
                </c:pt>
                <c:pt idx="3601">
                  <c:v>0.64200000000000002</c:v>
                </c:pt>
                <c:pt idx="3602">
                  <c:v>0.77200000000000002</c:v>
                </c:pt>
                <c:pt idx="3603">
                  <c:v>0.79</c:v>
                </c:pt>
                <c:pt idx="3604">
                  <c:v>0.311</c:v>
                </c:pt>
                <c:pt idx="3605">
                  <c:v>0.77600000000000002</c:v>
                </c:pt>
                <c:pt idx="3606">
                  <c:v>0.78800000000000003</c:v>
                </c:pt>
                <c:pt idx="3607">
                  <c:v>0.63700000000000001</c:v>
                </c:pt>
                <c:pt idx="3608">
                  <c:v>0.65100000000000002</c:v>
                </c:pt>
                <c:pt idx="3609">
                  <c:v>0.5</c:v>
                </c:pt>
                <c:pt idx="3610">
                  <c:v>0.59499999999999997</c:v>
                </c:pt>
                <c:pt idx="3611">
                  <c:v>0.65</c:v>
                </c:pt>
                <c:pt idx="3612">
                  <c:v>0.83599999999999997</c:v>
                </c:pt>
                <c:pt idx="3613">
                  <c:v>0.52200000000000002</c:v>
                </c:pt>
                <c:pt idx="3614">
                  <c:v>0.82899999999999996</c:v>
                </c:pt>
                <c:pt idx="3615">
                  <c:v>0.32700000000000001</c:v>
                </c:pt>
                <c:pt idx="3616">
                  <c:v>0.63</c:v>
                </c:pt>
                <c:pt idx="3617">
                  <c:v>0.27700000000000002</c:v>
                </c:pt>
                <c:pt idx="3618">
                  <c:v>0.36199999999999999</c:v>
                </c:pt>
                <c:pt idx="3619">
                  <c:v>0.63500000000000001</c:v>
                </c:pt>
                <c:pt idx="3620">
                  <c:v>0.78</c:v>
                </c:pt>
                <c:pt idx="3621">
                  <c:v>0.78200000000000003</c:v>
                </c:pt>
                <c:pt idx="3622">
                  <c:v>0.79300000000000004</c:v>
                </c:pt>
                <c:pt idx="3623">
                  <c:v>0.80800000000000005</c:v>
                </c:pt>
                <c:pt idx="3624">
                  <c:v>0.65500000000000003</c:v>
                </c:pt>
                <c:pt idx="3625">
                  <c:v>0.82399999999999995</c:v>
                </c:pt>
                <c:pt idx="3626">
                  <c:v>0.82699999999999996</c:v>
                </c:pt>
                <c:pt idx="3627">
                  <c:v>0.69899999999999995</c:v>
                </c:pt>
                <c:pt idx="3628">
                  <c:v>0.71299999999999997</c:v>
                </c:pt>
                <c:pt idx="3629">
                  <c:v>0.495</c:v>
                </c:pt>
                <c:pt idx="3630">
                  <c:v>0.56999999999999995</c:v>
                </c:pt>
                <c:pt idx="3631">
                  <c:v>0.752</c:v>
                </c:pt>
                <c:pt idx="3632">
                  <c:v>0.48299999999999998</c:v>
                </c:pt>
                <c:pt idx="3633">
                  <c:v>0.78600000000000003</c:v>
                </c:pt>
                <c:pt idx="3634">
                  <c:v>0.57699999999999996</c:v>
                </c:pt>
                <c:pt idx="3635">
                  <c:v>0.499</c:v>
                </c:pt>
                <c:pt idx="3636">
                  <c:v>0.46700000000000003</c:v>
                </c:pt>
                <c:pt idx="3637">
                  <c:v>0.71</c:v>
                </c:pt>
                <c:pt idx="3638">
                  <c:v>0.72399999999999998</c:v>
                </c:pt>
                <c:pt idx="3639">
                  <c:v>0.38600000000000001</c:v>
                </c:pt>
                <c:pt idx="3640">
                  <c:v>0.59</c:v>
                </c:pt>
                <c:pt idx="3641">
                  <c:v>0.505</c:v>
                </c:pt>
                <c:pt idx="3642">
                  <c:v>0.314</c:v>
                </c:pt>
                <c:pt idx="3643">
                  <c:v>0.76700000000000002</c:v>
                </c:pt>
                <c:pt idx="3644">
                  <c:v>0.78400000000000003</c:v>
                </c:pt>
                <c:pt idx="3645">
                  <c:v>0.877</c:v>
                </c:pt>
                <c:pt idx="3646">
                  <c:v>0.58699999999999997</c:v>
                </c:pt>
                <c:pt idx="3647">
                  <c:v>0.55500000000000005</c:v>
                </c:pt>
                <c:pt idx="3648">
                  <c:v>0.38900000000000001</c:v>
                </c:pt>
                <c:pt idx="3649">
                  <c:v>0.56999999999999995</c:v>
                </c:pt>
                <c:pt idx="3650">
                  <c:v>0.56399999999999995</c:v>
                </c:pt>
                <c:pt idx="3651">
                  <c:v>0.51400000000000001</c:v>
                </c:pt>
                <c:pt idx="3652">
                  <c:v>0.54500000000000004</c:v>
                </c:pt>
                <c:pt idx="3653">
                  <c:v>0.60599999999999998</c:v>
                </c:pt>
                <c:pt idx="3654">
                  <c:v>0.67600000000000005</c:v>
                </c:pt>
                <c:pt idx="3655">
                  <c:v>0.85199999999999998</c:v>
                </c:pt>
                <c:pt idx="3656">
                  <c:v>0.48</c:v>
                </c:pt>
                <c:pt idx="3657">
                  <c:v>0.39300000000000002</c:v>
                </c:pt>
                <c:pt idx="3658">
                  <c:v>0.73799999999999999</c:v>
                </c:pt>
                <c:pt idx="3659">
                  <c:v>0.91600000000000004</c:v>
                </c:pt>
                <c:pt idx="3660">
                  <c:v>0.35899999999999999</c:v>
                </c:pt>
                <c:pt idx="3661">
                  <c:v>0.39200000000000002</c:v>
                </c:pt>
                <c:pt idx="3662">
                  <c:v>0.22600000000000001</c:v>
                </c:pt>
                <c:pt idx="3663">
                  <c:v>0.47099999999999997</c:v>
                </c:pt>
                <c:pt idx="3664">
                  <c:v>0.71499999999999997</c:v>
                </c:pt>
                <c:pt idx="3665">
                  <c:v>0.9</c:v>
                </c:pt>
                <c:pt idx="3666">
                  <c:v>0.90300000000000002</c:v>
                </c:pt>
                <c:pt idx="3667">
                  <c:v>0.621</c:v>
                </c:pt>
                <c:pt idx="3668">
                  <c:v>0.92800000000000005</c:v>
                </c:pt>
                <c:pt idx="3669">
                  <c:v>0.624</c:v>
                </c:pt>
                <c:pt idx="3670">
                  <c:v>0.42699999999999999</c:v>
                </c:pt>
                <c:pt idx="3671">
                  <c:v>0.70399999999999996</c:v>
                </c:pt>
                <c:pt idx="3672">
                  <c:v>0.60399999999999998</c:v>
                </c:pt>
                <c:pt idx="3673">
                  <c:v>0.49299999999999999</c:v>
                </c:pt>
                <c:pt idx="3674">
                  <c:v>0.504</c:v>
                </c:pt>
                <c:pt idx="3675">
                  <c:v>0.65400000000000003</c:v>
                </c:pt>
                <c:pt idx="3676">
                  <c:v>0.46600000000000003</c:v>
                </c:pt>
                <c:pt idx="3677">
                  <c:v>0.52900000000000003</c:v>
                </c:pt>
                <c:pt idx="3678">
                  <c:v>0.91900000000000004</c:v>
                </c:pt>
                <c:pt idx="3679">
                  <c:v>0.318</c:v>
                </c:pt>
                <c:pt idx="3680">
                  <c:v>0.186</c:v>
                </c:pt>
                <c:pt idx="3681">
                  <c:v>0.60199999999999998</c:v>
                </c:pt>
                <c:pt idx="3682">
                  <c:v>0.81299999999999994</c:v>
                </c:pt>
                <c:pt idx="3683">
                  <c:v>0.75900000000000001</c:v>
                </c:pt>
                <c:pt idx="3684">
                  <c:v>0.88</c:v>
                </c:pt>
                <c:pt idx="3685">
                  <c:v>0.51600000000000001</c:v>
                </c:pt>
                <c:pt idx="3686">
                  <c:v>0.57399999999999995</c:v>
                </c:pt>
                <c:pt idx="3687">
                  <c:v>0.69499999999999995</c:v>
                </c:pt>
                <c:pt idx="3688">
                  <c:v>0.46100000000000002</c:v>
                </c:pt>
                <c:pt idx="3689">
                  <c:v>0.71399999999999997</c:v>
                </c:pt>
                <c:pt idx="3690">
                  <c:v>0.54600000000000004</c:v>
                </c:pt>
                <c:pt idx="3691">
                  <c:v>0.57899999999999996</c:v>
                </c:pt>
                <c:pt idx="3692">
                  <c:v>0.68300000000000005</c:v>
                </c:pt>
                <c:pt idx="3693">
                  <c:v>0.69699999999999995</c:v>
                </c:pt>
                <c:pt idx="3694">
                  <c:v>0.62</c:v>
                </c:pt>
                <c:pt idx="3695">
                  <c:v>0.71899999999999997</c:v>
                </c:pt>
                <c:pt idx="3696">
                  <c:v>0.746</c:v>
                </c:pt>
                <c:pt idx="3697">
                  <c:v>0.97599999999999998</c:v>
                </c:pt>
                <c:pt idx="3698">
                  <c:v>0.48</c:v>
                </c:pt>
                <c:pt idx="3699">
                  <c:v>0.499</c:v>
                </c:pt>
                <c:pt idx="3700">
                  <c:v>0.496</c:v>
                </c:pt>
                <c:pt idx="3701">
                  <c:v>0.45200000000000001</c:v>
                </c:pt>
                <c:pt idx="3702">
                  <c:v>0.81499999999999995</c:v>
                </c:pt>
                <c:pt idx="3703">
                  <c:v>0.67800000000000005</c:v>
                </c:pt>
                <c:pt idx="3704">
                  <c:v>0.873</c:v>
                </c:pt>
                <c:pt idx="3705">
                  <c:v>0.58299999999999996</c:v>
                </c:pt>
                <c:pt idx="3706">
                  <c:v>0.57699999999999996</c:v>
                </c:pt>
                <c:pt idx="3707">
                  <c:v>0.36599999999999999</c:v>
                </c:pt>
                <c:pt idx="3708">
                  <c:v>0.505</c:v>
                </c:pt>
                <c:pt idx="3709">
                  <c:v>0.73</c:v>
                </c:pt>
                <c:pt idx="3710">
                  <c:v>0.69699999999999995</c:v>
                </c:pt>
                <c:pt idx="3711">
                  <c:v>0.23200000000000001</c:v>
                </c:pt>
                <c:pt idx="3712">
                  <c:v>0.36</c:v>
                </c:pt>
                <c:pt idx="3713">
                  <c:v>0.61499999999999999</c:v>
                </c:pt>
                <c:pt idx="3714">
                  <c:v>0.57899999999999996</c:v>
                </c:pt>
                <c:pt idx="3715">
                  <c:v>0.64900000000000002</c:v>
                </c:pt>
                <c:pt idx="3716">
                  <c:v>0.23</c:v>
                </c:pt>
                <c:pt idx="3717">
                  <c:v>0.28599999999999998</c:v>
                </c:pt>
                <c:pt idx="3718">
                  <c:v>0.34200000000000003</c:v>
                </c:pt>
                <c:pt idx="3719">
                  <c:v>0.747</c:v>
                </c:pt>
                <c:pt idx="3720">
                  <c:v>0.498</c:v>
                </c:pt>
                <c:pt idx="3721">
                  <c:v>0.49299999999999999</c:v>
                </c:pt>
                <c:pt idx="3722">
                  <c:v>0.59799999999999998</c:v>
                </c:pt>
                <c:pt idx="3723">
                  <c:v>0.38400000000000001</c:v>
                </c:pt>
                <c:pt idx="3724">
                  <c:v>0.443</c:v>
                </c:pt>
                <c:pt idx="3725">
                  <c:v>0.54</c:v>
                </c:pt>
                <c:pt idx="3726">
                  <c:v>0.39900000000000002</c:v>
                </c:pt>
                <c:pt idx="3727">
                  <c:v>0.92300000000000004</c:v>
                </c:pt>
                <c:pt idx="3728">
                  <c:v>0.92600000000000005</c:v>
                </c:pt>
                <c:pt idx="3729">
                  <c:v>0.95699999999999996</c:v>
                </c:pt>
                <c:pt idx="3730">
                  <c:v>0.55300000000000005</c:v>
                </c:pt>
                <c:pt idx="3731">
                  <c:v>0.68100000000000005</c:v>
                </c:pt>
                <c:pt idx="3732">
                  <c:v>0.76700000000000002</c:v>
                </c:pt>
                <c:pt idx="3733">
                  <c:v>0.83299999999999996</c:v>
                </c:pt>
                <c:pt idx="3734">
                  <c:v>0.22</c:v>
                </c:pt>
                <c:pt idx="3735">
                  <c:v>0.52700000000000002</c:v>
                </c:pt>
                <c:pt idx="3736">
                  <c:v>0.67200000000000004</c:v>
                </c:pt>
                <c:pt idx="3737">
                  <c:v>0.72599999999999998</c:v>
                </c:pt>
                <c:pt idx="3738">
                  <c:v>0.432</c:v>
                </c:pt>
                <c:pt idx="3739">
                  <c:v>0.81100000000000005</c:v>
                </c:pt>
                <c:pt idx="3740">
                  <c:v>0.754</c:v>
                </c:pt>
                <c:pt idx="3741">
                  <c:v>0.84499999999999997</c:v>
                </c:pt>
                <c:pt idx="3742">
                  <c:v>0.47899999999999998</c:v>
                </c:pt>
                <c:pt idx="3743">
                  <c:v>0.63400000000000001</c:v>
                </c:pt>
                <c:pt idx="3744">
                  <c:v>0.68400000000000005</c:v>
                </c:pt>
                <c:pt idx="3745">
                  <c:v>0.33900000000000002</c:v>
                </c:pt>
                <c:pt idx="3746">
                  <c:v>0.374</c:v>
                </c:pt>
                <c:pt idx="3747">
                  <c:v>0.14599999999999999</c:v>
                </c:pt>
                <c:pt idx="3748">
                  <c:v>0.69399999999999995</c:v>
                </c:pt>
                <c:pt idx="3749">
                  <c:v>0.64100000000000001</c:v>
                </c:pt>
                <c:pt idx="3750">
                  <c:v>0.70399999999999996</c:v>
                </c:pt>
                <c:pt idx="3751">
                  <c:v>0.746</c:v>
                </c:pt>
                <c:pt idx="3752">
                  <c:v>0.41599999999999998</c:v>
                </c:pt>
                <c:pt idx="3753">
                  <c:v>0.5</c:v>
                </c:pt>
                <c:pt idx="3754">
                  <c:v>0.69599999999999995</c:v>
                </c:pt>
                <c:pt idx="3755">
                  <c:v>0.91100000000000003</c:v>
                </c:pt>
                <c:pt idx="3756">
                  <c:v>0.57799999999999996</c:v>
                </c:pt>
                <c:pt idx="3757">
                  <c:v>0.34300000000000003</c:v>
                </c:pt>
                <c:pt idx="3758">
                  <c:v>0.81699999999999995</c:v>
                </c:pt>
                <c:pt idx="3759">
                  <c:v>0.88500000000000001</c:v>
                </c:pt>
                <c:pt idx="3760">
                  <c:v>0.45700000000000002</c:v>
                </c:pt>
                <c:pt idx="3761">
                  <c:v>0.47299999999999998</c:v>
                </c:pt>
                <c:pt idx="3762">
                  <c:v>0.59299999999999997</c:v>
                </c:pt>
                <c:pt idx="3763">
                  <c:v>0.41399999999999998</c:v>
                </c:pt>
                <c:pt idx="3764">
                  <c:v>0.621</c:v>
                </c:pt>
                <c:pt idx="3765">
                  <c:v>0.93500000000000005</c:v>
                </c:pt>
                <c:pt idx="3766">
                  <c:v>0.54800000000000004</c:v>
                </c:pt>
                <c:pt idx="3767">
                  <c:v>0.26300000000000001</c:v>
                </c:pt>
                <c:pt idx="3768">
                  <c:v>0.65</c:v>
                </c:pt>
                <c:pt idx="3769">
                  <c:v>0.312</c:v>
                </c:pt>
                <c:pt idx="3770">
                  <c:v>0.58299999999999996</c:v>
                </c:pt>
                <c:pt idx="3771">
                  <c:v>0.73099999999999998</c:v>
                </c:pt>
                <c:pt idx="3772">
                  <c:v>0.85599999999999998</c:v>
                </c:pt>
                <c:pt idx="3773">
                  <c:v>0.35599999999999998</c:v>
                </c:pt>
                <c:pt idx="3774">
                  <c:v>0.316</c:v>
                </c:pt>
                <c:pt idx="3775">
                  <c:v>0.71899999999999997</c:v>
                </c:pt>
                <c:pt idx="3776">
                  <c:v>0.55900000000000005</c:v>
                </c:pt>
                <c:pt idx="3777">
                  <c:v>0.64600000000000002</c:v>
                </c:pt>
                <c:pt idx="3778">
                  <c:v>0.73799999999999999</c:v>
                </c:pt>
                <c:pt idx="3779">
                  <c:v>0.84899999999999998</c:v>
                </c:pt>
                <c:pt idx="3780">
                  <c:v>0.41299999999999998</c:v>
                </c:pt>
                <c:pt idx="3781">
                  <c:v>0.49</c:v>
                </c:pt>
                <c:pt idx="3782">
                  <c:v>0.58599999999999997</c:v>
                </c:pt>
                <c:pt idx="3783">
                  <c:v>0.92</c:v>
                </c:pt>
                <c:pt idx="3784">
                  <c:v>0.441</c:v>
                </c:pt>
                <c:pt idx="3785">
                  <c:v>0.37</c:v>
                </c:pt>
                <c:pt idx="3786">
                  <c:v>0.61499999999999999</c:v>
                </c:pt>
                <c:pt idx="3787">
                  <c:v>0.629</c:v>
                </c:pt>
                <c:pt idx="3788">
                  <c:v>0.87</c:v>
                </c:pt>
                <c:pt idx="3789">
                  <c:v>0.65600000000000003</c:v>
                </c:pt>
                <c:pt idx="3790">
                  <c:v>0.55200000000000005</c:v>
                </c:pt>
                <c:pt idx="3791">
                  <c:v>0.435</c:v>
                </c:pt>
                <c:pt idx="3792">
                  <c:v>0.45400000000000001</c:v>
                </c:pt>
                <c:pt idx="3793">
                  <c:v>0.497</c:v>
                </c:pt>
                <c:pt idx="3794">
                  <c:v>0.58699999999999997</c:v>
                </c:pt>
                <c:pt idx="3795">
                  <c:v>0.52700000000000002</c:v>
                </c:pt>
                <c:pt idx="3796">
                  <c:v>0.72</c:v>
                </c:pt>
                <c:pt idx="3797">
                  <c:v>0.85899999999999999</c:v>
                </c:pt>
                <c:pt idx="3798">
                  <c:v>0.67600000000000005</c:v>
                </c:pt>
                <c:pt idx="3799">
                  <c:v>0.69399999999999995</c:v>
                </c:pt>
                <c:pt idx="3800">
                  <c:v>0.71299999999999997</c:v>
                </c:pt>
                <c:pt idx="3801">
                  <c:v>0.64500000000000002</c:v>
                </c:pt>
                <c:pt idx="3802">
                  <c:v>0.64200000000000002</c:v>
                </c:pt>
                <c:pt idx="3803">
                  <c:v>0.114</c:v>
                </c:pt>
                <c:pt idx="3804">
                  <c:v>0.38900000000000001</c:v>
                </c:pt>
                <c:pt idx="3805">
                  <c:v>0.37</c:v>
                </c:pt>
                <c:pt idx="3806">
                  <c:v>0.499</c:v>
                </c:pt>
                <c:pt idx="3807">
                  <c:v>0.40600000000000003</c:v>
                </c:pt>
                <c:pt idx="3808">
                  <c:v>0.33600000000000002</c:v>
                </c:pt>
                <c:pt idx="3809">
                  <c:v>0.60399999999999998</c:v>
                </c:pt>
                <c:pt idx="3810">
                  <c:v>0.56499999999999995</c:v>
                </c:pt>
                <c:pt idx="3811">
                  <c:v>0.61499999999999999</c:v>
                </c:pt>
                <c:pt idx="3812">
                  <c:v>0.67500000000000004</c:v>
                </c:pt>
                <c:pt idx="3813">
                  <c:v>0.70299999999999996</c:v>
                </c:pt>
                <c:pt idx="3814">
                  <c:v>0.17799999999999999</c:v>
                </c:pt>
                <c:pt idx="3815">
                  <c:v>0.02</c:v>
                </c:pt>
                <c:pt idx="3816">
                  <c:v>0.77300000000000002</c:v>
                </c:pt>
                <c:pt idx="3817">
                  <c:v>0.61799999999999999</c:v>
                </c:pt>
                <c:pt idx="3818">
                  <c:v>0.35099999999999998</c:v>
                </c:pt>
                <c:pt idx="3819">
                  <c:v>0.40799999999999997</c:v>
                </c:pt>
                <c:pt idx="3820">
                  <c:v>0.36099999999999999</c:v>
                </c:pt>
                <c:pt idx="3821">
                  <c:v>0.49299999999999999</c:v>
                </c:pt>
                <c:pt idx="3822">
                  <c:v>0.45300000000000001</c:v>
                </c:pt>
                <c:pt idx="3823">
                  <c:v>0.44900000000000001</c:v>
                </c:pt>
                <c:pt idx="3824">
                  <c:v>0.48699999999999999</c:v>
                </c:pt>
                <c:pt idx="3825">
                  <c:v>0.504</c:v>
                </c:pt>
                <c:pt idx="3826">
                  <c:v>0.52100000000000002</c:v>
                </c:pt>
                <c:pt idx="3827">
                  <c:v>0.54</c:v>
                </c:pt>
                <c:pt idx="3828">
                  <c:v>0.57199999999999995</c:v>
                </c:pt>
                <c:pt idx="3829">
                  <c:v>0.58299999999999996</c:v>
                </c:pt>
                <c:pt idx="3830">
                  <c:v>0.58299999999999996</c:v>
                </c:pt>
                <c:pt idx="3831">
                  <c:v>0.66700000000000004</c:v>
                </c:pt>
                <c:pt idx="3832">
                  <c:v>0.67300000000000004</c:v>
                </c:pt>
                <c:pt idx="3833">
                  <c:v>0.72799999999999998</c:v>
                </c:pt>
                <c:pt idx="3834">
                  <c:v>0.746</c:v>
                </c:pt>
                <c:pt idx="3835">
                  <c:v>0.751</c:v>
                </c:pt>
                <c:pt idx="3836">
                  <c:v>0.77500000000000002</c:v>
                </c:pt>
                <c:pt idx="3837">
                  <c:v>0.81200000000000006</c:v>
                </c:pt>
                <c:pt idx="3838">
                  <c:v>0.85599999999999998</c:v>
                </c:pt>
                <c:pt idx="3839">
                  <c:v>0.86199999999999999</c:v>
                </c:pt>
                <c:pt idx="3840">
                  <c:v>0.872</c:v>
                </c:pt>
                <c:pt idx="3841">
                  <c:v>0.88200000000000001</c:v>
                </c:pt>
                <c:pt idx="3842">
                  <c:v>0.371</c:v>
                </c:pt>
                <c:pt idx="3843">
                  <c:v>0.69899999999999995</c:v>
                </c:pt>
                <c:pt idx="3844">
                  <c:v>0.57099999999999995</c:v>
                </c:pt>
                <c:pt idx="3845">
                  <c:v>0.41199999999999998</c:v>
                </c:pt>
                <c:pt idx="3846">
                  <c:v>0.66400000000000003</c:v>
                </c:pt>
                <c:pt idx="3847">
                  <c:v>0.58699999999999997</c:v>
                </c:pt>
                <c:pt idx="3848">
                  <c:v>0.72099999999999997</c:v>
                </c:pt>
                <c:pt idx="3849">
                  <c:v>0.79500000000000004</c:v>
                </c:pt>
                <c:pt idx="3850">
                  <c:v>0.72</c:v>
                </c:pt>
                <c:pt idx="3851">
                  <c:v>0.52600000000000002</c:v>
                </c:pt>
                <c:pt idx="3852">
                  <c:v>0.40400000000000003</c:v>
                </c:pt>
                <c:pt idx="3853">
                  <c:v>0.48699999999999999</c:v>
                </c:pt>
                <c:pt idx="3854">
                  <c:v>0.73499999999999999</c:v>
                </c:pt>
                <c:pt idx="3855">
                  <c:v>0.46700000000000003</c:v>
                </c:pt>
                <c:pt idx="3856">
                  <c:v>0.217</c:v>
                </c:pt>
                <c:pt idx="3857">
                  <c:v>0.85299999999999998</c:v>
                </c:pt>
                <c:pt idx="3858">
                  <c:v>0.58799999999999997</c:v>
                </c:pt>
                <c:pt idx="3859">
                  <c:v>0.36899999999999999</c:v>
                </c:pt>
                <c:pt idx="3860">
                  <c:v>0.435</c:v>
                </c:pt>
                <c:pt idx="3861">
                  <c:v>0.45500000000000002</c:v>
                </c:pt>
                <c:pt idx="3862">
                  <c:v>0.83799999999999997</c:v>
                </c:pt>
                <c:pt idx="3863">
                  <c:v>0.877</c:v>
                </c:pt>
                <c:pt idx="3864">
                  <c:v>0.73799999999999999</c:v>
                </c:pt>
                <c:pt idx="3865">
                  <c:v>0.34599999999999997</c:v>
                </c:pt>
                <c:pt idx="3866">
                  <c:v>0.52500000000000002</c:v>
                </c:pt>
                <c:pt idx="3867">
                  <c:v>0.89</c:v>
                </c:pt>
                <c:pt idx="3868">
                  <c:v>0.41299999999999998</c:v>
                </c:pt>
                <c:pt idx="3869">
                  <c:v>0.53400000000000003</c:v>
                </c:pt>
                <c:pt idx="3870">
                  <c:v>0.57899999999999996</c:v>
                </c:pt>
                <c:pt idx="3871">
                  <c:v>0.64400000000000002</c:v>
                </c:pt>
                <c:pt idx="3872">
                  <c:v>0.67400000000000004</c:v>
                </c:pt>
                <c:pt idx="3873">
                  <c:v>0.89200000000000002</c:v>
                </c:pt>
                <c:pt idx="3874">
                  <c:v>0.92500000000000004</c:v>
                </c:pt>
                <c:pt idx="3875">
                  <c:v>0.43099999999999999</c:v>
                </c:pt>
                <c:pt idx="3876">
                  <c:v>0.47699999999999998</c:v>
                </c:pt>
                <c:pt idx="3877">
                  <c:v>0.61799999999999999</c:v>
                </c:pt>
                <c:pt idx="3878">
                  <c:v>0.83099999999999996</c:v>
                </c:pt>
                <c:pt idx="3879">
                  <c:v>0.52300000000000002</c:v>
                </c:pt>
                <c:pt idx="3880">
                  <c:v>0.68200000000000005</c:v>
                </c:pt>
                <c:pt idx="3881">
                  <c:v>0.52200000000000002</c:v>
                </c:pt>
                <c:pt idx="3882">
                  <c:v>0.45900000000000002</c:v>
                </c:pt>
                <c:pt idx="3883">
                  <c:v>0.42599999999999999</c:v>
                </c:pt>
                <c:pt idx="3884">
                  <c:v>0.30399999999999999</c:v>
                </c:pt>
                <c:pt idx="3885">
                  <c:v>0.80300000000000005</c:v>
                </c:pt>
                <c:pt idx="3886">
                  <c:v>0.314</c:v>
                </c:pt>
                <c:pt idx="3887">
                  <c:v>0.55500000000000005</c:v>
                </c:pt>
                <c:pt idx="3888">
                  <c:v>0.72199999999999998</c:v>
                </c:pt>
                <c:pt idx="3889">
                  <c:v>0.47399999999999998</c:v>
                </c:pt>
                <c:pt idx="3890">
                  <c:v>0.60199999999999998</c:v>
                </c:pt>
                <c:pt idx="3891">
                  <c:v>0.20899999999999999</c:v>
                </c:pt>
                <c:pt idx="3892">
                  <c:v>0.66800000000000004</c:v>
                </c:pt>
                <c:pt idx="3893">
                  <c:v>0.85699999999999998</c:v>
                </c:pt>
                <c:pt idx="3894">
                  <c:v>0.51300000000000001</c:v>
                </c:pt>
                <c:pt idx="3895">
                  <c:v>0.51500000000000001</c:v>
                </c:pt>
                <c:pt idx="3896">
                  <c:v>0.78900000000000003</c:v>
                </c:pt>
                <c:pt idx="3897">
                  <c:v>0.69</c:v>
                </c:pt>
                <c:pt idx="3898">
                  <c:v>0.47099999999999997</c:v>
                </c:pt>
                <c:pt idx="3899">
                  <c:v>0.63700000000000001</c:v>
                </c:pt>
                <c:pt idx="3900">
                  <c:v>0.84799999999999998</c:v>
                </c:pt>
                <c:pt idx="3901">
                  <c:v>0.67800000000000005</c:v>
                </c:pt>
                <c:pt idx="3902">
                  <c:v>0.46300000000000002</c:v>
                </c:pt>
                <c:pt idx="3903">
                  <c:v>0.76100000000000001</c:v>
                </c:pt>
                <c:pt idx="3904">
                  <c:v>0.63500000000000001</c:v>
                </c:pt>
                <c:pt idx="3905">
                  <c:v>0.57999999999999996</c:v>
                </c:pt>
                <c:pt idx="3906">
                  <c:v>0.73299999999999998</c:v>
                </c:pt>
                <c:pt idx="3907">
                  <c:v>0.33500000000000002</c:v>
                </c:pt>
                <c:pt idx="3908">
                  <c:v>0.67700000000000005</c:v>
                </c:pt>
                <c:pt idx="3909">
                  <c:v>0.34599999999999997</c:v>
                </c:pt>
                <c:pt idx="3910">
                  <c:v>0.107</c:v>
                </c:pt>
                <c:pt idx="3911">
                  <c:v>0.52200000000000002</c:v>
                </c:pt>
                <c:pt idx="3912">
                  <c:v>0.749</c:v>
                </c:pt>
                <c:pt idx="3913">
                  <c:v>0.84099999999999997</c:v>
                </c:pt>
                <c:pt idx="3914">
                  <c:v>0.41699999999999998</c:v>
                </c:pt>
                <c:pt idx="3915">
                  <c:v>0.86799999999999999</c:v>
                </c:pt>
                <c:pt idx="3916">
                  <c:v>0.91700000000000004</c:v>
                </c:pt>
                <c:pt idx="3917">
                  <c:v>0.53600000000000003</c:v>
                </c:pt>
                <c:pt idx="3918">
                  <c:v>0.44700000000000001</c:v>
                </c:pt>
                <c:pt idx="3919">
                  <c:v>0.85199999999999998</c:v>
                </c:pt>
                <c:pt idx="3920">
                  <c:v>0.32500000000000001</c:v>
                </c:pt>
                <c:pt idx="3921">
                  <c:v>0.66800000000000004</c:v>
                </c:pt>
                <c:pt idx="3922">
                  <c:v>0.88400000000000001</c:v>
                </c:pt>
                <c:pt idx="3923">
                  <c:v>0.67400000000000004</c:v>
                </c:pt>
                <c:pt idx="3924">
                  <c:v>0.77300000000000002</c:v>
                </c:pt>
                <c:pt idx="3925">
                  <c:v>0.628</c:v>
                </c:pt>
                <c:pt idx="3926">
                  <c:v>0.33600000000000002</c:v>
                </c:pt>
                <c:pt idx="3927">
                  <c:v>0.16</c:v>
                </c:pt>
                <c:pt idx="3928">
                  <c:v>0.44400000000000001</c:v>
                </c:pt>
                <c:pt idx="3929">
                  <c:v>0.65200000000000002</c:v>
                </c:pt>
                <c:pt idx="3930">
                  <c:v>0.78900000000000003</c:v>
                </c:pt>
                <c:pt idx="3931">
                  <c:v>0.38</c:v>
                </c:pt>
                <c:pt idx="3932">
                  <c:v>0.38600000000000001</c:v>
                </c:pt>
                <c:pt idx="3933">
                  <c:v>0.58199999999999996</c:v>
                </c:pt>
                <c:pt idx="3934">
                  <c:v>0.88800000000000001</c:v>
                </c:pt>
                <c:pt idx="3935">
                  <c:v>0.314</c:v>
                </c:pt>
                <c:pt idx="3936">
                  <c:v>0.47499999999999998</c:v>
                </c:pt>
                <c:pt idx="3937">
                  <c:v>0.74</c:v>
                </c:pt>
                <c:pt idx="3938">
                  <c:v>0.748</c:v>
                </c:pt>
                <c:pt idx="3939">
                  <c:v>0.79500000000000004</c:v>
                </c:pt>
                <c:pt idx="3940">
                  <c:v>0.46400000000000002</c:v>
                </c:pt>
                <c:pt idx="3941">
                  <c:v>0.65600000000000003</c:v>
                </c:pt>
                <c:pt idx="3942">
                  <c:v>0.62</c:v>
                </c:pt>
                <c:pt idx="3943">
                  <c:v>0.64900000000000002</c:v>
                </c:pt>
                <c:pt idx="3944">
                  <c:v>0.51100000000000001</c:v>
                </c:pt>
                <c:pt idx="3945">
                  <c:v>0.72299999999999998</c:v>
                </c:pt>
                <c:pt idx="3946">
                  <c:v>0.49199999999999999</c:v>
                </c:pt>
                <c:pt idx="3947">
                  <c:v>0.13300000000000001</c:v>
                </c:pt>
                <c:pt idx="3948">
                  <c:v>0.57099999999999995</c:v>
                </c:pt>
                <c:pt idx="3949">
                  <c:v>0.81399999999999995</c:v>
                </c:pt>
                <c:pt idx="3950">
                  <c:v>0.48899999999999999</c:v>
                </c:pt>
                <c:pt idx="3951">
                  <c:v>0.34899999999999998</c:v>
                </c:pt>
                <c:pt idx="3952">
                  <c:v>0.70799999999999996</c:v>
                </c:pt>
                <c:pt idx="3953">
                  <c:v>0.40300000000000002</c:v>
                </c:pt>
                <c:pt idx="3954">
                  <c:v>0.39900000000000002</c:v>
                </c:pt>
                <c:pt idx="3955">
                  <c:v>0.503</c:v>
                </c:pt>
                <c:pt idx="3956">
                  <c:v>0.52900000000000003</c:v>
                </c:pt>
                <c:pt idx="3957">
                  <c:v>0.53700000000000003</c:v>
                </c:pt>
                <c:pt idx="3958">
                  <c:v>0.57399999999999995</c:v>
                </c:pt>
                <c:pt idx="3959">
                  <c:v>0.57399999999999995</c:v>
                </c:pt>
                <c:pt idx="3960">
                  <c:v>0.77500000000000002</c:v>
                </c:pt>
                <c:pt idx="3961">
                  <c:v>0.56799999999999995</c:v>
                </c:pt>
                <c:pt idx="3962">
                  <c:v>0.63100000000000001</c:v>
                </c:pt>
                <c:pt idx="3963">
                  <c:v>0.63300000000000001</c:v>
                </c:pt>
                <c:pt idx="3964">
                  <c:v>0.78</c:v>
                </c:pt>
                <c:pt idx="3965">
                  <c:v>0.69</c:v>
                </c:pt>
                <c:pt idx="3966">
                  <c:v>0.85099999999999998</c:v>
                </c:pt>
                <c:pt idx="3967">
                  <c:v>0.32800000000000001</c:v>
                </c:pt>
                <c:pt idx="3968">
                  <c:v>0.53600000000000003</c:v>
                </c:pt>
                <c:pt idx="3969">
                  <c:v>0.80500000000000005</c:v>
                </c:pt>
                <c:pt idx="3970">
                  <c:v>0.72399999999999998</c:v>
                </c:pt>
                <c:pt idx="3971">
                  <c:v>0.41899999999999998</c:v>
                </c:pt>
                <c:pt idx="3972">
                  <c:v>0.35399999999999998</c:v>
                </c:pt>
                <c:pt idx="3973">
                  <c:v>0.19700000000000001</c:v>
                </c:pt>
                <c:pt idx="3974">
                  <c:v>0.29899999999999999</c:v>
                </c:pt>
                <c:pt idx="3975">
                  <c:v>0.53300000000000003</c:v>
                </c:pt>
                <c:pt idx="3976">
                  <c:v>0.44800000000000001</c:v>
                </c:pt>
                <c:pt idx="3977">
                  <c:v>0.624</c:v>
                </c:pt>
                <c:pt idx="3978">
                  <c:v>0.61499999999999999</c:v>
                </c:pt>
                <c:pt idx="3979">
                  <c:v>0.42499999999999999</c:v>
                </c:pt>
                <c:pt idx="3980">
                  <c:v>0.72799999999999998</c:v>
                </c:pt>
                <c:pt idx="3981">
                  <c:v>0.62</c:v>
                </c:pt>
                <c:pt idx="3982">
                  <c:v>0.66600000000000004</c:v>
                </c:pt>
                <c:pt idx="3983">
                  <c:v>0.40200000000000002</c:v>
                </c:pt>
                <c:pt idx="3984">
                  <c:v>0.433</c:v>
                </c:pt>
                <c:pt idx="3985">
                  <c:v>0.58599999999999997</c:v>
                </c:pt>
                <c:pt idx="3986">
                  <c:v>0.46100000000000002</c:v>
                </c:pt>
                <c:pt idx="3987">
                  <c:v>0.59099999999999997</c:v>
                </c:pt>
                <c:pt idx="3988">
                  <c:v>0.624</c:v>
                </c:pt>
                <c:pt idx="3989">
                  <c:v>0.68799999999999994</c:v>
                </c:pt>
                <c:pt idx="3990">
                  <c:v>0.90900000000000003</c:v>
                </c:pt>
                <c:pt idx="3991">
                  <c:v>0.92200000000000004</c:v>
                </c:pt>
                <c:pt idx="3992">
                  <c:v>0.68</c:v>
                </c:pt>
                <c:pt idx="3993">
                  <c:v>0.51600000000000001</c:v>
                </c:pt>
                <c:pt idx="3994">
                  <c:v>0.224</c:v>
                </c:pt>
                <c:pt idx="3995">
                  <c:v>0.36499999999999999</c:v>
                </c:pt>
                <c:pt idx="3996">
                  <c:v>0.58299999999999996</c:v>
                </c:pt>
                <c:pt idx="3997">
                  <c:v>0.55000000000000004</c:v>
                </c:pt>
                <c:pt idx="3998">
                  <c:v>0.55500000000000005</c:v>
                </c:pt>
                <c:pt idx="3999">
                  <c:v>0.60699999999999998</c:v>
                </c:pt>
                <c:pt idx="4000">
                  <c:v>0.876</c:v>
                </c:pt>
                <c:pt idx="4001">
                  <c:v>0.879</c:v>
                </c:pt>
                <c:pt idx="4002">
                  <c:v>0.23100000000000001</c:v>
                </c:pt>
                <c:pt idx="4003">
                  <c:v>0.80700000000000005</c:v>
                </c:pt>
                <c:pt idx="4004">
                  <c:v>0.49</c:v>
                </c:pt>
                <c:pt idx="4005">
                  <c:v>0.61699999999999999</c:v>
                </c:pt>
                <c:pt idx="4006">
                  <c:v>0.67300000000000004</c:v>
                </c:pt>
                <c:pt idx="4007">
                  <c:v>0.83099999999999996</c:v>
                </c:pt>
                <c:pt idx="4008">
                  <c:v>0.83699999999999997</c:v>
                </c:pt>
                <c:pt idx="4009">
                  <c:v>0.48199999999999998</c:v>
                </c:pt>
                <c:pt idx="4010">
                  <c:v>0.35499999999999998</c:v>
                </c:pt>
                <c:pt idx="4011">
                  <c:v>0.57199999999999995</c:v>
                </c:pt>
                <c:pt idx="4012">
                  <c:v>0.63400000000000001</c:v>
                </c:pt>
                <c:pt idx="4013">
                  <c:v>0.34300000000000003</c:v>
                </c:pt>
                <c:pt idx="4014">
                  <c:v>0.53900000000000003</c:v>
                </c:pt>
                <c:pt idx="4015">
                  <c:v>0.65900000000000003</c:v>
                </c:pt>
                <c:pt idx="4016">
                  <c:v>0.70799999999999996</c:v>
                </c:pt>
                <c:pt idx="4017">
                  <c:v>0.84199999999999997</c:v>
                </c:pt>
                <c:pt idx="4018">
                  <c:v>0.878</c:v>
                </c:pt>
                <c:pt idx="4019">
                  <c:v>0.189</c:v>
                </c:pt>
                <c:pt idx="4020">
                  <c:v>0.39</c:v>
                </c:pt>
                <c:pt idx="4021">
                  <c:v>0.68600000000000005</c:v>
                </c:pt>
                <c:pt idx="4022">
                  <c:v>0.79200000000000004</c:v>
                </c:pt>
                <c:pt idx="4023">
                  <c:v>0.61599999999999999</c:v>
                </c:pt>
                <c:pt idx="4024">
                  <c:v>0.627</c:v>
                </c:pt>
                <c:pt idx="4025">
                  <c:v>0.39</c:v>
                </c:pt>
                <c:pt idx="4026">
                  <c:v>0.35</c:v>
                </c:pt>
                <c:pt idx="4027">
                  <c:v>0.46500000000000002</c:v>
                </c:pt>
                <c:pt idx="4028">
                  <c:v>0.65800000000000003</c:v>
                </c:pt>
                <c:pt idx="4029">
                  <c:v>0.50700000000000001</c:v>
                </c:pt>
                <c:pt idx="4030">
                  <c:v>0.29699999999999999</c:v>
                </c:pt>
                <c:pt idx="4031">
                  <c:v>0.45500000000000002</c:v>
                </c:pt>
                <c:pt idx="4032">
                  <c:v>0.57699999999999996</c:v>
                </c:pt>
                <c:pt idx="4033">
                  <c:v>0.77900000000000003</c:v>
                </c:pt>
                <c:pt idx="4034">
                  <c:v>0.75</c:v>
                </c:pt>
                <c:pt idx="4035">
                  <c:v>0.78200000000000003</c:v>
                </c:pt>
                <c:pt idx="4036">
                  <c:v>0.46700000000000003</c:v>
                </c:pt>
                <c:pt idx="4037">
                  <c:v>0.52900000000000003</c:v>
                </c:pt>
                <c:pt idx="4038">
                  <c:v>0.47899999999999998</c:v>
                </c:pt>
                <c:pt idx="4039">
                  <c:v>0.49099999999999999</c:v>
                </c:pt>
                <c:pt idx="4040">
                  <c:v>0.435</c:v>
                </c:pt>
                <c:pt idx="4041">
                  <c:v>0.45300000000000001</c:v>
                </c:pt>
                <c:pt idx="4042">
                  <c:v>0.69699999999999995</c:v>
                </c:pt>
                <c:pt idx="4043">
                  <c:v>0.71399999999999997</c:v>
                </c:pt>
                <c:pt idx="4044">
                  <c:v>0.77800000000000002</c:v>
                </c:pt>
                <c:pt idx="4045">
                  <c:v>0.42599999999999999</c:v>
                </c:pt>
                <c:pt idx="4046">
                  <c:v>0.55400000000000005</c:v>
                </c:pt>
                <c:pt idx="4047">
                  <c:v>0.16700000000000001</c:v>
                </c:pt>
                <c:pt idx="4048">
                  <c:v>0.56200000000000006</c:v>
                </c:pt>
                <c:pt idx="4049">
                  <c:v>0.39600000000000002</c:v>
                </c:pt>
                <c:pt idx="4050">
                  <c:v>0.63400000000000001</c:v>
                </c:pt>
                <c:pt idx="4051">
                  <c:v>0.46899999999999997</c:v>
                </c:pt>
                <c:pt idx="4052">
                  <c:v>0.47799999999999998</c:v>
                </c:pt>
                <c:pt idx="4053">
                  <c:v>0.875</c:v>
                </c:pt>
                <c:pt idx="4054">
                  <c:v>0.59099999999999997</c:v>
                </c:pt>
                <c:pt idx="4055">
                  <c:v>0.59399999999999997</c:v>
                </c:pt>
                <c:pt idx="4056">
                  <c:v>0.439</c:v>
                </c:pt>
                <c:pt idx="4057">
                  <c:v>0.68799999999999994</c:v>
                </c:pt>
                <c:pt idx="4058">
                  <c:v>0.36799999999999999</c:v>
                </c:pt>
                <c:pt idx="4059">
                  <c:v>0.31</c:v>
                </c:pt>
                <c:pt idx="4060">
                  <c:v>0.57099999999999995</c:v>
                </c:pt>
                <c:pt idx="4061">
                  <c:v>0.80900000000000005</c:v>
                </c:pt>
                <c:pt idx="4062">
                  <c:v>0.90500000000000003</c:v>
                </c:pt>
                <c:pt idx="4063">
                  <c:v>0.43</c:v>
                </c:pt>
                <c:pt idx="4064">
                  <c:v>0.72199999999999998</c:v>
                </c:pt>
                <c:pt idx="4065">
                  <c:v>0.78400000000000003</c:v>
                </c:pt>
                <c:pt idx="4066">
                  <c:v>0.38600000000000001</c:v>
                </c:pt>
                <c:pt idx="4067">
                  <c:v>0.55400000000000005</c:v>
                </c:pt>
                <c:pt idx="4068">
                  <c:v>0.33400000000000002</c:v>
                </c:pt>
                <c:pt idx="4069">
                  <c:v>0.48599999999999999</c:v>
                </c:pt>
                <c:pt idx="4070">
                  <c:v>0.86599999999999999</c:v>
                </c:pt>
                <c:pt idx="4071">
                  <c:v>0.90900000000000003</c:v>
                </c:pt>
                <c:pt idx="4072">
                  <c:v>0.57299999999999995</c:v>
                </c:pt>
                <c:pt idx="4073">
                  <c:v>0.80900000000000005</c:v>
                </c:pt>
                <c:pt idx="4074">
                  <c:v>0.55000000000000004</c:v>
                </c:pt>
                <c:pt idx="4075">
                  <c:v>0.69299999999999995</c:v>
                </c:pt>
                <c:pt idx="4076">
                  <c:v>0.45500000000000002</c:v>
                </c:pt>
                <c:pt idx="4077">
                  <c:v>0.65200000000000002</c:v>
                </c:pt>
                <c:pt idx="4078">
                  <c:v>0.73199999999999998</c:v>
                </c:pt>
                <c:pt idx="4079">
                  <c:v>0.60299999999999998</c:v>
                </c:pt>
                <c:pt idx="4080">
                  <c:v>0.50900000000000001</c:v>
                </c:pt>
                <c:pt idx="4081">
                  <c:v>0.441</c:v>
                </c:pt>
                <c:pt idx="4082">
                  <c:v>0.36699999999999999</c:v>
                </c:pt>
                <c:pt idx="4083">
                  <c:v>0.53100000000000003</c:v>
                </c:pt>
                <c:pt idx="4084">
                  <c:v>0.14599999999999999</c:v>
                </c:pt>
                <c:pt idx="4085">
                  <c:v>0.495</c:v>
                </c:pt>
                <c:pt idx="4086">
                  <c:v>0.76200000000000001</c:v>
                </c:pt>
                <c:pt idx="4087">
                  <c:v>0.19</c:v>
                </c:pt>
                <c:pt idx="4088">
                  <c:v>0.68300000000000005</c:v>
                </c:pt>
                <c:pt idx="4089">
                  <c:v>0.67400000000000004</c:v>
                </c:pt>
                <c:pt idx="4090">
                  <c:v>0.56299999999999994</c:v>
                </c:pt>
                <c:pt idx="4091">
                  <c:v>0.70799999999999996</c:v>
                </c:pt>
                <c:pt idx="4092">
                  <c:v>0.42299999999999999</c:v>
                </c:pt>
                <c:pt idx="4093">
                  <c:v>0.53</c:v>
                </c:pt>
                <c:pt idx="4094">
                  <c:v>0.79100000000000004</c:v>
                </c:pt>
                <c:pt idx="4095">
                  <c:v>0.52500000000000002</c:v>
                </c:pt>
                <c:pt idx="4096">
                  <c:v>0.69899999999999995</c:v>
                </c:pt>
                <c:pt idx="4097">
                  <c:v>0.48499999999999999</c:v>
                </c:pt>
                <c:pt idx="4098">
                  <c:v>0.55900000000000005</c:v>
                </c:pt>
                <c:pt idx="4099">
                  <c:v>0.46100000000000002</c:v>
                </c:pt>
                <c:pt idx="4100">
                  <c:v>0.501</c:v>
                </c:pt>
                <c:pt idx="4101">
                  <c:v>0.82899999999999996</c:v>
                </c:pt>
                <c:pt idx="4102">
                  <c:v>0.38500000000000001</c:v>
                </c:pt>
                <c:pt idx="4103">
                  <c:v>0.90900000000000003</c:v>
                </c:pt>
                <c:pt idx="4104">
                  <c:v>0.65800000000000003</c:v>
                </c:pt>
                <c:pt idx="4105">
                  <c:v>0.35699999999999998</c:v>
                </c:pt>
                <c:pt idx="4106">
                  <c:v>0.67300000000000004</c:v>
                </c:pt>
                <c:pt idx="4107">
                  <c:v>0.79600000000000004</c:v>
                </c:pt>
                <c:pt idx="4108">
                  <c:v>0.86499999999999999</c:v>
                </c:pt>
                <c:pt idx="4109">
                  <c:v>0.71499999999999997</c:v>
                </c:pt>
                <c:pt idx="4110">
                  <c:v>0.48399999999999999</c:v>
                </c:pt>
                <c:pt idx="4111">
                  <c:v>0.73299999999999998</c:v>
                </c:pt>
                <c:pt idx="4112">
                  <c:v>0.40799999999999997</c:v>
                </c:pt>
                <c:pt idx="4113">
                  <c:v>0.40799999999999997</c:v>
                </c:pt>
                <c:pt idx="4114">
                  <c:v>0.57699999999999996</c:v>
                </c:pt>
                <c:pt idx="4115">
                  <c:v>0.69799999999999995</c:v>
                </c:pt>
                <c:pt idx="4116">
                  <c:v>0.47299999999999998</c:v>
                </c:pt>
                <c:pt idx="4117">
                  <c:v>0.182</c:v>
                </c:pt>
                <c:pt idx="4118">
                  <c:v>0.54800000000000004</c:v>
                </c:pt>
                <c:pt idx="4119">
                  <c:v>0.53400000000000003</c:v>
                </c:pt>
                <c:pt idx="4120">
                  <c:v>0.64600000000000002</c:v>
                </c:pt>
                <c:pt idx="4121">
                  <c:v>0.752</c:v>
                </c:pt>
                <c:pt idx="4122">
                  <c:v>0.77</c:v>
                </c:pt>
                <c:pt idx="4123">
                  <c:v>0.39300000000000002</c:v>
                </c:pt>
                <c:pt idx="4124">
                  <c:v>0.41599999999999998</c:v>
                </c:pt>
                <c:pt idx="4125">
                  <c:v>0.67400000000000004</c:v>
                </c:pt>
                <c:pt idx="4126">
                  <c:v>0.54700000000000004</c:v>
                </c:pt>
                <c:pt idx="4127">
                  <c:v>0.71599999999999997</c:v>
                </c:pt>
                <c:pt idx="4128">
                  <c:v>0.71499999999999997</c:v>
                </c:pt>
                <c:pt idx="4129">
                  <c:v>0.46899999999999997</c:v>
                </c:pt>
                <c:pt idx="4130">
                  <c:v>0.63100000000000001</c:v>
                </c:pt>
                <c:pt idx="4131">
                  <c:v>0.42199999999999999</c:v>
                </c:pt>
                <c:pt idx="4132">
                  <c:v>0.44700000000000001</c:v>
                </c:pt>
                <c:pt idx="4133">
                  <c:v>0.441</c:v>
                </c:pt>
                <c:pt idx="4134">
                  <c:v>0.36199999999999999</c:v>
                </c:pt>
                <c:pt idx="4135">
                  <c:v>0.372</c:v>
                </c:pt>
                <c:pt idx="4136">
                  <c:v>0.52400000000000002</c:v>
                </c:pt>
                <c:pt idx="4137">
                  <c:v>0.157</c:v>
                </c:pt>
                <c:pt idx="4138">
                  <c:v>0.629</c:v>
                </c:pt>
                <c:pt idx="4139">
                  <c:v>0.626</c:v>
                </c:pt>
                <c:pt idx="4140">
                  <c:v>0.55600000000000005</c:v>
                </c:pt>
                <c:pt idx="4141">
                  <c:v>0.60299999999999998</c:v>
                </c:pt>
                <c:pt idx="4142">
                  <c:v>0.41</c:v>
                </c:pt>
                <c:pt idx="4143">
                  <c:v>0.28000000000000003</c:v>
                </c:pt>
                <c:pt idx="4144">
                  <c:v>0.42399999999999999</c:v>
                </c:pt>
                <c:pt idx="4145">
                  <c:v>0.433</c:v>
                </c:pt>
                <c:pt idx="4146">
                  <c:v>0.64900000000000002</c:v>
                </c:pt>
                <c:pt idx="4147">
                  <c:v>0.66300000000000003</c:v>
                </c:pt>
                <c:pt idx="4148">
                  <c:v>0.67600000000000005</c:v>
                </c:pt>
                <c:pt idx="4149">
                  <c:v>0.73899999999999999</c:v>
                </c:pt>
                <c:pt idx="4150">
                  <c:v>0.81399999999999995</c:v>
                </c:pt>
                <c:pt idx="4151">
                  <c:v>0.89100000000000001</c:v>
                </c:pt>
                <c:pt idx="4152">
                  <c:v>0.33500000000000002</c:v>
                </c:pt>
                <c:pt idx="4153">
                  <c:v>0.72399999999999998</c:v>
                </c:pt>
                <c:pt idx="4154">
                  <c:v>0.35799999999999998</c:v>
                </c:pt>
                <c:pt idx="4155">
                  <c:v>0.68700000000000006</c:v>
                </c:pt>
                <c:pt idx="4156">
                  <c:v>0.75800000000000001</c:v>
                </c:pt>
                <c:pt idx="4157">
                  <c:v>0.72399999999999998</c:v>
                </c:pt>
                <c:pt idx="4158">
                  <c:v>0.55900000000000005</c:v>
                </c:pt>
                <c:pt idx="4159">
                  <c:v>0.217</c:v>
                </c:pt>
                <c:pt idx="4160">
                  <c:v>0.54300000000000004</c:v>
                </c:pt>
                <c:pt idx="4161">
                  <c:v>0.66500000000000004</c:v>
                </c:pt>
                <c:pt idx="4162">
                  <c:v>0.20399999999999999</c:v>
                </c:pt>
                <c:pt idx="4163">
                  <c:v>0.34599999999999997</c:v>
                </c:pt>
                <c:pt idx="4164">
                  <c:v>0.76600000000000001</c:v>
                </c:pt>
                <c:pt idx="4165">
                  <c:v>0.79700000000000004</c:v>
                </c:pt>
                <c:pt idx="4166">
                  <c:v>0.55500000000000005</c:v>
                </c:pt>
                <c:pt idx="4167">
                  <c:v>0.38200000000000001</c:v>
                </c:pt>
                <c:pt idx="4168">
                  <c:v>0.57299999999999995</c:v>
                </c:pt>
                <c:pt idx="4169">
                  <c:v>0.32700000000000001</c:v>
                </c:pt>
                <c:pt idx="4170">
                  <c:v>0.71199999999999997</c:v>
                </c:pt>
                <c:pt idx="4171">
                  <c:v>0.40899999999999997</c:v>
                </c:pt>
                <c:pt idx="4172">
                  <c:v>0.46899999999999997</c:v>
                </c:pt>
                <c:pt idx="4173">
                  <c:v>0.39400000000000002</c:v>
                </c:pt>
                <c:pt idx="4174">
                  <c:v>0.437</c:v>
                </c:pt>
                <c:pt idx="4175">
                  <c:v>0.52400000000000002</c:v>
                </c:pt>
                <c:pt idx="4176">
                  <c:v>0.35799999999999998</c:v>
                </c:pt>
                <c:pt idx="4177">
                  <c:v>0.38400000000000001</c:v>
                </c:pt>
                <c:pt idx="4178">
                  <c:v>0.39600000000000002</c:v>
                </c:pt>
                <c:pt idx="4179">
                  <c:v>0.92500000000000004</c:v>
                </c:pt>
                <c:pt idx="4180">
                  <c:v>0.70699999999999996</c:v>
                </c:pt>
                <c:pt idx="4181">
                  <c:v>0.72499999999999998</c:v>
                </c:pt>
                <c:pt idx="4182">
                  <c:v>0.91500000000000004</c:v>
                </c:pt>
                <c:pt idx="4183">
                  <c:v>0.89</c:v>
                </c:pt>
                <c:pt idx="4184">
                  <c:v>0.58599999999999997</c:v>
                </c:pt>
                <c:pt idx="4185">
                  <c:v>0.58599999999999997</c:v>
                </c:pt>
                <c:pt idx="4186">
                  <c:v>0.45400000000000001</c:v>
                </c:pt>
                <c:pt idx="4187">
                  <c:v>0.42599999999999999</c:v>
                </c:pt>
                <c:pt idx="4188">
                  <c:v>0.45100000000000001</c:v>
                </c:pt>
                <c:pt idx="4189">
                  <c:v>0.56999999999999995</c:v>
                </c:pt>
                <c:pt idx="4190">
                  <c:v>0.61199999999999999</c:v>
                </c:pt>
                <c:pt idx="4191">
                  <c:v>0.64400000000000002</c:v>
                </c:pt>
                <c:pt idx="4192">
                  <c:v>0.78500000000000003</c:v>
                </c:pt>
                <c:pt idx="4193">
                  <c:v>0.8</c:v>
                </c:pt>
                <c:pt idx="4194">
                  <c:v>0.81399999999999995</c:v>
                </c:pt>
                <c:pt idx="4195">
                  <c:v>0.93700000000000006</c:v>
                </c:pt>
                <c:pt idx="4196">
                  <c:v>0.26600000000000001</c:v>
                </c:pt>
                <c:pt idx="4197">
                  <c:v>0.41</c:v>
                </c:pt>
                <c:pt idx="4198">
                  <c:v>0.374</c:v>
                </c:pt>
                <c:pt idx="4199">
                  <c:v>0.371</c:v>
                </c:pt>
                <c:pt idx="4200">
                  <c:v>0.8</c:v>
                </c:pt>
                <c:pt idx="4201">
                  <c:v>0.26100000000000001</c:v>
                </c:pt>
                <c:pt idx="4202">
                  <c:v>0.26700000000000002</c:v>
                </c:pt>
                <c:pt idx="4203">
                  <c:v>0.46899999999999997</c:v>
                </c:pt>
                <c:pt idx="4204">
                  <c:v>0.57499999999999996</c:v>
                </c:pt>
                <c:pt idx="4205">
                  <c:v>0.64600000000000002</c:v>
                </c:pt>
                <c:pt idx="4206">
                  <c:v>0.19800000000000001</c:v>
                </c:pt>
                <c:pt idx="4207">
                  <c:v>0.45900000000000002</c:v>
                </c:pt>
                <c:pt idx="4208">
                  <c:v>0.71399999999999997</c:v>
                </c:pt>
                <c:pt idx="4209">
                  <c:v>0.46800000000000003</c:v>
                </c:pt>
                <c:pt idx="4210">
                  <c:v>0.627</c:v>
                </c:pt>
                <c:pt idx="4211">
                  <c:v>0.67700000000000005</c:v>
                </c:pt>
                <c:pt idx="4212">
                  <c:v>0.45700000000000002</c:v>
                </c:pt>
                <c:pt idx="4213">
                  <c:v>0.52300000000000002</c:v>
                </c:pt>
                <c:pt idx="4214">
                  <c:v>0.48</c:v>
                </c:pt>
                <c:pt idx="4215">
                  <c:v>0.47399999999999998</c:v>
                </c:pt>
                <c:pt idx="4216">
                  <c:v>0.42099999999999999</c:v>
                </c:pt>
                <c:pt idx="4217">
                  <c:v>0.47099999999999997</c:v>
                </c:pt>
                <c:pt idx="4218">
                  <c:v>0.58299999999999996</c:v>
                </c:pt>
                <c:pt idx="4219">
                  <c:v>0.46700000000000003</c:v>
                </c:pt>
                <c:pt idx="4220">
                  <c:v>0.71199999999999997</c:v>
                </c:pt>
                <c:pt idx="4221">
                  <c:v>0.67400000000000004</c:v>
                </c:pt>
                <c:pt idx="4222">
                  <c:v>0.41899999999999998</c:v>
                </c:pt>
                <c:pt idx="4223">
                  <c:v>0.35899999999999999</c:v>
                </c:pt>
                <c:pt idx="4224">
                  <c:v>0.65600000000000003</c:v>
                </c:pt>
                <c:pt idx="4225">
                  <c:v>0.50600000000000001</c:v>
                </c:pt>
                <c:pt idx="4226">
                  <c:v>0.85899999999999999</c:v>
                </c:pt>
                <c:pt idx="4227">
                  <c:v>0.35599999999999998</c:v>
                </c:pt>
                <c:pt idx="4228">
                  <c:v>0.34899999999999998</c:v>
                </c:pt>
                <c:pt idx="4229">
                  <c:v>0.66400000000000003</c:v>
                </c:pt>
                <c:pt idx="4230">
                  <c:v>0.47899999999999998</c:v>
                </c:pt>
                <c:pt idx="4231">
                  <c:v>0.55300000000000005</c:v>
                </c:pt>
                <c:pt idx="4232">
                  <c:v>0.54200000000000004</c:v>
                </c:pt>
                <c:pt idx="4233">
                  <c:v>0.56299999999999994</c:v>
                </c:pt>
                <c:pt idx="4234">
                  <c:v>0.83599999999999997</c:v>
                </c:pt>
                <c:pt idx="4235">
                  <c:v>0.81299999999999994</c:v>
                </c:pt>
                <c:pt idx="4236">
                  <c:v>0.55800000000000005</c:v>
                </c:pt>
                <c:pt idx="4237">
                  <c:v>0.82</c:v>
                </c:pt>
                <c:pt idx="4238">
                  <c:v>0.60199999999999998</c:v>
                </c:pt>
                <c:pt idx="4239">
                  <c:v>0.60799999999999998</c:v>
                </c:pt>
                <c:pt idx="4240">
                  <c:v>0.81399999999999995</c:v>
                </c:pt>
                <c:pt idx="4241">
                  <c:v>0.67300000000000004</c:v>
                </c:pt>
                <c:pt idx="4242">
                  <c:v>0.495</c:v>
                </c:pt>
                <c:pt idx="4243">
                  <c:v>0.746</c:v>
                </c:pt>
                <c:pt idx="4244">
                  <c:v>0.81599999999999995</c:v>
                </c:pt>
                <c:pt idx="4245">
                  <c:v>0.441</c:v>
                </c:pt>
                <c:pt idx="4246">
                  <c:v>0.875</c:v>
                </c:pt>
                <c:pt idx="4247">
                  <c:v>0.68100000000000005</c:v>
                </c:pt>
                <c:pt idx="4248">
                  <c:v>0.64100000000000001</c:v>
                </c:pt>
                <c:pt idx="4249">
                  <c:v>0.27400000000000002</c:v>
                </c:pt>
                <c:pt idx="4250">
                  <c:v>0.48899999999999999</c:v>
                </c:pt>
                <c:pt idx="4251">
                  <c:v>0.496</c:v>
                </c:pt>
                <c:pt idx="4252">
                  <c:v>0.503</c:v>
                </c:pt>
                <c:pt idx="4253">
                  <c:v>0.54300000000000004</c:v>
                </c:pt>
                <c:pt idx="4254">
                  <c:v>0.54800000000000004</c:v>
                </c:pt>
                <c:pt idx="4255">
                  <c:v>0.69699999999999995</c:v>
                </c:pt>
                <c:pt idx="4256">
                  <c:v>0.76200000000000001</c:v>
                </c:pt>
                <c:pt idx="4257">
                  <c:v>0.81799999999999995</c:v>
                </c:pt>
                <c:pt idx="4258">
                  <c:v>0.96699999999999997</c:v>
                </c:pt>
                <c:pt idx="4259">
                  <c:v>0.55400000000000005</c:v>
                </c:pt>
                <c:pt idx="4260">
                  <c:v>0.30199999999999999</c:v>
                </c:pt>
                <c:pt idx="4261">
                  <c:v>0.56299999999999994</c:v>
                </c:pt>
                <c:pt idx="4262">
                  <c:v>0.57599999999999996</c:v>
                </c:pt>
                <c:pt idx="4263">
                  <c:v>0.71499999999999997</c:v>
                </c:pt>
                <c:pt idx="4264">
                  <c:v>0.63500000000000001</c:v>
                </c:pt>
                <c:pt idx="4265">
                  <c:v>0.45500000000000002</c:v>
                </c:pt>
                <c:pt idx="4266">
                  <c:v>0.60699999999999998</c:v>
                </c:pt>
                <c:pt idx="4267">
                  <c:v>0.66500000000000004</c:v>
                </c:pt>
                <c:pt idx="4268">
                  <c:v>0.71099999999999997</c:v>
                </c:pt>
                <c:pt idx="4269">
                  <c:v>0.57299999999999995</c:v>
                </c:pt>
                <c:pt idx="4270">
                  <c:v>0.84899999999999998</c:v>
                </c:pt>
                <c:pt idx="4271">
                  <c:v>0.52400000000000002</c:v>
                </c:pt>
                <c:pt idx="4272">
                  <c:v>0.50700000000000001</c:v>
                </c:pt>
                <c:pt idx="4273">
                  <c:v>0.61699999999999999</c:v>
                </c:pt>
                <c:pt idx="4274">
                  <c:v>0.65200000000000002</c:v>
                </c:pt>
                <c:pt idx="4275">
                  <c:v>0.48199999999999998</c:v>
                </c:pt>
                <c:pt idx="4276">
                  <c:v>0.623</c:v>
                </c:pt>
                <c:pt idx="4277">
                  <c:v>0.24199999999999999</c:v>
                </c:pt>
                <c:pt idx="4278">
                  <c:v>0.64800000000000002</c:v>
                </c:pt>
                <c:pt idx="4279">
                  <c:v>0.47899999999999998</c:v>
                </c:pt>
                <c:pt idx="4280">
                  <c:v>0.60399999999999998</c:v>
                </c:pt>
                <c:pt idx="4281">
                  <c:v>0.80500000000000005</c:v>
                </c:pt>
                <c:pt idx="4282">
                  <c:v>0.749</c:v>
                </c:pt>
                <c:pt idx="4283">
                  <c:v>0.26700000000000002</c:v>
                </c:pt>
                <c:pt idx="4284">
                  <c:v>0.17100000000000001</c:v>
                </c:pt>
                <c:pt idx="4285">
                  <c:v>0.57299999999999995</c:v>
                </c:pt>
                <c:pt idx="4286">
                  <c:v>0.59299999999999997</c:v>
                </c:pt>
                <c:pt idx="4287">
                  <c:v>0.73799999999999999</c:v>
                </c:pt>
                <c:pt idx="4288">
                  <c:v>0.40600000000000003</c:v>
                </c:pt>
                <c:pt idx="4289">
                  <c:v>0.48199999999999998</c:v>
                </c:pt>
                <c:pt idx="4290">
                  <c:v>0.47</c:v>
                </c:pt>
                <c:pt idx="4291">
                  <c:v>0.502</c:v>
                </c:pt>
                <c:pt idx="4292">
                  <c:v>0.90400000000000003</c:v>
                </c:pt>
                <c:pt idx="4293">
                  <c:v>0.56399999999999995</c:v>
                </c:pt>
                <c:pt idx="4294">
                  <c:v>0.54900000000000004</c:v>
                </c:pt>
                <c:pt idx="4295">
                  <c:v>0.41199999999999998</c:v>
                </c:pt>
                <c:pt idx="4296">
                  <c:v>0.59099999999999997</c:v>
                </c:pt>
                <c:pt idx="4297">
                  <c:v>0.48099999999999998</c:v>
                </c:pt>
                <c:pt idx="4298">
                  <c:v>0.503</c:v>
                </c:pt>
                <c:pt idx="4299">
                  <c:v>0.55700000000000005</c:v>
                </c:pt>
                <c:pt idx="4300">
                  <c:v>0.64900000000000002</c:v>
                </c:pt>
                <c:pt idx="4301">
                  <c:v>0.74299999999999999</c:v>
                </c:pt>
                <c:pt idx="4302">
                  <c:v>0.81699999999999995</c:v>
                </c:pt>
                <c:pt idx="4303">
                  <c:v>0.92200000000000004</c:v>
                </c:pt>
                <c:pt idx="4304">
                  <c:v>0.93500000000000005</c:v>
                </c:pt>
                <c:pt idx="4305">
                  <c:v>0.94299999999999995</c:v>
                </c:pt>
                <c:pt idx="4306">
                  <c:v>0.248</c:v>
                </c:pt>
                <c:pt idx="4307">
                  <c:v>0.64500000000000002</c:v>
                </c:pt>
                <c:pt idx="4308">
                  <c:v>0.63900000000000001</c:v>
                </c:pt>
                <c:pt idx="4309">
                  <c:v>0.33</c:v>
                </c:pt>
                <c:pt idx="4310">
                  <c:v>0.44900000000000001</c:v>
                </c:pt>
                <c:pt idx="4311">
                  <c:v>0.80700000000000005</c:v>
                </c:pt>
                <c:pt idx="4312">
                  <c:v>0.28399999999999997</c:v>
                </c:pt>
                <c:pt idx="4313">
                  <c:v>0.68500000000000005</c:v>
                </c:pt>
                <c:pt idx="4314">
                  <c:v>0.23100000000000001</c:v>
                </c:pt>
                <c:pt idx="4315">
                  <c:v>0.51400000000000001</c:v>
                </c:pt>
                <c:pt idx="4316">
                  <c:v>0.435</c:v>
                </c:pt>
                <c:pt idx="4317">
                  <c:v>0.439</c:v>
                </c:pt>
                <c:pt idx="4318">
                  <c:v>0.72099999999999997</c:v>
                </c:pt>
                <c:pt idx="4319">
                  <c:v>0.51500000000000001</c:v>
                </c:pt>
                <c:pt idx="4320">
                  <c:v>0.55400000000000005</c:v>
                </c:pt>
                <c:pt idx="4321">
                  <c:v>0.39900000000000002</c:v>
                </c:pt>
                <c:pt idx="4322">
                  <c:v>0.76</c:v>
                </c:pt>
                <c:pt idx="4323">
                  <c:v>0.56200000000000006</c:v>
                </c:pt>
                <c:pt idx="4324">
                  <c:v>0.33600000000000002</c:v>
                </c:pt>
                <c:pt idx="4325">
                  <c:v>0.67400000000000004</c:v>
                </c:pt>
                <c:pt idx="4326">
                  <c:v>0.54600000000000004</c:v>
                </c:pt>
                <c:pt idx="4327">
                  <c:v>0.57699999999999996</c:v>
                </c:pt>
                <c:pt idx="4328">
                  <c:v>0.58099999999999996</c:v>
                </c:pt>
                <c:pt idx="4329">
                  <c:v>0.61099999999999999</c:v>
                </c:pt>
                <c:pt idx="4330">
                  <c:v>0.73299999999999998</c:v>
                </c:pt>
                <c:pt idx="4331">
                  <c:v>0.32300000000000001</c:v>
                </c:pt>
                <c:pt idx="4332">
                  <c:v>0.32700000000000001</c:v>
                </c:pt>
                <c:pt idx="4333">
                  <c:v>0.48699999999999999</c:v>
                </c:pt>
                <c:pt idx="4334">
                  <c:v>0.57299999999999995</c:v>
                </c:pt>
                <c:pt idx="4335">
                  <c:v>0.16800000000000001</c:v>
                </c:pt>
                <c:pt idx="4336">
                  <c:v>0.19</c:v>
                </c:pt>
                <c:pt idx="4337">
                  <c:v>0.52600000000000002</c:v>
                </c:pt>
                <c:pt idx="4338">
                  <c:v>0.91400000000000003</c:v>
                </c:pt>
                <c:pt idx="4339">
                  <c:v>0.35699999999999998</c:v>
                </c:pt>
                <c:pt idx="4340">
                  <c:v>0.309</c:v>
                </c:pt>
                <c:pt idx="4341">
                  <c:v>0.155</c:v>
                </c:pt>
                <c:pt idx="4342">
                  <c:v>0.879</c:v>
                </c:pt>
                <c:pt idx="4343">
                  <c:v>0.66500000000000004</c:v>
                </c:pt>
                <c:pt idx="4344">
                  <c:v>0.496</c:v>
                </c:pt>
                <c:pt idx="4345">
                  <c:v>0.54700000000000004</c:v>
                </c:pt>
                <c:pt idx="4347">
                  <c:v>0.61299999999999999</c:v>
                </c:pt>
                <c:pt idx="4348">
                  <c:v>0.53100000000000003</c:v>
                </c:pt>
                <c:pt idx="4349">
                  <c:v>0.73899999999999999</c:v>
                </c:pt>
                <c:pt idx="4350">
                  <c:v>0.39400000000000002</c:v>
                </c:pt>
                <c:pt idx="4351">
                  <c:v>0.437</c:v>
                </c:pt>
                <c:pt idx="4352">
                  <c:v>0.46200000000000002</c:v>
                </c:pt>
                <c:pt idx="4353">
                  <c:v>0.47699999999999998</c:v>
                </c:pt>
                <c:pt idx="4354">
                  <c:v>0.42</c:v>
                </c:pt>
                <c:pt idx="4355">
                  <c:v>0.44500000000000001</c:v>
                </c:pt>
                <c:pt idx="4356">
                  <c:v>0.34599999999999997</c:v>
                </c:pt>
                <c:pt idx="4357">
                  <c:v>0.59799999999999998</c:v>
                </c:pt>
                <c:pt idx="4358">
                  <c:v>0.52400000000000002</c:v>
                </c:pt>
                <c:pt idx="4359">
                  <c:v>0.88100000000000001</c:v>
                </c:pt>
                <c:pt idx="4360">
                  <c:v>0.35499999999999998</c:v>
                </c:pt>
                <c:pt idx="4361">
                  <c:v>0.47699999999999998</c:v>
                </c:pt>
                <c:pt idx="4362">
                  <c:v>0.54600000000000004</c:v>
                </c:pt>
                <c:pt idx="4363">
                  <c:v>0.375</c:v>
                </c:pt>
                <c:pt idx="4364">
                  <c:v>0.53700000000000003</c:v>
                </c:pt>
                <c:pt idx="4365">
                  <c:v>0.66800000000000004</c:v>
                </c:pt>
                <c:pt idx="4366">
                  <c:v>0.68500000000000005</c:v>
                </c:pt>
                <c:pt idx="4367">
                  <c:v>0.88900000000000001</c:v>
                </c:pt>
                <c:pt idx="4368">
                  <c:v>0.48099999999999998</c:v>
                </c:pt>
                <c:pt idx="4369">
                  <c:v>0.48799999999999999</c:v>
                </c:pt>
                <c:pt idx="4370">
                  <c:v>0.66100000000000003</c:v>
                </c:pt>
                <c:pt idx="4371">
                  <c:v>0.79300000000000004</c:v>
                </c:pt>
                <c:pt idx="4372">
                  <c:v>0.82699999999999996</c:v>
                </c:pt>
                <c:pt idx="4373">
                  <c:v>0.61</c:v>
                </c:pt>
                <c:pt idx="4374">
                  <c:v>0.69799999999999995</c:v>
                </c:pt>
                <c:pt idx="4375">
                  <c:v>0.74199999999999999</c:v>
                </c:pt>
                <c:pt idx="4376">
                  <c:v>0.35499999999999998</c:v>
                </c:pt>
                <c:pt idx="4377">
                  <c:v>0.65800000000000003</c:v>
                </c:pt>
                <c:pt idx="4378">
                  <c:v>0.52200000000000002</c:v>
                </c:pt>
                <c:pt idx="4379">
                  <c:v>0.63700000000000001</c:v>
                </c:pt>
                <c:pt idx="4380">
                  <c:v>0.69299999999999995</c:v>
                </c:pt>
                <c:pt idx="4381">
                  <c:v>0.63600000000000001</c:v>
                </c:pt>
                <c:pt idx="4382">
                  <c:v>0.69799999999999995</c:v>
                </c:pt>
                <c:pt idx="4383">
                  <c:v>0.52800000000000002</c:v>
                </c:pt>
                <c:pt idx="4384">
                  <c:v>0.73399999999999999</c:v>
                </c:pt>
                <c:pt idx="4385">
                  <c:v>0.52700000000000002</c:v>
                </c:pt>
                <c:pt idx="4386">
                  <c:v>0.63700000000000001</c:v>
                </c:pt>
                <c:pt idx="4387">
                  <c:v>0.49399999999999999</c:v>
                </c:pt>
                <c:pt idx="4388">
                  <c:v>0.55600000000000005</c:v>
                </c:pt>
                <c:pt idx="4389">
                  <c:v>0.68300000000000005</c:v>
                </c:pt>
                <c:pt idx="4390">
                  <c:v>0.42499999999999999</c:v>
                </c:pt>
                <c:pt idx="4391">
                  <c:v>0.48099999999999998</c:v>
                </c:pt>
                <c:pt idx="4392">
                  <c:v>0.59</c:v>
                </c:pt>
                <c:pt idx="4393">
                  <c:v>0.81399999999999995</c:v>
                </c:pt>
                <c:pt idx="4394">
                  <c:v>0.58799999999999997</c:v>
                </c:pt>
                <c:pt idx="4395">
                  <c:v>0.27800000000000002</c:v>
                </c:pt>
                <c:pt idx="4396">
                  <c:v>0.35099999999999998</c:v>
                </c:pt>
                <c:pt idx="4397">
                  <c:v>0.313</c:v>
                </c:pt>
                <c:pt idx="4398">
                  <c:v>0.35699999999999998</c:v>
                </c:pt>
                <c:pt idx="4399">
                  <c:v>0.63700000000000001</c:v>
                </c:pt>
                <c:pt idx="4400">
                  <c:v>0.20399999999999999</c:v>
                </c:pt>
                <c:pt idx="4401">
                  <c:v>0.61799999999999999</c:v>
                </c:pt>
                <c:pt idx="4402">
                  <c:v>0.49299999999999999</c:v>
                </c:pt>
                <c:pt idx="4403">
                  <c:v>0.38700000000000001</c:v>
                </c:pt>
                <c:pt idx="4404">
                  <c:v>0.45200000000000001</c:v>
                </c:pt>
                <c:pt idx="4405">
                  <c:v>0.23300000000000001</c:v>
                </c:pt>
                <c:pt idx="4406">
                  <c:v>0.64100000000000001</c:v>
                </c:pt>
                <c:pt idx="4407">
                  <c:v>0.60799999999999998</c:v>
                </c:pt>
                <c:pt idx="4408">
                  <c:v>0.59299999999999997</c:v>
                </c:pt>
                <c:pt idx="4409">
                  <c:v>0.34699999999999998</c:v>
                </c:pt>
                <c:pt idx="4410">
                  <c:v>0.32900000000000001</c:v>
                </c:pt>
                <c:pt idx="4411">
                  <c:v>0.36299999999999999</c:v>
                </c:pt>
                <c:pt idx="4412">
                  <c:v>0.45100000000000001</c:v>
                </c:pt>
                <c:pt idx="4413">
                  <c:v>0.50900000000000001</c:v>
                </c:pt>
                <c:pt idx="4414">
                  <c:v>0.60399999999999998</c:v>
                </c:pt>
                <c:pt idx="4415">
                  <c:v>0.437</c:v>
                </c:pt>
                <c:pt idx="4416">
                  <c:v>0.33</c:v>
                </c:pt>
                <c:pt idx="4417">
                  <c:v>0.437</c:v>
                </c:pt>
                <c:pt idx="4418">
                  <c:v>0.5</c:v>
                </c:pt>
                <c:pt idx="4419">
                  <c:v>0.55800000000000005</c:v>
                </c:pt>
                <c:pt idx="4420">
                  <c:v>0.63</c:v>
                </c:pt>
                <c:pt idx="4421">
                  <c:v>0.63900000000000001</c:v>
                </c:pt>
                <c:pt idx="4422">
                  <c:v>0.65100000000000002</c:v>
                </c:pt>
                <c:pt idx="4423">
                  <c:v>0.65300000000000002</c:v>
                </c:pt>
                <c:pt idx="4424">
                  <c:v>0.65900000000000003</c:v>
                </c:pt>
                <c:pt idx="4425">
                  <c:v>0.66600000000000004</c:v>
                </c:pt>
                <c:pt idx="4426">
                  <c:v>0.72799999999999998</c:v>
                </c:pt>
                <c:pt idx="4427">
                  <c:v>0.77400000000000002</c:v>
                </c:pt>
                <c:pt idx="4428">
                  <c:v>0.83499999999999996</c:v>
                </c:pt>
                <c:pt idx="4429">
                  <c:v>0.89700000000000002</c:v>
                </c:pt>
                <c:pt idx="4430">
                  <c:v>0.90900000000000003</c:v>
                </c:pt>
                <c:pt idx="4431">
                  <c:v>0.32800000000000001</c:v>
                </c:pt>
                <c:pt idx="4432">
                  <c:v>0.70299999999999996</c:v>
                </c:pt>
                <c:pt idx="4433">
                  <c:v>0.378</c:v>
                </c:pt>
                <c:pt idx="4434">
                  <c:v>0.55700000000000005</c:v>
                </c:pt>
                <c:pt idx="4435">
                  <c:v>0.81499999999999995</c:v>
                </c:pt>
                <c:pt idx="4436">
                  <c:v>0.68400000000000005</c:v>
                </c:pt>
                <c:pt idx="4437">
                  <c:v>0.39</c:v>
                </c:pt>
                <c:pt idx="4438">
                  <c:v>0.64800000000000002</c:v>
                </c:pt>
                <c:pt idx="4439">
                  <c:v>0.63600000000000001</c:v>
                </c:pt>
                <c:pt idx="4440">
                  <c:v>0.52200000000000002</c:v>
                </c:pt>
                <c:pt idx="4441">
                  <c:v>0.495</c:v>
                </c:pt>
                <c:pt idx="4442">
                  <c:v>0.41899999999999998</c:v>
                </c:pt>
                <c:pt idx="4443">
                  <c:v>0.70099999999999996</c:v>
                </c:pt>
                <c:pt idx="4444">
                  <c:v>0.52900000000000003</c:v>
                </c:pt>
                <c:pt idx="4445">
                  <c:v>0.61899999999999999</c:v>
                </c:pt>
                <c:pt idx="4446">
                  <c:v>0.66500000000000004</c:v>
                </c:pt>
                <c:pt idx="4447">
                  <c:v>0.34499999999999997</c:v>
                </c:pt>
                <c:pt idx="4448">
                  <c:v>0.254</c:v>
                </c:pt>
                <c:pt idx="4449">
                  <c:v>0.54</c:v>
                </c:pt>
                <c:pt idx="4450">
                  <c:v>0.47099999999999997</c:v>
                </c:pt>
                <c:pt idx="4451">
                  <c:v>0.51400000000000001</c:v>
                </c:pt>
                <c:pt idx="4452">
                  <c:v>0.52500000000000002</c:v>
                </c:pt>
                <c:pt idx="4453">
                  <c:v>0.60299999999999998</c:v>
                </c:pt>
                <c:pt idx="4454">
                  <c:v>0.38700000000000001</c:v>
                </c:pt>
                <c:pt idx="4455">
                  <c:v>0.28299999999999997</c:v>
                </c:pt>
                <c:pt idx="4456">
                  <c:v>0.28599999999999998</c:v>
                </c:pt>
                <c:pt idx="4457">
                  <c:v>0.28999999999999998</c:v>
                </c:pt>
                <c:pt idx="4458">
                  <c:v>0.23100000000000001</c:v>
                </c:pt>
                <c:pt idx="4459">
                  <c:v>0.46500000000000002</c:v>
                </c:pt>
                <c:pt idx="4460">
                  <c:v>0.67500000000000004</c:v>
                </c:pt>
                <c:pt idx="4461">
                  <c:v>0.65900000000000003</c:v>
                </c:pt>
                <c:pt idx="4462">
                  <c:v>0.67500000000000004</c:v>
                </c:pt>
                <c:pt idx="4463">
                  <c:v>0.80300000000000005</c:v>
                </c:pt>
                <c:pt idx="4464">
                  <c:v>0.81799999999999995</c:v>
                </c:pt>
                <c:pt idx="4465">
                  <c:v>0.50600000000000001</c:v>
                </c:pt>
                <c:pt idx="4466">
                  <c:v>0.52700000000000002</c:v>
                </c:pt>
                <c:pt idx="4467">
                  <c:v>0.57599999999999996</c:v>
                </c:pt>
                <c:pt idx="4468">
                  <c:v>0.69499999999999995</c:v>
                </c:pt>
                <c:pt idx="4469">
                  <c:v>0.4</c:v>
                </c:pt>
                <c:pt idx="4470">
                  <c:v>0.86899999999999999</c:v>
                </c:pt>
                <c:pt idx="4471">
                  <c:v>0.48199999999999998</c:v>
                </c:pt>
                <c:pt idx="4472">
                  <c:v>0.51300000000000001</c:v>
                </c:pt>
                <c:pt idx="4473">
                  <c:v>0.56000000000000005</c:v>
                </c:pt>
                <c:pt idx="4474">
                  <c:v>0.64200000000000002</c:v>
                </c:pt>
                <c:pt idx="4475">
                  <c:v>0.72499999999999998</c:v>
                </c:pt>
                <c:pt idx="4476">
                  <c:v>0.76100000000000001</c:v>
                </c:pt>
                <c:pt idx="4477">
                  <c:v>0.873</c:v>
                </c:pt>
                <c:pt idx="4478">
                  <c:v>0.69599999999999995</c:v>
                </c:pt>
                <c:pt idx="4479">
                  <c:v>0.41699999999999998</c:v>
                </c:pt>
                <c:pt idx="4480">
                  <c:v>0.442</c:v>
                </c:pt>
                <c:pt idx="4481">
                  <c:v>0.22600000000000001</c:v>
                </c:pt>
                <c:pt idx="4482">
                  <c:v>0.433</c:v>
                </c:pt>
                <c:pt idx="4483">
                  <c:v>0.48199999999999998</c:v>
                </c:pt>
                <c:pt idx="4484">
                  <c:v>0.51800000000000002</c:v>
                </c:pt>
                <c:pt idx="4485">
                  <c:v>0.19900000000000001</c:v>
                </c:pt>
                <c:pt idx="4486">
                  <c:v>0.57499999999999996</c:v>
                </c:pt>
                <c:pt idx="4487">
                  <c:v>0.77</c:v>
                </c:pt>
                <c:pt idx="4488">
                  <c:v>0.433</c:v>
                </c:pt>
                <c:pt idx="4489">
                  <c:v>0.46500000000000002</c:v>
                </c:pt>
                <c:pt idx="4490">
                  <c:v>0.47399999999999998</c:v>
                </c:pt>
                <c:pt idx="4491">
                  <c:v>0.879</c:v>
                </c:pt>
                <c:pt idx="4492">
                  <c:v>0.41799999999999998</c:v>
                </c:pt>
                <c:pt idx="4493">
                  <c:v>0.72799999999999998</c:v>
                </c:pt>
                <c:pt idx="4494">
                  <c:v>0.90500000000000003</c:v>
                </c:pt>
                <c:pt idx="4495">
                  <c:v>0.68200000000000005</c:v>
                </c:pt>
                <c:pt idx="4496">
                  <c:v>0.85599999999999998</c:v>
                </c:pt>
                <c:pt idx="4497">
                  <c:v>0.217</c:v>
                </c:pt>
                <c:pt idx="4498">
                  <c:v>0.32900000000000001</c:v>
                </c:pt>
                <c:pt idx="4499">
                  <c:v>0.184</c:v>
                </c:pt>
                <c:pt idx="4500">
                  <c:v>0.45100000000000001</c:v>
                </c:pt>
                <c:pt idx="4501">
                  <c:v>0.57599999999999996</c:v>
                </c:pt>
                <c:pt idx="4502">
                  <c:v>0.50900000000000001</c:v>
                </c:pt>
                <c:pt idx="4503">
                  <c:v>0.438</c:v>
                </c:pt>
                <c:pt idx="4504">
                  <c:v>0.621</c:v>
                </c:pt>
                <c:pt idx="4505">
                  <c:v>0.626</c:v>
                </c:pt>
                <c:pt idx="4506">
                  <c:v>0.68</c:v>
                </c:pt>
                <c:pt idx="4507">
                  <c:v>0.53700000000000003</c:v>
                </c:pt>
                <c:pt idx="4508">
                  <c:v>0.161</c:v>
                </c:pt>
                <c:pt idx="4509">
                  <c:v>0.41799999999999998</c:v>
                </c:pt>
                <c:pt idx="4510">
                  <c:v>0.41699999999999998</c:v>
                </c:pt>
                <c:pt idx="4511">
                  <c:v>0.60299999999999998</c:v>
                </c:pt>
                <c:pt idx="4512">
                  <c:v>0.76900000000000002</c:v>
                </c:pt>
                <c:pt idx="4513">
                  <c:v>0.83599999999999997</c:v>
                </c:pt>
                <c:pt idx="4514">
                  <c:v>0.86399999999999999</c:v>
                </c:pt>
                <c:pt idx="4515">
                  <c:v>0.69899999999999995</c:v>
                </c:pt>
                <c:pt idx="4516">
                  <c:v>0.55300000000000005</c:v>
                </c:pt>
                <c:pt idx="4517">
                  <c:v>0.69599999999999995</c:v>
                </c:pt>
                <c:pt idx="4518">
                  <c:v>0.33700000000000002</c:v>
                </c:pt>
                <c:pt idx="4519">
                  <c:v>0.57199999999999995</c:v>
                </c:pt>
                <c:pt idx="4520">
                  <c:v>0.89600000000000002</c:v>
                </c:pt>
                <c:pt idx="4521">
                  <c:v>0.52100000000000002</c:v>
                </c:pt>
                <c:pt idx="4522">
                  <c:v>0.36199999999999999</c:v>
                </c:pt>
                <c:pt idx="4523">
                  <c:v>0.42699999999999999</c:v>
                </c:pt>
                <c:pt idx="4524">
                  <c:v>0.44900000000000001</c:v>
                </c:pt>
                <c:pt idx="4525">
                  <c:v>0.61099999999999999</c:v>
                </c:pt>
                <c:pt idx="4526">
                  <c:v>0.66</c:v>
                </c:pt>
                <c:pt idx="4527">
                  <c:v>0.748</c:v>
                </c:pt>
                <c:pt idx="4528">
                  <c:v>0.84799999999999998</c:v>
                </c:pt>
                <c:pt idx="4529">
                  <c:v>0.41</c:v>
                </c:pt>
                <c:pt idx="4530">
                  <c:v>0.751</c:v>
                </c:pt>
                <c:pt idx="4531">
                  <c:v>0.52200000000000002</c:v>
                </c:pt>
                <c:pt idx="4532">
                  <c:v>0.34499999999999997</c:v>
                </c:pt>
                <c:pt idx="4533">
                  <c:v>0.39500000000000002</c:v>
                </c:pt>
                <c:pt idx="4534">
                  <c:v>0.53500000000000003</c:v>
                </c:pt>
                <c:pt idx="4535">
                  <c:v>0.35299999999999998</c:v>
                </c:pt>
                <c:pt idx="4536">
                  <c:v>0.45400000000000001</c:v>
                </c:pt>
                <c:pt idx="4537">
                  <c:v>0.47</c:v>
                </c:pt>
                <c:pt idx="4538">
                  <c:v>0.47899999999999998</c:v>
                </c:pt>
                <c:pt idx="4539">
                  <c:v>0.34300000000000003</c:v>
                </c:pt>
                <c:pt idx="4540">
                  <c:v>0.58899999999999997</c:v>
                </c:pt>
                <c:pt idx="4541">
                  <c:v>0.65300000000000002</c:v>
                </c:pt>
                <c:pt idx="4542">
                  <c:v>0.72199999999999998</c:v>
                </c:pt>
                <c:pt idx="4543">
                  <c:v>0.88200000000000001</c:v>
                </c:pt>
                <c:pt idx="4544">
                  <c:v>0.91900000000000004</c:v>
                </c:pt>
                <c:pt idx="4545">
                  <c:v>0.41499999999999998</c:v>
                </c:pt>
                <c:pt idx="4546">
                  <c:v>0.52900000000000003</c:v>
                </c:pt>
                <c:pt idx="4547">
                  <c:v>0.68100000000000005</c:v>
                </c:pt>
                <c:pt idx="4548">
                  <c:v>0.52300000000000002</c:v>
                </c:pt>
                <c:pt idx="4549">
                  <c:v>0.58399999999999996</c:v>
                </c:pt>
                <c:pt idx="4550">
                  <c:v>0.33800000000000002</c:v>
                </c:pt>
                <c:pt idx="4551">
                  <c:v>0.79900000000000004</c:v>
                </c:pt>
                <c:pt idx="4552">
                  <c:v>0.35599999999999998</c:v>
                </c:pt>
                <c:pt idx="4553">
                  <c:v>0.50600000000000001</c:v>
                </c:pt>
                <c:pt idx="4554">
                  <c:v>0.49199999999999999</c:v>
                </c:pt>
                <c:pt idx="4555">
                  <c:v>0.58699999999999997</c:v>
                </c:pt>
                <c:pt idx="4556">
                  <c:v>0.35799999999999998</c:v>
                </c:pt>
                <c:pt idx="4557">
                  <c:v>0.59599999999999997</c:v>
                </c:pt>
                <c:pt idx="4558">
                  <c:v>0.74399999999999999</c:v>
                </c:pt>
                <c:pt idx="4559">
                  <c:v>0.89500000000000002</c:v>
                </c:pt>
                <c:pt idx="4560">
                  <c:v>0.505</c:v>
                </c:pt>
                <c:pt idx="4561">
                  <c:v>0.28000000000000003</c:v>
                </c:pt>
                <c:pt idx="4562">
                  <c:v>0.59899999999999998</c:v>
                </c:pt>
                <c:pt idx="4563">
                  <c:v>0.86899999999999999</c:v>
                </c:pt>
                <c:pt idx="4564">
                  <c:v>0.30299999999999999</c:v>
                </c:pt>
                <c:pt idx="4565">
                  <c:v>0.57699999999999996</c:v>
                </c:pt>
                <c:pt idx="4566">
                  <c:v>0.48499999999999999</c:v>
                </c:pt>
                <c:pt idx="4567">
                  <c:v>0.64</c:v>
                </c:pt>
                <c:pt idx="4568">
                  <c:v>0.89300000000000002</c:v>
                </c:pt>
                <c:pt idx="4569">
                  <c:v>0.871</c:v>
                </c:pt>
                <c:pt idx="4570">
                  <c:v>0.40400000000000003</c:v>
                </c:pt>
                <c:pt idx="4571">
                  <c:v>0.13700000000000001</c:v>
                </c:pt>
                <c:pt idx="4572">
                  <c:v>0.84</c:v>
                </c:pt>
                <c:pt idx="4573">
                  <c:v>0.52200000000000002</c:v>
                </c:pt>
                <c:pt idx="4574">
                  <c:v>0.72199999999999998</c:v>
                </c:pt>
                <c:pt idx="4575">
                  <c:v>0.45300000000000001</c:v>
                </c:pt>
                <c:pt idx="4576">
                  <c:v>0.79100000000000004</c:v>
                </c:pt>
                <c:pt idx="4577">
                  <c:v>0.378</c:v>
                </c:pt>
                <c:pt idx="4578">
                  <c:v>0.54900000000000004</c:v>
                </c:pt>
                <c:pt idx="4579">
                  <c:v>0.69699999999999995</c:v>
                </c:pt>
                <c:pt idx="4580">
                  <c:v>0.33900000000000002</c:v>
                </c:pt>
                <c:pt idx="4581">
                  <c:v>0.88300000000000001</c:v>
                </c:pt>
                <c:pt idx="4582">
                  <c:v>0.32300000000000001</c:v>
                </c:pt>
                <c:pt idx="4583">
                  <c:v>0.48299999999999998</c:v>
                </c:pt>
                <c:pt idx="4584">
                  <c:v>0.36699999999999999</c:v>
                </c:pt>
                <c:pt idx="4585">
                  <c:v>0.505</c:v>
                </c:pt>
                <c:pt idx="4586">
                  <c:v>0.53500000000000003</c:v>
                </c:pt>
                <c:pt idx="4587">
                  <c:v>0.63300000000000001</c:v>
                </c:pt>
                <c:pt idx="4588">
                  <c:v>0.63600000000000001</c:v>
                </c:pt>
                <c:pt idx="4589">
                  <c:v>0.68500000000000005</c:v>
                </c:pt>
                <c:pt idx="4590">
                  <c:v>0.71499999999999997</c:v>
                </c:pt>
                <c:pt idx="4591">
                  <c:v>0.81100000000000005</c:v>
                </c:pt>
                <c:pt idx="4592">
                  <c:v>0.91800000000000004</c:v>
                </c:pt>
                <c:pt idx="4593">
                  <c:v>0.44600000000000001</c:v>
                </c:pt>
                <c:pt idx="4594">
                  <c:v>0.28599999999999998</c:v>
                </c:pt>
                <c:pt idx="4595">
                  <c:v>0.29499999999999998</c:v>
                </c:pt>
                <c:pt idx="4596">
                  <c:v>0.41799999999999998</c:v>
                </c:pt>
                <c:pt idx="4597">
                  <c:v>0.374</c:v>
                </c:pt>
                <c:pt idx="4598">
                  <c:v>0.54400000000000004</c:v>
                </c:pt>
                <c:pt idx="4599">
                  <c:v>0.442</c:v>
                </c:pt>
                <c:pt idx="4600">
                  <c:v>0.45300000000000001</c:v>
                </c:pt>
                <c:pt idx="4601">
                  <c:v>0.64900000000000002</c:v>
                </c:pt>
                <c:pt idx="4602">
                  <c:v>0.88900000000000001</c:v>
                </c:pt>
                <c:pt idx="4603">
                  <c:v>0.44900000000000001</c:v>
                </c:pt>
                <c:pt idx="4604">
                  <c:v>0.55100000000000005</c:v>
                </c:pt>
                <c:pt idx="4605">
                  <c:v>0.42399999999999999</c:v>
                </c:pt>
                <c:pt idx="4606">
                  <c:v>0.59599999999999997</c:v>
                </c:pt>
                <c:pt idx="4607">
                  <c:v>0.59699999999999998</c:v>
                </c:pt>
                <c:pt idx="4608">
                  <c:v>0.22800000000000001</c:v>
                </c:pt>
                <c:pt idx="4609">
                  <c:v>0.89</c:v>
                </c:pt>
                <c:pt idx="4610">
                  <c:v>0.4</c:v>
                </c:pt>
                <c:pt idx="4611">
                  <c:v>0.55500000000000005</c:v>
                </c:pt>
                <c:pt idx="4612">
                  <c:v>0.58799999999999997</c:v>
                </c:pt>
                <c:pt idx="4613">
                  <c:v>0.57899999999999996</c:v>
                </c:pt>
                <c:pt idx="4614">
                  <c:v>0.379</c:v>
                </c:pt>
                <c:pt idx="4615">
                  <c:v>0.51600000000000001</c:v>
                </c:pt>
                <c:pt idx="4616">
                  <c:v>0.70099999999999996</c:v>
                </c:pt>
                <c:pt idx="4617">
                  <c:v>0.75800000000000001</c:v>
                </c:pt>
                <c:pt idx="4618">
                  <c:v>0.36399999999999999</c:v>
                </c:pt>
                <c:pt idx="4619">
                  <c:v>0.23100000000000001</c:v>
                </c:pt>
                <c:pt idx="4620">
                  <c:v>0.71799999999999997</c:v>
                </c:pt>
                <c:pt idx="4621">
                  <c:v>0.63600000000000001</c:v>
                </c:pt>
                <c:pt idx="4622">
                  <c:v>0.56899999999999995</c:v>
                </c:pt>
                <c:pt idx="4623">
                  <c:v>0.54900000000000004</c:v>
                </c:pt>
                <c:pt idx="4624">
                  <c:v>0.67900000000000005</c:v>
                </c:pt>
                <c:pt idx="4625">
                  <c:v>0.42899999999999999</c:v>
                </c:pt>
                <c:pt idx="4626">
                  <c:v>0.44900000000000001</c:v>
                </c:pt>
                <c:pt idx="4627">
                  <c:v>0.33500000000000002</c:v>
                </c:pt>
                <c:pt idx="4628">
                  <c:v>0.37</c:v>
                </c:pt>
                <c:pt idx="4629">
                  <c:v>0.84499999999999997</c:v>
                </c:pt>
                <c:pt idx="4630">
                  <c:v>0.22500000000000001</c:v>
                </c:pt>
                <c:pt idx="4631">
                  <c:v>0.79800000000000004</c:v>
                </c:pt>
                <c:pt idx="4632">
                  <c:v>0.58699999999999997</c:v>
                </c:pt>
                <c:pt idx="4633">
                  <c:v>0.48799999999999999</c:v>
                </c:pt>
                <c:pt idx="4634">
                  <c:v>0.64</c:v>
                </c:pt>
                <c:pt idx="4635">
                  <c:v>0.158</c:v>
                </c:pt>
                <c:pt idx="4636">
                  <c:v>0.186</c:v>
                </c:pt>
                <c:pt idx="4637">
                  <c:v>0.25</c:v>
                </c:pt>
                <c:pt idx="4638">
                  <c:v>0.73699999999999999</c:v>
                </c:pt>
                <c:pt idx="4639">
                  <c:v>0.63100000000000001</c:v>
                </c:pt>
                <c:pt idx="4640">
                  <c:v>0.77800000000000002</c:v>
                </c:pt>
                <c:pt idx="4641">
                  <c:v>0.55400000000000005</c:v>
                </c:pt>
                <c:pt idx="4642">
                  <c:v>0.35799999999999998</c:v>
                </c:pt>
                <c:pt idx="4643">
                  <c:v>0.45700000000000002</c:v>
                </c:pt>
                <c:pt idx="4644">
                  <c:v>0.63500000000000001</c:v>
                </c:pt>
                <c:pt idx="4645">
                  <c:v>0.41299999999999998</c:v>
                </c:pt>
                <c:pt idx="4646">
                  <c:v>0.52200000000000002</c:v>
                </c:pt>
                <c:pt idx="4647">
                  <c:v>0.61899999999999999</c:v>
                </c:pt>
                <c:pt idx="4648">
                  <c:v>0.66</c:v>
                </c:pt>
                <c:pt idx="4649">
                  <c:v>0.747</c:v>
                </c:pt>
                <c:pt idx="4650">
                  <c:v>0.61099999999999999</c:v>
                </c:pt>
                <c:pt idx="4651">
                  <c:v>0.43099999999999999</c:v>
                </c:pt>
                <c:pt idx="4652">
                  <c:v>0.55000000000000004</c:v>
                </c:pt>
                <c:pt idx="4653">
                  <c:v>0.39600000000000002</c:v>
                </c:pt>
                <c:pt idx="4654">
                  <c:v>0.46899999999999997</c:v>
                </c:pt>
                <c:pt idx="4655">
                  <c:v>0.64400000000000002</c:v>
                </c:pt>
                <c:pt idx="4656">
                  <c:v>0.35899999999999999</c:v>
                </c:pt>
                <c:pt idx="4657">
                  <c:v>0.53100000000000003</c:v>
                </c:pt>
                <c:pt idx="4658">
                  <c:v>0.75700000000000001</c:v>
                </c:pt>
                <c:pt idx="4659">
                  <c:v>0.82499999999999996</c:v>
                </c:pt>
                <c:pt idx="4660">
                  <c:v>0.68500000000000005</c:v>
                </c:pt>
                <c:pt idx="4661">
                  <c:v>0.376</c:v>
                </c:pt>
                <c:pt idx="4662">
                  <c:v>0.45800000000000002</c:v>
                </c:pt>
                <c:pt idx="4663">
                  <c:v>0.23200000000000001</c:v>
                </c:pt>
                <c:pt idx="4664">
                  <c:v>0.85299999999999998</c:v>
                </c:pt>
                <c:pt idx="4665">
                  <c:v>0.42499999999999999</c:v>
                </c:pt>
                <c:pt idx="4666">
                  <c:v>0.80100000000000005</c:v>
                </c:pt>
                <c:pt idx="4667">
                  <c:v>0.42899999999999999</c:v>
                </c:pt>
                <c:pt idx="4668">
                  <c:v>0.46899999999999997</c:v>
                </c:pt>
                <c:pt idx="4669">
                  <c:v>0.91100000000000003</c:v>
                </c:pt>
                <c:pt idx="4670">
                  <c:v>0.26700000000000002</c:v>
                </c:pt>
                <c:pt idx="4671">
                  <c:v>0.64500000000000002</c:v>
                </c:pt>
                <c:pt idx="4672">
                  <c:v>0.69899999999999995</c:v>
                </c:pt>
                <c:pt idx="4673">
                  <c:v>0.34899999999999998</c:v>
                </c:pt>
                <c:pt idx="4674">
                  <c:v>0.42099999999999999</c:v>
                </c:pt>
                <c:pt idx="4675">
                  <c:v>0.61</c:v>
                </c:pt>
                <c:pt idx="4676">
                  <c:v>0.56200000000000006</c:v>
                </c:pt>
                <c:pt idx="4677">
                  <c:v>0.69499999999999995</c:v>
                </c:pt>
                <c:pt idx="4678">
                  <c:v>0.77300000000000002</c:v>
                </c:pt>
                <c:pt idx="4679">
                  <c:v>0.79</c:v>
                </c:pt>
                <c:pt idx="4680">
                  <c:v>0.84</c:v>
                </c:pt>
                <c:pt idx="4681">
                  <c:v>0.874</c:v>
                </c:pt>
                <c:pt idx="4682">
                  <c:v>0.88800000000000001</c:v>
                </c:pt>
                <c:pt idx="4683">
                  <c:v>0.93400000000000005</c:v>
                </c:pt>
                <c:pt idx="4684">
                  <c:v>0.998</c:v>
                </c:pt>
                <c:pt idx="4685">
                  <c:v>0.48899999999999999</c:v>
                </c:pt>
                <c:pt idx="4686">
                  <c:v>0.48399999999999999</c:v>
                </c:pt>
                <c:pt idx="4687">
                  <c:v>0.249</c:v>
                </c:pt>
                <c:pt idx="4688">
                  <c:v>0.73799999999999999</c:v>
                </c:pt>
                <c:pt idx="4689">
                  <c:v>0.54200000000000004</c:v>
                </c:pt>
                <c:pt idx="4690">
                  <c:v>0.77100000000000002</c:v>
                </c:pt>
                <c:pt idx="4691">
                  <c:v>0.36499999999999999</c:v>
                </c:pt>
                <c:pt idx="4692">
                  <c:v>0.5</c:v>
                </c:pt>
                <c:pt idx="4693">
                  <c:v>0.53</c:v>
                </c:pt>
                <c:pt idx="4694">
                  <c:v>0.40699999999999997</c:v>
                </c:pt>
                <c:pt idx="4695">
                  <c:v>0.19600000000000001</c:v>
                </c:pt>
                <c:pt idx="4696">
                  <c:v>0.49199999999999999</c:v>
                </c:pt>
                <c:pt idx="4697">
                  <c:v>0.39500000000000002</c:v>
                </c:pt>
                <c:pt idx="4698">
                  <c:v>0.45300000000000001</c:v>
                </c:pt>
                <c:pt idx="4699">
                  <c:v>0.76400000000000001</c:v>
                </c:pt>
                <c:pt idx="4700">
                  <c:v>0.72299999999999998</c:v>
                </c:pt>
                <c:pt idx="4701">
                  <c:v>0.10199999999999999</c:v>
                </c:pt>
                <c:pt idx="4702">
                  <c:v>0.57799999999999996</c:v>
                </c:pt>
                <c:pt idx="4703">
                  <c:v>0.56799999999999995</c:v>
                </c:pt>
                <c:pt idx="4704">
                  <c:v>0.36099999999999999</c:v>
                </c:pt>
                <c:pt idx="4705">
                  <c:v>0.77400000000000002</c:v>
                </c:pt>
                <c:pt idx="4706">
                  <c:v>0.63400000000000001</c:v>
                </c:pt>
                <c:pt idx="4707">
                  <c:v>0.76900000000000002</c:v>
                </c:pt>
                <c:pt idx="4708">
                  <c:v>0.308</c:v>
                </c:pt>
                <c:pt idx="4709">
                  <c:v>0.19500000000000001</c:v>
                </c:pt>
                <c:pt idx="4710">
                  <c:v>0.29599999999999999</c:v>
                </c:pt>
                <c:pt idx="4711">
                  <c:v>0.59299999999999997</c:v>
                </c:pt>
                <c:pt idx="4712">
                  <c:v>0.91200000000000003</c:v>
                </c:pt>
                <c:pt idx="4713">
                  <c:v>0.182</c:v>
                </c:pt>
                <c:pt idx="4714">
                  <c:v>0.64</c:v>
                </c:pt>
                <c:pt idx="4715">
                  <c:v>0.35099999999999998</c:v>
                </c:pt>
                <c:pt idx="4716">
                  <c:v>0.81599999999999995</c:v>
                </c:pt>
                <c:pt idx="4717">
                  <c:v>0.374</c:v>
                </c:pt>
                <c:pt idx="4718">
                  <c:v>0.65500000000000003</c:v>
                </c:pt>
                <c:pt idx="4719">
                  <c:v>0.85699999999999998</c:v>
                </c:pt>
                <c:pt idx="4720">
                  <c:v>0.45500000000000002</c:v>
                </c:pt>
                <c:pt idx="4721">
                  <c:v>0.48899999999999999</c:v>
                </c:pt>
                <c:pt idx="4722">
                  <c:v>0.41099999999999998</c:v>
                </c:pt>
                <c:pt idx="4723">
                  <c:v>0.73299999999999998</c:v>
                </c:pt>
                <c:pt idx="4724">
                  <c:v>0.748</c:v>
                </c:pt>
                <c:pt idx="4725">
                  <c:v>0.379</c:v>
                </c:pt>
                <c:pt idx="4726">
                  <c:v>0.497</c:v>
                </c:pt>
                <c:pt idx="4727">
                  <c:v>0.503</c:v>
                </c:pt>
                <c:pt idx="4728">
                  <c:v>0.77</c:v>
                </c:pt>
                <c:pt idx="4729">
                  <c:v>0.52</c:v>
                </c:pt>
                <c:pt idx="4730">
                  <c:v>0.58399999999999996</c:v>
                </c:pt>
                <c:pt idx="4731">
                  <c:v>0.59899999999999998</c:v>
                </c:pt>
                <c:pt idx="4732">
                  <c:v>0.31900000000000001</c:v>
                </c:pt>
                <c:pt idx="4733">
                  <c:v>0.47799999999999998</c:v>
                </c:pt>
                <c:pt idx="4734">
                  <c:v>0.54900000000000004</c:v>
                </c:pt>
                <c:pt idx="4735">
                  <c:v>0.72</c:v>
                </c:pt>
                <c:pt idx="4736">
                  <c:v>0.87</c:v>
                </c:pt>
                <c:pt idx="4737">
                  <c:v>0.63400000000000001</c:v>
                </c:pt>
                <c:pt idx="4738">
                  <c:v>0.67700000000000005</c:v>
                </c:pt>
                <c:pt idx="4739">
                  <c:v>0.78900000000000003</c:v>
                </c:pt>
                <c:pt idx="4740">
                  <c:v>0.69099999999999995</c:v>
                </c:pt>
                <c:pt idx="4741">
                  <c:v>0.81100000000000005</c:v>
                </c:pt>
                <c:pt idx="4742">
                  <c:v>0.442</c:v>
                </c:pt>
                <c:pt idx="4743">
                  <c:v>0.54100000000000004</c:v>
                </c:pt>
                <c:pt idx="4744">
                  <c:v>0.71399999999999997</c:v>
                </c:pt>
                <c:pt idx="4745">
                  <c:v>0.59</c:v>
                </c:pt>
                <c:pt idx="4746">
                  <c:v>0.80400000000000005</c:v>
                </c:pt>
                <c:pt idx="4747">
                  <c:v>0.41699999999999998</c:v>
                </c:pt>
                <c:pt idx="4748">
                  <c:v>0.38300000000000001</c:v>
                </c:pt>
                <c:pt idx="4749">
                  <c:v>0.27900000000000003</c:v>
                </c:pt>
                <c:pt idx="4750">
                  <c:v>0.65200000000000002</c:v>
                </c:pt>
                <c:pt idx="4751">
                  <c:v>0.61099999999999999</c:v>
                </c:pt>
                <c:pt idx="4752">
                  <c:v>0.57099999999999995</c:v>
                </c:pt>
                <c:pt idx="4753">
                  <c:v>0.38</c:v>
                </c:pt>
                <c:pt idx="4754">
                  <c:v>0.53500000000000003</c:v>
                </c:pt>
                <c:pt idx="4755">
                  <c:v>0.57899999999999996</c:v>
                </c:pt>
                <c:pt idx="4756">
                  <c:v>0.66400000000000003</c:v>
                </c:pt>
                <c:pt idx="4757">
                  <c:v>0.84699999999999998</c:v>
                </c:pt>
                <c:pt idx="4758">
                  <c:v>0.42099999999999999</c:v>
                </c:pt>
                <c:pt idx="4759">
                  <c:v>0.433</c:v>
                </c:pt>
                <c:pt idx="4760">
                  <c:v>0.39900000000000002</c:v>
                </c:pt>
                <c:pt idx="4761">
                  <c:v>0.47899999999999998</c:v>
                </c:pt>
                <c:pt idx="4762">
                  <c:v>0.11600000000000001</c:v>
                </c:pt>
                <c:pt idx="4763">
                  <c:v>0.42099999999999999</c:v>
                </c:pt>
                <c:pt idx="4764">
                  <c:v>0.64500000000000002</c:v>
                </c:pt>
                <c:pt idx="4765">
                  <c:v>0.46400000000000002</c:v>
                </c:pt>
                <c:pt idx="4766">
                  <c:v>0.46500000000000002</c:v>
                </c:pt>
                <c:pt idx="4767">
                  <c:v>0.57099999999999995</c:v>
                </c:pt>
                <c:pt idx="4768">
                  <c:v>0.60399999999999998</c:v>
                </c:pt>
                <c:pt idx="4769">
                  <c:v>0.75600000000000001</c:v>
                </c:pt>
                <c:pt idx="4770">
                  <c:v>0.41499999999999998</c:v>
                </c:pt>
                <c:pt idx="4771">
                  <c:v>0.622</c:v>
                </c:pt>
                <c:pt idx="4772">
                  <c:v>0.17799999999999999</c:v>
                </c:pt>
                <c:pt idx="4773">
                  <c:v>0.217</c:v>
                </c:pt>
                <c:pt idx="4774">
                  <c:v>0.23400000000000001</c:v>
                </c:pt>
                <c:pt idx="4775">
                  <c:v>6.9000000000000006E-2</c:v>
                </c:pt>
                <c:pt idx="4776">
                  <c:v>0.42799999999999999</c:v>
                </c:pt>
                <c:pt idx="4777">
                  <c:v>0.63400000000000001</c:v>
                </c:pt>
                <c:pt idx="4778">
                  <c:v>0.69299999999999995</c:v>
                </c:pt>
                <c:pt idx="4779">
                  <c:v>0.73499999999999999</c:v>
                </c:pt>
                <c:pt idx="4780">
                  <c:v>0.503</c:v>
                </c:pt>
                <c:pt idx="4781">
                  <c:v>0.191</c:v>
                </c:pt>
                <c:pt idx="4782">
                  <c:v>0.79900000000000004</c:v>
                </c:pt>
                <c:pt idx="4783">
                  <c:v>0.25700000000000001</c:v>
                </c:pt>
                <c:pt idx="4784">
                  <c:v>0.5</c:v>
                </c:pt>
                <c:pt idx="4785">
                  <c:v>0.61699999999999999</c:v>
                </c:pt>
                <c:pt idx="4786">
                  <c:v>0.47599999999999998</c:v>
                </c:pt>
                <c:pt idx="4787">
                  <c:v>0.61299999999999999</c:v>
                </c:pt>
                <c:pt idx="4788">
                  <c:v>0.38100000000000001</c:v>
                </c:pt>
                <c:pt idx="4789">
                  <c:v>0.34499999999999997</c:v>
                </c:pt>
                <c:pt idx="4790">
                  <c:v>0.32400000000000001</c:v>
                </c:pt>
                <c:pt idx="4791">
                  <c:v>0.70899999999999996</c:v>
                </c:pt>
                <c:pt idx="4792">
                  <c:v>0.76800000000000002</c:v>
                </c:pt>
                <c:pt idx="4793">
                  <c:v>0.316</c:v>
                </c:pt>
                <c:pt idx="4794">
                  <c:v>0.61699999999999999</c:v>
                </c:pt>
                <c:pt idx="4795">
                  <c:v>0.627</c:v>
                </c:pt>
                <c:pt idx="4796">
                  <c:v>0.27200000000000002</c:v>
                </c:pt>
                <c:pt idx="4797">
                  <c:v>0.628</c:v>
                </c:pt>
                <c:pt idx="4798">
                  <c:v>0.38500000000000001</c:v>
                </c:pt>
                <c:pt idx="4799">
                  <c:v>0.318</c:v>
                </c:pt>
                <c:pt idx="4800">
                  <c:v>0.222</c:v>
                </c:pt>
                <c:pt idx="4801">
                  <c:v>0.53800000000000003</c:v>
                </c:pt>
                <c:pt idx="4802">
                  <c:v>0.78300000000000003</c:v>
                </c:pt>
                <c:pt idx="4803">
                  <c:v>0.90500000000000003</c:v>
                </c:pt>
                <c:pt idx="4804">
                  <c:v>0.378</c:v>
                </c:pt>
                <c:pt idx="4805">
                  <c:v>0.46600000000000003</c:v>
                </c:pt>
                <c:pt idx="4806">
                  <c:v>0.40799999999999997</c:v>
                </c:pt>
                <c:pt idx="4807">
                  <c:v>0.311</c:v>
                </c:pt>
                <c:pt idx="4808">
                  <c:v>0.41499999999999998</c:v>
                </c:pt>
                <c:pt idx="4809">
                  <c:v>0.623</c:v>
                </c:pt>
                <c:pt idx="4810">
                  <c:v>0.33200000000000002</c:v>
                </c:pt>
                <c:pt idx="4811">
                  <c:v>0.52900000000000003</c:v>
                </c:pt>
                <c:pt idx="4812">
                  <c:v>0.74099999999999999</c:v>
                </c:pt>
                <c:pt idx="4813">
                  <c:v>0.40799999999999997</c:v>
                </c:pt>
                <c:pt idx="4814">
                  <c:v>0.379</c:v>
                </c:pt>
                <c:pt idx="4815">
                  <c:v>0.442</c:v>
                </c:pt>
                <c:pt idx="4816">
                  <c:v>0.70099999999999996</c:v>
                </c:pt>
                <c:pt idx="4817">
                  <c:v>0.78100000000000003</c:v>
                </c:pt>
                <c:pt idx="4818">
                  <c:v>0.41399999999999998</c:v>
                </c:pt>
                <c:pt idx="4819">
                  <c:v>0.496</c:v>
                </c:pt>
                <c:pt idx="4820">
                  <c:v>0.44</c:v>
                </c:pt>
                <c:pt idx="4821">
                  <c:v>0.56100000000000005</c:v>
                </c:pt>
                <c:pt idx="4822">
                  <c:v>0.32300000000000001</c:v>
                </c:pt>
                <c:pt idx="4823">
                  <c:v>0.14599999999999999</c:v>
                </c:pt>
                <c:pt idx="4824">
                  <c:v>0.59899999999999998</c:v>
                </c:pt>
                <c:pt idx="4825">
                  <c:v>0.67400000000000004</c:v>
                </c:pt>
                <c:pt idx="4826">
                  <c:v>0.72499999999999998</c:v>
                </c:pt>
                <c:pt idx="4827">
                  <c:v>0.38700000000000001</c:v>
                </c:pt>
                <c:pt idx="4828">
                  <c:v>0.27</c:v>
                </c:pt>
                <c:pt idx="4829">
                  <c:v>0.46700000000000003</c:v>
                </c:pt>
                <c:pt idx="4830">
                  <c:v>0.44500000000000001</c:v>
                </c:pt>
                <c:pt idx="4831">
                  <c:v>0.25700000000000001</c:v>
                </c:pt>
                <c:pt idx="4832">
                  <c:v>0.872</c:v>
                </c:pt>
                <c:pt idx="4833">
                  <c:v>0.49399999999999999</c:v>
                </c:pt>
                <c:pt idx="4834">
                  <c:v>0.80600000000000005</c:v>
                </c:pt>
                <c:pt idx="4835">
                  <c:v>0.65600000000000003</c:v>
                </c:pt>
                <c:pt idx="4836">
                  <c:v>0.86199999999999999</c:v>
                </c:pt>
                <c:pt idx="4837">
                  <c:v>0.502</c:v>
                </c:pt>
                <c:pt idx="4838">
                  <c:v>0.52500000000000002</c:v>
                </c:pt>
                <c:pt idx="4839">
                  <c:v>0.64100000000000001</c:v>
                </c:pt>
                <c:pt idx="4840">
                  <c:v>0.47799999999999998</c:v>
                </c:pt>
                <c:pt idx="4841">
                  <c:v>0.56299999999999994</c:v>
                </c:pt>
                <c:pt idx="4842">
                  <c:v>0.78100000000000003</c:v>
                </c:pt>
                <c:pt idx="4843">
                  <c:v>0.438</c:v>
                </c:pt>
                <c:pt idx="4844">
                  <c:v>0.50800000000000001</c:v>
                </c:pt>
                <c:pt idx="4845">
                  <c:v>0.374</c:v>
                </c:pt>
                <c:pt idx="4846">
                  <c:v>0.45900000000000002</c:v>
                </c:pt>
                <c:pt idx="4847">
                  <c:v>0.42</c:v>
                </c:pt>
                <c:pt idx="4848">
                  <c:v>0.51</c:v>
                </c:pt>
                <c:pt idx="4849">
                  <c:v>0.78600000000000003</c:v>
                </c:pt>
                <c:pt idx="4850">
                  <c:v>0.82899999999999996</c:v>
                </c:pt>
                <c:pt idx="4851">
                  <c:v>0.45700000000000002</c:v>
                </c:pt>
                <c:pt idx="4852">
                  <c:v>0.39900000000000002</c:v>
                </c:pt>
                <c:pt idx="4853">
                  <c:v>0.44800000000000001</c:v>
                </c:pt>
                <c:pt idx="4854">
                  <c:v>0.63600000000000001</c:v>
                </c:pt>
                <c:pt idx="4855">
                  <c:v>0.55600000000000005</c:v>
                </c:pt>
                <c:pt idx="4856">
                  <c:v>0.32500000000000001</c:v>
                </c:pt>
                <c:pt idx="4857">
                  <c:v>0.13800000000000001</c:v>
                </c:pt>
                <c:pt idx="4858">
                  <c:v>0.36499999999999999</c:v>
                </c:pt>
                <c:pt idx="4859">
                  <c:v>0.31900000000000001</c:v>
                </c:pt>
                <c:pt idx="4860">
                  <c:v>0.34899999999999998</c:v>
                </c:pt>
                <c:pt idx="4861">
                  <c:v>0.42099999999999999</c:v>
                </c:pt>
                <c:pt idx="4862">
                  <c:v>0.47</c:v>
                </c:pt>
                <c:pt idx="4863">
                  <c:v>0.46100000000000002</c:v>
                </c:pt>
                <c:pt idx="4864">
                  <c:v>0.51700000000000002</c:v>
                </c:pt>
                <c:pt idx="4865">
                  <c:v>0.53700000000000003</c:v>
                </c:pt>
                <c:pt idx="4866">
                  <c:v>0.89900000000000002</c:v>
                </c:pt>
                <c:pt idx="4867">
                  <c:v>0.68899999999999995</c:v>
                </c:pt>
                <c:pt idx="4868">
                  <c:v>0.51900000000000002</c:v>
                </c:pt>
                <c:pt idx="4869">
                  <c:v>0.60699999999999998</c:v>
                </c:pt>
                <c:pt idx="4870">
                  <c:v>0.48099999999999998</c:v>
                </c:pt>
                <c:pt idx="4871">
                  <c:v>0.50600000000000001</c:v>
                </c:pt>
                <c:pt idx="4872">
                  <c:v>0.82399999999999995</c:v>
                </c:pt>
                <c:pt idx="4873">
                  <c:v>0.51900000000000002</c:v>
                </c:pt>
                <c:pt idx="4874">
                  <c:v>0.68500000000000005</c:v>
                </c:pt>
                <c:pt idx="4875">
                  <c:v>0.84799999999999998</c:v>
                </c:pt>
                <c:pt idx="4876">
                  <c:v>0.53100000000000003</c:v>
                </c:pt>
                <c:pt idx="4877">
                  <c:v>0.67900000000000005</c:v>
                </c:pt>
                <c:pt idx="4878">
                  <c:v>0.49</c:v>
                </c:pt>
                <c:pt idx="4879">
                  <c:v>0.29799999999999999</c:v>
                </c:pt>
                <c:pt idx="4880">
                  <c:v>0.67200000000000004</c:v>
                </c:pt>
                <c:pt idx="4881">
                  <c:v>0.46800000000000003</c:v>
                </c:pt>
                <c:pt idx="4882">
                  <c:v>0.42499999999999999</c:v>
                </c:pt>
                <c:pt idx="4883">
                  <c:v>0.64300000000000002</c:v>
                </c:pt>
                <c:pt idx="4884">
                  <c:v>0.51500000000000001</c:v>
                </c:pt>
                <c:pt idx="4885">
                  <c:v>0.59499999999999997</c:v>
                </c:pt>
                <c:pt idx="4886">
                  <c:v>0.60299999999999998</c:v>
                </c:pt>
                <c:pt idx="4887">
                  <c:v>0.316</c:v>
                </c:pt>
                <c:pt idx="4888">
                  <c:v>0.56499999999999995</c:v>
                </c:pt>
                <c:pt idx="4889">
                  <c:v>0.7</c:v>
                </c:pt>
                <c:pt idx="4890">
                  <c:v>0.36799999999999999</c:v>
                </c:pt>
                <c:pt idx="4891">
                  <c:v>0.38700000000000001</c:v>
                </c:pt>
                <c:pt idx="4892">
                  <c:v>0.247</c:v>
                </c:pt>
                <c:pt idx="4893">
                  <c:v>0.32700000000000001</c:v>
                </c:pt>
                <c:pt idx="4894">
                  <c:v>0.36899999999999999</c:v>
                </c:pt>
                <c:pt idx="4895">
                  <c:v>0.42</c:v>
                </c:pt>
                <c:pt idx="4896">
                  <c:v>0.443</c:v>
                </c:pt>
                <c:pt idx="4897">
                  <c:v>0.46200000000000002</c:v>
                </c:pt>
                <c:pt idx="4898">
                  <c:v>0.5</c:v>
                </c:pt>
                <c:pt idx="4899">
                  <c:v>0.60699999999999998</c:v>
                </c:pt>
                <c:pt idx="4900">
                  <c:v>0.625</c:v>
                </c:pt>
                <c:pt idx="4901">
                  <c:v>0.63200000000000001</c:v>
                </c:pt>
                <c:pt idx="4902">
                  <c:v>0.81</c:v>
                </c:pt>
                <c:pt idx="4903">
                  <c:v>0.90800000000000003</c:v>
                </c:pt>
                <c:pt idx="4904">
                  <c:v>0.95399999999999996</c:v>
                </c:pt>
                <c:pt idx="4905">
                  <c:v>0.46100000000000002</c:v>
                </c:pt>
                <c:pt idx="4906">
                  <c:v>0.19500000000000001</c:v>
                </c:pt>
                <c:pt idx="4907">
                  <c:v>0.501</c:v>
                </c:pt>
                <c:pt idx="4908">
                  <c:v>0.44800000000000001</c:v>
                </c:pt>
                <c:pt idx="4909">
                  <c:v>0.67100000000000004</c:v>
                </c:pt>
                <c:pt idx="4910">
                  <c:v>0.61</c:v>
                </c:pt>
                <c:pt idx="4911">
                  <c:v>0.55800000000000005</c:v>
                </c:pt>
                <c:pt idx="4912">
                  <c:v>0.72</c:v>
                </c:pt>
                <c:pt idx="4913">
                  <c:v>0.44700000000000001</c:v>
                </c:pt>
                <c:pt idx="4914">
                  <c:v>0.81399999999999995</c:v>
                </c:pt>
                <c:pt idx="4915">
                  <c:v>0.36</c:v>
                </c:pt>
                <c:pt idx="4916">
                  <c:v>0.48</c:v>
                </c:pt>
                <c:pt idx="4917">
                  <c:v>0.19600000000000001</c:v>
                </c:pt>
                <c:pt idx="4918">
                  <c:v>0.35099999999999998</c:v>
                </c:pt>
                <c:pt idx="4919">
                  <c:v>0.27400000000000002</c:v>
                </c:pt>
                <c:pt idx="4920">
                  <c:v>0.48299999999999998</c:v>
                </c:pt>
                <c:pt idx="4921">
                  <c:v>0.17</c:v>
                </c:pt>
                <c:pt idx="4922">
                  <c:v>0.626</c:v>
                </c:pt>
                <c:pt idx="4923">
                  <c:v>0.47199999999999998</c:v>
                </c:pt>
                <c:pt idx="4924">
                  <c:v>0.33500000000000002</c:v>
                </c:pt>
                <c:pt idx="4925">
                  <c:v>0.48599999999999999</c:v>
                </c:pt>
                <c:pt idx="4926">
                  <c:v>0.26400000000000001</c:v>
                </c:pt>
                <c:pt idx="4927">
                  <c:v>0.63</c:v>
                </c:pt>
                <c:pt idx="4928">
                  <c:v>0.22600000000000001</c:v>
                </c:pt>
                <c:pt idx="4929">
                  <c:v>0.56200000000000006</c:v>
                </c:pt>
                <c:pt idx="4930">
                  <c:v>0.63700000000000001</c:v>
                </c:pt>
                <c:pt idx="4931">
                  <c:v>0.255</c:v>
                </c:pt>
                <c:pt idx="4932">
                  <c:v>0.442</c:v>
                </c:pt>
                <c:pt idx="4933">
                  <c:v>0.60499999999999998</c:v>
                </c:pt>
                <c:pt idx="4934">
                  <c:v>0.69099999999999995</c:v>
                </c:pt>
                <c:pt idx="4935">
                  <c:v>0.3</c:v>
                </c:pt>
                <c:pt idx="4936">
                  <c:v>0.32800000000000001</c:v>
                </c:pt>
                <c:pt idx="4937">
                  <c:v>0.75900000000000001</c:v>
                </c:pt>
                <c:pt idx="4938">
                  <c:v>0.73199999999999998</c:v>
                </c:pt>
                <c:pt idx="4939">
                  <c:v>0.67100000000000004</c:v>
                </c:pt>
                <c:pt idx="4940">
                  <c:v>0.373</c:v>
                </c:pt>
                <c:pt idx="4941">
                  <c:v>0.39100000000000001</c:v>
                </c:pt>
                <c:pt idx="4942">
                  <c:v>0.42399999999999999</c:v>
                </c:pt>
                <c:pt idx="4943">
                  <c:v>0.64800000000000002</c:v>
                </c:pt>
                <c:pt idx="4944">
                  <c:v>0.80300000000000005</c:v>
                </c:pt>
                <c:pt idx="4945">
                  <c:v>0.29399999999999998</c:v>
                </c:pt>
                <c:pt idx="4946">
                  <c:v>0.67400000000000004</c:v>
                </c:pt>
                <c:pt idx="4947">
                  <c:v>0.71699999999999997</c:v>
                </c:pt>
                <c:pt idx="4948">
                  <c:v>0.33800000000000002</c:v>
                </c:pt>
                <c:pt idx="4949">
                  <c:v>0.35199999999999998</c:v>
                </c:pt>
                <c:pt idx="4950">
                  <c:v>0.58099999999999996</c:v>
                </c:pt>
                <c:pt idx="4951">
                  <c:v>0.21299999999999999</c:v>
                </c:pt>
                <c:pt idx="4952">
                  <c:v>0.77200000000000002</c:v>
                </c:pt>
                <c:pt idx="4953">
                  <c:v>0.41899999999999998</c:v>
                </c:pt>
                <c:pt idx="4954">
                  <c:v>0.58499999999999996</c:v>
                </c:pt>
                <c:pt idx="4955">
                  <c:v>0.22</c:v>
                </c:pt>
                <c:pt idx="4956">
                  <c:v>0.53100000000000003</c:v>
                </c:pt>
                <c:pt idx="4957">
                  <c:v>0.505</c:v>
                </c:pt>
                <c:pt idx="4958">
                  <c:v>0.85099999999999998</c:v>
                </c:pt>
                <c:pt idx="4959">
                  <c:v>0.85699999999999998</c:v>
                </c:pt>
                <c:pt idx="4960">
                  <c:v>0.45100000000000001</c:v>
                </c:pt>
                <c:pt idx="4961">
                  <c:v>0.57299999999999995</c:v>
                </c:pt>
                <c:pt idx="4962">
                  <c:v>0.42599999999999999</c:v>
                </c:pt>
                <c:pt idx="4963">
                  <c:v>0.46700000000000003</c:v>
                </c:pt>
                <c:pt idx="4964">
                  <c:v>0.48699999999999999</c:v>
                </c:pt>
                <c:pt idx="4965">
                  <c:v>0.55900000000000005</c:v>
                </c:pt>
                <c:pt idx="4966">
                  <c:v>0.75900000000000001</c:v>
                </c:pt>
                <c:pt idx="4967">
                  <c:v>0.88500000000000001</c:v>
                </c:pt>
                <c:pt idx="4968">
                  <c:v>0.52</c:v>
                </c:pt>
                <c:pt idx="4969">
                  <c:v>0.442</c:v>
                </c:pt>
                <c:pt idx="4970">
                  <c:v>0.70499999999999996</c:v>
                </c:pt>
                <c:pt idx="4971">
                  <c:v>0.29699999999999999</c:v>
                </c:pt>
                <c:pt idx="4972">
                  <c:v>0.5</c:v>
                </c:pt>
                <c:pt idx="4973">
                  <c:v>0.47899999999999998</c:v>
                </c:pt>
                <c:pt idx="4974">
                  <c:v>0.7</c:v>
                </c:pt>
                <c:pt idx="4975">
                  <c:v>0.20799999999999999</c:v>
                </c:pt>
                <c:pt idx="4976">
                  <c:v>0.40100000000000002</c:v>
                </c:pt>
                <c:pt idx="4977">
                  <c:v>0.65500000000000003</c:v>
                </c:pt>
                <c:pt idx="4978">
                  <c:v>0.23100000000000001</c:v>
                </c:pt>
                <c:pt idx="4979">
                  <c:v>0.60399999999999998</c:v>
                </c:pt>
                <c:pt idx="4980">
                  <c:v>0.76900000000000002</c:v>
                </c:pt>
                <c:pt idx="4981">
                  <c:v>0.41899999999999998</c:v>
                </c:pt>
                <c:pt idx="4982">
                  <c:v>0.66100000000000003</c:v>
                </c:pt>
                <c:pt idx="4983">
                  <c:v>0.36499999999999999</c:v>
                </c:pt>
                <c:pt idx="4984">
                  <c:v>0.11</c:v>
                </c:pt>
                <c:pt idx="4985">
                  <c:v>0.68899999999999995</c:v>
                </c:pt>
                <c:pt idx="4986">
                  <c:v>0.41299999999999998</c:v>
                </c:pt>
                <c:pt idx="4987">
                  <c:v>0.52200000000000002</c:v>
                </c:pt>
                <c:pt idx="4988">
                  <c:v>0.68</c:v>
                </c:pt>
                <c:pt idx="4989">
                  <c:v>0.51</c:v>
                </c:pt>
                <c:pt idx="4990">
                  <c:v>0.17</c:v>
                </c:pt>
                <c:pt idx="4991">
                  <c:v>0.41599999999999998</c:v>
                </c:pt>
                <c:pt idx="4992">
                  <c:v>0.81399999999999995</c:v>
                </c:pt>
                <c:pt idx="4993">
                  <c:v>0.35799999999999998</c:v>
                </c:pt>
                <c:pt idx="4994">
                  <c:v>9.2999999999999999E-2</c:v>
                </c:pt>
                <c:pt idx="4995">
                  <c:v>0.25700000000000001</c:v>
                </c:pt>
                <c:pt idx="4996">
                  <c:v>0.88800000000000001</c:v>
                </c:pt>
                <c:pt idx="4997">
                  <c:v>0.29699999999999999</c:v>
                </c:pt>
                <c:pt idx="4998">
                  <c:v>0.157</c:v>
                </c:pt>
                <c:pt idx="4999">
                  <c:v>0.432</c:v>
                </c:pt>
                <c:pt idx="5000">
                  <c:v>0.53100000000000003</c:v>
                </c:pt>
                <c:pt idx="5001">
                  <c:v>0.505</c:v>
                </c:pt>
                <c:pt idx="5002">
                  <c:v>0.51700000000000002</c:v>
                </c:pt>
                <c:pt idx="5003">
                  <c:v>0.57999999999999996</c:v>
                </c:pt>
                <c:pt idx="5004">
                  <c:v>0.32700000000000001</c:v>
                </c:pt>
                <c:pt idx="5005">
                  <c:v>0.161</c:v>
                </c:pt>
                <c:pt idx="5006">
                  <c:v>0.49299999999999999</c:v>
                </c:pt>
                <c:pt idx="5007">
                  <c:v>0.75</c:v>
                </c:pt>
                <c:pt idx="5008">
                  <c:v>0.436</c:v>
                </c:pt>
                <c:pt idx="5009">
                  <c:v>0.25</c:v>
                </c:pt>
                <c:pt idx="5010">
                  <c:v>0.125</c:v>
                </c:pt>
                <c:pt idx="5011">
                  <c:v>0.23699999999999999</c:v>
                </c:pt>
                <c:pt idx="5012">
                  <c:v>0.436</c:v>
                </c:pt>
                <c:pt idx="5013">
                  <c:v>0.29799999999999999</c:v>
                </c:pt>
                <c:pt idx="5014">
                  <c:v>0.48499999999999999</c:v>
                </c:pt>
                <c:pt idx="5015">
                  <c:v>0.20399999999999999</c:v>
                </c:pt>
                <c:pt idx="5016">
                  <c:v>0.497</c:v>
                </c:pt>
                <c:pt idx="5017">
                  <c:v>0.52200000000000002</c:v>
                </c:pt>
                <c:pt idx="5018">
                  <c:v>0.433</c:v>
                </c:pt>
                <c:pt idx="5019">
                  <c:v>0.22700000000000001</c:v>
                </c:pt>
                <c:pt idx="5020">
                  <c:v>0.376</c:v>
                </c:pt>
                <c:pt idx="5021">
                  <c:v>0.42199999999999999</c:v>
                </c:pt>
                <c:pt idx="5022">
                  <c:v>0.91300000000000003</c:v>
                </c:pt>
                <c:pt idx="5023">
                  <c:v>0.26800000000000002</c:v>
                </c:pt>
                <c:pt idx="5024">
                  <c:v>0.747</c:v>
                </c:pt>
                <c:pt idx="5025">
                  <c:v>0.65100000000000002</c:v>
                </c:pt>
                <c:pt idx="5026">
                  <c:v>0.88300000000000001</c:v>
                </c:pt>
                <c:pt idx="5027">
                  <c:v>0.40100000000000002</c:v>
                </c:pt>
                <c:pt idx="5028">
                  <c:v>0.375</c:v>
                </c:pt>
                <c:pt idx="5029">
                  <c:v>0.32700000000000001</c:v>
                </c:pt>
                <c:pt idx="5030">
                  <c:v>0.55600000000000005</c:v>
                </c:pt>
                <c:pt idx="5031">
                  <c:v>0.217</c:v>
                </c:pt>
                <c:pt idx="5032">
                  <c:v>0.434</c:v>
                </c:pt>
                <c:pt idx="5033">
                  <c:v>0.14199999999999999</c:v>
                </c:pt>
                <c:pt idx="5034">
                  <c:v>0.55100000000000005</c:v>
                </c:pt>
                <c:pt idx="5035">
                  <c:v>0.41299999999999998</c:v>
                </c:pt>
                <c:pt idx="5036">
                  <c:v>0.40500000000000003</c:v>
                </c:pt>
                <c:pt idx="5037">
                  <c:v>0.44400000000000001</c:v>
                </c:pt>
                <c:pt idx="5038">
                  <c:v>0.47199999999999998</c:v>
                </c:pt>
                <c:pt idx="5039">
                  <c:v>0.42499999999999999</c:v>
                </c:pt>
                <c:pt idx="5040">
                  <c:v>0.626</c:v>
                </c:pt>
                <c:pt idx="5041">
                  <c:v>0.69099999999999995</c:v>
                </c:pt>
                <c:pt idx="5042">
                  <c:v>0.27100000000000002</c:v>
                </c:pt>
                <c:pt idx="5043">
                  <c:v>0.69199999999999995</c:v>
                </c:pt>
                <c:pt idx="5044">
                  <c:v>0.375</c:v>
                </c:pt>
                <c:pt idx="5045">
                  <c:v>0.40100000000000002</c:v>
                </c:pt>
                <c:pt idx="5046">
                  <c:v>0.58799999999999997</c:v>
                </c:pt>
                <c:pt idx="5047">
                  <c:v>0.47399999999999998</c:v>
                </c:pt>
                <c:pt idx="5048">
                  <c:v>0.45900000000000002</c:v>
                </c:pt>
                <c:pt idx="5049">
                  <c:v>0.161</c:v>
                </c:pt>
                <c:pt idx="5050">
                  <c:v>0.57399999999999995</c:v>
                </c:pt>
                <c:pt idx="5051">
                  <c:v>0.625</c:v>
                </c:pt>
                <c:pt idx="5052">
                  <c:v>0.68300000000000005</c:v>
                </c:pt>
                <c:pt idx="5053">
                  <c:v>0.82299999999999995</c:v>
                </c:pt>
                <c:pt idx="5054">
                  <c:v>0.84299999999999997</c:v>
                </c:pt>
                <c:pt idx="5055">
                  <c:v>0.29899999999999999</c:v>
                </c:pt>
                <c:pt idx="5056">
                  <c:v>0.20300000000000001</c:v>
                </c:pt>
                <c:pt idx="5057">
                  <c:v>0.159</c:v>
                </c:pt>
                <c:pt idx="5058">
                  <c:v>0.627</c:v>
                </c:pt>
                <c:pt idx="5059">
                  <c:v>0.63700000000000001</c:v>
                </c:pt>
                <c:pt idx="5060">
                  <c:v>0.317</c:v>
                </c:pt>
                <c:pt idx="5061">
                  <c:v>0.30399999999999999</c:v>
                </c:pt>
                <c:pt idx="5062">
                  <c:v>0.312</c:v>
                </c:pt>
                <c:pt idx="5063">
                  <c:v>0.623</c:v>
                </c:pt>
                <c:pt idx="5064">
                  <c:v>0.76900000000000002</c:v>
                </c:pt>
                <c:pt idx="5065">
                  <c:v>0.91500000000000004</c:v>
                </c:pt>
                <c:pt idx="5066">
                  <c:v>0.12</c:v>
                </c:pt>
                <c:pt idx="5067">
                  <c:v>0.32900000000000001</c:v>
                </c:pt>
                <c:pt idx="5068">
                  <c:v>0.67500000000000004</c:v>
                </c:pt>
                <c:pt idx="5069">
                  <c:v>0.77300000000000002</c:v>
                </c:pt>
                <c:pt idx="5070">
                  <c:v>0.62</c:v>
                </c:pt>
                <c:pt idx="5071">
                  <c:v>0.45600000000000002</c:v>
                </c:pt>
                <c:pt idx="5072">
                  <c:v>0.504</c:v>
                </c:pt>
                <c:pt idx="5073">
                  <c:v>0.50800000000000001</c:v>
                </c:pt>
                <c:pt idx="5074">
                  <c:v>0.60399999999999998</c:v>
                </c:pt>
                <c:pt idx="5075">
                  <c:v>7.4999999999999997E-2</c:v>
                </c:pt>
                <c:pt idx="5076">
                  <c:v>0.32200000000000001</c:v>
                </c:pt>
                <c:pt idx="5077">
                  <c:v>0.749</c:v>
                </c:pt>
                <c:pt idx="5078">
                  <c:v>0.379</c:v>
                </c:pt>
                <c:pt idx="5079">
                  <c:v>0.36899999999999999</c:v>
                </c:pt>
                <c:pt idx="5080">
                  <c:v>0.53300000000000003</c:v>
                </c:pt>
                <c:pt idx="5081">
                  <c:v>0.28599999999999998</c:v>
                </c:pt>
                <c:pt idx="5082">
                  <c:v>0.50900000000000001</c:v>
                </c:pt>
                <c:pt idx="5083">
                  <c:v>0.41599999999999998</c:v>
                </c:pt>
                <c:pt idx="5084">
                  <c:v>0.54</c:v>
                </c:pt>
                <c:pt idx="5085">
                  <c:v>0.60799999999999998</c:v>
                </c:pt>
                <c:pt idx="5086">
                  <c:v>0.70699999999999996</c:v>
                </c:pt>
                <c:pt idx="5087">
                  <c:v>0.64</c:v>
                </c:pt>
                <c:pt idx="5088">
                  <c:v>0.61</c:v>
                </c:pt>
                <c:pt idx="5089">
                  <c:v>0.39900000000000002</c:v>
                </c:pt>
                <c:pt idx="5090">
                  <c:v>0.57599999999999996</c:v>
                </c:pt>
                <c:pt idx="5091">
                  <c:v>0.41699999999999998</c:v>
                </c:pt>
                <c:pt idx="5092">
                  <c:v>0.61799999999999999</c:v>
                </c:pt>
                <c:pt idx="5093">
                  <c:v>0.32600000000000001</c:v>
                </c:pt>
                <c:pt idx="5094">
                  <c:v>0.24399999999999999</c:v>
                </c:pt>
                <c:pt idx="5095">
                  <c:v>0.27100000000000002</c:v>
                </c:pt>
                <c:pt idx="5096">
                  <c:v>0.433</c:v>
                </c:pt>
                <c:pt idx="5097">
                  <c:v>0.46800000000000003</c:v>
                </c:pt>
                <c:pt idx="5098">
                  <c:v>0.71699999999999997</c:v>
                </c:pt>
                <c:pt idx="5099">
                  <c:v>0.80900000000000005</c:v>
                </c:pt>
                <c:pt idx="5100">
                  <c:v>0.82899999999999996</c:v>
                </c:pt>
                <c:pt idx="5101">
                  <c:v>0.90600000000000003</c:v>
                </c:pt>
                <c:pt idx="5102">
                  <c:v>0.94299999999999995</c:v>
                </c:pt>
                <c:pt idx="5103">
                  <c:v>0.20200000000000001</c:v>
                </c:pt>
                <c:pt idx="5104">
                  <c:v>0.54500000000000004</c:v>
                </c:pt>
                <c:pt idx="5105">
                  <c:v>0.67</c:v>
                </c:pt>
                <c:pt idx="5106">
                  <c:v>0.53400000000000003</c:v>
                </c:pt>
                <c:pt idx="5107">
                  <c:v>0.59599999999999997</c:v>
                </c:pt>
                <c:pt idx="5108">
                  <c:v>0.441</c:v>
                </c:pt>
                <c:pt idx="5109">
                  <c:v>0.23300000000000001</c:v>
                </c:pt>
                <c:pt idx="5110">
                  <c:v>0.73899999999999999</c:v>
                </c:pt>
                <c:pt idx="5111">
                  <c:v>0.64700000000000002</c:v>
                </c:pt>
                <c:pt idx="5112">
                  <c:v>0.25700000000000001</c:v>
                </c:pt>
                <c:pt idx="5113">
                  <c:v>0.61899999999999999</c:v>
                </c:pt>
                <c:pt idx="5114">
                  <c:v>0.59299999999999997</c:v>
                </c:pt>
                <c:pt idx="5115">
                  <c:v>0.85499999999999998</c:v>
                </c:pt>
                <c:pt idx="5116">
                  <c:v>0.47399999999999998</c:v>
                </c:pt>
                <c:pt idx="5117">
                  <c:v>0.1</c:v>
                </c:pt>
                <c:pt idx="5118">
                  <c:v>0.32600000000000001</c:v>
                </c:pt>
                <c:pt idx="5119">
                  <c:v>0.82</c:v>
                </c:pt>
                <c:pt idx="5120">
                  <c:v>0.36299999999999999</c:v>
                </c:pt>
                <c:pt idx="5121">
                  <c:v>0.41299999999999998</c:v>
                </c:pt>
                <c:pt idx="5122">
                  <c:v>0.76500000000000001</c:v>
                </c:pt>
                <c:pt idx="5123">
                  <c:v>0.218</c:v>
                </c:pt>
                <c:pt idx="5124">
                  <c:v>0.4</c:v>
                </c:pt>
                <c:pt idx="5125">
                  <c:v>0.13700000000000001</c:v>
                </c:pt>
                <c:pt idx="5126">
                  <c:v>0.247</c:v>
                </c:pt>
                <c:pt idx="5127">
                  <c:v>0.441</c:v>
                </c:pt>
                <c:pt idx="5128">
                  <c:v>0.76600000000000001</c:v>
                </c:pt>
                <c:pt idx="5129">
                  <c:v>0.36699999999999999</c:v>
                </c:pt>
                <c:pt idx="5130">
                  <c:v>0.495</c:v>
                </c:pt>
                <c:pt idx="5131">
                  <c:v>0.53700000000000003</c:v>
                </c:pt>
                <c:pt idx="5132">
                  <c:v>0.60099999999999998</c:v>
                </c:pt>
                <c:pt idx="5133">
                  <c:v>0.23799999999999999</c:v>
                </c:pt>
                <c:pt idx="5134">
                  <c:v>0.78100000000000003</c:v>
                </c:pt>
                <c:pt idx="5135">
                  <c:v>0.379</c:v>
                </c:pt>
                <c:pt idx="5136">
                  <c:v>0.114</c:v>
                </c:pt>
                <c:pt idx="5137">
                  <c:v>0.499</c:v>
                </c:pt>
                <c:pt idx="5138">
                  <c:v>0.51200000000000001</c:v>
                </c:pt>
                <c:pt idx="5139">
                  <c:v>0.60899999999999999</c:v>
                </c:pt>
                <c:pt idx="5140">
                  <c:v>0.89400000000000002</c:v>
                </c:pt>
                <c:pt idx="5141">
                  <c:v>0.22</c:v>
                </c:pt>
                <c:pt idx="5142">
                  <c:v>0.61499999999999999</c:v>
                </c:pt>
                <c:pt idx="5143">
                  <c:v>0.439</c:v>
                </c:pt>
                <c:pt idx="5144">
                  <c:v>0.26800000000000002</c:v>
                </c:pt>
                <c:pt idx="5145">
                  <c:v>0.58199999999999996</c:v>
                </c:pt>
                <c:pt idx="5146">
                  <c:v>0.27800000000000002</c:v>
                </c:pt>
                <c:pt idx="5147">
                  <c:v>0.31900000000000001</c:v>
                </c:pt>
                <c:pt idx="5148">
                  <c:v>0.69499999999999995</c:v>
                </c:pt>
                <c:pt idx="5149">
                  <c:v>0.31900000000000001</c:v>
                </c:pt>
                <c:pt idx="5150">
                  <c:v>0.47399999999999998</c:v>
                </c:pt>
                <c:pt idx="5151">
                  <c:v>0.24099999999999999</c:v>
                </c:pt>
                <c:pt idx="5152">
                  <c:v>0.40300000000000002</c:v>
                </c:pt>
                <c:pt idx="5153">
                  <c:v>0.69599999999999995</c:v>
                </c:pt>
                <c:pt idx="5154">
                  <c:v>0.14699999999999999</c:v>
                </c:pt>
                <c:pt idx="5155">
                  <c:v>0.57899999999999996</c:v>
                </c:pt>
                <c:pt idx="5156">
                  <c:v>0.58199999999999996</c:v>
                </c:pt>
                <c:pt idx="5157">
                  <c:v>0.50800000000000001</c:v>
                </c:pt>
                <c:pt idx="5158">
                  <c:v>0.39900000000000002</c:v>
                </c:pt>
                <c:pt idx="5159">
                  <c:v>0.52700000000000002</c:v>
                </c:pt>
                <c:pt idx="5160">
                  <c:v>0.46700000000000003</c:v>
                </c:pt>
                <c:pt idx="5161">
                  <c:v>0.371</c:v>
                </c:pt>
                <c:pt idx="5162">
                  <c:v>0.75900000000000001</c:v>
                </c:pt>
                <c:pt idx="5163">
                  <c:v>0.43</c:v>
                </c:pt>
                <c:pt idx="5164">
                  <c:v>0.41</c:v>
                </c:pt>
                <c:pt idx="5165">
                  <c:v>0.51800000000000002</c:v>
                </c:pt>
                <c:pt idx="5166">
                  <c:v>7.0000000000000007E-2</c:v>
                </c:pt>
                <c:pt idx="5167">
                  <c:v>0.31900000000000001</c:v>
                </c:pt>
                <c:pt idx="5168">
                  <c:v>0.23400000000000001</c:v>
                </c:pt>
                <c:pt idx="5169">
                  <c:v>0.44900000000000001</c:v>
                </c:pt>
                <c:pt idx="5170">
                  <c:v>0.53500000000000003</c:v>
                </c:pt>
                <c:pt idx="5171">
                  <c:v>0.9</c:v>
                </c:pt>
                <c:pt idx="5172">
                  <c:v>0.497</c:v>
                </c:pt>
                <c:pt idx="5173">
                  <c:v>0.72199999999999998</c:v>
                </c:pt>
                <c:pt idx="5174">
                  <c:v>0.63300000000000001</c:v>
                </c:pt>
                <c:pt idx="5175">
                  <c:v>0.88800000000000001</c:v>
                </c:pt>
                <c:pt idx="5176">
                  <c:v>0.13700000000000001</c:v>
                </c:pt>
                <c:pt idx="5177">
                  <c:v>0.41099999999999998</c:v>
                </c:pt>
                <c:pt idx="5178">
                  <c:v>0.192</c:v>
                </c:pt>
                <c:pt idx="5179">
                  <c:v>0.59199999999999997</c:v>
                </c:pt>
                <c:pt idx="5180">
                  <c:v>0.55900000000000005</c:v>
                </c:pt>
                <c:pt idx="5181">
                  <c:v>0.55400000000000005</c:v>
                </c:pt>
                <c:pt idx="5182">
                  <c:v>0.84799999999999998</c:v>
                </c:pt>
                <c:pt idx="5183">
                  <c:v>0.44500000000000001</c:v>
                </c:pt>
                <c:pt idx="5184">
                  <c:v>0.57599999999999996</c:v>
                </c:pt>
                <c:pt idx="5185">
                  <c:v>0.66800000000000004</c:v>
                </c:pt>
                <c:pt idx="5186">
                  <c:v>0.47799999999999998</c:v>
                </c:pt>
                <c:pt idx="5187">
                  <c:v>0.372</c:v>
                </c:pt>
                <c:pt idx="5188">
                  <c:v>0.372</c:v>
                </c:pt>
                <c:pt idx="5189">
                  <c:v>0.56399999999999995</c:v>
                </c:pt>
                <c:pt idx="5190">
                  <c:v>0.315</c:v>
                </c:pt>
                <c:pt idx="5191">
                  <c:v>0.623</c:v>
                </c:pt>
                <c:pt idx="5192">
                  <c:v>0.499</c:v>
                </c:pt>
                <c:pt idx="5193">
                  <c:v>0.373</c:v>
                </c:pt>
                <c:pt idx="5194">
                  <c:v>0.48699999999999999</c:v>
                </c:pt>
                <c:pt idx="5195">
                  <c:v>0.59599999999999997</c:v>
                </c:pt>
                <c:pt idx="5196">
                  <c:v>0.44400000000000001</c:v>
                </c:pt>
                <c:pt idx="5197">
                  <c:v>0.627</c:v>
                </c:pt>
                <c:pt idx="5198">
                  <c:v>0.32100000000000001</c:v>
                </c:pt>
                <c:pt idx="5199">
                  <c:v>0.60799999999999998</c:v>
                </c:pt>
                <c:pt idx="5200">
                  <c:v>0.32</c:v>
                </c:pt>
                <c:pt idx="5201">
                  <c:v>0.36299999999999999</c:v>
                </c:pt>
                <c:pt idx="5202">
                  <c:v>0.52300000000000002</c:v>
                </c:pt>
                <c:pt idx="5203">
                  <c:v>0.32400000000000001</c:v>
                </c:pt>
                <c:pt idx="5204">
                  <c:v>0.72399999999999998</c:v>
                </c:pt>
                <c:pt idx="5205">
                  <c:v>0.72499999999999998</c:v>
                </c:pt>
                <c:pt idx="5206">
                  <c:v>0.749</c:v>
                </c:pt>
                <c:pt idx="5207">
                  <c:v>0.78</c:v>
                </c:pt>
                <c:pt idx="5208">
                  <c:v>0.2</c:v>
                </c:pt>
                <c:pt idx="5209">
                  <c:v>0.192</c:v>
                </c:pt>
                <c:pt idx="5210">
                  <c:v>0.58599999999999997</c:v>
                </c:pt>
                <c:pt idx="5211">
                  <c:v>0.41199999999999998</c:v>
                </c:pt>
                <c:pt idx="5212">
                  <c:v>0.216</c:v>
                </c:pt>
                <c:pt idx="5213">
                  <c:v>0.33</c:v>
                </c:pt>
                <c:pt idx="5214">
                  <c:v>0.36399999999999999</c:v>
                </c:pt>
                <c:pt idx="5215">
                  <c:v>0.505</c:v>
                </c:pt>
                <c:pt idx="5216">
                  <c:v>0.63900000000000001</c:v>
                </c:pt>
                <c:pt idx="5217">
                  <c:v>0.54100000000000004</c:v>
                </c:pt>
                <c:pt idx="5218">
                  <c:v>0.45300000000000001</c:v>
                </c:pt>
                <c:pt idx="5219">
                  <c:v>0.63</c:v>
                </c:pt>
                <c:pt idx="5220">
                  <c:v>0.46800000000000003</c:v>
                </c:pt>
                <c:pt idx="5221">
                  <c:v>0.41899999999999998</c:v>
                </c:pt>
                <c:pt idx="5222">
                  <c:v>0.79700000000000004</c:v>
                </c:pt>
                <c:pt idx="5223">
                  <c:v>0.61199999999999999</c:v>
                </c:pt>
                <c:pt idx="5224">
                  <c:v>0.27700000000000002</c:v>
                </c:pt>
                <c:pt idx="5225">
                  <c:v>0.30199999999999999</c:v>
                </c:pt>
                <c:pt idx="5226">
                  <c:v>0.41699999999999998</c:v>
                </c:pt>
                <c:pt idx="5227">
                  <c:v>0.63</c:v>
                </c:pt>
                <c:pt idx="5228">
                  <c:v>0.77</c:v>
                </c:pt>
                <c:pt idx="5229">
                  <c:v>0.13100000000000001</c:v>
                </c:pt>
                <c:pt idx="5230">
                  <c:v>0.52200000000000002</c:v>
                </c:pt>
                <c:pt idx="5231">
                  <c:v>0.25800000000000001</c:v>
                </c:pt>
                <c:pt idx="5232">
                  <c:v>0.73499999999999999</c:v>
                </c:pt>
                <c:pt idx="5233">
                  <c:v>0.28299999999999997</c:v>
                </c:pt>
                <c:pt idx="5234">
                  <c:v>0.61299999999999999</c:v>
                </c:pt>
                <c:pt idx="5235">
                  <c:v>0.75</c:v>
                </c:pt>
                <c:pt idx="5236">
                  <c:v>0.44800000000000001</c:v>
                </c:pt>
                <c:pt idx="5237">
                  <c:v>0.27100000000000002</c:v>
                </c:pt>
                <c:pt idx="5238">
                  <c:v>0.65100000000000002</c:v>
                </c:pt>
                <c:pt idx="5239">
                  <c:v>0.505</c:v>
                </c:pt>
                <c:pt idx="5240">
                  <c:v>0.34899999999999998</c:v>
                </c:pt>
                <c:pt idx="5241">
                  <c:v>0.32600000000000001</c:v>
                </c:pt>
                <c:pt idx="5242">
                  <c:v>0.41299999999999998</c:v>
                </c:pt>
                <c:pt idx="5243">
                  <c:v>0.55800000000000005</c:v>
                </c:pt>
                <c:pt idx="5244">
                  <c:v>0.42899999999999999</c:v>
                </c:pt>
                <c:pt idx="5245">
                  <c:v>0.39500000000000002</c:v>
                </c:pt>
                <c:pt idx="5246">
                  <c:v>0.308</c:v>
                </c:pt>
                <c:pt idx="5247">
                  <c:v>0.68899999999999995</c:v>
                </c:pt>
                <c:pt idx="5248">
                  <c:v>0.252</c:v>
                </c:pt>
                <c:pt idx="5249">
                  <c:v>0.81200000000000006</c:v>
                </c:pt>
                <c:pt idx="5250">
                  <c:v>3.6999999999999998E-2</c:v>
                </c:pt>
                <c:pt idx="5251">
                  <c:v>0.48099999999999998</c:v>
                </c:pt>
                <c:pt idx="5252">
                  <c:v>0.157</c:v>
                </c:pt>
                <c:pt idx="5253">
                  <c:v>0.374</c:v>
                </c:pt>
                <c:pt idx="5254">
                  <c:v>0.40600000000000003</c:v>
                </c:pt>
                <c:pt idx="5255">
                  <c:v>0.46600000000000003</c:v>
                </c:pt>
                <c:pt idx="5256">
                  <c:v>0.83899999999999997</c:v>
                </c:pt>
                <c:pt idx="5257">
                  <c:v>0.16800000000000001</c:v>
                </c:pt>
                <c:pt idx="5258">
                  <c:v>0.33600000000000002</c:v>
                </c:pt>
                <c:pt idx="5259">
                  <c:v>0.20599999999999999</c:v>
                </c:pt>
                <c:pt idx="5260">
                  <c:v>0.51900000000000002</c:v>
                </c:pt>
                <c:pt idx="5261">
                  <c:v>0.77600000000000002</c:v>
                </c:pt>
                <c:pt idx="5262">
                  <c:v>0.56100000000000005</c:v>
                </c:pt>
                <c:pt idx="5263">
                  <c:v>0.36499999999999999</c:v>
                </c:pt>
                <c:pt idx="5264">
                  <c:v>0.375</c:v>
                </c:pt>
                <c:pt idx="5265">
                  <c:v>0.47799999999999998</c:v>
                </c:pt>
                <c:pt idx="5266">
                  <c:v>0.50700000000000001</c:v>
                </c:pt>
                <c:pt idx="5267">
                  <c:v>0.29499999999999998</c:v>
                </c:pt>
                <c:pt idx="5268">
                  <c:v>0.44</c:v>
                </c:pt>
                <c:pt idx="5269">
                  <c:v>0.39700000000000002</c:v>
                </c:pt>
                <c:pt idx="5270">
                  <c:v>0.16200000000000001</c:v>
                </c:pt>
                <c:pt idx="5271">
                  <c:v>0.35</c:v>
                </c:pt>
                <c:pt idx="5272">
                  <c:v>0.47</c:v>
                </c:pt>
                <c:pt idx="5273">
                  <c:v>0.25600000000000001</c:v>
                </c:pt>
                <c:pt idx="5274">
                  <c:v>0.36899999999999999</c:v>
                </c:pt>
                <c:pt idx="5275">
                  <c:v>0.56399999999999995</c:v>
                </c:pt>
                <c:pt idx="5276">
                  <c:v>0.45900000000000002</c:v>
                </c:pt>
                <c:pt idx="5277">
                  <c:v>0.52600000000000002</c:v>
                </c:pt>
                <c:pt idx="5278">
                  <c:v>0.55100000000000005</c:v>
                </c:pt>
                <c:pt idx="5279">
                  <c:v>0.61799999999999999</c:v>
                </c:pt>
                <c:pt idx="5280">
                  <c:v>0.68500000000000005</c:v>
                </c:pt>
                <c:pt idx="5281">
                  <c:v>0.69799999999999995</c:v>
                </c:pt>
                <c:pt idx="5282">
                  <c:v>0.73199999999999998</c:v>
                </c:pt>
                <c:pt idx="5283">
                  <c:v>0.91500000000000004</c:v>
                </c:pt>
                <c:pt idx="5284">
                  <c:v>0.35599999999999998</c:v>
                </c:pt>
                <c:pt idx="5285">
                  <c:v>0.25800000000000001</c:v>
                </c:pt>
                <c:pt idx="5286">
                  <c:v>0.159</c:v>
                </c:pt>
                <c:pt idx="5287">
                  <c:v>0.61299999999999999</c:v>
                </c:pt>
                <c:pt idx="5288">
                  <c:v>0.129</c:v>
                </c:pt>
                <c:pt idx="5289">
                  <c:v>0.105</c:v>
                </c:pt>
                <c:pt idx="5290">
                  <c:v>0.59599999999999997</c:v>
                </c:pt>
                <c:pt idx="5291">
                  <c:v>0.22800000000000001</c:v>
                </c:pt>
                <c:pt idx="5292">
                  <c:v>0.33500000000000002</c:v>
                </c:pt>
                <c:pt idx="5293">
                  <c:v>0.28100000000000003</c:v>
                </c:pt>
                <c:pt idx="5294">
                  <c:v>0.42699999999999999</c:v>
                </c:pt>
                <c:pt idx="5295">
                  <c:v>0.59199999999999997</c:v>
                </c:pt>
                <c:pt idx="5296">
                  <c:v>0.33300000000000002</c:v>
                </c:pt>
                <c:pt idx="5297">
                  <c:v>0.23899999999999999</c:v>
                </c:pt>
                <c:pt idx="5298">
                  <c:v>0.32400000000000001</c:v>
                </c:pt>
                <c:pt idx="5299">
                  <c:v>0.34100000000000003</c:v>
                </c:pt>
                <c:pt idx="5300">
                  <c:v>0.59099999999999997</c:v>
                </c:pt>
                <c:pt idx="5301">
                  <c:v>0.39200000000000002</c:v>
                </c:pt>
                <c:pt idx="5302">
                  <c:v>0.27100000000000002</c:v>
                </c:pt>
                <c:pt idx="5303">
                  <c:v>0.51300000000000001</c:v>
                </c:pt>
                <c:pt idx="5304">
                  <c:v>0.45800000000000002</c:v>
                </c:pt>
                <c:pt idx="5305">
                  <c:v>0.43099999999999999</c:v>
                </c:pt>
                <c:pt idx="5306">
                  <c:v>0.54400000000000004</c:v>
                </c:pt>
                <c:pt idx="5307">
                  <c:v>0.60199999999999998</c:v>
                </c:pt>
                <c:pt idx="5308">
                  <c:v>0.70099999999999996</c:v>
                </c:pt>
                <c:pt idx="5309">
                  <c:v>0.51200000000000001</c:v>
                </c:pt>
                <c:pt idx="5310">
                  <c:v>0.438</c:v>
                </c:pt>
                <c:pt idx="5311">
                  <c:v>0.72899999999999998</c:v>
                </c:pt>
                <c:pt idx="5312">
                  <c:v>0.2</c:v>
                </c:pt>
                <c:pt idx="5313">
                  <c:v>0.34200000000000003</c:v>
                </c:pt>
                <c:pt idx="5314">
                  <c:v>0.17100000000000001</c:v>
                </c:pt>
                <c:pt idx="5315">
                  <c:v>0.55100000000000005</c:v>
                </c:pt>
                <c:pt idx="5316">
                  <c:v>0.66900000000000004</c:v>
                </c:pt>
                <c:pt idx="5317">
                  <c:v>0.749</c:v>
                </c:pt>
                <c:pt idx="5318">
                  <c:v>0.22800000000000001</c:v>
                </c:pt>
                <c:pt idx="5319">
                  <c:v>0.58399999999999996</c:v>
                </c:pt>
                <c:pt idx="5320">
                  <c:v>0.504</c:v>
                </c:pt>
                <c:pt idx="5321">
                  <c:v>0.84599999999999997</c:v>
                </c:pt>
                <c:pt idx="5322">
                  <c:v>0.63600000000000001</c:v>
                </c:pt>
                <c:pt idx="5323">
                  <c:v>0.78300000000000003</c:v>
                </c:pt>
                <c:pt idx="5324">
                  <c:v>0.876</c:v>
                </c:pt>
                <c:pt idx="5325">
                  <c:v>0.46800000000000003</c:v>
                </c:pt>
                <c:pt idx="5326">
                  <c:v>0.39</c:v>
                </c:pt>
                <c:pt idx="5327">
                  <c:v>0.442</c:v>
                </c:pt>
                <c:pt idx="5328">
                  <c:v>0.50900000000000001</c:v>
                </c:pt>
                <c:pt idx="5329">
                  <c:v>0.50700000000000001</c:v>
                </c:pt>
                <c:pt idx="5330">
                  <c:v>0.51200000000000001</c:v>
                </c:pt>
                <c:pt idx="5331">
                  <c:v>0.52300000000000002</c:v>
                </c:pt>
                <c:pt idx="5332">
                  <c:v>0.35699999999999998</c:v>
                </c:pt>
                <c:pt idx="5333">
                  <c:v>0.79300000000000004</c:v>
                </c:pt>
                <c:pt idx="5334">
                  <c:v>0.41299999999999998</c:v>
                </c:pt>
                <c:pt idx="5335">
                  <c:v>0.308</c:v>
                </c:pt>
                <c:pt idx="5336">
                  <c:v>0.442</c:v>
                </c:pt>
                <c:pt idx="5337">
                  <c:v>0.52700000000000002</c:v>
                </c:pt>
                <c:pt idx="5338">
                  <c:v>0.63400000000000001</c:v>
                </c:pt>
                <c:pt idx="5339">
                  <c:v>0.84</c:v>
                </c:pt>
                <c:pt idx="5340">
                  <c:v>0.53300000000000003</c:v>
                </c:pt>
                <c:pt idx="5341">
                  <c:v>0.46</c:v>
                </c:pt>
                <c:pt idx="5342">
                  <c:v>0.24399999999999999</c:v>
                </c:pt>
                <c:pt idx="5343">
                  <c:v>0.69399999999999995</c:v>
                </c:pt>
                <c:pt idx="5344">
                  <c:v>0.48799999999999999</c:v>
                </c:pt>
                <c:pt idx="5345">
                  <c:v>0.311</c:v>
                </c:pt>
                <c:pt idx="5346">
                  <c:v>0.14899999999999999</c:v>
                </c:pt>
                <c:pt idx="5347">
                  <c:v>0.35299999999999998</c:v>
                </c:pt>
                <c:pt idx="5348">
                  <c:v>0.57499999999999996</c:v>
                </c:pt>
                <c:pt idx="5349">
                  <c:v>0.126</c:v>
                </c:pt>
                <c:pt idx="5350">
                  <c:v>0.40600000000000003</c:v>
                </c:pt>
                <c:pt idx="5351">
                  <c:v>0.63100000000000001</c:v>
                </c:pt>
                <c:pt idx="5352">
                  <c:v>0.312</c:v>
                </c:pt>
                <c:pt idx="5353">
                  <c:v>0.496</c:v>
                </c:pt>
                <c:pt idx="5354">
                  <c:v>0.54400000000000004</c:v>
                </c:pt>
                <c:pt idx="5355">
                  <c:v>0.57099999999999995</c:v>
                </c:pt>
                <c:pt idx="5356">
                  <c:v>0.57999999999999996</c:v>
                </c:pt>
                <c:pt idx="5357">
                  <c:v>0.04</c:v>
                </c:pt>
                <c:pt idx="5358">
                  <c:v>0.27</c:v>
                </c:pt>
                <c:pt idx="5359">
                  <c:v>0.44500000000000001</c:v>
                </c:pt>
                <c:pt idx="5360">
                  <c:v>0.56100000000000005</c:v>
                </c:pt>
                <c:pt idx="5361">
                  <c:v>0.60099999999999998</c:v>
                </c:pt>
                <c:pt idx="5362">
                  <c:v>0.35099999999999998</c:v>
                </c:pt>
                <c:pt idx="5363">
                  <c:v>0.36499999999999999</c:v>
                </c:pt>
                <c:pt idx="5364">
                  <c:v>0.218</c:v>
                </c:pt>
                <c:pt idx="5365">
                  <c:v>0.36299999999999999</c:v>
                </c:pt>
                <c:pt idx="5366">
                  <c:v>0.433</c:v>
                </c:pt>
                <c:pt idx="5367">
                  <c:v>0.69699999999999995</c:v>
                </c:pt>
                <c:pt idx="5368">
                  <c:v>0.223</c:v>
                </c:pt>
                <c:pt idx="5369">
                  <c:v>0.247</c:v>
                </c:pt>
                <c:pt idx="5370">
                  <c:v>0.35199999999999998</c:v>
                </c:pt>
                <c:pt idx="5371">
                  <c:v>9.8000000000000004E-2</c:v>
                </c:pt>
                <c:pt idx="5372">
                  <c:v>0.32100000000000001</c:v>
                </c:pt>
                <c:pt idx="5373">
                  <c:v>0.67</c:v>
                </c:pt>
                <c:pt idx="5374">
                  <c:v>0.28299999999999997</c:v>
                </c:pt>
                <c:pt idx="5375">
                  <c:v>0.26600000000000001</c:v>
                </c:pt>
                <c:pt idx="5376">
                  <c:v>0.39</c:v>
                </c:pt>
                <c:pt idx="5377">
                  <c:v>0.60799999999999998</c:v>
                </c:pt>
                <c:pt idx="5378">
                  <c:v>0.32900000000000001</c:v>
                </c:pt>
                <c:pt idx="5379">
                  <c:v>5.6000000000000001E-2</c:v>
                </c:pt>
                <c:pt idx="5380">
                  <c:v>0.19800000000000001</c:v>
                </c:pt>
                <c:pt idx="5381">
                  <c:v>0.45100000000000001</c:v>
                </c:pt>
                <c:pt idx="5382">
                  <c:v>0.49</c:v>
                </c:pt>
                <c:pt idx="5383">
                  <c:v>0.627</c:v>
                </c:pt>
                <c:pt idx="5384">
                  <c:v>0.40600000000000003</c:v>
                </c:pt>
                <c:pt idx="5385">
                  <c:v>0.52900000000000003</c:v>
                </c:pt>
                <c:pt idx="5386">
                  <c:v>0.23599999999999999</c:v>
                </c:pt>
                <c:pt idx="5387">
                  <c:v>0.16900000000000001</c:v>
                </c:pt>
                <c:pt idx="5388">
                  <c:v>0.15</c:v>
                </c:pt>
                <c:pt idx="5389">
                  <c:v>0.03</c:v>
                </c:pt>
                <c:pt idx="5390">
                  <c:v>0.28000000000000003</c:v>
                </c:pt>
                <c:pt idx="5391">
                  <c:v>0.46500000000000002</c:v>
                </c:pt>
                <c:pt idx="5392">
                  <c:v>0.39200000000000002</c:v>
                </c:pt>
                <c:pt idx="5393">
                  <c:v>0.47599999999999998</c:v>
                </c:pt>
                <c:pt idx="5394">
                  <c:v>0.57299999999999995</c:v>
                </c:pt>
                <c:pt idx="5395">
                  <c:v>0.67100000000000004</c:v>
                </c:pt>
                <c:pt idx="5396">
                  <c:v>0.186</c:v>
                </c:pt>
                <c:pt idx="5397">
                  <c:v>0.3</c:v>
                </c:pt>
                <c:pt idx="5398">
                  <c:v>0.154</c:v>
                </c:pt>
                <c:pt idx="5399">
                  <c:v>0.35699999999999998</c:v>
                </c:pt>
                <c:pt idx="5400">
                  <c:v>0.60399999999999998</c:v>
                </c:pt>
                <c:pt idx="5401">
                  <c:v>0.73899999999999999</c:v>
                </c:pt>
                <c:pt idx="5402">
                  <c:v>0.76300000000000001</c:v>
                </c:pt>
                <c:pt idx="5403">
                  <c:v>0.79700000000000004</c:v>
                </c:pt>
                <c:pt idx="5404">
                  <c:v>0.61</c:v>
                </c:pt>
                <c:pt idx="5405">
                  <c:v>0.65500000000000003</c:v>
                </c:pt>
                <c:pt idx="5406">
                  <c:v>0.54600000000000004</c:v>
                </c:pt>
                <c:pt idx="5407">
                  <c:v>0.216</c:v>
                </c:pt>
                <c:pt idx="5408">
                  <c:v>0.46</c:v>
                </c:pt>
                <c:pt idx="5409">
                  <c:v>0.68</c:v>
                </c:pt>
                <c:pt idx="5410">
                  <c:v>0.315</c:v>
                </c:pt>
                <c:pt idx="5411">
                  <c:v>0.57999999999999996</c:v>
                </c:pt>
                <c:pt idx="5412">
                  <c:v>0.71399999999999997</c:v>
                </c:pt>
                <c:pt idx="5413">
                  <c:v>0.56000000000000005</c:v>
                </c:pt>
                <c:pt idx="5414">
                  <c:v>0.4</c:v>
                </c:pt>
                <c:pt idx="5415">
                  <c:v>0.72499999999999998</c:v>
                </c:pt>
                <c:pt idx="5416">
                  <c:v>0.878</c:v>
                </c:pt>
                <c:pt idx="5417">
                  <c:v>0.54500000000000004</c:v>
                </c:pt>
                <c:pt idx="5418">
                  <c:v>0.57999999999999996</c:v>
                </c:pt>
                <c:pt idx="5419">
                  <c:v>0.88700000000000001</c:v>
                </c:pt>
                <c:pt idx="5420">
                  <c:v>0.54400000000000004</c:v>
                </c:pt>
                <c:pt idx="5421">
                  <c:v>0.51300000000000001</c:v>
                </c:pt>
                <c:pt idx="5422">
                  <c:v>0.151</c:v>
                </c:pt>
                <c:pt idx="5423">
                  <c:v>0.27100000000000002</c:v>
                </c:pt>
                <c:pt idx="5424">
                  <c:v>0.498</c:v>
                </c:pt>
                <c:pt idx="5425">
                  <c:v>0.38400000000000001</c:v>
                </c:pt>
                <c:pt idx="5426">
                  <c:v>0.54300000000000004</c:v>
                </c:pt>
                <c:pt idx="5427">
                  <c:v>0.628</c:v>
                </c:pt>
                <c:pt idx="5428">
                  <c:v>0.44600000000000001</c:v>
                </c:pt>
                <c:pt idx="5429">
                  <c:v>0.84</c:v>
                </c:pt>
                <c:pt idx="5430">
                  <c:v>0.51300000000000001</c:v>
                </c:pt>
                <c:pt idx="5431">
                  <c:v>0.312</c:v>
                </c:pt>
                <c:pt idx="5432">
                  <c:v>0.70899999999999996</c:v>
                </c:pt>
                <c:pt idx="5433">
                  <c:v>0.753</c:v>
                </c:pt>
                <c:pt idx="5434">
                  <c:v>0.66800000000000004</c:v>
                </c:pt>
                <c:pt idx="5435">
                  <c:v>0.41</c:v>
                </c:pt>
                <c:pt idx="5436">
                  <c:v>0.05</c:v>
                </c:pt>
                <c:pt idx="5437">
                  <c:v>0.46700000000000003</c:v>
                </c:pt>
                <c:pt idx="5438">
                  <c:v>0.7</c:v>
                </c:pt>
                <c:pt idx="5439">
                  <c:v>0.51400000000000001</c:v>
                </c:pt>
                <c:pt idx="5440">
                  <c:v>0.313</c:v>
                </c:pt>
                <c:pt idx="5441">
                  <c:v>0.64500000000000002</c:v>
                </c:pt>
                <c:pt idx="5442">
                  <c:v>0.58599999999999997</c:v>
                </c:pt>
                <c:pt idx="5443">
                  <c:v>0.39800000000000002</c:v>
                </c:pt>
                <c:pt idx="5444">
                  <c:v>0.58799999999999997</c:v>
                </c:pt>
                <c:pt idx="5445">
                  <c:v>0.40400000000000003</c:v>
                </c:pt>
                <c:pt idx="5446">
                  <c:v>0.42299999999999999</c:v>
                </c:pt>
                <c:pt idx="5447">
                  <c:v>0.40600000000000003</c:v>
                </c:pt>
                <c:pt idx="5448">
                  <c:v>0.27900000000000003</c:v>
                </c:pt>
                <c:pt idx="5449">
                  <c:v>0.41399999999999998</c:v>
                </c:pt>
                <c:pt idx="5450">
                  <c:v>0.32600000000000001</c:v>
                </c:pt>
                <c:pt idx="5451">
                  <c:v>0.34300000000000003</c:v>
                </c:pt>
                <c:pt idx="5452">
                  <c:v>0.753</c:v>
                </c:pt>
                <c:pt idx="5453">
                  <c:v>0.23</c:v>
                </c:pt>
                <c:pt idx="5454">
                  <c:v>0.35499999999999998</c:v>
                </c:pt>
                <c:pt idx="5455">
                  <c:v>0.47699999999999998</c:v>
                </c:pt>
                <c:pt idx="5456">
                  <c:v>0.38500000000000001</c:v>
                </c:pt>
                <c:pt idx="5457">
                  <c:v>0.41199999999999998</c:v>
                </c:pt>
                <c:pt idx="5458">
                  <c:v>0.48299999999999998</c:v>
                </c:pt>
                <c:pt idx="5459">
                  <c:v>0.48199999999999998</c:v>
                </c:pt>
                <c:pt idx="5460">
                  <c:v>0.371</c:v>
                </c:pt>
                <c:pt idx="5461">
                  <c:v>0.433</c:v>
                </c:pt>
                <c:pt idx="5462">
                  <c:v>0.441</c:v>
                </c:pt>
                <c:pt idx="5463">
                  <c:v>0.436</c:v>
                </c:pt>
                <c:pt idx="5464">
                  <c:v>0.67200000000000004</c:v>
                </c:pt>
                <c:pt idx="5465">
                  <c:v>0.75800000000000001</c:v>
                </c:pt>
                <c:pt idx="5466">
                  <c:v>0.57399999999999995</c:v>
                </c:pt>
                <c:pt idx="5467">
                  <c:v>0.53700000000000003</c:v>
                </c:pt>
                <c:pt idx="5468">
                  <c:v>7.6999999999999999E-2</c:v>
                </c:pt>
                <c:pt idx="5469">
                  <c:v>0.42599999999999999</c:v>
                </c:pt>
                <c:pt idx="5470">
                  <c:v>0.54600000000000004</c:v>
                </c:pt>
                <c:pt idx="5471">
                  <c:v>0.68899999999999995</c:v>
                </c:pt>
                <c:pt idx="5472">
                  <c:v>0.8</c:v>
                </c:pt>
                <c:pt idx="5473">
                  <c:v>0.38500000000000001</c:v>
                </c:pt>
                <c:pt idx="5474">
                  <c:v>0.253</c:v>
                </c:pt>
                <c:pt idx="5475">
                  <c:v>0.26100000000000001</c:v>
                </c:pt>
                <c:pt idx="5476">
                  <c:v>0.45200000000000001</c:v>
                </c:pt>
                <c:pt idx="5477">
                  <c:v>0.374</c:v>
                </c:pt>
                <c:pt idx="5478">
                  <c:v>0.61799999999999999</c:v>
                </c:pt>
                <c:pt idx="5479">
                  <c:v>0.66400000000000003</c:v>
                </c:pt>
                <c:pt idx="5480">
                  <c:v>0.88700000000000001</c:v>
                </c:pt>
                <c:pt idx="5481">
                  <c:v>7.2999999999999995E-2</c:v>
                </c:pt>
                <c:pt idx="5482">
                  <c:v>0.32</c:v>
                </c:pt>
                <c:pt idx="5483">
                  <c:v>0.56299999999999994</c:v>
                </c:pt>
                <c:pt idx="5484">
                  <c:v>0.27200000000000002</c:v>
                </c:pt>
                <c:pt idx="5485">
                  <c:v>0.65</c:v>
                </c:pt>
                <c:pt idx="5486">
                  <c:v>0.23400000000000001</c:v>
                </c:pt>
                <c:pt idx="5487">
                  <c:v>0.26900000000000002</c:v>
                </c:pt>
                <c:pt idx="5488">
                  <c:v>0.63300000000000001</c:v>
                </c:pt>
                <c:pt idx="5489">
                  <c:v>0.52900000000000003</c:v>
                </c:pt>
                <c:pt idx="5490">
                  <c:v>0.57299999999999995</c:v>
                </c:pt>
                <c:pt idx="5491">
                  <c:v>0.48399999999999999</c:v>
                </c:pt>
                <c:pt idx="5492">
                  <c:v>0.23599999999999999</c:v>
                </c:pt>
                <c:pt idx="5493">
                  <c:v>0.49199999999999999</c:v>
                </c:pt>
                <c:pt idx="5494">
                  <c:v>0.44800000000000001</c:v>
                </c:pt>
                <c:pt idx="5495">
                  <c:v>0.104</c:v>
                </c:pt>
                <c:pt idx="5496">
                  <c:v>0.106</c:v>
                </c:pt>
                <c:pt idx="5497">
                  <c:v>0.5</c:v>
                </c:pt>
                <c:pt idx="5498">
                  <c:v>0.66500000000000004</c:v>
                </c:pt>
                <c:pt idx="5499">
                  <c:v>0.73599999999999999</c:v>
                </c:pt>
                <c:pt idx="5500">
                  <c:v>0.32200000000000001</c:v>
                </c:pt>
                <c:pt idx="5501">
                  <c:v>0.26700000000000002</c:v>
                </c:pt>
                <c:pt idx="5502">
                  <c:v>0.77200000000000002</c:v>
                </c:pt>
                <c:pt idx="5503">
                  <c:v>0.29799999999999999</c:v>
                </c:pt>
                <c:pt idx="5504">
                  <c:v>0.33700000000000002</c:v>
                </c:pt>
                <c:pt idx="5505">
                  <c:v>0.49</c:v>
                </c:pt>
                <c:pt idx="5506">
                  <c:v>0.53500000000000003</c:v>
                </c:pt>
                <c:pt idx="5507">
                  <c:v>0.26500000000000001</c:v>
                </c:pt>
                <c:pt idx="5508">
                  <c:v>0.623</c:v>
                </c:pt>
                <c:pt idx="5509">
                  <c:v>0.36399999999999999</c:v>
                </c:pt>
                <c:pt idx="5510">
                  <c:v>0.47399999999999998</c:v>
                </c:pt>
                <c:pt idx="5511">
                  <c:v>0.36699999999999999</c:v>
                </c:pt>
                <c:pt idx="5512">
                  <c:v>0.61699999999999999</c:v>
                </c:pt>
                <c:pt idx="5513">
                  <c:v>0.72</c:v>
                </c:pt>
                <c:pt idx="5514">
                  <c:v>0.435</c:v>
                </c:pt>
                <c:pt idx="5515">
                  <c:v>0.83499999999999996</c:v>
                </c:pt>
                <c:pt idx="5516">
                  <c:v>0.42</c:v>
                </c:pt>
                <c:pt idx="5517">
                  <c:v>0.188</c:v>
                </c:pt>
                <c:pt idx="5518">
                  <c:v>0.55900000000000005</c:v>
                </c:pt>
                <c:pt idx="5519">
                  <c:v>0.65200000000000002</c:v>
                </c:pt>
                <c:pt idx="5520">
                  <c:v>0.14399999999999999</c:v>
                </c:pt>
                <c:pt idx="5521">
                  <c:v>0.35499999999999998</c:v>
                </c:pt>
                <c:pt idx="5522">
                  <c:v>0.28899999999999998</c:v>
                </c:pt>
                <c:pt idx="5523">
                  <c:v>0.36499999999999999</c:v>
                </c:pt>
                <c:pt idx="5524">
                  <c:v>0.40899999999999997</c:v>
                </c:pt>
                <c:pt idx="5525">
                  <c:v>0.44700000000000001</c:v>
                </c:pt>
                <c:pt idx="5526">
                  <c:v>0.54900000000000004</c:v>
                </c:pt>
                <c:pt idx="5527">
                  <c:v>0.28100000000000003</c:v>
                </c:pt>
                <c:pt idx="5528">
                  <c:v>0.30499999999999999</c:v>
                </c:pt>
                <c:pt idx="5529">
                  <c:v>0.34300000000000003</c:v>
                </c:pt>
                <c:pt idx="5530">
                  <c:v>0.53300000000000003</c:v>
                </c:pt>
                <c:pt idx="5531">
                  <c:v>0.63500000000000001</c:v>
                </c:pt>
                <c:pt idx="5532">
                  <c:v>0.436</c:v>
                </c:pt>
                <c:pt idx="5533">
                  <c:v>0.61099999999999999</c:v>
                </c:pt>
                <c:pt idx="5534">
                  <c:v>0.39200000000000002</c:v>
                </c:pt>
                <c:pt idx="5535">
                  <c:v>0.56499999999999995</c:v>
                </c:pt>
                <c:pt idx="5536">
                  <c:v>0.16200000000000001</c:v>
                </c:pt>
                <c:pt idx="5537">
                  <c:v>0.58199999999999996</c:v>
                </c:pt>
                <c:pt idx="5538">
                  <c:v>0.59399999999999997</c:v>
                </c:pt>
                <c:pt idx="5539">
                  <c:v>0.36299999999999999</c:v>
                </c:pt>
                <c:pt idx="5540">
                  <c:v>0.59</c:v>
                </c:pt>
                <c:pt idx="5541">
                  <c:v>0.82799999999999996</c:v>
                </c:pt>
                <c:pt idx="5542">
                  <c:v>0.42899999999999999</c:v>
                </c:pt>
                <c:pt idx="5543">
                  <c:v>0.11600000000000001</c:v>
                </c:pt>
                <c:pt idx="5544">
                  <c:v>0.249</c:v>
                </c:pt>
                <c:pt idx="5545">
                  <c:v>0.64200000000000002</c:v>
                </c:pt>
                <c:pt idx="5546">
                  <c:v>0.51700000000000002</c:v>
                </c:pt>
                <c:pt idx="5547">
                  <c:v>0.71299999999999997</c:v>
                </c:pt>
                <c:pt idx="5548">
                  <c:v>0.27900000000000003</c:v>
                </c:pt>
                <c:pt idx="5549">
                  <c:v>0.56599999999999995</c:v>
                </c:pt>
                <c:pt idx="5550">
                  <c:v>0.46400000000000002</c:v>
                </c:pt>
                <c:pt idx="5551">
                  <c:v>0.755</c:v>
                </c:pt>
                <c:pt idx="5552">
                  <c:v>0.57799999999999996</c:v>
                </c:pt>
                <c:pt idx="5553">
                  <c:v>0.45</c:v>
                </c:pt>
                <c:pt idx="5554">
                  <c:v>0.28100000000000003</c:v>
                </c:pt>
                <c:pt idx="5555">
                  <c:v>0.315</c:v>
                </c:pt>
                <c:pt idx="5556">
                  <c:v>0.86399999999999999</c:v>
                </c:pt>
                <c:pt idx="5557">
                  <c:v>0.24299999999999999</c:v>
                </c:pt>
                <c:pt idx="5558">
                  <c:v>0.627</c:v>
                </c:pt>
                <c:pt idx="5559">
                  <c:v>0.80500000000000005</c:v>
                </c:pt>
                <c:pt idx="5560">
                  <c:v>0.29599999999999999</c:v>
                </c:pt>
                <c:pt idx="5561">
                  <c:v>0.55600000000000005</c:v>
                </c:pt>
                <c:pt idx="5562">
                  <c:v>0.71899999999999997</c:v>
                </c:pt>
                <c:pt idx="5563">
                  <c:v>0.27600000000000002</c:v>
                </c:pt>
                <c:pt idx="5564">
                  <c:v>0.79600000000000004</c:v>
                </c:pt>
                <c:pt idx="5565">
                  <c:v>0.68400000000000005</c:v>
                </c:pt>
                <c:pt idx="5566">
                  <c:v>0.40300000000000002</c:v>
                </c:pt>
                <c:pt idx="5567">
                  <c:v>0.27200000000000002</c:v>
                </c:pt>
                <c:pt idx="5568">
                  <c:v>0.72</c:v>
                </c:pt>
                <c:pt idx="5569">
                  <c:v>0.47499999999999998</c:v>
                </c:pt>
                <c:pt idx="5570">
                  <c:v>0.46800000000000003</c:v>
                </c:pt>
                <c:pt idx="5571">
                  <c:v>0.38400000000000001</c:v>
                </c:pt>
                <c:pt idx="5572">
                  <c:v>0.161</c:v>
                </c:pt>
                <c:pt idx="5573">
                  <c:v>0.67</c:v>
                </c:pt>
                <c:pt idx="5574">
                  <c:v>0.29899999999999999</c:v>
                </c:pt>
                <c:pt idx="5575">
                  <c:v>0.36</c:v>
                </c:pt>
                <c:pt idx="5576">
                  <c:v>0.61299999999999999</c:v>
                </c:pt>
                <c:pt idx="5577">
                  <c:v>0.45800000000000002</c:v>
                </c:pt>
                <c:pt idx="5578">
                  <c:v>0.22700000000000001</c:v>
                </c:pt>
                <c:pt idx="5579">
                  <c:v>0.14399999999999999</c:v>
                </c:pt>
                <c:pt idx="5580">
                  <c:v>0.29899999999999999</c:v>
                </c:pt>
                <c:pt idx="5581">
                  <c:v>0.379</c:v>
                </c:pt>
                <c:pt idx="5582">
                  <c:v>0.39600000000000002</c:v>
                </c:pt>
                <c:pt idx="5583">
                  <c:v>0.42699999999999999</c:v>
                </c:pt>
                <c:pt idx="5584">
                  <c:v>0.46400000000000002</c:v>
                </c:pt>
                <c:pt idx="5585">
                  <c:v>0.51400000000000001</c:v>
                </c:pt>
                <c:pt idx="5586">
                  <c:v>0.52500000000000002</c:v>
                </c:pt>
                <c:pt idx="5587">
                  <c:v>0.66500000000000004</c:v>
                </c:pt>
                <c:pt idx="5588">
                  <c:v>0.76600000000000001</c:v>
                </c:pt>
                <c:pt idx="5589">
                  <c:v>0.79500000000000004</c:v>
                </c:pt>
                <c:pt idx="5590">
                  <c:v>7.6999999999999999E-2</c:v>
                </c:pt>
                <c:pt idx="5591">
                  <c:v>0.60899999999999999</c:v>
                </c:pt>
                <c:pt idx="5592">
                  <c:v>0.45500000000000002</c:v>
                </c:pt>
                <c:pt idx="5593">
                  <c:v>0.56699999999999995</c:v>
                </c:pt>
                <c:pt idx="5594">
                  <c:v>0.55500000000000005</c:v>
                </c:pt>
                <c:pt idx="5595">
                  <c:v>0.109</c:v>
                </c:pt>
                <c:pt idx="5596">
                  <c:v>0.42399999999999999</c:v>
                </c:pt>
                <c:pt idx="5597">
                  <c:v>0.26600000000000001</c:v>
                </c:pt>
                <c:pt idx="5598">
                  <c:v>0.61099999999999999</c:v>
                </c:pt>
                <c:pt idx="5599">
                  <c:v>0.68799999999999994</c:v>
                </c:pt>
                <c:pt idx="5600">
                  <c:v>0.39500000000000002</c:v>
                </c:pt>
                <c:pt idx="5601">
                  <c:v>0.247</c:v>
                </c:pt>
                <c:pt idx="5602">
                  <c:v>0.29199999999999998</c:v>
                </c:pt>
                <c:pt idx="5603">
                  <c:v>0.374</c:v>
                </c:pt>
                <c:pt idx="5604">
                  <c:v>0.47299999999999998</c:v>
                </c:pt>
                <c:pt idx="5605">
                  <c:v>0.755</c:v>
                </c:pt>
                <c:pt idx="5606">
                  <c:v>0.8</c:v>
                </c:pt>
                <c:pt idx="5607">
                  <c:v>0.29099999999999998</c:v>
                </c:pt>
                <c:pt idx="5608">
                  <c:v>0.47699999999999998</c:v>
                </c:pt>
                <c:pt idx="5609">
                  <c:v>7.0999999999999994E-2</c:v>
                </c:pt>
                <c:pt idx="5610">
                  <c:v>0.63700000000000001</c:v>
                </c:pt>
                <c:pt idx="5611">
                  <c:v>0.17499999999999999</c:v>
                </c:pt>
                <c:pt idx="5612">
                  <c:v>0.109</c:v>
                </c:pt>
                <c:pt idx="5613">
                  <c:v>0.53500000000000003</c:v>
                </c:pt>
                <c:pt idx="5614">
                  <c:v>0.60599999999999998</c:v>
                </c:pt>
                <c:pt idx="5615">
                  <c:v>0.68300000000000005</c:v>
                </c:pt>
                <c:pt idx="5616">
                  <c:v>0.34699999999999998</c:v>
                </c:pt>
                <c:pt idx="5617">
                  <c:v>0.246</c:v>
                </c:pt>
                <c:pt idx="5618">
                  <c:v>0.435</c:v>
                </c:pt>
                <c:pt idx="5619">
                  <c:v>0.23400000000000001</c:v>
                </c:pt>
                <c:pt idx="5620">
                  <c:v>0.50800000000000001</c:v>
                </c:pt>
                <c:pt idx="5621">
                  <c:v>0.39900000000000002</c:v>
                </c:pt>
                <c:pt idx="5622">
                  <c:v>0.51100000000000001</c:v>
                </c:pt>
                <c:pt idx="5623">
                  <c:v>0.57099999999999995</c:v>
                </c:pt>
                <c:pt idx="5624">
                  <c:v>3.6999999999999998E-2</c:v>
                </c:pt>
                <c:pt idx="5625">
                  <c:v>0.14899999999999999</c:v>
                </c:pt>
                <c:pt idx="5626">
                  <c:v>0.39300000000000002</c:v>
                </c:pt>
                <c:pt idx="5627">
                  <c:v>0.42</c:v>
                </c:pt>
                <c:pt idx="5628">
                  <c:v>0.53300000000000003</c:v>
                </c:pt>
                <c:pt idx="5629">
                  <c:v>0.67900000000000005</c:v>
                </c:pt>
                <c:pt idx="5630">
                  <c:v>0.88300000000000001</c:v>
                </c:pt>
                <c:pt idx="5631">
                  <c:v>0.90300000000000002</c:v>
                </c:pt>
                <c:pt idx="5632">
                  <c:v>0.92600000000000005</c:v>
                </c:pt>
                <c:pt idx="5633">
                  <c:v>0.45800000000000002</c:v>
                </c:pt>
                <c:pt idx="5634">
                  <c:v>0.23300000000000001</c:v>
                </c:pt>
                <c:pt idx="5635">
                  <c:v>0.65600000000000003</c:v>
                </c:pt>
                <c:pt idx="5636">
                  <c:v>0.35899999999999999</c:v>
                </c:pt>
                <c:pt idx="5637">
                  <c:v>0.312</c:v>
                </c:pt>
                <c:pt idx="5638">
                  <c:v>0.42099999999999999</c:v>
                </c:pt>
                <c:pt idx="5639">
                  <c:v>0.65900000000000003</c:v>
                </c:pt>
                <c:pt idx="5640">
                  <c:v>0.67200000000000004</c:v>
                </c:pt>
                <c:pt idx="5641">
                  <c:v>0.72</c:v>
                </c:pt>
                <c:pt idx="5642">
                  <c:v>0.151</c:v>
                </c:pt>
                <c:pt idx="5643">
                  <c:v>4.9000000000000002E-2</c:v>
                </c:pt>
                <c:pt idx="5644">
                  <c:v>0.34699999999999998</c:v>
                </c:pt>
                <c:pt idx="5645">
                  <c:v>0.55000000000000004</c:v>
                </c:pt>
                <c:pt idx="5646">
                  <c:v>0.64400000000000002</c:v>
                </c:pt>
                <c:pt idx="5647">
                  <c:v>9.5000000000000001E-2</c:v>
                </c:pt>
                <c:pt idx="5648">
                  <c:v>0.71899999999999997</c:v>
                </c:pt>
                <c:pt idx="5649">
                  <c:v>0.27400000000000002</c:v>
                </c:pt>
                <c:pt idx="5650">
                  <c:v>0.49299999999999999</c:v>
                </c:pt>
                <c:pt idx="5651">
                  <c:v>0.53500000000000003</c:v>
                </c:pt>
                <c:pt idx="5652">
                  <c:v>0.52600000000000002</c:v>
                </c:pt>
                <c:pt idx="5653">
                  <c:v>0.24299999999999999</c:v>
                </c:pt>
                <c:pt idx="5654">
                  <c:v>0.51300000000000001</c:v>
                </c:pt>
                <c:pt idx="5655">
                  <c:v>0.441</c:v>
                </c:pt>
                <c:pt idx="5656">
                  <c:v>0.752</c:v>
                </c:pt>
                <c:pt idx="5657">
                  <c:v>0.27800000000000002</c:v>
                </c:pt>
                <c:pt idx="5658">
                  <c:v>0.16400000000000001</c:v>
                </c:pt>
                <c:pt idx="5659">
                  <c:v>0.66400000000000003</c:v>
                </c:pt>
                <c:pt idx="5660">
                  <c:v>0.623</c:v>
                </c:pt>
                <c:pt idx="5661">
                  <c:v>0.55500000000000005</c:v>
                </c:pt>
                <c:pt idx="5662">
                  <c:v>8.1000000000000003E-2</c:v>
                </c:pt>
                <c:pt idx="5663">
                  <c:v>5.0999999999999997E-2</c:v>
                </c:pt>
                <c:pt idx="5664">
                  <c:v>0.32600000000000001</c:v>
                </c:pt>
                <c:pt idx="5665">
                  <c:v>0.434</c:v>
                </c:pt>
                <c:pt idx="5666">
                  <c:v>0.47599999999999998</c:v>
                </c:pt>
                <c:pt idx="5667">
                  <c:v>0.71099999999999997</c:v>
                </c:pt>
                <c:pt idx="5668">
                  <c:v>0.93200000000000005</c:v>
                </c:pt>
                <c:pt idx="5669">
                  <c:v>0.94899999999999995</c:v>
                </c:pt>
                <c:pt idx="5670">
                  <c:v>0.32700000000000001</c:v>
                </c:pt>
                <c:pt idx="5671">
                  <c:v>0.441</c:v>
                </c:pt>
                <c:pt idx="5672">
                  <c:v>0.193</c:v>
                </c:pt>
                <c:pt idx="5673">
                  <c:v>0.53800000000000003</c:v>
                </c:pt>
                <c:pt idx="5674">
                  <c:v>0.52800000000000002</c:v>
                </c:pt>
                <c:pt idx="5675">
                  <c:v>0.48799999999999999</c:v>
                </c:pt>
                <c:pt idx="5676">
                  <c:v>0.22700000000000001</c:v>
                </c:pt>
                <c:pt idx="5677">
                  <c:v>0.48799999999999999</c:v>
                </c:pt>
                <c:pt idx="5678">
                  <c:v>0.158</c:v>
                </c:pt>
                <c:pt idx="5679">
                  <c:v>0.77200000000000002</c:v>
                </c:pt>
                <c:pt idx="5680">
                  <c:v>0.27900000000000003</c:v>
                </c:pt>
                <c:pt idx="5681">
                  <c:v>0.253</c:v>
                </c:pt>
                <c:pt idx="5682">
                  <c:v>0.44700000000000001</c:v>
                </c:pt>
                <c:pt idx="5683">
                  <c:v>0.63100000000000001</c:v>
                </c:pt>
                <c:pt idx="5684">
                  <c:v>0.35</c:v>
                </c:pt>
                <c:pt idx="5685">
                  <c:v>0.30199999999999999</c:v>
                </c:pt>
                <c:pt idx="5686">
                  <c:v>0.20699999999999999</c:v>
                </c:pt>
                <c:pt idx="5687">
                  <c:v>0.86</c:v>
                </c:pt>
                <c:pt idx="5688">
                  <c:v>0.36</c:v>
                </c:pt>
                <c:pt idx="5689">
                  <c:v>0.13100000000000001</c:v>
                </c:pt>
                <c:pt idx="5690">
                  <c:v>0.50600000000000001</c:v>
                </c:pt>
                <c:pt idx="5691">
                  <c:v>0.64100000000000001</c:v>
                </c:pt>
                <c:pt idx="5692">
                  <c:v>0.29299999999999998</c:v>
                </c:pt>
                <c:pt idx="5693">
                  <c:v>0.67</c:v>
                </c:pt>
                <c:pt idx="5694">
                  <c:v>0.77100000000000002</c:v>
                </c:pt>
                <c:pt idx="5695">
                  <c:v>0.32500000000000001</c:v>
                </c:pt>
                <c:pt idx="5696">
                  <c:v>0.56499999999999995</c:v>
                </c:pt>
                <c:pt idx="5697">
                  <c:v>0.52100000000000002</c:v>
                </c:pt>
                <c:pt idx="5698">
                  <c:v>0.39900000000000002</c:v>
                </c:pt>
                <c:pt idx="5699">
                  <c:v>0.82699999999999996</c:v>
                </c:pt>
                <c:pt idx="5700">
                  <c:v>0.56000000000000005</c:v>
                </c:pt>
                <c:pt idx="5701">
                  <c:v>0.56699999999999995</c:v>
                </c:pt>
                <c:pt idx="5702">
                  <c:v>0.2</c:v>
                </c:pt>
                <c:pt idx="5703">
                  <c:v>0.47</c:v>
                </c:pt>
                <c:pt idx="5704">
                  <c:v>0.624</c:v>
                </c:pt>
                <c:pt idx="5705">
                  <c:v>0.34</c:v>
                </c:pt>
                <c:pt idx="5706">
                  <c:v>0.378</c:v>
                </c:pt>
                <c:pt idx="5707">
                  <c:v>0.36199999999999999</c:v>
                </c:pt>
                <c:pt idx="5708">
                  <c:v>0.26700000000000002</c:v>
                </c:pt>
                <c:pt idx="5709">
                  <c:v>0.38500000000000001</c:v>
                </c:pt>
                <c:pt idx="5710">
                  <c:v>0.35699999999999998</c:v>
                </c:pt>
                <c:pt idx="5711">
                  <c:v>0.13800000000000001</c:v>
                </c:pt>
                <c:pt idx="5712">
                  <c:v>0.48899999999999999</c:v>
                </c:pt>
                <c:pt idx="5713">
                  <c:v>0.16900000000000001</c:v>
                </c:pt>
                <c:pt idx="5714">
                  <c:v>0.56000000000000005</c:v>
                </c:pt>
                <c:pt idx="5715">
                  <c:v>0.71499999999999997</c:v>
                </c:pt>
                <c:pt idx="5716">
                  <c:v>0.75600000000000001</c:v>
                </c:pt>
                <c:pt idx="5717">
                  <c:v>0.86399999999999999</c:v>
                </c:pt>
                <c:pt idx="5718">
                  <c:v>0.90300000000000002</c:v>
                </c:pt>
                <c:pt idx="5719">
                  <c:v>0.93</c:v>
                </c:pt>
                <c:pt idx="5720">
                  <c:v>0.307</c:v>
                </c:pt>
                <c:pt idx="5721">
                  <c:v>0.26300000000000001</c:v>
                </c:pt>
                <c:pt idx="5722">
                  <c:v>9.0999999999999998E-2</c:v>
                </c:pt>
                <c:pt idx="5723">
                  <c:v>5.5E-2</c:v>
                </c:pt>
                <c:pt idx="5724">
                  <c:v>0.67800000000000005</c:v>
                </c:pt>
                <c:pt idx="5725">
                  <c:v>6.3E-2</c:v>
                </c:pt>
                <c:pt idx="5726">
                  <c:v>0.70899999999999996</c:v>
                </c:pt>
                <c:pt idx="5727">
                  <c:v>0.219</c:v>
                </c:pt>
                <c:pt idx="5728">
                  <c:v>0.435</c:v>
                </c:pt>
                <c:pt idx="5729">
                  <c:v>0.64600000000000002</c:v>
                </c:pt>
                <c:pt idx="5730">
                  <c:v>0.65400000000000003</c:v>
                </c:pt>
                <c:pt idx="5731">
                  <c:v>0.43</c:v>
                </c:pt>
                <c:pt idx="5732">
                  <c:v>0.70599999999999996</c:v>
                </c:pt>
                <c:pt idx="5733">
                  <c:v>0.314</c:v>
                </c:pt>
                <c:pt idx="5734">
                  <c:v>0.49099999999999999</c:v>
                </c:pt>
                <c:pt idx="5735">
                  <c:v>0.19600000000000001</c:v>
                </c:pt>
                <c:pt idx="5736">
                  <c:v>0.318</c:v>
                </c:pt>
                <c:pt idx="5737">
                  <c:v>0.127</c:v>
                </c:pt>
                <c:pt idx="5738">
                  <c:v>0.20100000000000001</c:v>
                </c:pt>
                <c:pt idx="5739">
                  <c:v>0.40200000000000002</c:v>
                </c:pt>
                <c:pt idx="5740">
                  <c:v>0.52900000000000003</c:v>
                </c:pt>
                <c:pt idx="5741">
                  <c:v>0.55700000000000005</c:v>
                </c:pt>
                <c:pt idx="5742">
                  <c:v>0.33300000000000002</c:v>
                </c:pt>
                <c:pt idx="5743">
                  <c:v>0.30599999999999999</c:v>
                </c:pt>
                <c:pt idx="5744">
                  <c:v>0.153</c:v>
                </c:pt>
                <c:pt idx="5745">
                  <c:v>0.24299999999999999</c:v>
                </c:pt>
                <c:pt idx="5746">
                  <c:v>0.34899999999999998</c:v>
                </c:pt>
                <c:pt idx="5747">
                  <c:v>0.503</c:v>
                </c:pt>
                <c:pt idx="5748">
                  <c:v>0.33300000000000002</c:v>
                </c:pt>
                <c:pt idx="5749">
                  <c:v>0.25900000000000001</c:v>
                </c:pt>
                <c:pt idx="5750">
                  <c:v>0.46200000000000002</c:v>
                </c:pt>
                <c:pt idx="5751">
                  <c:v>0.51900000000000002</c:v>
                </c:pt>
                <c:pt idx="5752">
                  <c:v>0.75600000000000001</c:v>
                </c:pt>
                <c:pt idx="5753">
                  <c:v>0.19600000000000001</c:v>
                </c:pt>
                <c:pt idx="5754">
                  <c:v>0.47299999999999998</c:v>
                </c:pt>
                <c:pt idx="5755">
                  <c:v>0.26400000000000001</c:v>
                </c:pt>
                <c:pt idx="5756">
                  <c:v>0.43</c:v>
                </c:pt>
                <c:pt idx="5757">
                  <c:v>0.53800000000000003</c:v>
                </c:pt>
                <c:pt idx="5758">
                  <c:v>0.46</c:v>
                </c:pt>
                <c:pt idx="5759">
                  <c:v>0.375</c:v>
                </c:pt>
                <c:pt idx="5760">
                  <c:v>0.67400000000000004</c:v>
                </c:pt>
                <c:pt idx="5761">
                  <c:v>0.71699999999999997</c:v>
                </c:pt>
                <c:pt idx="5762">
                  <c:v>0.80700000000000005</c:v>
                </c:pt>
                <c:pt idx="5763">
                  <c:v>0.89300000000000002</c:v>
                </c:pt>
                <c:pt idx="5764">
                  <c:v>0.23400000000000001</c:v>
                </c:pt>
                <c:pt idx="5765">
                  <c:v>0.29499999999999998</c:v>
                </c:pt>
                <c:pt idx="5766">
                  <c:v>0.33100000000000002</c:v>
                </c:pt>
                <c:pt idx="5767">
                  <c:v>0.39</c:v>
                </c:pt>
                <c:pt idx="5768">
                  <c:v>0.35</c:v>
                </c:pt>
                <c:pt idx="5769">
                  <c:v>0.46500000000000002</c:v>
                </c:pt>
                <c:pt idx="5770">
                  <c:v>0.65300000000000002</c:v>
                </c:pt>
                <c:pt idx="5771">
                  <c:v>0.53</c:v>
                </c:pt>
                <c:pt idx="5772">
                  <c:v>0.41099999999999998</c:v>
                </c:pt>
                <c:pt idx="5773">
                  <c:v>0.748</c:v>
                </c:pt>
                <c:pt idx="5774">
                  <c:v>0.247</c:v>
                </c:pt>
                <c:pt idx="5775">
                  <c:v>0.55900000000000005</c:v>
                </c:pt>
                <c:pt idx="5776">
                  <c:v>0.73299999999999998</c:v>
                </c:pt>
                <c:pt idx="5777">
                  <c:v>0.41</c:v>
                </c:pt>
                <c:pt idx="5778">
                  <c:v>0.50700000000000001</c:v>
                </c:pt>
                <c:pt idx="5779">
                  <c:v>0.217</c:v>
                </c:pt>
                <c:pt idx="5780">
                  <c:v>7.1999999999999995E-2</c:v>
                </c:pt>
                <c:pt idx="5781">
                  <c:v>0.46800000000000003</c:v>
                </c:pt>
                <c:pt idx="5782">
                  <c:v>0.71499999999999997</c:v>
                </c:pt>
                <c:pt idx="5783">
                  <c:v>0.84099999999999997</c:v>
                </c:pt>
                <c:pt idx="5784">
                  <c:v>0.39500000000000002</c:v>
                </c:pt>
                <c:pt idx="5785">
                  <c:v>0.46</c:v>
                </c:pt>
                <c:pt idx="5786">
                  <c:v>0.83899999999999997</c:v>
                </c:pt>
                <c:pt idx="5787">
                  <c:v>0.11600000000000001</c:v>
                </c:pt>
                <c:pt idx="5788">
                  <c:v>0.32100000000000001</c:v>
                </c:pt>
                <c:pt idx="5789">
                  <c:v>0</c:v>
                </c:pt>
                <c:pt idx="5790">
                  <c:v>0.44600000000000001</c:v>
                </c:pt>
                <c:pt idx="5791">
                  <c:v>0.45700000000000002</c:v>
                </c:pt>
                <c:pt idx="5792">
                  <c:v>0.11600000000000001</c:v>
                </c:pt>
                <c:pt idx="5793">
                  <c:v>0.38900000000000001</c:v>
                </c:pt>
                <c:pt idx="5794">
                  <c:v>0.59399999999999997</c:v>
                </c:pt>
                <c:pt idx="5795">
                  <c:v>0.108</c:v>
                </c:pt>
                <c:pt idx="5796">
                  <c:v>0.622</c:v>
                </c:pt>
                <c:pt idx="5797">
                  <c:v>0.24199999999999999</c:v>
                </c:pt>
                <c:pt idx="5798">
                  <c:v>0.53100000000000003</c:v>
                </c:pt>
                <c:pt idx="5799">
                  <c:v>0.53400000000000003</c:v>
                </c:pt>
                <c:pt idx="5800">
                  <c:v>0.68600000000000005</c:v>
                </c:pt>
                <c:pt idx="5801">
                  <c:v>0.58399999999999996</c:v>
                </c:pt>
                <c:pt idx="5802">
                  <c:v>0.51900000000000002</c:v>
                </c:pt>
                <c:pt idx="5803">
                  <c:v>0.34699999999999998</c:v>
                </c:pt>
                <c:pt idx="5804">
                  <c:v>0.25</c:v>
                </c:pt>
                <c:pt idx="5805">
                  <c:v>0.439</c:v>
                </c:pt>
                <c:pt idx="5806">
                  <c:v>0.224</c:v>
                </c:pt>
                <c:pt idx="5807">
                  <c:v>7.6999999999999999E-2</c:v>
                </c:pt>
                <c:pt idx="5808">
                  <c:v>0.52500000000000002</c:v>
                </c:pt>
                <c:pt idx="5809">
                  <c:v>0.63</c:v>
                </c:pt>
                <c:pt idx="5810">
                  <c:v>0.63900000000000001</c:v>
                </c:pt>
                <c:pt idx="5811">
                  <c:v>0.42</c:v>
                </c:pt>
                <c:pt idx="5812">
                  <c:v>0.39700000000000002</c:v>
                </c:pt>
                <c:pt idx="5813">
                  <c:v>0.78800000000000003</c:v>
                </c:pt>
                <c:pt idx="5814">
                  <c:v>0.26900000000000002</c:v>
                </c:pt>
                <c:pt idx="5815">
                  <c:v>0.32100000000000001</c:v>
                </c:pt>
                <c:pt idx="5816">
                  <c:v>0.25900000000000001</c:v>
                </c:pt>
                <c:pt idx="5817">
                  <c:v>0.216</c:v>
                </c:pt>
                <c:pt idx="5818">
                  <c:v>5.6000000000000001E-2</c:v>
                </c:pt>
                <c:pt idx="5819">
                  <c:v>0.751</c:v>
                </c:pt>
                <c:pt idx="5820">
                  <c:v>0.39500000000000002</c:v>
                </c:pt>
                <c:pt idx="5821">
                  <c:v>0.314</c:v>
                </c:pt>
                <c:pt idx="5822">
                  <c:v>0.38700000000000001</c:v>
                </c:pt>
                <c:pt idx="5823">
                  <c:v>0.56399999999999995</c:v>
                </c:pt>
                <c:pt idx="5824">
                  <c:v>0.63100000000000001</c:v>
                </c:pt>
                <c:pt idx="5825">
                  <c:v>0.44</c:v>
                </c:pt>
                <c:pt idx="5826">
                  <c:v>0.56599999999999995</c:v>
                </c:pt>
                <c:pt idx="5827">
                  <c:v>0.32200000000000001</c:v>
                </c:pt>
                <c:pt idx="5828">
                  <c:v>0.42699999999999999</c:v>
                </c:pt>
                <c:pt idx="5829">
                  <c:v>0.52600000000000002</c:v>
                </c:pt>
                <c:pt idx="5830">
                  <c:v>0.55000000000000004</c:v>
                </c:pt>
                <c:pt idx="5831">
                  <c:v>0.57099999999999995</c:v>
                </c:pt>
                <c:pt idx="5832">
                  <c:v>6.4000000000000001E-2</c:v>
                </c:pt>
                <c:pt idx="5833">
                  <c:v>0.14199999999999999</c:v>
                </c:pt>
                <c:pt idx="5834">
                  <c:v>0.182</c:v>
                </c:pt>
                <c:pt idx="5835">
                  <c:v>5.3999999999999999E-2</c:v>
                </c:pt>
                <c:pt idx="5836">
                  <c:v>0.36599999999999999</c:v>
                </c:pt>
                <c:pt idx="5837">
                  <c:v>0.44900000000000001</c:v>
                </c:pt>
                <c:pt idx="5838">
                  <c:v>0.53200000000000003</c:v>
                </c:pt>
                <c:pt idx="5839">
                  <c:v>0.60599999999999998</c:v>
                </c:pt>
                <c:pt idx="5840">
                  <c:v>0.129</c:v>
                </c:pt>
                <c:pt idx="5841">
                  <c:v>0.39300000000000002</c:v>
                </c:pt>
                <c:pt idx="5842">
                  <c:v>0.64600000000000002</c:v>
                </c:pt>
                <c:pt idx="5843">
                  <c:v>0.82599999999999996</c:v>
                </c:pt>
                <c:pt idx="5844">
                  <c:v>0.24099999999999999</c:v>
                </c:pt>
                <c:pt idx="5845">
                  <c:v>0.65100000000000002</c:v>
                </c:pt>
                <c:pt idx="5846">
                  <c:v>0.26800000000000002</c:v>
                </c:pt>
                <c:pt idx="5847">
                  <c:v>0.11700000000000001</c:v>
                </c:pt>
                <c:pt idx="5848">
                  <c:v>0.39700000000000002</c:v>
                </c:pt>
                <c:pt idx="5849">
                  <c:v>0.46400000000000002</c:v>
                </c:pt>
                <c:pt idx="5850">
                  <c:v>0.69099999999999995</c:v>
                </c:pt>
                <c:pt idx="5851">
                  <c:v>0.35199999999999998</c:v>
                </c:pt>
                <c:pt idx="5852">
                  <c:v>0.88700000000000001</c:v>
                </c:pt>
                <c:pt idx="5853">
                  <c:v>0.41</c:v>
                </c:pt>
                <c:pt idx="5854">
                  <c:v>0.69599999999999995</c:v>
                </c:pt>
                <c:pt idx="5855">
                  <c:v>0.152</c:v>
                </c:pt>
                <c:pt idx="5856">
                  <c:v>0.36199999999999999</c:v>
                </c:pt>
                <c:pt idx="5857">
                  <c:v>0.55400000000000005</c:v>
                </c:pt>
                <c:pt idx="5858">
                  <c:v>0.23100000000000001</c:v>
                </c:pt>
                <c:pt idx="5859">
                  <c:v>0.53900000000000003</c:v>
                </c:pt>
                <c:pt idx="5860">
                  <c:v>0.68</c:v>
                </c:pt>
                <c:pt idx="5861">
                  <c:v>0.435</c:v>
                </c:pt>
                <c:pt idx="5862">
                  <c:v>0.42599999999999999</c:v>
                </c:pt>
                <c:pt idx="5863">
                  <c:v>6.3E-2</c:v>
                </c:pt>
                <c:pt idx="5864">
                  <c:v>0.20100000000000001</c:v>
                </c:pt>
                <c:pt idx="5865">
                  <c:v>0.57599999999999996</c:v>
                </c:pt>
                <c:pt idx="5866">
                  <c:v>0.88600000000000001</c:v>
                </c:pt>
                <c:pt idx="5867">
                  <c:v>0.26100000000000001</c:v>
                </c:pt>
                <c:pt idx="5868">
                  <c:v>0.26900000000000002</c:v>
                </c:pt>
                <c:pt idx="5869">
                  <c:v>0.34799999999999998</c:v>
                </c:pt>
                <c:pt idx="5870">
                  <c:v>0.54400000000000004</c:v>
                </c:pt>
                <c:pt idx="5871">
                  <c:v>0.58199999999999996</c:v>
                </c:pt>
                <c:pt idx="5872">
                  <c:v>0.61399999999999999</c:v>
                </c:pt>
                <c:pt idx="5873">
                  <c:v>0.30199999999999999</c:v>
                </c:pt>
                <c:pt idx="5874">
                  <c:v>0.73</c:v>
                </c:pt>
                <c:pt idx="5875">
                  <c:v>0.21199999999999999</c:v>
                </c:pt>
                <c:pt idx="5876">
                  <c:v>0.25900000000000001</c:v>
                </c:pt>
                <c:pt idx="5877">
                  <c:v>8.5999999999999993E-2</c:v>
                </c:pt>
                <c:pt idx="5878">
                  <c:v>0.64700000000000002</c:v>
                </c:pt>
                <c:pt idx="5879">
                  <c:v>0.51100000000000001</c:v>
                </c:pt>
                <c:pt idx="5880">
                  <c:v>0.23300000000000001</c:v>
                </c:pt>
                <c:pt idx="5881">
                  <c:v>0.79300000000000004</c:v>
                </c:pt>
                <c:pt idx="5882">
                  <c:v>0.47299999999999998</c:v>
                </c:pt>
                <c:pt idx="5883">
                  <c:v>0.36</c:v>
                </c:pt>
                <c:pt idx="5884">
                  <c:v>0.42699999999999999</c:v>
                </c:pt>
                <c:pt idx="5885">
                  <c:v>0.255</c:v>
                </c:pt>
                <c:pt idx="5886">
                  <c:v>0.63600000000000001</c:v>
                </c:pt>
                <c:pt idx="5887">
                  <c:v>0.497</c:v>
                </c:pt>
                <c:pt idx="5888">
                  <c:v>0.434</c:v>
                </c:pt>
                <c:pt idx="5889">
                  <c:v>0.22700000000000001</c:v>
                </c:pt>
                <c:pt idx="5890">
                  <c:v>0.34399999999999997</c:v>
                </c:pt>
                <c:pt idx="5891">
                  <c:v>0.223</c:v>
                </c:pt>
                <c:pt idx="5892">
                  <c:v>0.42199999999999999</c:v>
                </c:pt>
                <c:pt idx="5893">
                  <c:v>0.10299999999999999</c:v>
                </c:pt>
                <c:pt idx="5894">
                  <c:v>0.58699999999999997</c:v>
                </c:pt>
                <c:pt idx="5895">
                  <c:v>0.86799999999999999</c:v>
                </c:pt>
                <c:pt idx="5896">
                  <c:v>0.29799999999999999</c:v>
                </c:pt>
                <c:pt idx="5897">
                  <c:v>0.31900000000000001</c:v>
                </c:pt>
                <c:pt idx="5898">
                  <c:v>0.27600000000000002</c:v>
                </c:pt>
                <c:pt idx="5899">
                  <c:v>0.66700000000000004</c:v>
                </c:pt>
                <c:pt idx="5900">
                  <c:v>0.72599999999999998</c:v>
                </c:pt>
                <c:pt idx="5901">
                  <c:v>0.47699999999999998</c:v>
                </c:pt>
                <c:pt idx="5902">
                  <c:v>0.55900000000000005</c:v>
                </c:pt>
                <c:pt idx="5903">
                  <c:v>0.55200000000000005</c:v>
                </c:pt>
                <c:pt idx="5904">
                  <c:v>0.29499999999999998</c:v>
                </c:pt>
                <c:pt idx="5905">
                  <c:v>0.45300000000000001</c:v>
                </c:pt>
                <c:pt idx="5906">
                  <c:v>0.71199999999999997</c:v>
                </c:pt>
                <c:pt idx="5907">
                  <c:v>0.46500000000000002</c:v>
                </c:pt>
                <c:pt idx="5908">
                  <c:v>0.73699999999999999</c:v>
                </c:pt>
                <c:pt idx="5909">
                  <c:v>0.84299999999999997</c:v>
                </c:pt>
                <c:pt idx="5910">
                  <c:v>0.70099999999999996</c:v>
                </c:pt>
                <c:pt idx="5911">
                  <c:v>0.45300000000000001</c:v>
                </c:pt>
                <c:pt idx="5912">
                  <c:v>0.42</c:v>
                </c:pt>
                <c:pt idx="5913">
                  <c:v>0.64300000000000002</c:v>
                </c:pt>
                <c:pt idx="5914">
                  <c:v>0.72799999999999998</c:v>
                </c:pt>
                <c:pt idx="5915">
                  <c:v>0.23</c:v>
                </c:pt>
                <c:pt idx="5916">
                  <c:v>0.42</c:v>
                </c:pt>
                <c:pt idx="5917">
                  <c:v>4.9000000000000002E-2</c:v>
                </c:pt>
                <c:pt idx="5918">
                  <c:v>0.44600000000000001</c:v>
                </c:pt>
                <c:pt idx="5919">
                  <c:v>3.5999999999999997E-2</c:v>
                </c:pt>
                <c:pt idx="5920">
                  <c:v>0.217</c:v>
                </c:pt>
                <c:pt idx="5921">
                  <c:v>0.254</c:v>
                </c:pt>
                <c:pt idx="5922">
                  <c:v>8.3000000000000004E-2</c:v>
                </c:pt>
                <c:pt idx="5923">
                  <c:v>0.63300000000000001</c:v>
                </c:pt>
                <c:pt idx="5924">
                  <c:v>0.66300000000000003</c:v>
                </c:pt>
                <c:pt idx="5925">
                  <c:v>0.41399999999999998</c:v>
                </c:pt>
                <c:pt idx="5926">
                  <c:v>0.27200000000000002</c:v>
                </c:pt>
                <c:pt idx="5927">
                  <c:v>0.56100000000000005</c:v>
                </c:pt>
                <c:pt idx="5928">
                  <c:v>0.14199999999999999</c:v>
                </c:pt>
                <c:pt idx="5929">
                  <c:v>0.82199999999999995</c:v>
                </c:pt>
                <c:pt idx="5930">
                  <c:v>0.121</c:v>
                </c:pt>
                <c:pt idx="5931">
                  <c:v>0.153</c:v>
                </c:pt>
                <c:pt idx="5932">
                  <c:v>0.50900000000000001</c:v>
                </c:pt>
                <c:pt idx="5933">
                  <c:v>9.5000000000000001E-2</c:v>
                </c:pt>
                <c:pt idx="5934">
                  <c:v>0.161</c:v>
                </c:pt>
                <c:pt idx="5935">
                  <c:v>0.39700000000000002</c:v>
                </c:pt>
                <c:pt idx="5936">
                  <c:v>0.67800000000000005</c:v>
                </c:pt>
                <c:pt idx="5937">
                  <c:v>3.9E-2</c:v>
                </c:pt>
                <c:pt idx="5938">
                  <c:v>0.216</c:v>
                </c:pt>
                <c:pt idx="5939">
                  <c:v>0.28000000000000003</c:v>
                </c:pt>
                <c:pt idx="5940">
                  <c:v>0.46800000000000003</c:v>
                </c:pt>
                <c:pt idx="5941">
                  <c:v>0.35</c:v>
                </c:pt>
                <c:pt idx="5942">
                  <c:v>0.40699999999999997</c:v>
                </c:pt>
                <c:pt idx="5943">
                  <c:v>0.47099999999999997</c:v>
                </c:pt>
                <c:pt idx="5944">
                  <c:v>0.28799999999999998</c:v>
                </c:pt>
                <c:pt idx="5945">
                  <c:v>0.56100000000000005</c:v>
                </c:pt>
                <c:pt idx="5946">
                  <c:v>0.55800000000000005</c:v>
                </c:pt>
                <c:pt idx="5947">
                  <c:v>0.217</c:v>
                </c:pt>
                <c:pt idx="5948">
                  <c:v>0.107</c:v>
                </c:pt>
                <c:pt idx="5949">
                  <c:v>0.32600000000000001</c:v>
                </c:pt>
                <c:pt idx="5950">
                  <c:v>0.55000000000000004</c:v>
                </c:pt>
                <c:pt idx="5951">
                  <c:v>0.60399999999999998</c:v>
                </c:pt>
                <c:pt idx="5952">
                  <c:v>0.36199999999999999</c:v>
                </c:pt>
                <c:pt idx="5953">
                  <c:v>0.30299999999999999</c:v>
                </c:pt>
                <c:pt idx="5954">
                  <c:v>0.5</c:v>
                </c:pt>
                <c:pt idx="5955">
                  <c:v>0.73599999999999999</c:v>
                </c:pt>
                <c:pt idx="5956">
                  <c:v>0.9</c:v>
                </c:pt>
                <c:pt idx="5957">
                  <c:v>0.27500000000000002</c:v>
                </c:pt>
                <c:pt idx="5958">
                  <c:v>0.255</c:v>
                </c:pt>
                <c:pt idx="5959">
                  <c:v>0.36299999999999999</c:v>
                </c:pt>
                <c:pt idx="5960">
                  <c:v>0.11899999999999999</c:v>
                </c:pt>
                <c:pt idx="5961">
                  <c:v>0.51200000000000001</c:v>
                </c:pt>
                <c:pt idx="5962">
                  <c:v>0.47699999999999998</c:v>
                </c:pt>
                <c:pt idx="5963">
                  <c:v>0.54500000000000004</c:v>
                </c:pt>
                <c:pt idx="5964">
                  <c:v>0.23400000000000001</c:v>
                </c:pt>
                <c:pt idx="5965">
                  <c:v>0.53900000000000003</c:v>
                </c:pt>
                <c:pt idx="5966">
                  <c:v>0.57699999999999996</c:v>
                </c:pt>
                <c:pt idx="5967">
                  <c:v>0.51200000000000001</c:v>
                </c:pt>
                <c:pt idx="5968">
                  <c:v>0.29099999999999998</c:v>
                </c:pt>
                <c:pt idx="5969">
                  <c:v>0.54500000000000004</c:v>
                </c:pt>
                <c:pt idx="5970">
                  <c:v>0.38700000000000001</c:v>
                </c:pt>
                <c:pt idx="5971">
                  <c:v>0.27600000000000002</c:v>
                </c:pt>
                <c:pt idx="5972">
                  <c:v>0.441</c:v>
                </c:pt>
                <c:pt idx="5973">
                  <c:v>0.63200000000000001</c:v>
                </c:pt>
                <c:pt idx="5974">
                  <c:v>7.6999999999999999E-2</c:v>
                </c:pt>
                <c:pt idx="5975">
                  <c:v>0.28799999999999998</c:v>
                </c:pt>
                <c:pt idx="5976">
                  <c:v>0.246</c:v>
                </c:pt>
                <c:pt idx="5977">
                  <c:v>0.34300000000000003</c:v>
                </c:pt>
                <c:pt idx="5978">
                  <c:v>0.107</c:v>
                </c:pt>
                <c:pt idx="5979">
                  <c:v>0.154</c:v>
                </c:pt>
                <c:pt idx="5980">
                  <c:v>0.55600000000000005</c:v>
                </c:pt>
                <c:pt idx="5981">
                  <c:v>0.52200000000000002</c:v>
                </c:pt>
                <c:pt idx="5982">
                  <c:v>0.49</c:v>
                </c:pt>
                <c:pt idx="5983">
                  <c:v>0.115</c:v>
                </c:pt>
                <c:pt idx="5984">
                  <c:v>0.22900000000000001</c:v>
                </c:pt>
                <c:pt idx="5985">
                  <c:v>0.11600000000000001</c:v>
                </c:pt>
                <c:pt idx="5986">
                  <c:v>0.38700000000000001</c:v>
                </c:pt>
                <c:pt idx="5987">
                  <c:v>0.42199999999999999</c:v>
                </c:pt>
                <c:pt idx="5988">
                  <c:v>0.5</c:v>
                </c:pt>
                <c:pt idx="5989">
                  <c:v>0.437</c:v>
                </c:pt>
                <c:pt idx="5990">
                  <c:v>0.48</c:v>
                </c:pt>
                <c:pt idx="5991">
                  <c:v>0.315</c:v>
                </c:pt>
                <c:pt idx="5992">
                  <c:v>0.35399999999999998</c:v>
                </c:pt>
                <c:pt idx="5993">
                  <c:v>0.40300000000000002</c:v>
                </c:pt>
                <c:pt idx="5994">
                  <c:v>0.26200000000000001</c:v>
                </c:pt>
                <c:pt idx="5995">
                  <c:v>0.191</c:v>
                </c:pt>
                <c:pt idx="5996">
                  <c:v>0.68400000000000005</c:v>
                </c:pt>
                <c:pt idx="5997">
                  <c:v>0.193</c:v>
                </c:pt>
                <c:pt idx="5998">
                  <c:v>0.33800000000000002</c:v>
                </c:pt>
                <c:pt idx="5999">
                  <c:v>0.59499999999999997</c:v>
                </c:pt>
                <c:pt idx="6000">
                  <c:v>6.3E-2</c:v>
                </c:pt>
                <c:pt idx="6001">
                  <c:v>0.11</c:v>
                </c:pt>
                <c:pt idx="6002">
                  <c:v>0.13200000000000001</c:v>
                </c:pt>
                <c:pt idx="6003">
                  <c:v>0.74199999999999999</c:v>
                </c:pt>
                <c:pt idx="6004">
                  <c:v>0.34499999999999997</c:v>
                </c:pt>
                <c:pt idx="6005">
                  <c:v>0.20200000000000001</c:v>
                </c:pt>
                <c:pt idx="6006">
                  <c:v>0.42899999999999999</c:v>
                </c:pt>
                <c:pt idx="6007">
                  <c:v>0.72299999999999998</c:v>
                </c:pt>
                <c:pt idx="6008">
                  <c:v>0.755</c:v>
                </c:pt>
                <c:pt idx="6009">
                  <c:v>0.16700000000000001</c:v>
                </c:pt>
                <c:pt idx="6010">
                  <c:v>0.27900000000000003</c:v>
                </c:pt>
                <c:pt idx="6011">
                  <c:v>0.38900000000000001</c:v>
                </c:pt>
                <c:pt idx="6012">
                  <c:v>0.51800000000000002</c:v>
                </c:pt>
                <c:pt idx="6013">
                  <c:v>0.53600000000000003</c:v>
                </c:pt>
                <c:pt idx="6014">
                  <c:v>0.188</c:v>
                </c:pt>
                <c:pt idx="6015">
                  <c:v>0.57199999999999995</c:v>
                </c:pt>
                <c:pt idx="6016">
                  <c:v>0.23699999999999999</c:v>
                </c:pt>
                <c:pt idx="6017">
                  <c:v>0.28299999999999997</c:v>
                </c:pt>
                <c:pt idx="6018">
                  <c:v>0.70299999999999996</c:v>
                </c:pt>
                <c:pt idx="6019">
                  <c:v>0.68200000000000005</c:v>
                </c:pt>
                <c:pt idx="6020">
                  <c:v>0.20799999999999999</c:v>
                </c:pt>
                <c:pt idx="6021">
                  <c:v>0.30199999999999999</c:v>
                </c:pt>
                <c:pt idx="6022">
                  <c:v>0.39500000000000002</c:v>
                </c:pt>
                <c:pt idx="6023">
                  <c:v>0.36299999999999999</c:v>
                </c:pt>
                <c:pt idx="6024">
                  <c:v>0.752</c:v>
                </c:pt>
                <c:pt idx="6025">
                  <c:v>9.6000000000000002E-2</c:v>
                </c:pt>
                <c:pt idx="6026">
                  <c:v>0.14099999999999999</c:v>
                </c:pt>
                <c:pt idx="6027">
                  <c:v>0.64400000000000002</c:v>
                </c:pt>
                <c:pt idx="6028">
                  <c:v>0.27500000000000002</c:v>
                </c:pt>
                <c:pt idx="6029">
                  <c:v>0.71299999999999997</c:v>
                </c:pt>
                <c:pt idx="6030">
                  <c:v>0.52700000000000002</c:v>
                </c:pt>
                <c:pt idx="6031">
                  <c:v>0.223</c:v>
                </c:pt>
                <c:pt idx="6032">
                  <c:v>0.47799999999999998</c:v>
                </c:pt>
                <c:pt idx="6033">
                  <c:v>0.27</c:v>
                </c:pt>
                <c:pt idx="6034">
                  <c:v>0.34599999999999997</c:v>
                </c:pt>
                <c:pt idx="6035">
                  <c:v>0.41799999999999998</c:v>
                </c:pt>
                <c:pt idx="6036">
                  <c:v>0.56899999999999995</c:v>
                </c:pt>
                <c:pt idx="6037">
                  <c:v>0.40899999999999997</c:v>
                </c:pt>
                <c:pt idx="6038">
                  <c:v>0.29199999999999998</c:v>
                </c:pt>
                <c:pt idx="6039">
                  <c:v>0.157</c:v>
                </c:pt>
                <c:pt idx="6040">
                  <c:v>0.32400000000000001</c:v>
                </c:pt>
                <c:pt idx="6041">
                  <c:v>0.14399999999999999</c:v>
                </c:pt>
                <c:pt idx="6042">
                  <c:v>0.66300000000000003</c:v>
                </c:pt>
                <c:pt idx="6043">
                  <c:v>8.5000000000000006E-2</c:v>
                </c:pt>
                <c:pt idx="6044">
                  <c:v>0.61099999999999999</c:v>
                </c:pt>
                <c:pt idx="6045">
                  <c:v>0.498</c:v>
                </c:pt>
                <c:pt idx="6046">
                  <c:v>9.6000000000000002E-2</c:v>
                </c:pt>
                <c:pt idx="6047">
                  <c:v>0.106</c:v>
                </c:pt>
                <c:pt idx="6048">
                  <c:v>0.40200000000000002</c:v>
                </c:pt>
                <c:pt idx="6049">
                  <c:v>0.26100000000000001</c:v>
                </c:pt>
                <c:pt idx="6050">
                  <c:v>0.376</c:v>
                </c:pt>
                <c:pt idx="6051">
                  <c:v>0.77500000000000002</c:v>
                </c:pt>
                <c:pt idx="6052">
                  <c:v>0.218</c:v>
                </c:pt>
                <c:pt idx="6053">
                  <c:v>0.58099999999999996</c:v>
                </c:pt>
                <c:pt idx="6054">
                  <c:v>0.11600000000000001</c:v>
                </c:pt>
                <c:pt idx="6055">
                  <c:v>0.44900000000000001</c:v>
                </c:pt>
                <c:pt idx="6056">
                  <c:v>0.49099999999999999</c:v>
                </c:pt>
                <c:pt idx="6057">
                  <c:v>0.38900000000000001</c:v>
                </c:pt>
                <c:pt idx="6058">
                  <c:v>9.7000000000000003E-2</c:v>
                </c:pt>
                <c:pt idx="6059">
                  <c:v>0.86599999999999999</c:v>
                </c:pt>
                <c:pt idx="6060">
                  <c:v>0.88600000000000001</c:v>
                </c:pt>
                <c:pt idx="6061">
                  <c:v>0.36699999999999999</c:v>
                </c:pt>
                <c:pt idx="6062">
                  <c:v>0.18099999999999999</c:v>
                </c:pt>
                <c:pt idx="6063">
                  <c:v>0.17</c:v>
                </c:pt>
                <c:pt idx="6064">
                  <c:v>0.26500000000000001</c:v>
                </c:pt>
                <c:pt idx="6065">
                  <c:v>0.38700000000000001</c:v>
                </c:pt>
                <c:pt idx="6066">
                  <c:v>0.84799999999999998</c:v>
                </c:pt>
                <c:pt idx="6067">
                  <c:v>0.159</c:v>
                </c:pt>
                <c:pt idx="6068">
                  <c:v>0.77600000000000002</c:v>
                </c:pt>
                <c:pt idx="6069">
                  <c:v>0.21099999999999999</c:v>
                </c:pt>
                <c:pt idx="6070">
                  <c:v>0.17899999999999999</c:v>
                </c:pt>
                <c:pt idx="6071">
                  <c:v>0.42899999999999999</c:v>
                </c:pt>
                <c:pt idx="6072">
                  <c:v>0.23100000000000001</c:v>
                </c:pt>
                <c:pt idx="6073">
                  <c:v>0.21199999999999999</c:v>
                </c:pt>
                <c:pt idx="6074">
                  <c:v>0.152</c:v>
                </c:pt>
                <c:pt idx="6075">
                  <c:v>0.26800000000000002</c:v>
                </c:pt>
                <c:pt idx="6076">
                  <c:v>0.17899999999999999</c:v>
                </c:pt>
                <c:pt idx="6077">
                  <c:v>0.24199999999999999</c:v>
                </c:pt>
                <c:pt idx="6078">
                  <c:v>7.0000000000000007E-2</c:v>
                </c:pt>
                <c:pt idx="6079">
                  <c:v>0.16800000000000001</c:v>
                </c:pt>
                <c:pt idx="6080">
                  <c:v>0.879</c:v>
                </c:pt>
                <c:pt idx="6081">
                  <c:v>0.251</c:v>
                </c:pt>
                <c:pt idx="6082">
                  <c:v>0.71799999999999997</c:v>
                </c:pt>
                <c:pt idx="6083">
                  <c:v>0.42399999999999999</c:v>
                </c:pt>
                <c:pt idx="6084">
                  <c:v>0.67400000000000004</c:v>
                </c:pt>
                <c:pt idx="6085">
                  <c:v>0.315</c:v>
                </c:pt>
                <c:pt idx="6086">
                  <c:v>0.50800000000000001</c:v>
                </c:pt>
                <c:pt idx="6087">
                  <c:v>0.161</c:v>
                </c:pt>
                <c:pt idx="6088">
                  <c:v>0.48199999999999998</c:v>
                </c:pt>
                <c:pt idx="6089">
                  <c:v>0.63100000000000001</c:v>
                </c:pt>
                <c:pt idx="6090">
                  <c:v>0.122</c:v>
                </c:pt>
                <c:pt idx="6091">
                  <c:v>0.46600000000000003</c:v>
                </c:pt>
                <c:pt idx="6092">
                  <c:v>0.28499999999999998</c:v>
                </c:pt>
                <c:pt idx="6093">
                  <c:v>0.23499999999999999</c:v>
                </c:pt>
                <c:pt idx="6094">
                  <c:v>0.29799999999999999</c:v>
                </c:pt>
                <c:pt idx="6095">
                  <c:v>0.39</c:v>
                </c:pt>
                <c:pt idx="6096">
                  <c:v>0.495</c:v>
                </c:pt>
                <c:pt idx="6097">
                  <c:v>0.81299999999999994</c:v>
                </c:pt>
                <c:pt idx="6098">
                  <c:v>0.254</c:v>
                </c:pt>
                <c:pt idx="6099">
                  <c:v>0.60299999999999998</c:v>
                </c:pt>
                <c:pt idx="6100">
                  <c:v>0.16</c:v>
                </c:pt>
                <c:pt idx="6101">
                  <c:v>0.26200000000000001</c:v>
                </c:pt>
                <c:pt idx="6102">
                  <c:v>0.48099999999999998</c:v>
                </c:pt>
                <c:pt idx="6103">
                  <c:v>0.23499999999999999</c:v>
                </c:pt>
                <c:pt idx="6104">
                  <c:v>0.216</c:v>
                </c:pt>
                <c:pt idx="6105">
                  <c:v>0.79</c:v>
                </c:pt>
                <c:pt idx="6106">
                  <c:v>0.17899999999999999</c:v>
                </c:pt>
                <c:pt idx="6107">
                  <c:v>0.41699999999999998</c:v>
                </c:pt>
                <c:pt idx="6108">
                  <c:v>0.27100000000000002</c:v>
                </c:pt>
                <c:pt idx="6109">
                  <c:v>0.875</c:v>
                </c:pt>
                <c:pt idx="6110">
                  <c:v>0.31</c:v>
                </c:pt>
                <c:pt idx="6111">
                  <c:v>0.28000000000000003</c:v>
                </c:pt>
                <c:pt idx="6112">
                  <c:v>0.219</c:v>
                </c:pt>
                <c:pt idx="6113">
                  <c:v>0.46800000000000003</c:v>
                </c:pt>
                <c:pt idx="6114">
                  <c:v>0.188</c:v>
                </c:pt>
                <c:pt idx="6115">
                  <c:v>0.68200000000000005</c:v>
                </c:pt>
                <c:pt idx="6116">
                  <c:v>0.34799999999999998</c:v>
                </c:pt>
                <c:pt idx="6117">
                  <c:v>0.40799999999999997</c:v>
                </c:pt>
                <c:pt idx="6118">
                  <c:v>0.377</c:v>
                </c:pt>
                <c:pt idx="6119">
                  <c:v>0.71499999999999997</c:v>
                </c:pt>
                <c:pt idx="6120">
                  <c:v>0.31900000000000001</c:v>
                </c:pt>
                <c:pt idx="6121">
                  <c:v>0.47299999999999998</c:v>
                </c:pt>
                <c:pt idx="6122">
                  <c:v>0.11</c:v>
                </c:pt>
                <c:pt idx="6123">
                  <c:v>0.74299999999999999</c:v>
                </c:pt>
                <c:pt idx="6124">
                  <c:v>0.83599999999999997</c:v>
                </c:pt>
                <c:pt idx="6125">
                  <c:v>0.28499999999999998</c:v>
                </c:pt>
                <c:pt idx="6126">
                  <c:v>0.53400000000000003</c:v>
                </c:pt>
                <c:pt idx="6127">
                  <c:v>0.375</c:v>
                </c:pt>
                <c:pt idx="6128">
                  <c:v>0.315</c:v>
                </c:pt>
                <c:pt idx="6129">
                  <c:v>9.6000000000000002E-2</c:v>
                </c:pt>
                <c:pt idx="6130">
                  <c:v>0.432</c:v>
                </c:pt>
                <c:pt idx="6131">
                  <c:v>0.17</c:v>
                </c:pt>
                <c:pt idx="6132">
                  <c:v>9.1999999999999998E-2</c:v>
                </c:pt>
                <c:pt idx="6133">
                  <c:v>0.59799999999999998</c:v>
                </c:pt>
                <c:pt idx="6134">
                  <c:v>0.39600000000000002</c:v>
                </c:pt>
                <c:pt idx="6135">
                  <c:v>0.36699999999999999</c:v>
                </c:pt>
                <c:pt idx="6136">
                  <c:v>0.28799999999999998</c:v>
                </c:pt>
                <c:pt idx="6137">
                  <c:v>0.27400000000000002</c:v>
                </c:pt>
                <c:pt idx="6138">
                  <c:v>0.69099999999999995</c:v>
                </c:pt>
                <c:pt idx="6139">
                  <c:v>0.31</c:v>
                </c:pt>
                <c:pt idx="6140">
                  <c:v>0.39100000000000001</c:v>
                </c:pt>
                <c:pt idx="6141">
                  <c:v>0.623</c:v>
                </c:pt>
                <c:pt idx="6142">
                  <c:v>0.87</c:v>
                </c:pt>
                <c:pt idx="6143">
                  <c:v>0.55700000000000005</c:v>
                </c:pt>
                <c:pt idx="6144">
                  <c:v>0.52600000000000002</c:v>
                </c:pt>
                <c:pt idx="6145">
                  <c:v>0.58699999999999997</c:v>
                </c:pt>
                <c:pt idx="6146">
                  <c:v>0.67800000000000005</c:v>
                </c:pt>
                <c:pt idx="6147">
                  <c:v>5.3999999999999999E-2</c:v>
                </c:pt>
                <c:pt idx="6148">
                  <c:v>0.36399999999999999</c:v>
                </c:pt>
                <c:pt idx="6149">
                  <c:v>0.18</c:v>
                </c:pt>
                <c:pt idx="6150">
                  <c:v>5.8000000000000003E-2</c:v>
                </c:pt>
                <c:pt idx="6151">
                  <c:v>0.23599999999999999</c:v>
                </c:pt>
                <c:pt idx="6152">
                  <c:v>0.71199999999999997</c:v>
                </c:pt>
                <c:pt idx="6153">
                  <c:v>0.36899999999999999</c:v>
                </c:pt>
                <c:pt idx="6154">
                  <c:v>0.20499999999999999</c:v>
                </c:pt>
                <c:pt idx="6155">
                  <c:v>0.35899999999999999</c:v>
                </c:pt>
                <c:pt idx="6156">
                  <c:v>0.72299999999999998</c:v>
                </c:pt>
                <c:pt idx="6157">
                  <c:v>5.3999999999999999E-2</c:v>
                </c:pt>
                <c:pt idx="6158">
                  <c:v>0.57399999999999995</c:v>
                </c:pt>
                <c:pt idx="6159">
                  <c:v>0.224</c:v>
                </c:pt>
                <c:pt idx="6160">
                  <c:v>0.36199999999999999</c:v>
                </c:pt>
                <c:pt idx="6161">
                  <c:v>0.32100000000000001</c:v>
                </c:pt>
                <c:pt idx="6162">
                  <c:v>0.45800000000000002</c:v>
                </c:pt>
                <c:pt idx="6163">
                  <c:v>0.115</c:v>
                </c:pt>
                <c:pt idx="6164">
                  <c:v>9.4E-2</c:v>
                </c:pt>
                <c:pt idx="6165">
                  <c:v>0.46</c:v>
                </c:pt>
                <c:pt idx="6166">
                  <c:v>0.42</c:v>
                </c:pt>
                <c:pt idx="6167">
                  <c:v>0.436</c:v>
                </c:pt>
                <c:pt idx="6168">
                  <c:v>0.14799999999999999</c:v>
                </c:pt>
                <c:pt idx="6169">
                  <c:v>0.36299999999999999</c:v>
                </c:pt>
                <c:pt idx="6170">
                  <c:v>0.19400000000000001</c:v>
                </c:pt>
                <c:pt idx="6171">
                  <c:v>0.56000000000000005</c:v>
                </c:pt>
                <c:pt idx="6172">
                  <c:v>0.14099999999999999</c:v>
                </c:pt>
                <c:pt idx="6173">
                  <c:v>0.42699999999999999</c:v>
                </c:pt>
                <c:pt idx="6174">
                  <c:v>7.2999999999999995E-2</c:v>
                </c:pt>
                <c:pt idx="6175">
                  <c:v>0.49299999999999999</c:v>
                </c:pt>
                <c:pt idx="6176">
                  <c:v>0.38400000000000001</c:v>
                </c:pt>
                <c:pt idx="6177">
                  <c:v>0.45800000000000002</c:v>
                </c:pt>
                <c:pt idx="6178">
                  <c:v>0.55900000000000005</c:v>
                </c:pt>
                <c:pt idx="6179">
                  <c:v>0.29699999999999999</c:v>
                </c:pt>
                <c:pt idx="6180">
                  <c:v>0.311</c:v>
                </c:pt>
                <c:pt idx="6181">
                  <c:v>0.35899999999999999</c:v>
                </c:pt>
                <c:pt idx="6182">
                  <c:v>0.376</c:v>
                </c:pt>
                <c:pt idx="6183">
                  <c:v>0.504</c:v>
                </c:pt>
                <c:pt idx="6184">
                  <c:v>0.53</c:v>
                </c:pt>
                <c:pt idx="6185">
                  <c:v>0.67500000000000004</c:v>
                </c:pt>
                <c:pt idx="6186">
                  <c:v>0.84399999999999997</c:v>
                </c:pt>
                <c:pt idx="6187">
                  <c:v>0.65600000000000003</c:v>
                </c:pt>
                <c:pt idx="6188">
                  <c:v>9.7000000000000003E-2</c:v>
                </c:pt>
                <c:pt idx="6189">
                  <c:v>0.152</c:v>
                </c:pt>
                <c:pt idx="6190">
                  <c:v>0.26500000000000001</c:v>
                </c:pt>
                <c:pt idx="6191">
                  <c:v>0.49399999999999999</c:v>
                </c:pt>
                <c:pt idx="6192">
                  <c:v>0.44</c:v>
                </c:pt>
                <c:pt idx="6193">
                  <c:v>0.39500000000000002</c:v>
                </c:pt>
                <c:pt idx="6194">
                  <c:v>0.24099999999999999</c:v>
                </c:pt>
                <c:pt idx="6195">
                  <c:v>0.505</c:v>
                </c:pt>
                <c:pt idx="6196">
                  <c:v>0.32700000000000001</c:v>
                </c:pt>
                <c:pt idx="6197">
                  <c:v>0.60399999999999998</c:v>
                </c:pt>
                <c:pt idx="6198">
                  <c:v>0.44600000000000001</c:v>
                </c:pt>
                <c:pt idx="6199">
                  <c:v>0.14099999999999999</c:v>
                </c:pt>
                <c:pt idx="6200">
                  <c:v>0.35</c:v>
                </c:pt>
                <c:pt idx="6201">
                  <c:v>0.45800000000000002</c:v>
                </c:pt>
                <c:pt idx="6202">
                  <c:v>6.0999999999999999E-2</c:v>
                </c:pt>
                <c:pt idx="6203">
                  <c:v>0.52800000000000002</c:v>
                </c:pt>
                <c:pt idx="6204">
                  <c:v>0.247</c:v>
                </c:pt>
                <c:pt idx="6205">
                  <c:v>0.39700000000000002</c:v>
                </c:pt>
                <c:pt idx="6206">
                  <c:v>0.22</c:v>
                </c:pt>
                <c:pt idx="6207">
                  <c:v>0.192</c:v>
                </c:pt>
                <c:pt idx="6208">
                  <c:v>0.51900000000000002</c:v>
                </c:pt>
                <c:pt idx="6209">
                  <c:v>0.79300000000000004</c:v>
                </c:pt>
                <c:pt idx="6210">
                  <c:v>0.248</c:v>
                </c:pt>
                <c:pt idx="6211">
                  <c:v>0.152</c:v>
                </c:pt>
                <c:pt idx="6212">
                  <c:v>0.32200000000000001</c:v>
                </c:pt>
                <c:pt idx="6213">
                  <c:v>0.32100000000000001</c:v>
                </c:pt>
                <c:pt idx="6214">
                  <c:v>0.68600000000000005</c:v>
                </c:pt>
                <c:pt idx="6215">
                  <c:v>0.55900000000000005</c:v>
                </c:pt>
                <c:pt idx="6216">
                  <c:v>6.2E-2</c:v>
                </c:pt>
                <c:pt idx="6217">
                  <c:v>0.88200000000000001</c:v>
                </c:pt>
                <c:pt idx="6218">
                  <c:v>0.111</c:v>
                </c:pt>
                <c:pt idx="6219">
                  <c:v>0.81599999999999995</c:v>
                </c:pt>
                <c:pt idx="6220">
                  <c:v>0.36599999999999999</c:v>
                </c:pt>
                <c:pt idx="6221">
                  <c:v>0.45200000000000001</c:v>
                </c:pt>
                <c:pt idx="6222">
                  <c:v>0.54500000000000004</c:v>
                </c:pt>
                <c:pt idx="6223">
                  <c:v>0.33100000000000002</c:v>
                </c:pt>
                <c:pt idx="6224">
                  <c:v>0.40899999999999997</c:v>
                </c:pt>
                <c:pt idx="6225">
                  <c:v>0.63600000000000001</c:v>
                </c:pt>
                <c:pt idx="6226">
                  <c:v>0.86</c:v>
                </c:pt>
                <c:pt idx="6227">
                  <c:v>0.253</c:v>
                </c:pt>
                <c:pt idx="6228">
                  <c:v>0.46200000000000002</c:v>
                </c:pt>
                <c:pt idx="6229">
                  <c:v>0</c:v>
                </c:pt>
                <c:pt idx="6230">
                  <c:v>0.127</c:v>
                </c:pt>
                <c:pt idx="6231">
                  <c:v>0.14299999999999999</c:v>
                </c:pt>
                <c:pt idx="6232">
                  <c:v>0.152</c:v>
                </c:pt>
                <c:pt idx="6233">
                  <c:v>0.126</c:v>
                </c:pt>
                <c:pt idx="6234">
                  <c:v>0.33300000000000002</c:v>
                </c:pt>
                <c:pt idx="6235">
                  <c:v>0.84199999999999997</c:v>
                </c:pt>
                <c:pt idx="6236">
                  <c:v>0.27200000000000002</c:v>
                </c:pt>
                <c:pt idx="6237">
                  <c:v>0.125</c:v>
                </c:pt>
                <c:pt idx="6238">
                  <c:v>0.40899999999999997</c:v>
                </c:pt>
                <c:pt idx="6239">
                  <c:v>0.622</c:v>
                </c:pt>
                <c:pt idx="6240">
                  <c:v>0.75700000000000001</c:v>
                </c:pt>
                <c:pt idx="6241">
                  <c:v>7.6999999999999999E-2</c:v>
                </c:pt>
                <c:pt idx="6242">
                  <c:v>0.03</c:v>
                </c:pt>
                <c:pt idx="6243">
                  <c:v>0.114</c:v>
                </c:pt>
                <c:pt idx="6244">
                  <c:v>0.13600000000000001</c:v>
                </c:pt>
                <c:pt idx="6245">
                  <c:v>0.40699999999999997</c:v>
                </c:pt>
                <c:pt idx="6246">
                  <c:v>0.19</c:v>
                </c:pt>
                <c:pt idx="6247">
                  <c:v>0.52800000000000002</c:v>
                </c:pt>
                <c:pt idx="6248">
                  <c:v>0.70099999999999996</c:v>
                </c:pt>
                <c:pt idx="6249">
                  <c:v>0.32200000000000001</c:v>
                </c:pt>
                <c:pt idx="6250">
                  <c:v>0.26100000000000001</c:v>
                </c:pt>
                <c:pt idx="6251">
                  <c:v>0.44800000000000001</c:v>
                </c:pt>
                <c:pt idx="6252">
                  <c:v>0.69099999999999995</c:v>
                </c:pt>
                <c:pt idx="6253">
                  <c:v>0.89200000000000002</c:v>
                </c:pt>
                <c:pt idx="6254">
                  <c:v>0.40600000000000003</c:v>
                </c:pt>
                <c:pt idx="6255">
                  <c:v>0.16200000000000001</c:v>
                </c:pt>
                <c:pt idx="6256">
                  <c:v>0.308</c:v>
                </c:pt>
                <c:pt idx="6257">
                  <c:v>0.36799999999999999</c:v>
                </c:pt>
                <c:pt idx="6258">
                  <c:v>0.77100000000000002</c:v>
                </c:pt>
                <c:pt idx="6259">
                  <c:v>0.50700000000000001</c:v>
                </c:pt>
                <c:pt idx="6260">
                  <c:v>1.4E-2</c:v>
                </c:pt>
                <c:pt idx="6261">
                  <c:v>0.16</c:v>
                </c:pt>
                <c:pt idx="6262">
                  <c:v>0.42899999999999999</c:v>
                </c:pt>
                <c:pt idx="6263">
                  <c:v>0.374</c:v>
                </c:pt>
                <c:pt idx="6264">
                  <c:v>0.216</c:v>
                </c:pt>
                <c:pt idx="6265">
                  <c:v>9.4E-2</c:v>
                </c:pt>
                <c:pt idx="6266">
                  <c:v>0.436</c:v>
                </c:pt>
                <c:pt idx="6267">
                  <c:v>0.108</c:v>
                </c:pt>
                <c:pt idx="6268">
                  <c:v>0.745</c:v>
                </c:pt>
                <c:pt idx="6269">
                  <c:v>0.153</c:v>
                </c:pt>
                <c:pt idx="6270">
                  <c:v>0.13700000000000001</c:v>
                </c:pt>
                <c:pt idx="6271">
                  <c:v>9.8000000000000004E-2</c:v>
                </c:pt>
                <c:pt idx="6272">
                  <c:v>0.90300000000000002</c:v>
                </c:pt>
                <c:pt idx="6273">
                  <c:v>0.441</c:v>
                </c:pt>
                <c:pt idx="6274">
                  <c:v>0.47199999999999998</c:v>
                </c:pt>
                <c:pt idx="6275">
                  <c:v>9.2999999999999999E-2</c:v>
                </c:pt>
                <c:pt idx="6276">
                  <c:v>0.11899999999999999</c:v>
                </c:pt>
                <c:pt idx="6277">
                  <c:v>9.9000000000000005E-2</c:v>
                </c:pt>
                <c:pt idx="6278">
                  <c:v>0.30499999999999999</c:v>
                </c:pt>
                <c:pt idx="6279">
                  <c:v>0.11</c:v>
                </c:pt>
                <c:pt idx="6280">
                  <c:v>0.39500000000000002</c:v>
                </c:pt>
                <c:pt idx="6281">
                  <c:v>0.46600000000000003</c:v>
                </c:pt>
                <c:pt idx="6282">
                  <c:v>0.123</c:v>
                </c:pt>
                <c:pt idx="6283">
                  <c:v>0.88</c:v>
                </c:pt>
                <c:pt idx="6284">
                  <c:v>0.307</c:v>
                </c:pt>
                <c:pt idx="6285">
                  <c:v>0.623</c:v>
                </c:pt>
                <c:pt idx="6286">
                  <c:v>6.0999999999999999E-2</c:v>
                </c:pt>
                <c:pt idx="6287">
                  <c:v>0.18099999999999999</c:v>
                </c:pt>
                <c:pt idx="6288">
                  <c:v>0.26200000000000001</c:v>
                </c:pt>
                <c:pt idx="6289">
                  <c:v>0.13800000000000001</c:v>
                </c:pt>
                <c:pt idx="6290">
                  <c:v>0.22900000000000001</c:v>
                </c:pt>
                <c:pt idx="6291">
                  <c:v>0.67300000000000004</c:v>
                </c:pt>
                <c:pt idx="6292">
                  <c:v>3.5999999999999997E-2</c:v>
                </c:pt>
                <c:pt idx="6293">
                  <c:v>0.31900000000000001</c:v>
                </c:pt>
                <c:pt idx="6294">
                  <c:v>0.21</c:v>
                </c:pt>
                <c:pt idx="6295">
                  <c:v>0.39200000000000002</c:v>
                </c:pt>
                <c:pt idx="6296">
                  <c:v>0.25800000000000001</c:v>
                </c:pt>
                <c:pt idx="6297">
                  <c:v>0.23899999999999999</c:v>
                </c:pt>
                <c:pt idx="6298">
                  <c:v>0.16400000000000001</c:v>
                </c:pt>
                <c:pt idx="6299">
                  <c:v>0.28499999999999998</c:v>
                </c:pt>
                <c:pt idx="6300">
                  <c:v>0.57299999999999995</c:v>
                </c:pt>
                <c:pt idx="6301">
                  <c:v>0.66400000000000003</c:v>
                </c:pt>
                <c:pt idx="6302">
                  <c:v>0.25700000000000001</c:v>
                </c:pt>
                <c:pt idx="6303">
                  <c:v>1.7999999999999999E-2</c:v>
                </c:pt>
                <c:pt idx="6304">
                  <c:v>0.29299999999999998</c:v>
                </c:pt>
                <c:pt idx="6305">
                  <c:v>0.34499999999999997</c:v>
                </c:pt>
                <c:pt idx="6306">
                  <c:v>0.13900000000000001</c:v>
                </c:pt>
                <c:pt idx="6307">
                  <c:v>0.2</c:v>
                </c:pt>
                <c:pt idx="6308">
                  <c:v>0.19600000000000001</c:v>
                </c:pt>
                <c:pt idx="6309">
                  <c:v>0.25</c:v>
                </c:pt>
                <c:pt idx="6310">
                  <c:v>0.182</c:v>
                </c:pt>
                <c:pt idx="6311">
                  <c:v>0.16500000000000001</c:v>
                </c:pt>
                <c:pt idx="6312">
                  <c:v>0.11600000000000001</c:v>
                </c:pt>
                <c:pt idx="6313">
                  <c:v>0.41499999999999998</c:v>
                </c:pt>
                <c:pt idx="6314">
                  <c:v>0.55300000000000005</c:v>
                </c:pt>
                <c:pt idx="6315">
                  <c:v>0.59299999999999997</c:v>
                </c:pt>
                <c:pt idx="6316">
                  <c:v>0.70599999999999996</c:v>
                </c:pt>
                <c:pt idx="6317">
                  <c:v>0.71</c:v>
                </c:pt>
                <c:pt idx="6318">
                  <c:v>0.76600000000000001</c:v>
                </c:pt>
                <c:pt idx="6319">
                  <c:v>0.78</c:v>
                </c:pt>
                <c:pt idx="6320">
                  <c:v>0.83399999999999996</c:v>
                </c:pt>
                <c:pt idx="6321">
                  <c:v>0.84599999999999997</c:v>
                </c:pt>
                <c:pt idx="6322">
                  <c:v>0.89700000000000002</c:v>
                </c:pt>
                <c:pt idx="6323">
                  <c:v>0.92600000000000005</c:v>
                </c:pt>
                <c:pt idx="6324">
                  <c:v>0.23300000000000001</c:v>
                </c:pt>
                <c:pt idx="6325">
                  <c:v>0.28699999999999998</c:v>
                </c:pt>
                <c:pt idx="6326">
                  <c:v>0.13600000000000001</c:v>
                </c:pt>
                <c:pt idx="6327">
                  <c:v>0.34300000000000003</c:v>
                </c:pt>
                <c:pt idx="6328">
                  <c:v>6.0999999999999999E-2</c:v>
                </c:pt>
                <c:pt idx="6329">
                  <c:v>0.54300000000000004</c:v>
                </c:pt>
                <c:pt idx="6330">
                  <c:v>0.26900000000000002</c:v>
                </c:pt>
                <c:pt idx="6331">
                  <c:v>0.11799999999999999</c:v>
                </c:pt>
                <c:pt idx="6332">
                  <c:v>0.497</c:v>
                </c:pt>
                <c:pt idx="6333">
                  <c:v>0.36199999999999999</c:v>
                </c:pt>
                <c:pt idx="6334">
                  <c:v>0.14299999999999999</c:v>
                </c:pt>
                <c:pt idx="6335">
                  <c:v>0.64200000000000002</c:v>
                </c:pt>
                <c:pt idx="6336">
                  <c:v>2.1000000000000001E-2</c:v>
                </c:pt>
                <c:pt idx="6337">
                  <c:v>0.375</c:v>
                </c:pt>
                <c:pt idx="6338">
                  <c:v>0.60399999999999998</c:v>
                </c:pt>
                <c:pt idx="6339">
                  <c:v>0.104</c:v>
                </c:pt>
                <c:pt idx="6340">
                  <c:v>0.19500000000000001</c:v>
                </c:pt>
                <c:pt idx="6341">
                  <c:v>0.44500000000000001</c:v>
                </c:pt>
                <c:pt idx="6342">
                  <c:v>0.67700000000000005</c:v>
                </c:pt>
                <c:pt idx="6343">
                  <c:v>0.36899999999999999</c:v>
                </c:pt>
                <c:pt idx="6344">
                  <c:v>0.40699999999999997</c:v>
                </c:pt>
                <c:pt idx="6345">
                  <c:v>0.63900000000000001</c:v>
                </c:pt>
                <c:pt idx="6346">
                  <c:v>0.13900000000000001</c:v>
                </c:pt>
                <c:pt idx="6347">
                  <c:v>0.21299999999999999</c:v>
                </c:pt>
                <c:pt idx="6348">
                  <c:v>0.36699999999999999</c:v>
                </c:pt>
                <c:pt idx="6349">
                  <c:v>0.109</c:v>
                </c:pt>
                <c:pt idx="6350">
                  <c:v>0.63</c:v>
                </c:pt>
                <c:pt idx="6351">
                  <c:v>0.50900000000000001</c:v>
                </c:pt>
                <c:pt idx="6352">
                  <c:v>0.218</c:v>
                </c:pt>
                <c:pt idx="6353">
                  <c:v>0.20399999999999999</c:v>
                </c:pt>
                <c:pt idx="6354">
                  <c:v>0.30099999999999999</c:v>
                </c:pt>
                <c:pt idx="6355">
                  <c:v>0.33100000000000002</c:v>
                </c:pt>
                <c:pt idx="6356">
                  <c:v>0.36</c:v>
                </c:pt>
                <c:pt idx="6357">
                  <c:v>5.1999999999999998E-2</c:v>
                </c:pt>
                <c:pt idx="6358">
                  <c:v>0.49</c:v>
                </c:pt>
                <c:pt idx="6359">
                  <c:v>0.58399999999999996</c:v>
                </c:pt>
                <c:pt idx="6360">
                  <c:v>0.71399999999999997</c:v>
                </c:pt>
                <c:pt idx="6361">
                  <c:v>7.0999999999999994E-2</c:v>
                </c:pt>
                <c:pt idx="6362">
                  <c:v>0.59699999999999998</c:v>
                </c:pt>
                <c:pt idx="6363">
                  <c:v>0.72199999999999998</c:v>
                </c:pt>
                <c:pt idx="6364">
                  <c:v>0.93600000000000005</c:v>
                </c:pt>
                <c:pt idx="6365">
                  <c:v>0.28999999999999998</c:v>
                </c:pt>
                <c:pt idx="6366">
                  <c:v>0.32500000000000001</c:v>
                </c:pt>
                <c:pt idx="6367">
                  <c:v>0.34899999999999998</c:v>
                </c:pt>
                <c:pt idx="6368">
                  <c:v>0.40200000000000002</c:v>
                </c:pt>
                <c:pt idx="6369">
                  <c:v>0.374</c:v>
                </c:pt>
                <c:pt idx="6370">
                  <c:v>0.36499999999999999</c:v>
                </c:pt>
                <c:pt idx="6371">
                  <c:v>7.1999999999999995E-2</c:v>
                </c:pt>
                <c:pt idx="6372">
                  <c:v>0.35299999999999998</c:v>
                </c:pt>
                <c:pt idx="6373">
                  <c:v>0.317</c:v>
                </c:pt>
                <c:pt idx="6374">
                  <c:v>0.107</c:v>
                </c:pt>
                <c:pt idx="6375">
                  <c:v>0.317</c:v>
                </c:pt>
                <c:pt idx="6376">
                  <c:v>0.192</c:v>
                </c:pt>
                <c:pt idx="6377">
                  <c:v>0.26200000000000001</c:v>
                </c:pt>
                <c:pt idx="6378">
                  <c:v>0.57299999999999995</c:v>
                </c:pt>
                <c:pt idx="6379">
                  <c:v>0.17699999999999999</c:v>
                </c:pt>
                <c:pt idx="6380">
                  <c:v>0.22600000000000001</c:v>
                </c:pt>
                <c:pt idx="6381">
                  <c:v>0.216</c:v>
                </c:pt>
                <c:pt idx="6382">
                  <c:v>0.127</c:v>
                </c:pt>
                <c:pt idx="6383">
                  <c:v>0.41499999999999998</c:v>
                </c:pt>
                <c:pt idx="6384">
                  <c:v>0.13200000000000001</c:v>
                </c:pt>
                <c:pt idx="6385">
                  <c:v>0.48799999999999999</c:v>
                </c:pt>
                <c:pt idx="6386">
                  <c:v>0.73299999999999998</c:v>
                </c:pt>
                <c:pt idx="6387">
                  <c:v>6.3E-2</c:v>
                </c:pt>
                <c:pt idx="6388">
                  <c:v>0.11799999999999999</c:v>
                </c:pt>
                <c:pt idx="6389">
                  <c:v>0.27500000000000002</c:v>
                </c:pt>
                <c:pt idx="6390">
                  <c:v>0.64800000000000002</c:v>
                </c:pt>
                <c:pt idx="6391">
                  <c:v>0.66300000000000003</c:v>
                </c:pt>
                <c:pt idx="6392">
                  <c:v>0.71799999999999997</c:v>
                </c:pt>
                <c:pt idx="6393">
                  <c:v>0.72299999999999998</c:v>
                </c:pt>
                <c:pt idx="6394">
                  <c:v>0.80300000000000005</c:v>
                </c:pt>
                <c:pt idx="6395">
                  <c:v>0.82199999999999995</c:v>
                </c:pt>
                <c:pt idx="6396">
                  <c:v>0.34399999999999997</c:v>
                </c:pt>
                <c:pt idx="6397">
                  <c:v>3.6999999999999998E-2</c:v>
                </c:pt>
                <c:pt idx="6398">
                  <c:v>8.9999999999999993E-3</c:v>
                </c:pt>
                <c:pt idx="6399">
                  <c:v>0.36199999999999999</c:v>
                </c:pt>
                <c:pt idx="6400">
                  <c:v>0.14099999999999999</c:v>
                </c:pt>
                <c:pt idx="6401">
                  <c:v>0.52300000000000002</c:v>
                </c:pt>
                <c:pt idx="6402">
                  <c:v>0.46200000000000002</c:v>
                </c:pt>
                <c:pt idx="6403">
                  <c:v>0</c:v>
                </c:pt>
                <c:pt idx="6404">
                  <c:v>0.23499999999999999</c:v>
                </c:pt>
                <c:pt idx="6405">
                  <c:v>9.6000000000000002E-2</c:v>
                </c:pt>
                <c:pt idx="6406">
                  <c:v>0.76900000000000002</c:v>
                </c:pt>
                <c:pt idx="6407">
                  <c:v>0.67</c:v>
                </c:pt>
                <c:pt idx="6408">
                  <c:v>0.12</c:v>
                </c:pt>
                <c:pt idx="6409">
                  <c:v>0.52200000000000002</c:v>
                </c:pt>
                <c:pt idx="6410">
                  <c:v>0.65400000000000003</c:v>
                </c:pt>
                <c:pt idx="6411">
                  <c:v>0.90200000000000002</c:v>
                </c:pt>
                <c:pt idx="6412">
                  <c:v>0.61599999999999999</c:v>
                </c:pt>
                <c:pt idx="6413">
                  <c:v>5.2999999999999999E-2</c:v>
                </c:pt>
                <c:pt idx="6414">
                  <c:v>0.41199999999999998</c:v>
                </c:pt>
                <c:pt idx="6415">
                  <c:v>0.17299999999999999</c:v>
                </c:pt>
                <c:pt idx="6416">
                  <c:v>0.126</c:v>
                </c:pt>
                <c:pt idx="6417">
                  <c:v>0.17699999999999999</c:v>
                </c:pt>
                <c:pt idx="6418">
                  <c:v>0.30599999999999999</c:v>
                </c:pt>
                <c:pt idx="6419">
                  <c:v>7.0999999999999994E-2</c:v>
                </c:pt>
                <c:pt idx="6420">
                  <c:v>0.20399999999999999</c:v>
                </c:pt>
                <c:pt idx="6421">
                  <c:v>0.57099999999999995</c:v>
                </c:pt>
                <c:pt idx="6422">
                  <c:v>0.23300000000000001</c:v>
                </c:pt>
                <c:pt idx="6423">
                  <c:v>0.53600000000000003</c:v>
                </c:pt>
                <c:pt idx="6424">
                  <c:v>1.2999999999999999E-2</c:v>
                </c:pt>
                <c:pt idx="6425">
                  <c:v>0.35899999999999999</c:v>
                </c:pt>
                <c:pt idx="6426">
                  <c:v>0.41599999999999998</c:v>
                </c:pt>
                <c:pt idx="6427">
                  <c:v>0.41</c:v>
                </c:pt>
                <c:pt idx="6428">
                  <c:v>0.45500000000000002</c:v>
                </c:pt>
                <c:pt idx="6429">
                  <c:v>0.76300000000000001</c:v>
                </c:pt>
                <c:pt idx="6430">
                  <c:v>0.73099999999999998</c:v>
                </c:pt>
                <c:pt idx="6431">
                  <c:v>6.9000000000000006E-2</c:v>
                </c:pt>
                <c:pt idx="6432">
                  <c:v>0.624</c:v>
                </c:pt>
                <c:pt idx="6433">
                  <c:v>7.2999999999999995E-2</c:v>
                </c:pt>
                <c:pt idx="6434">
                  <c:v>0.53200000000000003</c:v>
                </c:pt>
                <c:pt idx="6435">
                  <c:v>0.499</c:v>
                </c:pt>
                <c:pt idx="6436">
                  <c:v>0.64</c:v>
                </c:pt>
                <c:pt idx="6437">
                  <c:v>0.17</c:v>
                </c:pt>
                <c:pt idx="6438">
                  <c:v>0.221</c:v>
                </c:pt>
                <c:pt idx="6439">
                  <c:v>0.185</c:v>
                </c:pt>
                <c:pt idx="6440">
                  <c:v>3.5000000000000003E-2</c:v>
                </c:pt>
                <c:pt idx="6441">
                  <c:v>0.254</c:v>
                </c:pt>
                <c:pt idx="6442">
                  <c:v>0.20599999999999999</c:v>
                </c:pt>
                <c:pt idx="6443">
                  <c:v>0.27400000000000002</c:v>
                </c:pt>
                <c:pt idx="6444">
                  <c:v>0.35599999999999998</c:v>
                </c:pt>
                <c:pt idx="6445">
                  <c:v>0.58299999999999996</c:v>
                </c:pt>
                <c:pt idx="6446">
                  <c:v>8.8999999999999996E-2</c:v>
                </c:pt>
                <c:pt idx="6447">
                  <c:v>9.9000000000000005E-2</c:v>
                </c:pt>
                <c:pt idx="6448">
                  <c:v>0.14299999999999999</c:v>
                </c:pt>
                <c:pt idx="6449">
                  <c:v>0.184</c:v>
                </c:pt>
                <c:pt idx="6450">
                  <c:v>0.25800000000000001</c:v>
                </c:pt>
                <c:pt idx="6451">
                  <c:v>0.47499999999999998</c:v>
                </c:pt>
                <c:pt idx="6452">
                  <c:v>0.53700000000000003</c:v>
                </c:pt>
                <c:pt idx="6453">
                  <c:v>0.66800000000000004</c:v>
                </c:pt>
                <c:pt idx="6454">
                  <c:v>0.68600000000000005</c:v>
                </c:pt>
                <c:pt idx="6455">
                  <c:v>0.45600000000000002</c:v>
                </c:pt>
                <c:pt idx="6456">
                  <c:v>0.27600000000000002</c:v>
                </c:pt>
                <c:pt idx="6457">
                  <c:v>0.152</c:v>
                </c:pt>
                <c:pt idx="6458">
                  <c:v>0.68799999999999994</c:v>
                </c:pt>
                <c:pt idx="6459">
                  <c:v>0.113</c:v>
                </c:pt>
                <c:pt idx="6460">
                  <c:v>0.27700000000000002</c:v>
                </c:pt>
                <c:pt idx="6461">
                  <c:v>0.443</c:v>
                </c:pt>
                <c:pt idx="6462">
                  <c:v>0.32700000000000001</c:v>
                </c:pt>
                <c:pt idx="6463">
                  <c:v>0.44900000000000001</c:v>
                </c:pt>
                <c:pt idx="6464">
                  <c:v>0.42899999999999999</c:v>
                </c:pt>
                <c:pt idx="6465">
                  <c:v>0.3</c:v>
                </c:pt>
                <c:pt idx="6466">
                  <c:v>0.77100000000000002</c:v>
                </c:pt>
                <c:pt idx="6467">
                  <c:v>0.27</c:v>
                </c:pt>
                <c:pt idx="6468">
                  <c:v>0.70499999999999996</c:v>
                </c:pt>
                <c:pt idx="6469">
                  <c:v>0.66100000000000003</c:v>
                </c:pt>
                <c:pt idx="6470">
                  <c:v>0.14599999999999999</c:v>
                </c:pt>
                <c:pt idx="6471">
                  <c:v>0.45</c:v>
                </c:pt>
                <c:pt idx="6472">
                  <c:v>0.80500000000000005</c:v>
                </c:pt>
                <c:pt idx="6473">
                  <c:v>0.246</c:v>
                </c:pt>
                <c:pt idx="6474">
                  <c:v>0.36499999999999999</c:v>
                </c:pt>
                <c:pt idx="6475">
                  <c:v>0.09</c:v>
                </c:pt>
                <c:pt idx="6476">
                  <c:v>0.71599999999999997</c:v>
                </c:pt>
                <c:pt idx="6477">
                  <c:v>0.24299999999999999</c:v>
                </c:pt>
                <c:pt idx="6478">
                  <c:v>5.8000000000000003E-2</c:v>
                </c:pt>
                <c:pt idx="6479">
                  <c:v>0.30599999999999999</c:v>
                </c:pt>
                <c:pt idx="6480">
                  <c:v>0.157</c:v>
                </c:pt>
                <c:pt idx="6481">
                  <c:v>0.55300000000000005</c:v>
                </c:pt>
                <c:pt idx="6482">
                  <c:v>0.65900000000000003</c:v>
                </c:pt>
                <c:pt idx="6483">
                  <c:v>0.68600000000000005</c:v>
                </c:pt>
                <c:pt idx="6484">
                  <c:v>0.47899999999999998</c:v>
                </c:pt>
                <c:pt idx="6485">
                  <c:v>0.318</c:v>
                </c:pt>
                <c:pt idx="6486">
                  <c:v>0.38100000000000001</c:v>
                </c:pt>
                <c:pt idx="6487">
                  <c:v>0.71799999999999997</c:v>
                </c:pt>
                <c:pt idx="6488">
                  <c:v>0.46700000000000003</c:v>
                </c:pt>
                <c:pt idx="6489">
                  <c:v>0.107</c:v>
                </c:pt>
                <c:pt idx="6490">
                  <c:v>0.69</c:v>
                </c:pt>
                <c:pt idx="6491">
                  <c:v>0.29299999999999998</c:v>
                </c:pt>
                <c:pt idx="6492">
                  <c:v>0.29399999999999998</c:v>
                </c:pt>
                <c:pt idx="6493">
                  <c:v>0.14399999999999999</c:v>
                </c:pt>
                <c:pt idx="6494">
                  <c:v>0.20499999999999999</c:v>
                </c:pt>
                <c:pt idx="6495">
                  <c:v>0.13200000000000001</c:v>
                </c:pt>
                <c:pt idx="6496">
                  <c:v>0.17599999999999999</c:v>
                </c:pt>
                <c:pt idx="6497">
                  <c:v>0.78</c:v>
                </c:pt>
                <c:pt idx="6498">
                  <c:v>0.91300000000000003</c:v>
                </c:pt>
                <c:pt idx="6499">
                  <c:v>0.36099999999999999</c:v>
                </c:pt>
                <c:pt idx="6500">
                  <c:v>0.27900000000000003</c:v>
                </c:pt>
                <c:pt idx="6501">
                  <c:v>0.54300000000000004</c:v>
                </c:pt>
                <c:pt idx="6502">
                  <c:v>0.58099999999999996</c:v>
                </c:pt>
                <c:pt idx="6503">
                  <c:v>0.248</c:v>
                </c:pt>
                <c:pt idx="6504">
                  <c:v>0.185</c:v>
                </c:pt>
                <c:pt idx="6505">
                  <c:v>0.60599999999999998</c:v>
                </c:pt>
                <c:pt idx="6506">
                  <c:v>0.76100000000000001</c:v>
                </c:pt>
                <c:pt idx="6507">
                  <c:v>0.76300000000000001</c:v>
                </c:pt>
                <c:pt idx="6508">
                  <c:v>0.27200000000000002</c:v>
                </c:pt>
                <c:pt idx="6509">
                  <c:v>0.21</c:v>
                </c:pt>
                <c:pt idx="6510">
                  <c:v>0.48099999999999998</c:v>
                </c:pt>
                <c:pt idx="6511">
                  <c:v>0.29899999999999999</c:v>
                </c:pt>
                <c:pt idx="6512">
                  <c:v>0.23899999999999999</c:v>
                </c:pt>
                <c:pt idx="6513">
                  <c:v>0.50900000000000001</c:v>
                </c:pt>
                <c:pt idx="6514">
                  <c:v>0.64200000000000002</c:v>
                </c:pt>
                <c:pt idx="6515">
                  <c:v>0.72899999999999998</c:v>
                </c:pt>
                <c:pt idx="6516">
                  <c:v>0.112</c:v>
                </c:pt>
                <c:pt idx="6517">
                  <c:v>2.4E-2</c:v>
                </c:pt>
                <c:pt idx="6518">
                  <c:v>0.04</c:v>
                </c:pt>
                <c:pt idx="6519">
                  <c:v>0.17100000000000001</c:v>
                </c:pt>
                <c:pt idx="6520">
                  <c:v>0.45400000000000001</c:v>
                </c:pt>
                <c:pt idx="6521">
                  <c:v>0.32200000000000001</c:v>
                </c:pt>
                <c:pt idx="6522">
                  <c:v>0.64100000000000001</c:v>
                </c:pt>
                <c:pt idx="6523">
                  <c:v>0.78700000000000003</c:v>
                </c:pt>
                <c:pt idx="6524">
                  <c:v>0.51400000000000001</c:v>
                </c:pt>
                <c:pt idx="6525">
                  <c:v>0.89700000000000002</c:v>
                </c:pt>
                <c:pt idx="6526">
                  <c:v>0.15</c:v>
                </c:pt>
                <c:pt idx="6527">
                  <c:v>0.36099999999999999</c:v>
                </c:pt>
                <c:pt idx="6528">
                  <c:v>0.51400000000000001</c:v>
                </c:pt>
                <c:pt idx="6529">
                  <c:v>0.23699999999999999</c:v>
                </c:pt>
                <c:pt idx="6530">
                  <c:v>6.7000000000000004E-2</c:v>
                </c:pt>
                <c:pt idx="6531">
                  <c:v>0.307</c:v>
                </c:pt>
                <c:pt idx="6532">
                  <c:v>0.57899999999999996</c:v>
                </c:pt>
                <c:pt idx="6533">
                  <c:v>0.49</c:v>
                </c:pt>
                <c:pt idx="6534">
                  <c:v>1.9E-2</c:v>
                </c:pt>
                <c:pt idx="6535">
                  <c:v>0.374</c:v>
                </c:pt>
                <c:pt idx="6536">
                  <c:v>0.623</c:v>
                </c:pt>
                <c:pt idx="6537">
                  <c:v>0.32</c:v>
                </c:pt>
                <c:pt idx="6538">
                  <c:v>0.44400000000000001</c:v>
                </c:pt>
                <c:pt idx="6539">
                  <c:v>0.16200000000000001</c:v>
                </c:pt>
                <c:pt idx="6540">
                  <c:v>0.17499999999999999</c:v>
                </c:pt>
                <c:pt idx="6541">
                  <c:v>0.125</c:v>
                </c:pt>
                <c:pt idx="6542">
                  <c:v>7.9000000000000001E-2</c:v>
                </c:pt>
                <c:pt idx="6543">
                  <c:v>0.16</c:v>
                </c:pt>
                <c:pt idx="6544">
                  <c:v>0.59099999999999997</c:v>
                </c:pt>
                <c:pt idx="6545">
                  <c:v>0.36499999999999999</c:v>
                </c:pt>
                <c:pt idx="6546">
                  <c:v>9.5000000000000001E-2</c:v>
                </c:pt>
                <c:pt idx="6547">
                  <c:v>4.4999999999999998E-2</c:v>
                </c:pt>
                <c:pt idx="6548">
                  <c:v>0.23300000000000001</c:v>
                </c:pt>
                <c:pt idx="6549">
                  <c:v>0.19</c:v>
                </c:pt>
                <c:pt idx="6550">
                  <c:v>0.24</c:v>
                </c:pt>
                <c:pt idx="6551">
                  <c:v>0.48499999999999999</c:v>
                </c:pt>
                <c:pt idx="6552">
                  <c:v>0.52200000000000002</c:v>
                </c:pt>
                <c:pt idx="6553">
                  <c:v>0.80800000000000005</c:v>
                </c:pt>
                <c:pt idx="6554">
                  <c:v>0.873</c:v>
                </c:pt>
                <c:pt idx="6555">
                  <c:v>0.93300000000000005</c:v>
                </c:pt>
                <c:pt idx="6556">
                  <c:v>0.16</c:v>
                </c:pt>
                <c:pt idx="6557">
                  <c:v>0.25900000000000001</c:v>
                </c:pt>
                <c:pt idx="6558">
                  <c:v>0.16400000000000001</c:v>
                </c:pt>
                <c:pt idx="6559">
                  <c:v>0.47299999999999998</c:v>
                </c:pt>
                <c:pt idx="6560">
                  <c:v>0.59299999999999997</c:v>
                </c:pt>
                <c:pt idx="6561">
                  <c:v>0.59599999999999997</c:v>
                </c:pt>
                <c:pt idx="6562">
                  <c:v>0.57399999999999995</c:v>
                </c:pt>
                <c:pt idx="6563">
                  <c:v>0.47799999999999998</c:v>
                </c:pt>
                <c:pt idx="6564">
                  <c:v>0.30499999999999999</c:v>
                </c:pt>
                <c:pt idx="6565">
                  <c:v>0.30099999999999999</c:v>
                </c:pt>
                <c:pt idx="6566">
                  <c:v>0.27</c:v>
                </c:pt>
                <c:pt idx="6567">
                  <c:v>0.38800000000000001</c:v>
                </c:pt>
                <c:pt idx="6568">
                  <c:v>0.5</c:v>
                </c:pt>
                <c:pt idx="6569">
                  <c:v>0.68</c:v>
                </c:pt>
                <c:pt idx="6570">
                  <c:v>0.216</c:v>
                </c:pt>
                <c:pt idx="6571">
                  <c:v>0.14099999999999999</c:v>
                </c:pt>
                <c:pt idx="6572">
                  <c:v>0.30099999999999999</c:v>
                </c:pt>
                <c:pt idx="6573">
                  <c:v>0.88700000000000001</c:v>
                </c:pt>
                <c:pt idx="6574">
                  <c:v>0.11600000000000001</c:v>
                </c:pt>
                <c:pt idx="6575">
                  <c:v>0.22</c:v>
                </c:pt>
                <c:pt idx="6576">
                  <c:v>0.72499999999999998</c:v>
                </c:pt>
                <c:pt idx="6577">
                  <c:v>0.188</c:v>
                </c:pt>
                <c:pt idx="6578">
                  <c:v>0.35199999999999998</c:v>
                </c:pt>
                <c:pt idx="6579">
                  <c:v>0.35699999999999998</c:v>
                </c:pt>
                <c:pt idx="6580">
                  <c:v>0.28399999999999997</c:v>
                </c:pt>
                <c:pt idx="6581">
                  <c:v>0.246</c:v>
                </c:pt>
                <c:pt idx="6582">
                  <c:v>0.185</c:v>
                </c:pt>
                <c:pt idx="6583">
                  <c:v>0.158</c:v>
                </c:pt>
                <c:pt idx="6584">
                  <c:v>0.106</c:v>
                </c:pt>
                <c:pt idx="6585">
                  <c:v>7.0999999999999994E-2</c:v>
                </c:pt>
                <c:pt idx="6586">
                  <c:v>0.19500000000000001</c:v>
                </c:pt>
                <c:pt idx="6587">
                  <c:v>0.14299999999999999</c:v>
                </c:pt>
                <c:pt idx="6588">
                  <c:v>0.46600000000000003</c:v>
                </c:pt>
                <c:pt idx="6589">
                  <c:v>0.318</c:v>
                </c:pt>
                <c:pt idx="6590">
                  <c:v>5.8000000000000003E-2</c:v>
                </c:pt>
                <c:pt idx="6591">
                  <c:v>0.34699999999999998</c:v>
                </c:pt>
                <c:pt idx="6592">
                  <c:v>5.7000000000000002E-2</c:v>
                </c:pt>
                <c:pt idx="6593">
                  <c:v>0.221</c:v>
                </c:pt>
                <c:pt idx="6594">
                  <c:v>0.71599999999999997</c:v>
                </c:pt>
                <c:pt idx="6595">
                  <c:v>0.28599999999999998</c:v>
                </c:pt>
                <c:pt idx="6596">
                  <c:v>0.252</c:v>
                </c:pt>
                <c:pt idx="6597">
                  <c:v>1.2E-2</c:v>
                </c:pt>
                <c:pt idx="6598">
                  <c:v>0.28599999999999998</c:v>
                </c:pt>
                <c:pt idx="6599">
                  <c:v>0.19400000000000001</c:v>
                </c:pt>
                <c:pt idx="6600">
                  <c:v>2.1000000000000001E-2</c:v>
                </c:pt>
                <c:pt idx="6601">
                  <c:v>0.218</c:v>
                </c:pt>
                <c:pt idx="6602">
                  <c:v>0.53700000000000003</c:v>
                </c:pt>
                <c:pt idx="6603">
                  <c:v>0.20499999999999999</c:v>
                </c:pt>
                <c:pt idx="6604">
                  <c:v>0.42799999999999999</c:v>
                </c:pt>
                <c:pt idx="6605">
                  <c:v>0.35199999999999998</c:v>
                </c:pt>
                <c:pt idx="6606">
                  <c:v>0.13300000000000001</c:v>
                </c:pt>
                <c:pt idx="6607">
                  <c:v>0.59699999999999998</c:v>
                </c:pt>
                <c:pt idx="6608">
                  <c:v>0.51700000000000002</c:v>
                </c:pt>
                <c:pt idx="6609">
                  <c:v>0.04</c:v>
                </c:pt>
                <c:pt idx="6610">
                  <c:v>0.23100000000000001</c:v>
                </c:pt>
                <c:pt idx="6611">
                  <c:v>3.4000000000000002E-2</c:v>
                </c:pt>
                <c:pt idx="6612">
                  <c:v>0.17699999999999999</c:v>
                </c:pt>
                <c:pt idx="6613">
                  <c:v>0.224</c:v>
                </c:pt>
                <c:pt idx="6614">
                  <c:v>0.249</c:v>
                </c:pt>
                <c:pt idx="6615">
                  <c:v>0.32700000000000001</c:v>
                </c:pt>
                <c:pt idx="6616">
                  <c:v>0.56100000000000005</c:v>
                </c:pt>
                <c:pt idx="6617">
                  <c:v>0.24299999999999999</c:v>
                </c:pt>
                <c:pt idx="6618">
                  <c:v>0.106</c:v>
                </c:pt>
                <c:pt idx="6619">
                  <c:v>0.42299999999999999</c:v>
                </c:pt>
                <c:pt idx="6620">
                  <c:v>0.155</c:v>
                </c:pt>
                <c:pt idx="6621">
                  <c:v>0.622</c:v>
                </c:pt>
                <c:pt idx="6622">
                  <c:v>0.29799999999999999</c:v>
                </c:pt>
                <c:pt idx="6623">
                  <c:v>3.1E-2</c:v>
                </c:pt>
                <c:pt idx="6624">
                  <c:v>0.52200000000000002</c:v>
                </c:pt>
                <c:pt idx="6625">
                  <c:v>0.74</c:v>
                </c:pt>
                <c:pt idx="6626">
                  <c:v>0.83199999999999996</c:v>
                </c:pt>
                <c:pt idx="6627">
                  <c:v>0.12</c:v>
                </c:pt>
                <c:pt idx="6628">
                  <c:v>7.2999999999999995E-2</c:v>
                </c:pt>
                <c:pt idx="6629">
                  <c:v>0.16500000000000001</c:v>
                </c:pt>
                <c:pt idx="6630">
                  <c:v>0.13700000000000001</c:v>
                </c:pt>
                <c:pt idx="6631">
                  <c:v>0.21299999999999999</c:v>
                </c:pt>
                <c:pt idx="6632">
                  <c:v>0.39400000000000002</c:v>
                </c:pt>
                <c:pt idx="6633">
                  <c:v>0.18099999999999999</c:v>
                </c:pt>
                <c:pt idx="6634">
                  <c:v>2.9000000000000001E-2</c:v>
                </c:pt>
                <c:pt idx="6635">
                  <c:v>8.8999999999999996E-2</c:v>
                </c:pt>
                <c:pt idx="6636">
                  <c:v>0.33800000000000002</c:v>
                </c:pt>
                <c:pt idx="6637">
                  <c:v>0.123</c:v>
                </c:pt>
                <c:pt idx="6638">
                  <c:v>0.33500000000000002</c:v>
                </c:pt>
                <c:pt idx="6639">
                  <c:v>0.432</c:v>
                </c:pt>
                <c:pt idx="6640">
                  <c:v>0.33300000000000002</c:v>
                </c:pt>
                <c:pt idx="6641">
                  <c:v>0.35699999999999998</c:v>
                </c:pt>
                <c:pt idx="6642">
                  <c:v>0.20599999999999999</c:v>
                </c:pt>
                <c:pt idx="6643">
                  <c:v>0.182</c:v>
                </c:pt>
                <c:pt idx="6644">
                  <c:v>0.375</c:v>
                </c:pt>
                <c:pt idx="6645">
                  <c:v>0.38600000000000001</c:v>
                </c:pt>
                <c:pt idx="6646">
                  <c:v>0.57299999999999995</c:v>
                </c:pt>
                <c:pt idx="6647">
                  <c:v>0.59699999999999998</c:v>
                </c:pt>
                <c:pt idx="6648">
                  <c:v>0.72</c:v>
                </c:pt>
                <c:pt idx="6649">
                  <c:v>0.34699999999999998</c:v>
                </c:pt>
                <c:pt idx="6650">
                  <c:v>0.49399999999999999</c:v>
                </c:pt>
                <c:pt idx="6651">
                  <c:v>2.1999999999999999E-2</c:v>
                </c:pt>
                <c:pt idx="6652">
                  <c:v>7.2999999999999995E-2</c:v>
                </c:pt>
                <c:pt idx="6653">
                  <c:v>0.64600000000000002</c:v>
                </c:pt>
                <c:pt idx="6654">
                  <c:v>0.251</c:v>
                </c:pt>
                <c:pt idx="6655">
                  <c:v>0.51900000000000002</c:v>
                </c:pt>
                <c:pt idx="6656">
                  <c:v>0.126</c:v>
                </c:pt>
                <c:pt idx="6657">
                  <c:v>4.7E-2</c:v>
                </c:pt>
                <c:pt idx="6658">
                  <c:v>0.74099999999999999</c:v>
                </c:pt>
                <c:pt idx="6659">
                  <c:v>0.877</c:v>
                </c:pt>
                <c:pt idx="6660">
                  <c:v>0.155</c:v>
                </c:pt>
                <c:pt idx="6661">
                  <c:v>0.24099999999999999</c:v>
                </c:pt>
                <c:pt idx="6662">
                  <c:v>0.44500000000000001</c:v>
                </c:pt>
                <c:pt idx="6663">
                  <c:v>0.67</c:v>
                </c:pt>
                <c:pt idx="6664">
                  <c:v>0.70599999999999996</c:v>
                </c:pt>
                <c:pt idx="6665">
                  <c:v>0.76600000000000001</c:v>
                </c:pt>
                <c:pt idx="6666">
                  <c:v>0.161</c:v>
                </c:pt>
                <c:pt idx="6667">
                  <c:v>0.13800000000000001</c:v>
                </c:pt>
                <c:pt idx="6668">
                  <c:v>0.28299999999999997</c:v>
                </c:pt>
                <c:pt idx="6669">
                  <c:v>0.30499999999999999</c:v>
                </c:pt>
                <c:pt idx="6670">
                  <c:v>0.29499999999999998</c:v>
                </c:pt>
                <c:pt idx="6671">
                  <c:v>0.90700000000000003</c:v>
                </c:pt>
                <c:pt idx="6672">
                  <c:v>0.435</c:v>
                </c:pt>
                <c:pt idx="6673">
                  <c:v>7.6999999999999999E-2</c:v>
                </c:pt>
                <c:pt idx="6674">
                  <c:v>9.6000000000000002E-2</c:v>
                </c:pt>
                <c:pt idx="6675">
                  <c:v>0.41099999999999998</c:v>
                </c:pt>
                <c:pt idx="6676">
                  <c:v>0.37</c:v>
                </c:pt>
                <c:pt idx="6677">
                  <c:v>8.1000000000000003E-2</c:v>
                </c:pt>
                <c:pt idx="6678">
                  <c:v>0.66900000000000004</c:v>
                </c:pt>
                <c:pt idx="6679">
                  <c:v>0.24199999999999999</c:v>
                </c:pt>
                <c:pt idx="6680">
                  <c:v>0.30499999999999999</c:v>
                </c:pt>
                <c:pt idx="6681">
                  <c:v>0.20699999999999999</c:v>
                </c:pt>
                <c:pt idx="6682">
                  <c:v>0.755</c:v>
                </c:pt>
                <c:pt idx="6683">
                  <c:v>0.71899999999999997</c:v>
                </c:pt>
                <c:pt idx="6684">
                  <c:v>0.19</c:v>
                </c:pt>
                <c:pt idx="6685">
                  <c:v>0.56999999999999995</c:v>
                </c:pt>
                <c:pt idx="6686">
                  <c:v>7.0999999999999994E-2</c:v>
                </c:pt>
                <c:pt idx="6687">
                  <c:v>0.29899999999999999</c:v>
                </c:pt>
                <c:pt idx="6688">
                  <c:v>0.14099999999999999</c:v>
                </c:pt>
                <c:pt idx="6689">
                  <c:v>0.16</c:v>
                </c:pt>
                <c:pt idx="6690">
                  <c:v>0.45500000000000002</c:v>
                </c:pt>
                <c:pt idx="6691">
                  <c:v>0.55100000000000005</c:v>
                </c:pt>
                <c:pt idx="6692">
                  <c:v>0.65400000000000003</c:v>
                </c:pt>
                <c:pt idx="6693">
                  <c:v>0.878</c:v>
                </c:pt>
                <c:pt idx="6694">
                  <c:v>0.21</c:v>
                </c:pt>
                <c:pt idx="6695">
                  <c:v>8.5000000000000006E-2</c:v>
                </c:pt>
                <c:pt idx="6696">
                  <c:v>0.22700000000000001</c:v>
                </c:pt>
                <c:pt idx="6697">
                  <c:v>0.67700000000000005</c:v>
                </c:pt>
                <c:pt idx="6698">
                  <c:v>0.40100000000000002</c:v>
                </c:pt>
                <c:pt idx="6699">
                  <c:v>0.127</c:v>
                </c:pt>
                <c:pt idx="6700">
                  <c:v>0.59</c:v>
                </c:pt>
                <c:pt idx="6701">
                  <c:v>0.29799999999999999</c:v>
                </c:pt>
                <c:pt idx="6702">
                  <c:v>0.24399999999999999</c:v>
                </c:pt>
                <c:pt idx="6703">
                  <c:v>0.16800000000000001</c:v>
                </c:pt>
                <c:pt idx="6704">
                  <c:v>0.35299999999999998</c:v>
                </c:pt>
                <c:pt idx="6705">
                  <c:v>0.109</c:v>
                </c:pt>
                <c:pt idx="6706">
                  <c:v>0.64300000000000002</c:v>
                </c:pt>
                <c:pt idx="6707">
                  <c:v>0.74299999999999999</c:v>
                </c:pt>
                <c:pt idx="6708">
                  <c:v>0.94599999999999995</c:v>
                </c:pt>
                <c:pt idx="6709">
                  <c:v>0.105</c:v>
                </c:pt>
                <c:pt idx="6710">
                  <c:v>0.109</c:v>
                </c:pt>
                <c:pt idx="6711">
                  <c:v>0.46300000000000002</c:v>
                </c:pt>
                <c:pt idx="6712">
                  <c:v>7.6999999999999999E-2</c:v>
                </c:pt>
                <c:pt idx="6713">
                  <c:v>0.30199999999999999</c:v>
                </c:pt>
                <c:pt idx="6714">
                  <c:v>0.28199999999999997</c:v>
                </c:pt>
                <c:pt idx="6715">
                  <c:v>0.55500000000000005</c:v>
                </c:pt>
                <c:pt idx="6716">
                  <c:v>0.495</c:v>
                </c:pt>
                <c:pt idx="6717">
                  <c:v>0.50700000000000001</c:v>
                </c:pt>
                <c:pt idx="6718">
                  <c:v>0.59399999999999997</c:v>
                </c:pt>
                <c:pt idx="6719">
                  <c:v>0.61199999999999999</c:v>
                </c:pt>
                <c:pt idx="6720">
                  <c:v>0.33300000000000002</c:v>
                </c:pt>
                <c:pt idx="6721">
                  <c:v>0.19500000000000001</c:v>
                </c:pt>
                <c:pt idx="6722">
                  <c:v>5.8000000000000003E-2</c:v>
                </c:pt>
                <c:pt idx="6723">
                  <c:v>0.53400000000000003</c:v>
                </c:pt>
                <c:pt idx="6724">
                  <c:v>0.85699999999999998</c:v>
                </c:pt>
                <c:pt idx="6725">
                  <c:v>0.13400000000000001</c:v>
                </c:pt>
                <c:pt idx="6726">
                  <c:v>9.6000000000000002E-2</c:v>
                </c:pt>
                <c:pt idx="6727">
                  <c:v>8.5999999999999993E-2</c:v>
                </c:pt>
                <c:pt idx="6728">
                  <c:v>0.186</c:v>
                </c:pt>
                <c:pt idx="6729">
                  <c:v>0.15</c:v>
                </c:pt>
                <c:pt idx="6730">
                  <c:v>0.38100000000000001</c:v>
                </c:pt>
                <c:pt idx="6731">
                  <c:v>8.5999999999999993E-2</c:v>
                </c:pt>
                <c:pt idx="6732">
                  <c:v>6.9000000000000006E-2</c:v>
                </c:pt>
                <c:pt idx="6733">
                  <c:v>0.46600000000000003</c:v>
                </c:pt>
                <c:pt idx="6734">
                  <c:v>0.16700000000000001</c:v>
                </c:pt>
                <c:pt idx="6735">
                  <c:v>0</c:v>
                </c:pt>
                <c:pt idx="6736">
                  <c:v>0.78800000000000003</c:v>
                </c:pt>
                <c:pt idx="6737">
                  <c:v>0.55100000000000005</c:v>
                </c:pt>
                <c:pt idx="6738">
                  <c:v>0.127</c:v>
                </c:pt>
                <c:pt idx="6739">
                  <c:v>0.307</c:v>
                </c:pt>
                <c:pt idx="6740">
                  <c:v>6.6000000000000003E-2</c:v>
                </c:pt>
                <c:pt idx="6741">
                  <c:v>0.126</c:v>
                </c:pt>
                <c:pt idx="6742">
                  <c:v>0.06</c:v>
                </c:pt>
                <c:pt idx="6743">
                  <c:v>0.59799999999999998</c:v>
                </c:pt>
                <c:pt idx="6744">
                  <c:v>0.56799999999999995</c:v>
                </c:pt>
                <c:pt idx="6745">
                  <c:v>0.115</c:v>
                </c:pt>
                <c:pt idx="6746">
                  <c:v>0.2</c:v>
                </c:pt>
                <c:pt idx="6747">
                  <c:v>0.14599999999999999</c:v>
                </c:pt>
                <c:pt idx="6748">
                  <c:v>0.755</c:v>
                </c:pt>
                <c:pt idx="6749">
                  <c:v>0.499</c:v>
                </c:pt>
                <c:pt idx="6750">
                  <c:v>0.14499999999999999</c:v>
                </c:pt>
                <c:pt idx="6751">
                  <c:v>0.34699999999999998</c:v>
                </c:pt>
                <c:pt idx="6752">
                  <c:v>0.83399999999999996</c:v>
                </c:pt>
                <c:pt idx="6753">
                  <c:v>0.193</c:v>
                </c:pt>
                <c:pt idx="6754">
                  <c:v>0.34799999999999998</c:v>
                </c:pt>
                <c:pt idx="6755">
                  <c:v>0.124</c:v>
                </c:pt>
                <c:pt idx="6756">
                  <c:v>8.3000000000000004E-2</c:v>
                </c:pt>
                <c:pt idx="6757">
                  <c:v>0.29499999999999998</c:v>
                </c:pt>
                <c:pt idx="6758">
                  <c:v>0.39100000000000001</c:v>
                </c:pt>
                <c:pt idx="6759">
                  <c:v>0.52700000000000002</c:v>
                </c:pt>
                <c:pt idx="6760">
                  <c:v>0.69099999999999995</c:v>
                </c:pt>
                <c:pt idx="6761">
                  <c:v>0.69299999999999995</c:v>
                </c:pt>
                <c:pt idx="6762">
                  <c:v>0.84799999999999998</c:v>
                </c:pt>
                <c:pt idx="6763">
                  <c:v>0.85399999999999998</c:v>
                </c:pt>
                <c:pt idx="6764">
                  <c:v>0.93500000000000005</c:v>
                </c:pt>
                <c:pt idx="6765">
                  <c:v>0.16600000000000001</c:v>
                </c:pt>
                <c:pt idx="6766">
                  <c:v>5.6000000000000001E-2</c:v>
                </c:pt>
                <c:pt idx="6767">
                  <c:v>3.1E-2</c:v>
                </c:pt>
                <c:pt idx="6768">
                  <c:v>6.7000000000000004E-2</c:v>
                </c:pt>
                <c:pt idx="6769">
                  <c:v>0.22700000000000001</c:v>
                </c:pt>
                <c:pt idx="6770">
                  <c:v>0.09</c:v>
                </c:pt>
                <c:pt idx="6771">
                  <c:v>0.28000000000000003</c:v>
                </c:pt>
                <c:pt idx="6772">
                  <c:v>0.40100000000000002</c:v>
                </c:pt>
                <c:pt idx="6773">
                  <c:v>0.18</c:v>
                </c:pt>
                <c:pt idx="6774">
                  <c:v>0.55100000000000005</c:v>
                </c:pt>
                <c:pt idx="6775">
                  <c:v>0.115</c:v>
                </c:pt>
                <c:pt idx="6776">
                  <c:v>0.30499999999999999</c:v>
                </c:pt>
                <c:pt idx="6777">
                  <c:v>0.438</c:v>
                </c:pt>
                <c:pt idx="6778">
                  <c:v>0.78400000000000003</c:v>
                </c:pt>
                <c:pt idx="6779">
                  <c:v>0.28299999999999997</c:v>
                </c:pt>
                <c:pt idx="6780">
                  <c:v>0.54800000000000004</c:v>
                </c:pt>
                <c:pt idx="6781">
                  <c:v>0.49299999999999999</c:v>
                </c:pt>
                <c:pt idx="6782">
                  <c:v>0.14699999999999999</c:v>
                </c:pt>
                <c:pt idx="6783">
                  <c:v>0.45800000000000002</c:v>
                </c:pt>
                <c:pt idx="6784">
                  <c:v>1.4E-2</c:v>
                </c:pt>
                <c:pt idx="6785">
                  <c:v>6.8000000000000005E-2</c:v>
                </c:pt>
                <c:pt idx="6786">
                  <c:v>0.26800000000000002</c:v>
                </c:pt>
                <c:pt idx="6787">
                  <c:v>0.70199999999999996</c:v>
                </c:pt>
                <c:pt idx="6788">
                  <c:v>0.14099999999999999</c:v>
                </c:pt>
                <c:pt idx="6789">
                  <c:v>0.30599999999999999</c:v>
                </c:pt>
                <c:pt idx="6790">
                  <c:v>5.8000000000000003E-2</c:v>
                </c:pt>
                <c:pt idx="6791">
                  <c:v>0.55900000000000005</c:v>
                </c:pt>
                <c:pt idx="6792">
                  <c:v>0.65700000000000003</c:v>
                </c:pt>
                <c:pt idx="6793">
                  <c:v>7.3999999999999996E-2</c:v>
                </c:pt>
                <c:pt idx="6794">
                  <c:v>0.4</c:v>
                </c:pt>
                <c:pt idx="6795">
                  <c:v>0.02</c:v>
                </c:pt>
                <c:pt idx="6796">
                  <c:v>0.79600000000000004</c:v>
                </c:pt>
                <c:pt idx="6797">
                  <c:v>0.188</c:v>
                </c:pt>
                <c:pt idx="6798">
                  <c:v>0.35599999999999998</c:v>
                </c:pt>
                <c:pt idx="6799">
                  <c:v>0.10299999999999999</c:v>
                </c:pt>
                <c:pt idx="6800">
                  <c:v>0.23200000000000001</c:v>
                </c:pt>
                <c:pt idx="6801">
                  <c:v>0.124</c:v>
                </c:pt>
                <c:pt idx="6802">
                  <c:v>0.193</c:v>
                </c:pt>
                <c:pt idx="6803">
                  <c:v>0.316</c:v>
                </c:pt>
                <c:pt idx="6804">
                  <c:v>0.16</c:v>
                </c:pt>
                <c:pt idx="6805">
                  <c:v>0.27300000000000002</c:v>
                </c:pt>
                <c:pt idx="6806">
                  <c:v>0.79100000000000004</c:v>
                </c:pt>
                <c:pt idx="6807">
                  <c:v>2.3E-2</c:v>
                </c:pt>
                <c:pt idx="6808">
                  <c:v>0.113</c:v>
                </c:pt>
                <c:pt idx="6809">
                  <c:v>0.108</c:v>
                </c:pt>
                <c:pt idx="6810">
                  <c:v>0.159</c:v>
                </c:pt>
                <c:pt idx="6811">
                  <c:v>0.17899999999999999</c:v>
                </c:pt>
                <c:pt idx="6812">
                  <c:v>1.0999999999999999E-2</c:v>
                </c:pt>
                <c:pt idx="6813">
                  <c:v>9.4E-2</c:v>
                </c:pt>
                <c:pt idx="6814">
                  <c:v>8.4000000000000005E-2</c:v>
                </c:pt>
                <c:pt idx="6815">
                  <c:v>0.11899999999999999</c:v>
                </c:pt>
                <c:pt idx="6816">
                  <c:v>0.74099999999999999</c:v>
                </c:pt>
                <c:pt idx="6817">
                  <c:v>0.88</c:v>
                </c:pt>
                <c:pt idx="6818">
                  <c:v>0.35799999999999998</c:v>
                </c:pt>
                <c:pt idx="6819">
                  <c:v>0.128</c:v>
                </c:pt>
                <c:pt idx="6820">
                  <c:v>0.123</c:v>
                </c:pt>
                <c:pt idx="6821">
                  <c:v>0.55300000000000005</c:v>
                </c:pt>
                <c:pt idx="6822">
                  <c:v>0.18099999999999999</c:v>
                </c:pt>
                <c:pt idx="6823">
                  <c:v>8.3000000000000004E-2</c:v>
                </c:pt>
                <c:pt idx="6824">
                  <c:v>8.6999999999999994E-2</c:v>
                </c:pt>
                <c:pt idx="6825">
                  <c:v>5.0999999999999997E-2</c:v>
                </c:pt>
                <c:pt idx="6826">
                  <c:v>0.57199999999999995</c:v>
                </c:pt>
                <c:pt idx="6827">
                  <c:v>0.83</c:v>
                </c:pt>
                <c:pt idx="6828">
                  <c:v>7.6999999999999999E-2</c:v>
                </c:pt>
                <c:pt idx="6829">
                  <c:v>0.52200000000000002</c:v>
                </c:pt>
                <c:pt idx="6830">
                  <c:v>0.63500000000000001</c:v>
                </c:pt>
                <c:pt idx="6831">
                  <c:v>0.13300000000000001</c:v>
                </c:pt>
                <c:pt idx="6832">
                  <c:v>0.55700000000000005</c:v>
                </c:pt>
                <c:pt idx="6833">
                  <c:v>8.8999999999999996E-2</c:v>
                </c:pt>
                <c:pt idx="6834">
                  <c:v>0.51900000000000002</c:v>
                </c:pt>
                <c:pt idx="6835">
                  <c:v>7.1999999999999995E-2</c:v>
                </c:pt>
                <c:pt idx="6836">
                  <c:v>0.16500000000000001</c:v>
                </c:pt>
                <c:pt idx="6837">
                  <c:v>0.39200000000000002</c:v>
                </c:pt>
                <c:pt idx="6838">
                  <c:v>0.82</c:v>
                </c:pt>
                <c:pt idx="6839">
                  <c:v>2.8000000000000001E-2</c:v>
                </c:pt>
                <c:pt idx="6840">
                  <c:v>0.27500000000000002</c:v>
                </c:pt>
                <c:pt idx="6841">
                  <c:v>0.13900000000000001</c:v>
                </c:pt>
                <c:pt idx="6842">
                  <c:v>0.66800000000000004</c:v>
                </c:pt>
                <c:pt idx="6843">
                  <c:v>0.41799999999999998</c:v>
                </c:pt>
                <c:pt idx="6844">
                  <c:v>0.126</c:v>
                </c:pt>
                <c:pt idx="6845">
                  <c:v>0.42</c:v>
                </c:pt>
                <c:pt idx="6846">
                  <c:v>0.26600000000000001</c:v>
                </c:pt>
                <c:pt idx="6847">
                  <c:v>4.1000000000000002E-2</c:v>
                </c:pt>
                <c:pt idx="6848">
                  <c:v>0.25800000000000001</c:v>
                </c:pt>
                <c:pt idx="6849">
                  <c:v>0.33800000000000002</c:v>
                </c:pt>
                <c:pt idx="6850">
                  <c:v>0.02</c:v>
                </c:pt>
                <c:pt idx="6851">
                  <c:v>0.21099999999999999</c:v>
                </c:pt>
                <c:pt idx="6852">
                  <c:v>0.67</c:v>
                </c:pt>
                <c:pt idx="6853">
                  <c:v>3.3000000000000002E-2</c:v>
                </c:pt>
                <c:pt idx="6854">
                  <c:v>9.7000000000000003E-2</c:v>
                </c:pt>
                <c:pt idx="6855">
                  <c:v>5.1999999999999998E-2</c:v>
                </c:pt>
                <c:pt idx="6856">
                  <c:v>0.14599999999999999</c:v>
                </c:pt>
                <c:pt idx="6857">
                  <c:v>0</c:v>
                </c:pt>
                <c:pt idx="6858">
                  <c:v>4.1000000000000002E-2</c:v>
                </c:pt>
                <c:pt idx="6859">
                  <c:v>2.7E-2</c:v>
                </c:pt>
                <c:pt idx="6860">
                  <c:v>0.39300000000000002</c:v>
                </c:pt>
                <c:pt idx="6861">
                  <c:v>7.6999999999999999E-2</c:v>
                </c:pt>
                <c:pt idx="6862">
                  <c:v>0.39100000000000001</c:v>
                </c:pt>
                <c:pt idx="6863">
                  <c:v>0.50900000000000001</c:v>
                </c:pt>
                <c:pt idx="6864">
                  <c:v>0.122</c:v>
                </c:pt>
                <c:pt idx="6865">
                  <c:v>0.16800000000000001</c:v>
                </c:pt>
                <c:pt idx="6866">
                  <c:v>0.113</c:v>
                </c:pt>
                <c:pt idx="6867">
                  <c:v>0.86399999999999999</c:v>
                </c:pt>
                <c:pt idx="6868">
                  <c:v>2.5999999999999999E-2</c:v>
                </c:pt>
                <c:pt idx="6869">
                  <c:v>0.25600000000000001</c:v>
                </c:pt>
                <c:pt idx="6870">
                  <c:v>0.59299999999999997</c:v>
                </c:pt>
                <c:pt idx="6871">
                  <c:v>0.68300000000000005</c:v>
                </c:pt>
                <c:pt idx="6872">
                  <c:v>0.14699999999999999</c:v>
                </c:pt>
                <c:pt idx="6873">
                  <c:v>0.23400000000000001</c:v>
                </c:pt>
                <c:pt idx="6874">
                  <c:v>0.17299999999999999</c:v>
                </c:pt>
                <c:pt idx="6875">
                  <c:v>0.27500000000000002</c:v>
                </c:pt>
                <c:pt idx="6876">
                  <c:v>7.3999999999999996E-2</c:v>
                </c:pt>
                <c:pt idx="6877">
                  <c:v>0.113</c:v>
                </c:pt>
                <c:pt idx="6878">
                  <c:v>6.6000000000000003E-2</c:v>
                </c:pt>
                <c:pt idx="6879">
                  <c:v>6.0999999999999999E-2</c:v>
                </c:pt>
                <c:pt idx="6880">
                  <c:v>0.246</c:v>
                </c:pt>
                <c:pt idx="6881">
                  <c:v>0.13</c:v>
                </c:pt>
                <c:pt idx="6882">
                  <c:v>0.27200000000000002</c:v>
                </c:pt>
                <c:pt idx="6883">
                  <c:v>0.106</c:v>
                </c:pt>
                <c:pt idx="6884">
                  <c:v>6.0999999999999999E-2</c:v>
                </c:pt>
                <c:pt idx="6885">
                  <c:v>0.34</c:v>
                </c:pt>
                <c:pt idx="6886">
                  <c:v>0.60199999999999998</c:v>
                </c:pt>
                <c:pt idx="6887">
                  <c:v>0.16600000000000001</c:v>
                </c:pt>
                <c:pt idx="6888">
                  <c:v>2.7E-2</c:v>
                </c:pt>
                <c:pt idx="6889">
                  <c:v>0.318</c:v>
                </c:pt>
                <c:pt idx="6890">
                  <c:v>0.29199999999999998</c:v>
                </c:pt>
                <c:pt idx="6891">
                  <c:v>5.3999999999999999E-2</c:v>
                </c:pt>
                <c:pt idx="6892">
                  <c:v>6.6000000000000003E-2</c:v>
                </c:pt>
                <c:pt idx="6893">
                  <c:v>0.13400000000000001</c:v>
                </c:pt>
                <c:pt idx="6894">
                  <c:v>0.14299999999999999</c:v>
                </c:pt>
                <c:pt idx="6895">
                  <c:v>0.59599999999999997</c:v>
                </c:pt>
                <c:pt idx="6896">
                  <c:v>1.0999999999999999E-2</c:v>
                </c:pt>
                <c:pt idx="6897">
                  <c:v>0.70799999999999996</c:v>
                </c:pt>
                <c:pt idx="6898">
                  <c:v>0.72499999999999998</c:v>
                </c:pt>
                <c:pt idx="6899">
                  <c:v>0.113</c:v>
                </c:pt>
                <c:pt idx="6900">
                  <c:v>9.6000000000000002E-2</c:v>
                </c:pt>
                <c:pt idx="6901">
                  <c:v>0.189</c:v>
                </c:pt>
                <c:pt idx="6902">
                  <c:v>0.86599999999999999</c:v>
                </c:pt>
                <c:pt idx="6903">
                  <c:v>0.20699999999999999</c:v>
                </c:pt>
                <c:pt idx="6904">
                  <c:v>0.49199999999999999</c:v>
                </c:pt>
                <c:pt idx="6905">
                  <c:v>0.14699999999999999</c:v>
                </c:pt>
                <c:pt idx="6906">
                  <c:v>0.41299999999999998</c:v>
                </c:pt>
                <c:pt idx="6907">
                  <c:v>0.28599999999999998</c:v>
                </c:pt>
                <c:pt idx="6908">
                  <c:v>0.67600000000000005</c:v>
                </c:pt>
                <c:pt idx="6909">
                  <c:v>0.16700000000000001</c:v>
                </c:pt>
                <c:pt idx="6910">
                  <c:v>0.23300000000000001</c:v>
                </c:pt>
                <c:pt idx="6911">
                  <c:v>0.10299999999999999</c:v>
                </c:pt>
                <c:pt idx="6912">
                  <c:v>3.6999999999999998E-2</c:v>
                </c:pt>
                <c:pt idx="6913">
                  <c:v>0.16900000000000001</c:v>
                </c:pt>
                <c:pt idx="6914">
                  <c:v>0.76100000000000001</c:v>
                </c:pt>
                <c:pt idx="6915">
                  <c:v>0.104</c:v>
                </c:pt>
                <c:pt idx="6916">
                  <c:v>0.81599999999999995</c:v>
                </c:pt>
                <c:pt idx="6917">
                  <c:v>8.9999999999999993E-3</c:v>
                </c:pt>
                <c:pt idx="6918">
                  <c:v>0.52200000000000002</c:v>
                </c:pt>
                <c:pt idx="6919">
                  <c:v>6.0999999999999999E-2</c:v>
                </c:pt>
                <c:pt idx="6920">
                  <c:v>0.01</c:v>
                </c:pt>
                <c:pt idx="6921">
                  <c:v>0.50800000000000001</c:v>
                </c:pt>
                <c:pt idx="6922">
                  <c:v>0.17399999999999999</c:v>
                </c:pt>
                <c:pt idx="6923">
                  <c:v>1.0999999999999999E-2</c:v>
                </c:pt>
                <c:pt idx="6924">
                  <c:v>0.14699999999999999</c:v>
                </c:pt>
                <c:pt idx="6925">
                  <c:v>9.4E-2</c:v>
                </c:pt>
                <c:pt idx="6926">
                  <c:v>0.72699999999999998</c:v>
                </c:pt>
                <c:pt idx="6927">
                  <c:v>0.36399999999999999</c:v>
                </c:pt>
                <c:pt idx="6928">
                  <c:v>0.59299999999999997</c:v>
                </c:pt>
                <c:pt idx="6929">
                  <c:v>0.27900000000000003</c:v>
                </c:pt>
                <c:pt idx="6930">
                  <c:v>2.7E-2</c:v>
                </c:pt>
                <c:pt idx="6931">
                  <c:v>0.73199999999999998</c:v>
                </c:pt>
                <c:pt idx="6932">
                  <c:v>9.9000000000000005E-2</c:v>
                </c:pt>
                <c:pt idx="6933">
                  <c:v>0.40899999999999997</c:v>
                </c:pt>
                <c:pt idx="6934">
                  <c:v>0.63600000000000001</c:v>
                </c:pt>
                <c:pt idx="6935">
                  <c:v>0.47199999999999998</c:v>
                </c:pt>
                <c:pt idx="6936">
                  <c:v>0.48599999999999999</c:v>
                </c:pt>
                <c:pt idx="6937">
                  <c:v>0.14399999999999999</c:v>
                </c:pt>
                <c:pt idx="6938">
                  <c:v>5.0999999999999997E-2</c:v>
                </c:pt>
                <c:pt idx="6939">
                  <c:v>0.154</c:v>
                </c:pt>
                <c:pt idx="6940">
                  <c:v>0.35399999999999998</c:v>
                </c:pt>
                <c:pt idx="6941">
                  <c:v>0.44400000000000001</c:v>
                </c:pt>
                <c:pt idx="6942">
                  <c:v>0.46800000000000003</c:v>
                </c:pt>
                <c:pt idx="6943">
                  <c:v>0.29099999999999998</c:v>
                </c:pt>
                <c:pt idx="6944">
                  <c:v>0.39900000000000002</c:v>
                </c:pt>
                <c:pt idx="6945">
                  <c:v>0</c:v>
                </c:pt>
                <c:pt idx="6946">
                  <c:v>7.2999999999999995E-2</c:v>
                </c:pt>
                <c:pt idx="6947">
                  <c:v>0.02</c:v>
                </c:pt>
                <c:pt idx="6948">
                  <c:v>9.1999999999999998E-2</c:v>
                </c:pt>
                <c:pt idx="6949">
                  <c:v>0.45200000000000001</c:v>
                </c:pt>
                <c:pt idx="6950">
                  <c:v>0.44400000000000001</c:v>
                </c:pt>
                <c:pt idx="6951">
                  <c:v>0.10299999999999999</c:v>
                </c:pt>
                <c:pt idx="6952">
                  <c:v>0</c:v>
                </c:pt>
                <c:pt idx="6953">
                  <c:v>9.7000000000000003E-2</c:v>
                </c:pt>
                <c:pt idx="6954">
                  <c:v>0.224</c:v>
                </c:pt>
                <c:pt idx="6955">
                  <c:v>0.373</c:v>
                </c:pt>
                <c:pt idx="6956">
                  <c:v>0.38800000000000001</c:v>
                </c:pt>
                <c:pt idx="6957">
                  <c:v>0.65300000000000002</c:v>
                </c:pt>
                <c:pt idx="6958">
                  <c:v>0.91100000000000003</c:v>
                </c:pt>
                <c:pt idx="6959">
                  <c:v>0.14399999999999999</c:v>
                </c:pt>
                <c:pt idx="6960">
                  <c:v>0.105</c:v>
                </c:pt>
                <c:pt idx="6961">
                  <c:v>0.35099999999999998</c:v>
                </c:pt>
                <c:pt idx="6962">
                  <c:v>0.32200000000000001</c:v>
                </c:pt>
                <c:pt idx="6963">
                  <c:v>0.14499999999999999</c:v>
                </c:pt>
                <c:pt idx="6964">
                  <c:v>0.184</c:v>
                </c:pt>
                <c:pt idx="6965">
                  <c:v>0.129</c:v>
                </c:pt>
                <c:pt idx="6966">
                  <c:v>0.66200000000000003</c:v>
                </c:pt>
                <c:pt idx="6967">
                  <c:v>0.41399999999999998</c:v>
                </c:pt>
                <c:pt idx="6968">
                  <c:v>0.36599999999999999</c:v>
                </c:pt>
                <c:pt idx="6969">
                  <c:v>5.3999999999999999E-2</c:v>
                </c:pt>
                <c:pt idx="6970">
                  <c:v>0.91900000000000004</c:v>
                </c:pt>
                <c:pt idx="6971">
                  <c:v>4.4999999999999998E-2</c:v>
                </c:pt>
                <c:pt idx="6972">
                  <c:v>9.1999999999999998E-2</c:v>
                </c:pt>
                <c:pt idx="6973">
                  <c:v>9.9000000000000005E-2</c:v>
                </c:pt>
                <c:pt idx="6974">
                  <c:v>0.14299999999999999</c:v>
                </c:pt>
                <c:pt idx="6975">
                  <c:v>0.183</c:v>
                </c:pt>
                <c:pt idx="6976">
                  <c:v>5.2999999999999999E-2</c:v>
                </c:pt>
                <c:pt idx="6977">
                  <c:v>1.0999999999999999E-2</c:v>
                </c:pt>
                <c:pt idx="6978">
                  <c:v>4.4999999999999998E-2</c:v>
                </c:pt>
                <c:pt idx="6979">
                  <c:v>0.32800000000000001</c:v>
                </c:pt>
                <c:pt idx="6980">
                  <c:v>0.248</c:v>
                </c:pt>
                <c:pt idx="6981">
                  <c:v>0</c:v>
                </c:pt>
                <c:pt idx="6982">
                  <c:v>0.47699999999999998</c:v>
                </c:pt>
                <c:pt idx="6983">
                  <c:v>0.50600000000000001</c:v>
                </c:pt>
                <c:pt idx="6984">
                  <c:v>0.57899999999999996</c:v>
                </c:pt>
                <c:pt idx="6985">
                  <c:v>3.3000000000000002E-2</c:v>
                </c:pt>
                <c:pt idx="6986">
                  <c:v>1.9E-2</c:v>
                </c:pt>
                <c:pt idx="6987">
                  <c:v>0.25600000000000001</c:v>
                </c:pt>
                <c:pt idx="6988">
                  <c:v>0.08</c:v>
                </c:pt>
                <c:pt idx="6989">
                  <c:v>0.13900000000000001</c:v>
                </c:pt>
                <c:pt idx="6990">
                  <c:v>0.11600000000000001</c:v>
                </c:pt>
                <c:pt idx="6991">
                  <c:v>5.5E-2</c:v>
                </c:pt>
                <c:pt idx="6992">
                  <c:v>0.124</c:v>
                </c:pt>
                <c:pt idx="6993">
                  <c:v>0.27</c:v>
                </c:pt>
                <c:pt idx="6994">
                  <c:v>1.6E-2</c:v>
                </c:pt>
                <c:pt idx="6995">
                  <c:v>0.126</c:v>
                </c:pt>
                <c:pt idx="6996">
                  <c:v>1.6E-2</c:v>
                </c:pt>
                <c:pt idx="6997">
                  <c:v>7.5999999999999998E-2</c:v>
                </c:pt>
                <c:pt idx="6998">
                  <c:v>7.8E-2</c:v>
                </c:pt>
                <c:pt idx="6999">
                  <c:v>0.1</c:v>
                </c:pt>
                <c:pt idx="7000">
                  <c:v>4.5999999999999999E-2</c:v>
                </c:pt>
                <c:pt idx="7001">
                  <c:v>0.161</c:v>
                </c:pt>
                <c:pt idx="7002">
                  <c:v>0.34200000000000003</c:v>
                </c:pt>
                <c:pt idx="7003">
                  <c:v>0.30599999999999999</c:v>
                </c:pt>
                <c:pt idx="7004">
                  <c:v>7.3999999999999996E-2</c:v>
                </c:pt>
                <c:pt idx="7005">
                  <c:v>0.71499999999999997</c:v>
                </c:pt>
                <c:pt idx="7006">
                  <c:v>7.8E-2</c:v>
                </c:pt>
                <c:pt idx="7007">
                  <c:v>0.17</c:v>
                </c:pt>
                <c:pt idx="7008">
                  <c:v>6.3E-2</c:v>
                </c:pt>
                <c:pt idx="7009">
                  <c:v>0.45100000000000001</c:v>
                </c:pt>
                <c:pt idx="7010">
                  <c:v>0.42199999999999999</c:v>
                </c:pt>
                <c:pt idx="7011">
                  <c:v>0.17499999999999999</c:v>
                </c:pt>
                <c:pt idx="7012">
                  <c:v>0.38500000000000001</c:v>
                </c:pt>
                <c:pt idx="7013">
                  <c:v>0.22800000000000001</c:v>
                </c:pt>
                <c:pt idx="7014">
                  <c:v>0.61699999999999999</c:v>
                </c:pt>
                <c:pt idx="7015">
                  <c:v>0.27200000000000002</c:v>
                </c:pt>
                <c:pt idx="7016">
                  <c:v>0.20200000000000001</c:v>
                </c:pt>
                <c:pt idx="7017">
                  <c:v>0.5</c:v>
                </c:pt>
                <c:pt idx="7018">
                  <c:v>0.45300000000000001</c:v>
                </c:pt>
                <c:pt idx="7019">
                  <c:v>0.70899999999999996</c:v>
                </c:pt>
                <c:pt idx="7020">
                  <c:v>0.41899999999999998</c:v>
                </c:pt>
                <c:pt idx="7021">
                  <c:v>8.7999999999999995E-2</c:v>
                </c:pt>
                <c:pt idx="7022">
                  <c:v>0.253</c:v>
                </c:pt>
                <c:pt idx="7023">
                  <c:v>6.8000000000000005E-2</c:v>
                </c:pt>
                <c:pt idx="7024">
                  <c:v>0.60699999999999998</c:v>
                </c:pt>
                <c:pt idx="7025">
                  <c:v>0.16</c:v>
                </c:pt>
                <c:pt idx="7026">
                  <c:v>0.21</c:v>
                </c:pt>
                <c:pt idx="7027">
                  <c:v>8.5999999999999993E-2</c:v>
                </c:pt>
                <c:pt idx="7028">
                  <c:v>0.14199999999999999</c:v>
                </c:pt>
                <c:pt idx="7029">
                  <c:v>0.65100000000000002</c:v>
                </c:pt>
                <c:pt idx="7030">
                  <c:v>7.6999999999999999E-2</c:v>
                </c:pt>
                <c:pt idx="7031">
                  <c:v>0.16800000000000001</c:v>
                </c:pt>
                <c:pt idx="7032">
                  <c:v>1.2E-2</c:v>
                </c:pt>
                <c:pt idx="7033">
                  <c:v>0.29599999999999999</c:v>
                </c:pt>
                <c:pt idx="7034">
                  <c:v>1.0999999999999999E-2</c:v>
                </c:pt>
                <c:pt idx="7035">
                  <c:v>0.115</c:v>
                </c:pt>
                <c:pt idx="7036">
                  <c:v>0.26900000000000002</c:v>
                </c:pt>
                <c:pt idx="7037">
                  <c:v>0.13800000000000001</c:v>
                </c:pt>
                <c:pt idx="7038">
                  <c:v>2.5000000000000001E-2</c:v>
                </c:pt>
                <c:pt idx="7039">
                  <c:v>0.66</c:v>
                </c:pt>
                <c:pt idx="7040">
                  <c:v>9.6000000000000002E-2</c:v>
                </c:pt>
                <c:pt idx="7041">
                  <c:v>0.41899999999999998</c:v>
                </c:pt>
                <c:pt idx="7042">
                  <c:v>5.6000000000000001E-2</c:v>
                </c:pt>
                <c:pt idx="7043">
                  <c:v>0.36199999999999999</c:v>
                </c:pt>
                <c:pt idx="7044">
                  <c:v>5.3999999999999999E-2</c:v>
                </c:pt>
                <c:pt idx="7045">
                  <c:v>0.53700000000000003</c:v>
                </c:pt>
                <c:pt idx="7046">
                  <c:v>0.10299999999999999</c:v>
                </c:pt>
                <c:pt idx="7047">
                  <c:v>4.7E-2</c:v>
                </c:pt>
                <c:pt idx="7048">
                  <c:v>0.75800000000000001</c:v>
                </c:pt>
                <c:pt idx="7049">
                  <c:v>0.81200000000000006</c:v>
                </c:pt>
                <c:pt idx="7050">
                  <c:v>0.81699999999999995</c:v>
                </c:pt>
                <c:pt idx="7051">
                  <c:v>3.4000000000000002E-2</c:v>
                </c:pt>
                <c:pt idx="7052">
                  <c:v>0.40300000000000002</c:v>
                </c:pt>
                <c:pt idx="7053">
                  <c:v>0.14000000000000001</c:v>
                </c:pt>
                <c:pt idx="7054">
                  <c:v>0.214</c:v>
                </c:pt>
                <c:pt idx="7055">
                  <c:v>5.8000000000000003E-2</c:v>
                </c:pt>
                <c:pt idx="7056">
                  <c:v>7.5999999999999998E-2</c:v>
                </c:pt>
                <c:pt idx="7057">
                  <c:v>0.23</c:v>
                </c:pt>
                <c:pt idx="7058">
                  <c:v>9.5000000000000001E-2</c:v>
                </c:pt>
                <c:pt idx="7059">
                  <c:v>3.1E-2</c:v>
                </c:pt>
                <c:pt idx="7060">
                  <c:v>4.7E-2</c:v>
                </c:pt>
                <c:pt idx="7061">
                  <c:v>9.7000000000000003E-2</c:v>
                </c:pt>
                <c:pt idx="7062">
                  <c:v>0.63100000000000001</c:v>
                </c:pt>
                <c:pt idx="7063">
                  <c:v>9.6000000000000002E-2</c:v>
                </c:pt>
                <c:pt idx="7064">
                  <c:v>0.49299999999999999</c:v>
                </c:pt>
                <c:pt idx="7065">
                  <c:v>0.41899999999999998</c:v>
                </c:pt>
                <c:pt idx="7066">
                  <c:v>0.40699999999999997</c:v>
                </c:pt>
                <c:pt idx="7067">
                  <c:v>0.56899999999999995</c:v>
                </c:pt>
                <c:pt idx="7068">
                  <c:v>0.14299999999999999</c:v>
                </c:pt>
                <c:pt idx="7069">
                  <c:v>0.123</c:v>
                </c:pt>
                <c:pt idx="7070">
                  <c:v>0.10299999999999999</c:v>
                </c:pt>
                <c:pt idx="7071">
                  <c:v>0.16600000000000001</c:v>
                </c:pt>
                <c:pt idx="7072">
                  <c:v>0.42099999999999999</c:v>
                </c:pt>
                <c:pt idx="7073">
                  <c:v>0.85199999999999998</c:v>
                </c:pt>
                <c:pt idx="7074">
                  <c:v>2E-3</c:v>
                </c:pt>
                <c:pt idx="7075">
                  <c:v>0.42</c:v>
                </c:pt>
                <c:pt idx="7076">
                  <c:v>0.15</c:v>
                </c:pt>
                <c:pt idx="7077">
                  <c:v>0.10100000000000001</c:v>
                </c:pt>
                <c:pt idx="7078">
                  <c:v>2.8000000000000001E-2</c:v>
                </c:pt>
                <c:pt idx="7079">
                  <c:v>0.71199999999999997</c:v>
                </c:pt>
                <c:pt idx="7080">
                  <c:v>0.4</c:v>
                </c:pt>
                <c:pt idx="7081">
                  <c:v>4.2000000000000003E-2</c:v>
                </c:pt>
                <c:pt idx="7082">
                  <c:v>6.3E-2</c:v>
                </c:pt>
                <c:pt idx="7083">
                  <c:v>0.03</c:v>
                </c:pt>
                <c:pt idx="7084">
                  <c:v>0.83199999999999996</c:v>
                </c:pt>
                <c:pt idx="7085">
                  <c:v>2.1000000000000001E-2</c:v>
                </c:pt>
                <c:pt idx="7086">
                  <c:v>9.4E-2</c:v>
                </c:pt>
                <c:pt idx="7087">
                  <c:v>5.2999999999999999E-2</c:v>
                </c:pt>
                <c:pt idx="7088">
                  <c:v>0.84599999999999997</c:v>
                </c:pt>
                <c:pt idx="7089">
                  <c:v>0.1</c:v>
                </c:pt>
                <c:pt idx="7090">
                  <c:v>0.23699999999999999</c:v>
                </c:pt>
                <c:pt idx="7091">
                  <c:v>0.13700000000000001</c:v>
                </c:pt>
                <c:pt idx="7092">
                  <c:v>0.14199999999999999</c:v>
                </c:pt>
                <c:pt idx="7093">
                  <c:v>0.70499999999999996</c:v>
                </c:pt>
                <c:pt idx="7094">
                  <c:v>0.129</c:v>
                </c:pt>
                <c:pt idx="7095">
                  <c:v>0.42899999999999999</c:v>
                </c:pt>
                <c:pt idx="7096">
                  <c:v>5.0999999999999997E-2</c:v>
                </c:pt>
                <c:pt idx="7097">
                  <c:v>0.223</c:v>
                </c:pt>
                <c:pt idx="7098">
                  <c:v>0.03</c:v>
                </c:pt>
                <c:pt idx="7099">
                  <c:v>0.186</c:v>
                </c:pt>
                <c:pt idx="7100">
                  <c:v>0.33300000000000002</c:v>
                </c:pt>
                <c:pt idx="7101">
                  <c:v>0.29199999999999998</c:v>
                </c:pt>
                <c:pt idx="7102">
                  <c:v>0.19</c:v>
                </c:pt>
                <c:pt idx="7103">
                  <c:v>0.50600000000000001</c:v>
                </c:pt>
                <c:pt idx="7104">
                  <c:v>5.8000000000000003E-2</c:v>
                </c:pt>
                <c:pt idx="7105">
                  <c:v>0.158</c:v>
                </c:pt>
                <c:pt idx="7106">
                  <c:v>0.214</c:v>
                </c:pt>
                <c:pt idx="7107">
                  <c:v>0.03</c:v>
                </c:pt>
                <c:pt idx="7108">
                  <c:v>0.39900000000000002</c:v>
                </c:pt>
                <c:pt idx="7109">
                  <c:v>2.4E-2</c:v>
                </c:pt>
                <c:pt idx="7110">
                  <c:v>0.03</c:v>
                </c:pt>
                <c:pt idx="7111">
                  <c:v>0.53400000000000003</c:v>
                </c:pt>
                <c:pt idx="7112">
                  <c:v>0.66</c:v>
                </c:pt>
                <c:pt idx="7113">
                  <c:v>4.2000000000000003E-2</c:v>
                </c:pt>
                <c:pt idx="7114">
                  <c:v>0.57799999999999996</c:v>
                </c:pt>
                <c:pt idx="7115">
                  <c:v>2.1000000000000001E-2</c:v>
                </c:pt>
                <c:pt idx="7116">
                  <c:v>0.82799999999999996</c:v>
                </c:pt>
                <c:pt idx="7117">
                  <c:v>0.84</c:v>
                </c:pt>
                <c:pt idx="7118">
                  <c:v>0.185</c:v>
                </c:pt>
                <c:pt idx="7119">
                  <c:v>0.76900000000000002</c:v>
                </c:pt>
                <c:pt idx="7120">
                  <c:v>0.78500000000000003</c:v>
                </c:pt>
                <c:pt idx="7121">
                  <c:v>7.0999999999999994E-2</c:v>
                </c:pt>
                <c:pt idx="7122">
                  <c:v>6.6000000000000003E-2</c:v>
                </c:pt>
                <c:pt idx="7123">
                  <c:v>1.9E-2</c:v>
                </c:pt>
                <c:pt idx="7124">
                  <c:v>3.5999999999999997E-2</c:v>
                </c:pt>
                <c:pt idx="7125">
                  <c:v>0.41</c:v>
                </c:pt>
                <c:pt idx="7126">
                  <c:v>1.4E-2</c:v>
                </c:pt>
                <c:pt idx="7127">
                  <c:v>0.54400000000000004</c:v>
                </c:pt>
                <c:pt idx="7128">
                  <c:v>0.83699999999999997</c:v>
                </c:pt>
                <c:pt idx="7129">
                  <c:v>0.124</c:v>
                </c:pt>
                <c:pt idx="7130">
                  <c:v>9.9000000000000005E-2</c:v>
                </c:pt>
                <c:pt idx="7131">
                  <c:v>0.26300000000000001</c:v>
                </c:pt>
                <c:pt idx="7132">
                  <c:v>0.32900000000000001</c:v>
                </c:pt>
                <c:pt idx="7133">
                  <c:v>0.161</c:v>
                </c:pt>
                <c:pt idx="7134">
                  <c:v>0.375</c:v>
                </c:pt>
                <c:pt idx="7135">
                  <c:v>6.3E-2</c:v>
                </c:pt>
                <c:pt idx="7136">
                  <c:v>0.38</c:v>
                </c:pt>
                <c:pt idx="7137">
                  <c:v>3.2000000000000001E-2</c:v>
                </c:pt>
                <c:pt idx="7138">
                  <c:v>7.5999999999999998E-2</c:v>
                </c:pt>
                <c:pt idx="7139">
                  <c:v>0.12</c:v>
                </c:pt>
                <c:pt idx="7140">
                  <c:v>0.41299999999999998</c:v>
                </c:pt>
                <c:pt idx="7141">
                  <c:v>8.9999999999999993E-3</c:v>
                </c:pt>
                <c:pt idx="7142">
                  <c:v>3.9E-2</c:v>
                </c:pt>
                <c:pt idx="7143">
                  <c:v>0.41699999999999998</c:v>
                </c:pt>
                <c:pt idx="7144">
                  <c:v>0.52500000000000002</c:v>
                </c:pt>
                <c:pt idx="7145">
                  <c:v>3.5999999999999997E-2</c:v>
                </c:pt>
                <c:pt idx="7146">
                  <c:v>0.222</c:v>
                </c:pt>
                <c:pt idx="7147">
                  <c:v>4.1000000000000002E-2</c:v>
                </c:pt>
                <c:pt idx="7148">
                  <c:v>0.29699999999999999</c:v>
                </c:pt>
                <c:pt idx="7149">
                  <c:v>0.81899999999999995</c:v>
                </c:pt>
                <c:pt idx="7150">
                  <c:v>0</c:v>
                </c:pt>
                <c:pt idx="7151">
                  <c:v>7.2999999999999995E-2</c:v>
                </c:pt>
                <c:pt idx="7152">
                  <c:v>0.436</c:v>
                </c:pt>
                <c:pt idx="7153">
                  <c:v>0.10199999999999999</c:v>
                </c:pt>
                <c:pt idx="7154">
                  <c:v>3.1E-2</c:v>
                </c:pt>
                <c:pt idx="7155">
                  <c:v>0.155</c:v>
                </c:pt>
                <c:pt idx="7156">
                  <c:v>0.03</c:v>
                </c:pt>
                <c:pt idx="7157">
                  <c:v>7.6999999999999999E-2</c:v>
                </c:pt>
                <c:pt idx="7158">
                  <c:v>0.35699999999999998</c:v>
                </c:pt>
                <c:pt idx="7159">
                  <c:v>0.34899999999999998</c:v>
                </c:pt>
                <c:pt idx="7160">
                  <c:v>3.3000000000000002E-2</c:v>
                </c:pt>
                <c:pt idx="7161">
                  <c:v>7.1999999999999995E-2</c:v>
                </c:pt>
                <c:pt idx="7162">
                  <c:v>0.13100000000000001</c:v>
                </c:pt>
                <c:pt idx="7163">
                  <c:v>2.9000000000000001E-2</c:v>
                </c:pt>
                <c:pt idx="7164">
                  <c:v>7.0999999999999994E-2</c:v>
                </c:pt>
                <c:pt idx="7165">
                  <c:v>0.82399999999999995</c:v>
                </c:pt>
                <c:pt idx="7166">
                  <c:v>0.02</c:v>
                </c:pt>
                <c:pt idx="7167">
                  <c:v>7.3999999999999996E-2</c:v>
                </c:pt>
                <c:pt idx="7168">
                  <c:v>0.23200000000000001</c:v>
                </c:pt>
                <c:pt idx="7169">
                  <c:v>0.84199999999999997</c:v>
                </c:pt>
                <c:pt idx="7170">
                  <c:v>0.90300000000000002</c:v>
                </c:pt>
                <c:pt idx="7171">
                  <c:v>3.5000000000000003E-2</c:v>
                </c:pt>
                <c:pt idx="7172">
                  <c:v>3.3000000000000002E-2</c:v>
                </c:pt>
                <c:pt idx="7173">
                  <c:v>0.39400000000000002</c:v>
                </c:pt>
                <c:pt idx="7174">
                  <c:v>0.63900000000000001</c:v>
                </c:pt>
                <c:pt idx="7175">
                  <c:v>9.7000000000000003E-2</c:v>
                </c:pt>
                <c:pt idx="7176">
                  <c:v>0.13100000000000001</c:v>
                </c:pt>
                <c:pt idx="7177">
                  <c:v>0.27800000000000002</c:v>
                </c:pt>
                <c:pt idx="7178">
                  <c:v>7.6999999999999999E-2</c:v>
                </c:pt>
                <c:pt idx="7179">
                  <c:v>6.3E-2</c:v>
                </c:pt>
                <c:pt idx="7180">
                  <c:v>0.20499999999999999</c:v>
                </c:pt>
                <c:pt idx="7181">
                  <c:v>0.111</c:v>
                </c:pt>
                <c:pt idx="7182">
                  <c:v>0.42699999999999999</c:v>
                </c:pt>
                <c:pt idx="7183">
                  <c:v>0.42199999999999999</c:v>
                </c:pt>
                <c:pt idx="7184">
                  <c:v>0.83199999999999996</c:v>
                </c:pt>
                <c:pt idx="7185">
                  <c:v>4.1000000000000002E-2</c:v>
                </c:pt>
                <c:pt idx="7186">
                  <c:v>7.0999999999999994E-2</c:v>
                </c:pt>
                <c:pt idx="7187">
                  <c:v>4.8000000000000001E-2</c:v>
                </c:pt>
                <c:pt idx="7188">
                  <c:v>0.129</c:v>
                </c:pt>
                <c:pt idx="7189">
                  <c:v>0.42499999999999999</c:v>
                </c:pt>
                <c:pt idx="7190">
                  <c:v>0.27600000000000002</c:v>
                </c:pt>
                <c:pt idx="7191">
                  <c:v>8.0000000000000002E-3</c:v>
                </c:pt>
                <c:pt idx="7192">
                  <c:v>4.7E-2</c:v>
                </c:pt>
                <c:pt idx="7193">
                  <c:v>0.246</c:v>
                </c:pt>
                <c:pt idx="7194">
                  <c:v>0.81699999999999995</c:v>
                </c:pt>
                <c:pt idx="7195">
                  <c:v>0.54</c:v>
                </c:pt>
                <c:pt idx="7196">
                  <c:v>2.1000000000000001E-2</c:v>
                </c:pt>
                <c:pt idx="7197">
                  <c:v>1.4E-2</c:v>
                </c:pt>
                <c:pt idx="7198">
                  <c:v>0.29799999999999999</c:v>
                </c:pt>
                <c:pt idx="7199">
                  <c:v>0.54600000000000004</c:v>
                </c:pt>
                <c:pt idx="7200">
                  <c:v>4.5999999999999999E-2</c:v>
                </c:pt>
                <c:pt idx="7201">
                  <c:v>2.7E-2</c:v>
                </c:pt>
                <c:pt idx="7202">
                  <c:v>4.8000000000000001E-2</c:v>
                </c:pt>
                <c:pt idx="7203">
                  <c:v>0.70099999999999996</c:v>
                </c:pt>
                <c:pt idx="7204">
                  <c:v>0.20300000000000001</c:v>
                </c:pt>
                <c:pt idx="7205">
                  <c:v>5.8000000000000003E-2</c:v>
                </c:pt>
                <c:pt idx="7206">
                  <c:v>0.28199999999999997</c:v>
                </c:pt>
                <c:pt idx="7207">
                  <c:v>0.124</c:v>
                </c:pt>
                <c:pt idx="7208">
                  <c:v>6.8000000000000005E-2</c:v>
                </c:pt>
                <c:pt idx="7209">
                  <c:v>0.183</c:v>
                </c:pt>
                <c:pt idx="7210">
                  <c:v>0.74299999999999999</c:v>
                </c:pt>
                <c:pt idx="7211">
                  <c:v>8.2000000000000003E-2</c:v>
                </c:pt>
                <c:pt idx="7212">
                  <c:v>0.79600000000000004</c:v>
                </c:pt>
                <c:pt idx="7213">
                  <c:v>2.5000000000000001E-2</c:v>
                </c:pt>
                <c:pt idx="7214">
                  <c:v>3.7999999999999999E-2</c:v>
                </c:pt>
                <c:pt idx="7215">
                  <c:v>9.0999999999999998E-2</c:v>
                </c:pt>
                <c:pt idx="7216">
                  <c:v>1.7000000000000001E-2</c:v>
                </c:pt>
                <c:pt idx="7217">
                  <c:v>0.496</c:v>
                </c:pt>
                <c:pt idx="7218">
                  <c:v>0.65100000000000002</c:v>
                </c:pt>
                <c:pt idx="7219">
                  <c:v>0.60499999999999998</c:v>
                </c:pt>
                <c:pt idx="7220">
                  <c:v>0.15</c:v>
                </c:pt>
                <c:pt idx="7221">
                  <c:v>0.432</c:v>
                </c:pt>
                <c:pt idx="7222">
                  <c:v>0.27400000000000002</c:v>
                </c:pt>
                <c:pt idx="7223">
                  <c:v>0.14699999999999999</c:v>
                </c:pt>
                <c:pt idx="7224">
                  <c:v>0.79400000000000004</c:v>
                </c:pt>
                <c:pt idx="7225">
                  <c:v>5.8999999999999997E-2</c:v>
                </c:pt>
                <c:pt idx="7226">
                  <c:v>0.78200000000000003</c:v>
                </c:pt>
                <c:pt idx="7227">
                  <c:v>0.311</c:v>
                </c:pt>
                <c:pt idx="7228">
                  <c:v>0.13500000000000001</c:v>
                </c:pt>
                <c:pt idx="7229">
                  <c:v>9.2999999999999999E-2</c:v>
                </c:pt>
                <c:pt idx="7230">
                  <c:v>1.9E-2</c:v>
                </c:pt>
                <c:pt idx="7231">
                  <c:v>2.1999999999999999E-2</c:v>
                </c:pt>
                <c:pt idx="7232">
                  <c:v>0.63200000000000001</c:v>
                </c:pt>
                <c:pt idx="7233">
                  <c:v>8.5000000000000006E-2</c:v>
                </c:pt>
                <c:pt idx="7234">
                  <c:v>2.5000000000000001E-2</c:v>
                </c:pt>
                <c:pt idx="7235">
                  <c:v>0.1</c:v>
                </c:pt>
                <c:pt idx="7236">
                  <c:v>0.54600000000000004</c:v>
                </c:pt>
                <c:pt idx="7237">
                  <c:v>2.5000000000000001E-2</c:v>
                </c:pt>
                <c:pt idx="7238">
                  <c:v>0.17499999999999999</c:v>
                </c:pt>
                <c:pt idx="7239">
                  <c:v>0</c:v>
                </c:pt>
                <c:pt idx="7240">
                  <c:v>5.8999999999999997E-2</c:v>
                </c:pt>
                <c:pt idx="7241">
                  <c:v>3.5999999999999997E-2</c:v>
                </c:pt>
                <c:pt idx="7242">
                  <c:v>0.755</c:v>
                </c:pt>
                <c:pt idx="7243">
                  <c:v>0.64200000000000002</c:v>
                </c:pt>
                <c:pt idx="7244">
                  <c:v>0.121</c:v>
                </c:pt>
                <c:pt idx="7245">
                  <c:v>0.45500000000000002</c:v>
                </c:pt>
                <c:pt idx="7246">
                  <c:v>3.5000000000000003E-2</c:v>
                </c:pt>
                <c:pt idx="7247">
                  <c:v>1.2999999999999999E-2</c:v>
                </c:pt>
                <c:pt idx="7248">
                  <c:v>1.7000000000000001E-2</c:v>
                </c:pt>
                <c:pt idx="7249">
                  <c:v>0.03</c:v>
                </c:pt>
                <c:pt idx="7250">
                  <c:v>0.65700000000000003</c:v>
                </c:pt>
                <c:pt idx="7251">
                  <c:v>0</c:v>
                </c:pt>
                <c:pt idx="7252">
                  <c:v>0.26400000000000001</c:v>
                </c:pt>
                <c:pt idx="7253">
                  <c:v>0.505</c:v>
                </c:pt>
                <c:pt idx="7254">
                  <c:v>0.66900000000000004</c:v>
                </c:pt>
                <c:pt idx="7255">
                  <c:v>1.2999999999999999E-2</c:v>
                </c:pt>
                <c:pt idx="7256">
                  <c:v>0.28599999999999998</c:v>
                </c:pt>
                <c:pt idx="7257">
                  <c:v>1.4E-2</c:v>
                </c:pt>
                <c:pt idx="7258">
                  <c:v>0.29899999999999999</c:v>
                </c:pt>
                <c:pt idx="7259">
                  <c:v>3.2000000000000001E-2</c:v>
                </c:pt>
                <c:pt idx="7260">
                  <c:v>0.54200000000000004</c:v>
                </c:pt>
                <c:pt idx="7261">
                  <c:v>0.68300000000000005</c:v>
                </c:pt>
                <c:pt idx="7262">
                  <c:v>0.02</c:v>
                </c:pt>
                <c:pt idx="7263">
                  <c:v>0.20300000000000001</c:v>
                </c:pt>
                <c:pt idx="7264">
                  <c:v>2.9000000000000001E-2</c:v>
                </c:pt>
                <c:pt idx="7265">
                  <c:v>0.374</c:v>
                </c:pt>
                <c:pt idx="7266">
                  <c:v>2.8000000000000001E-2</c:v>
                </c:pt>
                <c:pt idx="7267">
                  <c:v>6.3E-2</c:v>
                </c:pt>
                <c:pt idx="7268">
                  <c:v>0.92900000000000005</c:v>
                </c:pt>
                <c:pt idx="7269">
                  <c:v>0.29599999999999999</c:v>
                </c:pt>
                <c:pt idx="7270">
                  <c:v>0.751</c:v>
                </c:pt>
                <c:pt idx="7271">
                  <c:v>0.14099999999999999</c:v>
                </c:pt>
                <c:pt idx="7272">
                  <c:v>4.2999999999999997E-2</c:v>
                </c:pt>
                <c:pt idx="7273">
                  <c:v>0.621</c:v>
                </c:pt>
                <c:pt idx="7274">
                  <c:v>0.63600000000000001</c:v>
                </c:pt>
                <c:pt idx="7275">
                  <c:v>0.80200000000000005</c:v>
                </c:pt>
                <c:pt idx="7276">
                  <c:v>0.69399999999999995</c:v>
                </c:pt>
                <c:pt idx="7277">
                  <c:v>0.40300000000000002</c:v>
                </c:pt>
                <c:pt idx="7278">
                  <c:v>0.123</c:v>
                </c:pt>
                <c:pt idx="7279">
                  <c:v>0</c:v>
                </c:pt>
                <c:pt idx="7280">
                  <c:v>4.5999999999999999E-2</c:v>
                </c:pt>
                <c:pt idx="7281">
                  <c:v>0.314</c:v>
                </c:pt>
                <c:pt idx="7282">
                  <c:v>3.5999999999999997E-2</c:v>
                </c:pt>
                <c:pt idx="7283">
                  <c:v>0.129</c:v>
                </c:pt>
                <c:pt idx="7284">
                  <c:v>0.105</c:v>
                </c:pt>
                <c:pt idx="7285">
                  <c:v>0.31900000000000001</c:v>
                </c:pt>
                <c:pt idx="7286">
                  <c:v>0.248</c:v>
                </c:pt>
                <c:pt idx="7287">
                  <c:v>4.1000000000000002E-2</c:v>
                </c:pt>
                <c:pt idx="7288">
                  <c:v>6.0999999999999999E-2</c:v>
                </c:pt>
                <c:pt idx="7289">
                  <c:v>0.33200000000000002</c:v>
                </c:pt>
                <c:pt idx="7290">
                  <c:v>0.46600000000000003</c:v>
                </c:pt>
                <c:pt idx="7291">
                  <c:v>1.6E-2</c:v>
                </c:pt>
                <c:pt idx="7292">
                  <c:v>1.2E-2</c:v>
                </c:pt>
                <c:pt idx="7293">
                  <c:v>0.51600000000000001</c:v>
                </c:pt>
                <c:pt idx="7294">
                  <c:v>0.315</c:v>
                </c:pt>
                <c:pt idx="7295">
                  <c:v>0</c:v>
                </c:pt>
                <c:pt idx="7296">
                  <c:v>0.24199999999999999</c:v>
                </c:pt>
                <c:pt idx="7297">
                  <c:v>2.1999999999999999E-2</c:v>
                </c:pt>
                <c:pt idx="7298">
                  <c:v>0.59</c:v>
                </c:pt>
                <c:pt idx="7299">
                  <c:v>2.3E-2</c:v>
                </c:pt>
                <c:pt idx="7300">
                  <c:v>0.52300000000000002</c:v>
                </c:pt>
                <c:pt idx="7301">
                  <c:v>4.9000000000000002E-2</c:v>
                </c:pt>
                <c:pt idx="7302">
                  <c:v>0.48699999999999999</c:v>
                </c:pt>
                <c:pt idx="7303">
                  <c:v>0.59799999999999998</c:v>
                </c:pt>
                <c:pt idx="7304">
                  <c:v>0.57799999999999996</c:v>
                </c:pt>
                <c:pt idx="7305">
                  <c:v>0.123</c:v>
                </c:pt>
                <c:pt idx="7306">
                  <c:v>0.22600000000000001</c:v>
                </c:pt>
                <c:pt idx="7307">
                  <c:v>1.0999999999999999E-2</c:v>
                </c:pt>
                <c:pt idx="7308">
                  <c:v>0.71299999999999997</c:v>
                </c:pt>
                <c:pt idx="7309">
                  <c:v>0.79100000000000004</c:v>
                </c:pt>
                <c:pt idx="7310">
                  <c:v>0.34300000000000003</c:v>
                </c:pt>
                <c:pt idx="7311">
                  <c:v>0.54</c:v>
                </c:pt>
                <c:pt idx="7312">
                  <c:v>0.1</c:v>
                </c:pt>
                <c:pt idx="7313">
                  <c:v>0.27600000000000002</c:v>
                </c:pt>
                <c:pt idx="7314">
                  <c:v>0.68700000000000006</c:v>
                </c:pt>
                <c:pt idx="7315">
                  <c:v>0.60299999999999998</c:v>
                </c:pt>
                <c:pt idx="7316">
                  <c:v>7.0000000000000001E-3</c:v>
                </c:pt>
                <c:pt idx="7317">
                  <c:v>2.3E-2</c:v>
                </c:pt>
                <c:pt idx="7318">
                  <c:v>0.61899999999999999</c:v>
                </c:pt>
                <c:pt idx="7319">
                  <c:v>0.83599999999999997</c:v>
                </c:pt>
                <c:pt idx="7320">
                  <c:v>0.41699999999999998</c:v>
                </c:pt>
                <c:pt idx="7321">
                  <c:v>0.182</c:v>
                </c:pt>
                <c:pt idx="7322">
                  <c:v>0.3</c:v>
                </c:pt>
                <c:pt idx="7323">
                  <c:v>7.9000000000000001E-2</c:v>
                </c:pt>
                <c:pt idx="7324">
                  <c:v>0.11899999999999999</c:v>
                </c:pt>
                <c:pt idx="7325">
                  <c:v>0.16700000000000001</c:v>
                </c:pt>
                <c:pt idx="7326">
                  <c:v>0.188</c:v>
                </c:pt>
                <c:pt idx="7327">
                  <c:v>0.253</c:v>
                </c:pt>
                <c:pt idx="7328">
                  <c:v>0.28999999999999998</c:v>
                </c:pt>
                <c:pt idx="7329">
                  <c:v>0.32400000000000001</c:v>
                </c:pt>
                <c:pt idx="7330">
                  <c:v>0.34799999999999998</c:v>
                </c:pt>
                <c:pt idx="7331">
                  <c:v>0.44500000000000001</c:v>
                </c:pt>
                <c:pt idx="7332">
                  <c:v>0.47</c:v>
                </c:pt>
                <c:pt idx="7333">
                  <c:v>0.47799999999999998</c:v>
                </c:pt>
                <c:pt idx="7334">
                  <c:v>0.66100000000000003</c:v>
                </c:pt>
                <c:pt idx="7335">
                  <c:v>0.72299999999999998</c:v>
                </c:pt>
                <c:pt idx="7336">
                  <c:v>0.747</c:v>
                </c:pt>
                <c:pt idx="7337">
                  <c:v>0.75600000000000001</c:v>
                </c:pt>
                <c:pt idx="7338">
                  <c:v>0.79100000000000004</c:v>
                </c:pt>
                <c:pt idx="7339">
                  <c:v>0.79100000000000004</c:v>
                </c:pt>
                <c:pt idx="7340">
                  <c:v>0.82099999999999995</c:v>
                </c:pt>
                <c:pt idx="7341">
                  <c:v>0.84</c:v>
                </c:pt>
                <c:pt idx="7342">
                  <c:v>0.875</c:v>
                </c:pt>
                <c:pt idx="7343">
                  <c:v>0.92600000000000005</c:v>
                </c:pt>
                <c:pt idx="7344">
                  <c:v>0.92600000000000005</c:v>
                </c:pt>
              </c:numCache>
            </c:numRef>
          </c:xVal>
          <c:yVal>
            <c:numRef>
              <c:f>'Non EcoDis Phase In'!$C$3:$C$7486</c:f>
              <c:numCache>
                <c:formatCode>0%</c:formatCode>
                <c:ptCount val="7484"/>
                <c:pt idx="0">
                  <c:v>2.7027027027027001E-2</c:v>
                </c:pt>
                <c:pt idx="1">
                  <c:v>3.3333333333333298E-2</c:v>
                </c:pt>
                <c:pt idx="2">
                  <c:v>3.8461538461538498E-2</c:v>
                </c:pt>
                <c:pt idx="3">
                  <c:v>4.6153846153846101E-2</c:v>
                </c:pt>
                <c:pt idx="4">
                  <c:v>4.6511627906976702E-2</c:v>
                </c:pt>
                <c:pt idx="5">
                  <c:v>4.7619047619047603E-2</c:v>
                </c:pt>
                <c:pt idx="6">
                  <c:v>5.5555555555555497E-2</c:v>
                </c:pt>
                <c:pt idx="7">
                  <c:v>5.6603773584905599E-2</c:v>
                </c:pt>
                <c:pt idx="8">
                  <c:v>5.8823529411764698E-2</c:v>
                </c:pt>
                <c:pt idx="9">
                  <c:v>6.0606060606060601E-2</c:v>
                </c:pt>
                <c:pt idx="10">
                  <c:v>6.25E-2</c:v>
                </c:pt>
                <c:pt idx="11">
                  <c:v>6.25E-2</c:v>
                </c:pt>
                <c:pt idx="12">
                  <c:v>6.25E-2</c:v>
                </c:pt>
                <c:pt idx="13">
                  <c:v>6.3829787234042507E-2</c:v>
                </c:pt>
                <c:pt idx="14">
                  <c:v>6.3829787234042507E-2</c:v>
                </c:pt>
                <c:pt idx="15">
                  <c:v>6.8965517241379296E-2</c:v>
                </c:pt>
                <c:pt idx="16">
                  <c:v>7.1428571428571397E-2</c:v>
                </c:pt>
                <c:pt idx="17">
                  <c:v>7.69230769230769E-2</c:v>
                </c:pt>
                <c:pt idx="18">
                  <c:v>8.0645161290322606E-2</c:v>
                </c:pt>
                <c:pt idx="19">
                  <c:v>8.3333333333333301E-2</c:v>
                </c:pt>
                <c:pt idx="20">
                  <c:v>8.6206896551724102E-2</c:v>
                </c:pt>
                <c:pt idx="21">
                  <c:v>9.0909090909090898E-2</c:v>
                </c:pt>
                <c:pt idx="22">
                  <c:v>9.7560975609756101E-2</c:v>
                </c:pt>
                <c:pt idx="23">
                  <c:v>0.1</c:v>
                </c:pt>
                <c:pt idx="24">
                  <c:v>0.102564102564103</c:v>
                </c:pt>
                <c:pt idx="25">
                  <c:v>0.105263157894737</c:v>
                </c:pt>
                <c:pt idx="26">
                  <c:v>0.107142857142857</c:v>
                </c:pt>
                <c:pt idx="27">
                  <c:v>0.108695652173913</c:v>
                </c:pt>
                <c:pt idx="28">
                  <c:v>0.108695652173913</c:v>
                </c:pt>
                <c:pt idx="29">
                  <c:v>0.114285714285714</c:v>
                </c:pt>
                <c:pt idx="30">
                  <c:v>0.116279069767442</c:v>
                </c:pt>
                <c:pt idx="31">
                  <c:v>0.11864406779661001</c:v>
                </c:pt>
                <c:pt idx="32">
                  <c:v>0.12</c:v>
                </c:pt>
                <c:pt idx="33">
                  <c:v>0.12195121951219499</c:v>
                </c:pt>
                <c:pt idx="34">
                  <c:v>0.12195121951219499</c:v>
                </c:pt>
                <c:pt idx="35">
                  <c:v>0.122448979591837</c:v>
                </c:pt>
                <c:pt idx="36">
                  <c:v>0.125</c:v>
                </c:pt>
                <c:pt idx="37">
                  <c:v>0.125</c:v>
                </c:pt>
                <c:pt idx="38">
                  <c:v>0.12903225806451599</c:v>
                </c:pt>
                <c:pt idx="39">
                  <c:v>0.12903225806451599</c:v>
                </c:pt>
                <c:pt idx="40">
                  <c:v>0.133333333333333</c:v>
                </c:pt>
                <c:pt idx="41">
                  <c:v>0.13793103448275901</c:v>
                </c:pt>
                <c:pt idx="42">
                  <c:v>0.13888888888888901</c:v>
                </c:pt>
                <c:pt idx="43">
                  <c:v>0.14285714285714299</c:v>
                </c:pt>
                <c:pt idx="44">
                  <c:v>0.14285714285714299</c:v>
                </c:pt>
                <c:pt idx="45">
                  <c:v>0.14285714285714299</c:v>
                </c:pt>
                <c:pt idx="46">
                  <c:v>0.148148148148148</c:v>
                </c:pt>
                <c:pt idx="47">
                  <c:v>0.15</c:v>
                </c:pt>
                <c:pt idx="48">
                  <c:v>0.151260504201681</c:v>
                </c:pt>
                <c:pt idx="49">
                  <c:v>0.15384615384615399</c:v>
                </c:pt>
                <c:pt idx="50">
                  <c:v>0.15517241379310301</c:v>
                </c:pt>
                <c:pt idx="51">
                  <c:v>0.155555555555556</c:v>
                </c:pt>
                <c:pt idx="52">
                  <c:v>0.157894736842105</c:v>
                </c:pt>
                <c:pt idx="53">
                  <c:v>0.162162162162162</c:v>
                </c:pt>
                <c:pt idx="54">
                  <c:v>0.164179104477612</c:v>
                </c:pt>
                <c:pt idx="55">
                  <c:v>0.16666666666666699</c:v>
                </c:pt>
                <c:pt idx="56">
                  <c:v>0.16666666666666699</c:v>
                </c:pt>
                <c:pt idx="57">
                  <c:v>0.16666666666666699</c:v>
                </c:pt>
                <c:pt idx="58">
                  <c:v>0.16766467065868301</c:v>
                </c:pt>
                <c:pt idx="59">
                  <c:v>0.17073170731707299</c:v>
                </c:pt>
                <c:pt idx="60">
                  <c:v>0.17142857142857101</c:v>
                </c:pt>
                <c:pt idx="61">
                  <c:v>0.17142857142857101</c:v>
                </c:pt>
                <c:pt idx="62">
                  <c:v>0.17142857142857101</c:v>
                </c:pt>
                <c:pt idx="63">
                  <c:v>0.17241379310344801</c:v>
                </c:pt>
                <c:pt idx="64">
                  <c:v>0.173913043478261</c:v>
                </c:pt>
                <c:pt idx="65">
                  <c:v>0.17647058823529399</c:v>
                </c:pt>
                <c:pt idx="66">
                  <c:v>0.17647058823529399</c:v>
                </c:pt>
                <c:pt idx="67">
                  <c:v>0.17777777777777801</c:v>
                </c:pt>
                <c:pt idx="68">
                  <c:v>0.17777777777777801</c:v>
                </c:pt>
                <c:pt idx="69">
                  <c:v>0.17948717948717899</c:v>
                </c:pt>
                <c:pt idx="70">
                  <c:v>0.18181818181818199</c:v>
                </c:pt>
                <c:pt idx="71">
                  <c:v>0.18565400843881899</c:v>
                </c:pt>
                <c:pt idx="72">
                  <c:v>0.1875</c:v>
                </c:pt>
                <c:pt idx="73">
                  <c:v>0.1875</c:v>
                </c:pt>
                <c:pt idx="74">
                  <c:v>0.1875</c:v>
                </c:pt>
                <c:pt idx="75">
                  <c:v>0.19230769230769201</c:v>
                </c:pt>
                <c:pt idx="76">
                  <c:v>0.19230769230769201</c:v>
                </c:pt>
                <c:pt idx="77">
                  <c:v>0.19565217391304299</c:v>
                </c:pt>
                <c:pt idx="78">
                  <c:v>0.2</c:v>
                </c:pt>
                <c:pt idx="79">
                  <c:v>0.2</c:v>
                </c:pt>
                <c:pt idx="80">
                  <c:v>0.2</c:v>
                </c:pt>
                <c:pt idx="81">
                  <c:v>0.2</c:v>
                </c:pt>
                <c:pt idx="82">
                  <c:v>0.20408163265306101</c:v>
                </c:pt>
                <c:pt idx="83">
                  <c:v>0.20512820512820501</c:v>
                </c:pt>
                <c:pt idx="84">
                  <c:v>0.20588235294117599</c:v>
                </c:pt>
                <c:pt idx="85">
                  <c:v>0.206349206349206</c:v>
                </c:pt>
                <c:pt idx="86">
                  <c:v>0.20689655172413801</c:v>
                </c:pt>
                <c:pt idx="87">
                  <c:v>0.21052631578947401</c:v>
                </c:pt>
                <c:pt idx="88">
                  <c:v>0.21052631578947401</c:v>
                </c:pt>
                <c:pt idx="89">
                  <c:v>0.21052631578947401</c:v>
                </c:pt>
                <c:pt idx="90">
                  <c:v>0.21212121212121199</c:v>
                </c:pt>
                <c:pt idx="91">
                  <c:v>0.21333333333333299</c:v>
                </c:pt>
                <c:pt idx="92">
                  <c:v>0.214285714285714</c:v>
                </c:pt>
                <c:pt idx="93">
                  <c:v>0.214285714285714</c:v>
                </c:pt>
                <c:pt idx="94">
                  <c:v>0.218181818181818</c:v>
                </c:pt>
                <c:pt idx="95">
                  <c:v>0.21875</c:v>
                </c:pt>
                <c:pt idx="96">
                  <c:v>0.219512195121951</c:v>
                </c:pt>
                <c:pt idx="97">
                  <c:v>0.219512195121951</c:v>
                </c:pt>
                <c:pt idx="98">
                  <c:v>0.22</c:v>
                </c:pt>
                <c:pt idx="99">
                  <c:v>0.22222222222222199</c:v>
                </c:pt>
                <c:pt idx="100">
                  <c:v>0.22222222222222199</c:v>
                </c:pt>
                <c:pt idx="101">
                  <c:v>0.22222222222222199</c:v>
                </c:pt>
                <c:pt idx="102">
                  <c:v>0.22388059701492499</c:v>
                </c:pt>
                <c:pt idx="103">
                  <c:v>0.225806451612903</c:v>
                </c:pt>
                <c:pt idx="104">
                  <c:v>0.22727272727272699</c:v>
                </c:pt>
                <c:pt idx="105">
                  <c:v>0.22857142857142901</c:v>
                </c:pt>
                <c:pt idx="106">
                  <c:v>0.22916666666666699</c:v>
                </c:pt>
                <c:pt idx="107">
                  <c:v>0.230769230769231</c:v>
                </c:pt>
                <c:pt idx="108">
                  <c:v>0.230769230769231</c:v>
                </c:pt>
                <c:pt idx="109">
                  <c:v>0.230769230769231</c:v>
                </c:pt>
                <c:pt idx="110">
                  <c:v>0.230769230769231</c:v>
                </c:pt>
                <c:pt idx="111">
                  <c:v>0.232558139534884</c:v>
                </c:pt>
                <c:pt idx="112">
                  <c:v>0.233333333333333</c:v>
                </c:pt>
                <c:pt idx="113">
                  <c:v>0.233333333333333</c:v>
                </c:pt>
                <c:pt idx="114">
                  <c:v>0.23529411764705899</c:v>
                </c:pt>
                <c:pt idx="115">
                  <c:v>0.23529411764705899</c:v>
                </c:pt>
                <c:pt idx="116">
                  <c:v>0.23529411764705899</c:v>
                </c:pt>
                <c:pt idx="117">
                  <c:v>0.23529411764705899</c:v>
                </c:pt>
                <c:pt idx="118">
                  <c:v>0.23529411764705899</c:v>
                </c:pt>
                <c:pt idx="119">
                  <c:v>0.23529411764705899</c:v>
                </c:pt>
                <c:pt idx="120">
                  <c:v>0.23684210526315799</c:v>
                </c:pt>
                <c:pt idx="121">
                  <c:v>0.238095238095238</c:v>
                </c:pt>
                <c:pt idx="122">
                  <c:v>0.23913043478260901</c:v>
                </c:pt>
                <c:pt idx="123">
                  <c:v>0.24</c:v>
                </c:pt>
                <c:pt idx="124">
                  <c:v>0.24137931034482801</c:v>
                </c:pt>
                <c:pt idx="125">
                  <c:v>0.241935483870968</c:v>
                </c:pt>
                <c:pt idx="126">
                  <c:v>0.24242424242424199</c:v>
                </c:pt>
                <c:pt idx="127">
                  <c:v>0.24324324324324301</c:v>
                </c:pt>
                <c:pt idx="128">
                  <c:v>0.24390243902438999</c:v>
                </c:pt>
                <c:pt idx="129">
                  <c:v>0.25</c:v>
                </c:pt>
                <c:pt idx="130">
                  <c:v>0.25</c:v>
                </c:pt>
                <c:pt idx="131">
                  <c:v>0.25</c:v>
                </c:pt>
                <c:pt idx="132">
                  <c:v>0.25</c:v>
                </c:pt>
                <c:pt idx="133">
                  <c:v>0.25</c:v>
                </c:pt>
                <c:pt idx="134">
                  <c:v>0.25</c:v>
                </c:pt>
                <c:pt idx="135">
                  <c:v>0.25</c:v>
                </c:pt>
                <c:pt idx="136">
                  <c:v>0.25</c:v>
                </c:pt>
                <c:pt idx="137">
                  <c:v>0.25</c:v>
                </c:pt>
                <c:pt idx="138">
                  <c:v>0.25</c:v>
                </c:pt>
                <c:pt idx="139">
                  <c:v>0.25</c:v>
                </c:pt>
                <c:pt idx="140">
                  <c:v>0.25333333333333302</c:v>
                </c:pt>
                <c:pt idx="141">
                  <c:v>0.25490196078431399</c:v>
                </c:pt>
                <c:pt idx="142">
                  <c:v>0.25531914893617003</c:v>
                </c:pt>
                <c:pt idx="143">
                  <c:v>0.256410256410256</c:v>
                </c:pt>
                <c:pt idx="144">
                  <c:v>0.256410256410256</c:v>
                </c:pt>
                <c:pt idx="145">
                  <c:v>0.25714285714285701</c:v>
                </c:pt>
                <c:pt idx="146">
                  <c:v>0.25714285714285701</c:v>
                </c:pt>
                <c:pt idx="147">
                  <c:v>0.25806451612903197</c:v>
                </c:pt>
                <c:pt idx="148">
                  <c:v>0.25925925925925902</c:v>
                </c:pt>
                <c:pt idx="149">
                  <c:v>0.25925925925925902</c:v>
                </c:pt>
                <c:pt idx="150">
                  <c:v>0.25966850828729299</c:v>
                </c:pt>
                <c:pt idx="151">
                  <c:v>0.26</c:v>
                </c:pt>
                <c:pt idx="152">
                  <c:v>0.26229508196721302</c:v>
                </c:pt>
                <c:pt idx="153">
                  <c:v>0.26315789473684198</c:v>
                </c:pt>
                <c:pt idx="154">
                  <c:v>0.26315789473684198</c:v>
                </c:pt>
                <c:pt idx="155">
                  <c:v>0.26470588235294101</c:v>
                </c:pt>
                <c:pt idx="156">
                  <c:v>0.26470588235294101</c:v>
                </c:pt>
                <c:pt idx="157">
                  <c:v>0.26470588235294101</c:v>
                </c:pt>
                <c:pt idx="158">
                  <c:v>0.26530612244898</c:v>
                </c:pt>
                <c:pt idx="159">
                  <c:v>0.26530612244898</c:v>
                </c:pt>
                <c:pt idx="160">
                  <c:v>0.266666666666667</c:v>
                </c:pt>
                <c:pt idx="161">
                  <c:v>0.27027027027027001</c:v>
                </c:pt>
                <c:pt idx="162">
                  <c:v>0.27027027027027001</c:v>
                </c:pt>
                <c:pt idx="163">
                  <c:v>0.270531400966184</c:v>
                </c:pt>
                <c:pt idx="164">
                  <c:v>0.27083333333333298</c:v>
                </c:pt>
                <c:pt idx="165">
                  <c:v>0.27272727272727298</c:v>
                </c:pt>
                <c:pt idx="166">
                  <c:v>0.27500000000000002</c:v>
                </c:pt>
                <c:pt idx="167">
                  <c:v>0.27536231884057999</c:v>
                </c:pt>
                <c:pt idx="168">
                  <c:v>0.276422764227642</c:v>
                </c:pt>
                <c:pt idx="169">
                  <c:v>0.27722772277227697</c:v>
                </c:pt>
                <c:pt idx="170">
                  <c:v>0.27777777777777801</c:v>
                </c:pt>
                <c:pt idx="171">
                  <c:v>0.278481012658228</c:v>
                </c:pt>
                <c:pt idx="172">
                  <c:v>0.27906976744186002</c:v>
                </c:pt>
                <c:pt idx="173">
                  <c:v>0.28000000000000003</c:v>
                </c:pt>
                <c:pt idx="174">
                  <c:v>0.28000000000000003</c:v>
                </c:pt>
                <c:pt idx="175">
                  <c:v>0.28000000000000003</c:v>
                </c:pt>
                <c:pt idx="176">
                  <c:v>0.28125</c:v>
                </c:pt>
                <c:pt idx="177">
                  <c:v>0.28125</c:v>
                </c:pt>
                <c:pt idx="178">
                  <c:v>0.28205128205128199</c:v>
                </c:pt>
                <c:pt idx="179">
                  <c:v>0.28301886792452802</c:v>
                </c:pt>
                <c:pt idx="180">
                  <c:v>0.28301886792452802</c:v>
                </c:pt>
                <c:pt idx="181">
                  <c:v>0.28571428571428598</c:v>
                </c:pt>
                <c:pt idx="182">
                  <c:v>0.28571428571428598</c:v>
                </c:pt>
                <c:pt idx="183">
                  <c:v>0.28571428571428598</c:v>
                </c:pt>
                <c:pt idx="184">
                  <c:v>0.28571428571428598</c:v>
                </c:pt>
                <c:pt idx="185">
                  <c:v>0.28571428571428598</c:v>
                </c:pt>
                <c:pt idx="186">
                  <c:v>0.28571428571428598</c:v>
                </c:pt>
                <c:pt idx="187">
                  <c:v>0.28571428571428598</c:v>
                </c:pt>
                <c:pt idx="188">
                  <c:v>0.28571428571428598</c:v>
                </c:pt>
                <c:pt idx="189">
                  <c:v>0.28888888888888897</c:v>
                </c:pt>
                <c:pt idx="190">
                  <c:v>0.28947368421052599</c:v>
                </c:pt>
                <c:pt idx="191">
                  <c:v>0.28947368421052599</c:v>
                </c:pt>
                <c:pt idx="192">
                  <c:v>0.28985507246376802</c:v>
                </c:pt>
                <c:pt idx="193">
                  <c:v>0.29032258064516098</c:v>
                </c:pt>
                <c:pt idx="194">
                  <c:v>0.29032258064516098</c:v>
                </c:pt>
                <c:pt idx="195">
                  <c:v>0.29032258064516098</c:v>
                </c:pt>
                <c:pt idx="196">
                  <c:v>0.29032258064516098</c:v>
                </c:pt>
                <c:pt idx="197">
                  <c:v>0.29090909090909101</c:v>
                </c:pt>
                <c:pt idx="198">
                  <c:v>0.29166666666666702</c:v>
                </c:pt>
                <c:pt idx="199">
                  <c:v>0.29230769230769199</c:v>
                </c:pt>
                <c:pt idx="200">
                  <c:v>0.292682926829268</c:v>
                </c:pt>
                <c:pt idx="201">
                  <c:v>0.29411764705882398</c:v>
                </c:pt>
                <c:pt idx="202">
                  <c:v>0.29411764705882398</c:v>
                </c:pt>
                <c:pt idx="203">
                  <c:v>0.29411764705882398</c:v>
                </c:pt>
                <c:pt idx="204">
                  <c:v>0.29508196721311503</c:v>
                </c:pt>
                <c:pt idx="205">
                  <c:v>0.29545454545454503</c:v>
                </c:pt>
                <c:pt idx="206">
                  <c:v>0.29729729729729698</c:v>
                </c:pt>
                <c:pt idx="207">
                  <c:v>0.29729729729729698</c:v>
                </c:pt>
                <c:pt idx="208">
                  <c:v>0.29787234042553201</c:v>
                </c:pt>
                <c:pt idx="209">
                  <c:v>0.3</c:v>
                </c:pt>
                <c:pt idx="210">
                  <c:v>0.3</c:v>
                </c:pt>
                <c:pt idx="211">
                  <c:v>0.3</c:v>
                </c:pt>
                <c:pt idx="212">
                  <c:v>0.3</c:v>
                </c:pt>
                <c:pt idx="213">
                  <c:v>0.3</c:v>
                </c:pt>
                <c:pt idx="214">
                  <c:v>0.30232558139534899</c:v>
                </c:pt>
                <c:pt idx="215">
                  <c:v>0.30232558139534899</c:v>
                </c:pt>
                <c:pt idx="216">
                  <c:v>0.30303030303030298</c:v>
                </c:pt>
                <c:pt idx="217">
                  <c:v>0.30303030303030298</c:v>
                </c:pt>
                <c:pt idx="218">
                  <c:v>0.30434782608695599</c:v>
                </c:pt>
                <c:pt idx="219">
                  <c:v>0.30645161290322598</c:v>
                </c:pt>
                <c:pt idx="220">
                  <c:v>0.30769230769230799</c:v>
                </c:pt>
                <c:pt idx="221">
                  <c:v>0.30769230769230799</c:v>
                </c:pt>
                <c:pt idx="222">
                  <c:v>0.30769230769230799</c:v>
                </c:pt>
                <c:pt idx="223">
                  <c:v>0.30769230769230799</c:v>
                </c:pt>
                <c:pt idx="224">
                  <c:v>0.308823529411765</c:v>
                </c:pt>
                <c:pt idx="225">
                  <c:v>0.30890052356020897</c:v>
                </c:pt>
                <c:pt idx="226">
                  <c:v>0.30952380952380898</c:v>
                </c:pt>
                <c:pt idx="227">
                  <c:v>0.30952380952380898</c:v>
                </c:pt>
                <c:pt idx="228">
                  <c:v>0.31034482758620702</c:v>
                </c:pt>
                <c:pt idx="229">
                  <c:v>0.31147540983606598</c:v>
                </c:pt>
                <c:pt idx="230">
                  <c:v>0.3125</c:v>
                </c:pt>
                <c:pt idx="231">
                  <c:v>0.3125</c:v>
                </c:pt>
                <c:pt idx="232">
                  <c:v>0.314285714285714</c:v>
                </c:pt>
                <c:pt idx="233">
                  <c:v>0.314285714285714</c:v>
                </c:pt>
                <c:pt idx="234">
                  <c:v>0.31460674157303398</c:v>
                </c:pt>
                <c:pt idx="235">
                  <c:v>0.31460674157303398</c:v>
                </c:pt>
                <c:pt idx="236">
                  <c:v>0.31606217616580301</c:v>
                </c:pt>
                <c:pt idx="237">
                  <c:v>0.31707317073170699</c:v>
                </c:pt>
                <c:pt idx="238">
                  <c:v>0.31707317073170699</c:v>
                </c:pt>
                <c:pt idx="239">
                  <c:v>0.31818181818181801</c:v>
                </c:pt>
                <c:pt idx="240">
                  <c:v>0.31818181818181801</c:v>
                </c:pt>
                <c:pt idx="241">
                  <c:v>0.32</c:v>
                </c:pt>
                <c:pt idx="242">
                  <c:v>0.32</c:v>
                </c:pt>
                <c:pt idx="243">
                  <c:v>0.320754716981132</c:v>
                </c:pt>
                <c:pt idx="244">
                  <c:v>0.32089552238806002</c:v>
                </c:pt>
                <c:pt idx="245">
                  <c:v>0.32142857142857101</c:v>
                </c:pt>
                <c:pt idx="246">
                  <c:v>0.32142857142857101</c:v>
                </c:pt>
                <c:pt idx="247">
                  <c:v>0.32142857142857101</c:v>
                </c:pt>
                <c:pt idx="248">
                  <c:v>0.32352941176470601</c:v>
                </c:pt>
                <c:pt idx="249">
                  <c:v>0.32352941176470601</c:v>
                </c:pt>
                <c:pt idx="250">
                  <c:v>0.32380952380952399</c:v>
                </c:pt>
                <c:pt idx="251">
                  <c:v>0.32432432432432401</c:v>
                </c:pt>
                <c:pt idx="252">
                  <c:v>0.32432432432432401</c:v>
                </c:pt>
                <c:pt idx="253">
                  <c:v>0.32432432432432401</c:v>
                </c:pt>
                <c:pt idx="254">
                  <c:v>0.32432432432432401</c:v>
                </c:pt>
                <c:pt idx="255">
                  <c:v>0.32467532467532501</c:v>
                </c:pt>
                <c:pt idx="256">
                  <c:v>0.32500000000000001</c:v>
                </c:pt>
                <c:pt idx="257">
                  <c:v>0.32608695652173902</c:v>
                </c:pt>
                <c:pt idx="258">
                  <c:v>0.32786885245901598</c:v>
                </c:pt>
                <c:pt idx="259">
                  <c:v>0.328125</c:v>
                </c:pt>
                <c:pt idx="260">
                  <c:v>0.32857142857142901</c:v>
                </c:pt>
                <c:pt idx="261">
                  <c:v>0.32894736842105299</c:v>
                </c:pt>
                <c:pt idx="262">
                  <c:v>0.33333333333333298</c:v>
                </c:pt>
                <c:pt idx="263">
                  <c:v>0.33333333333333298</c:v>
                </c:pt>
                <c:pt idx="264">
                  <c:v>0.33333333333333298</c:v>
                </c:pt>
                <c:pt idx="265">
                  <c:v>0.33333333333333298</c:v>
                </c:pt>
                <c:pt idx="266">
                  <c:v>0.33333333333333298</c:v>
                </c:pt>
                <c:pt idx="267">
                  <c:v>0.33333333333333298</c:v>
                </c:pt>
                <c:pt idx="268">
                  <c:v>0.33333333333333298</c:v>
                </c:pt>
                <c:pt idx="269">
                  <c:v>0.33333333333333298</c:v>
                </c:pt>
                <c:pt idx="270">
                  <c:v>0.33333333333333298</c:v>
                </c:pt>
                <c:pt idx="271">
                  <c:v>0.33333333333333298</c:v>
                </c:pt>
                <c:pt idx="272">
                  <c:v>0.33484162895927599</c:v>
                </c:pt>
                <c:pt idx="273">
                  <c:v>0.33600000000000002</c:v>
                </c:pt>
                <c:pt idx="274">
                  <c:v>0.33870967741935498</c:v>
                </c:pt>
                <c:pt idx="275">
                  <c:v>0.339622641509434</c:v>
                </c:pt>
                <c:pt idx="276">
                  <c:v>0.34</c:v>
                </c:pt>
                <c:pt idx="277">
                  <c:v>0.34090909090909099</c:v>
                </c:pt>
                <c:pt idx="278">
                  <c:v>0.34090909090909099</c:v>
                </c:pt>
                <c:pt idx="279">
                  <c:v>0.34146341463414598</c:v>
                </c:pt>
                <c:pt idx="280">
                  <c:v>0.34285714285714303</c:v>
                </c:pt>
                <c:pt idx="281">
                  <c:v>0.34375</c:v>
                </c:pt>
                <c:pt idx="282">
                  <c:v>0.34482758620689702</c:v>
                </c:pt>
                <c:pt idx="283">
                  <c:v>0.34482758620689702</c:v>
                </c:pt>
                <c:pt idx="284">
                  <c:v>0.34482758620689702</c:v>
                </c:pt>
                <c:pt idx="285">
                  <c:v>0.34615384615384598</c:v>
                </c:pt>
                <c:pt idx="286">
                  <c:v>0.34710743801652899</c:v>
                </c:pt>
                <c:pt idx="287">
                  <c:v>0.34782608695652201</c:v>
                </c:pt>
                <c:pt idx="288">
                  <c:v>0.34848484848484801</c:v>
                </c:pt>
                <c:pt idx="289">
                  <c:v>0.34883720930232598</c:v>
                </c:pt>
                <c:pt idx="290">
                  <c:v>0.35</c:v>
                </c:pt>
                <c:pt idx="291">
                  <c:v>0.35</c:v>
                </c:pt>
                <c:pt idx="292">
                  <c:v>0.35087719298245601</c:v>
                </c:pt>
                <c:pt idx="293">
                  <c:v>0.35185185185185203</c:v>
                </c:pt>
                <c:pt idx="294">
                  <c:v>0.35191637630661998</c:v>
                </c:pt>
                <c:pt idx="295">
                  <c:v>0.352112676056338</c:v>
                </c:pt>
                <c:pt idx="296">
                  <c:v>0.35294117647058798</c:v>
                </c:pt>
                <c:pt idx="297">
                  <c:v>0.35294117647058798</c:v>
                </c:pt>
                <c:pt idx="298">
                  <c:v>0.35294117647058798</c:v>
                </c:pt>
                <c:pt idx="299">
                  <c:v>0.35294117647058798</c:v>
                </c:pt>
                <c:pt idx="300">
                  <c:v>0.35294117647058798</c:v>
                </c:pt>
                <c:pt idx="301">
                  <c:v>0.35294117647058798</c:v>
                </c:pt>
                <c:pt idx="302">
                  <c:v>0.35294117647058798</c:v>
                </c:pt>
                <c:pt idx="303">
                  <c:v>0.35294117647058798</c:v>
                </c:pt>
                <c:pt idx="304">
                  <c:v>0.35416666666666702</c:v>
                </c:pt>
                <c:pt idx="305">
                  <c:v>0.35483870967741898</c:v>
                </c:pt>
                <c:pt idx="306">
                  <c:v>0.35483870967741898</c:v>
                </c:pt>
                <c:pt idx="307">
                  <c:v>0.35555555555555601</c:v>
                </c:pt>
                <c:pt idx="308">
                  <c:v>0.35714285714285698</c:v>
                </c:pt>
                <c:pt idx="309">
                  <c:v>0.35714285714285698</c:v>
                </c:pt>
                <c:pt idx="310">
                  <c:v>0.36</c:v>
                </c:pt>
                <c:pt idx="311">
                  <c:v>0.36</c:v>
                </c:pt>
                <c:pt idx="312">
                  <c:v>0.36</c:v>
                </c:pt>
                <c:pt idx="313">
                  <c:v>0.36065573770491799</c:v>
                </c:pt>
                <c:pt idx="314">
                  <c:v>0.36111111111111099</c:v>
                </c:pt>
                <c:pt idx="315">
                  <c:v>0.36170212765957399</c:v>
                </c:pt>
                <c:pt idx="316">
                  <c:v>0.36170212765957399</c:v>
                </c:pt>
                <c:pt idx="317">
                  <c:v>0.36190476190476201</c:v>
                </c:pt>
                <c:pt idx="318">
                  <c:v>0.36363636363636398</c:v>
                </c:pt>
                <c:pt idx="319">
                  <c:v>0.36363636363636398</c:v>
                </c:pt>
                <c:pt idx="320">
                  <c:v>0.36363636363636398</c:v>
                </c:pt>
                <c:pt idx="321">
                  <c:v>0.36363636363636398</c:v>
                </c:pt>
                <c:pt idx="322">
                  <c:v>0.36363636363636398</c:v>
                </c:pt>
                <c:pt idx="323">
                  <c:v>0.36363636363636398</c:v>
                </c:pt>
                <c:pt idx="324">
                  <c:v>0.36363636363636398</c:v>
                </c:pt>
                <c:pt idx="325">
                  <c:v>0.36585365853658502</c:v>
                </c:pt>
                <c:pt idx="326">
                  <c:v>0.36666666666666697</c:v>
                </c:pt>
                <c:pt idx="327">
                  <c:v>0.36842105263157898</c:v>
                </c:pt>
                <c:pt idx="328">
                  <c:v>0.36842105263157898</c:v>
                </c:pt>
                <c:pt idx="329">
                  <c:v>0.36842105263157898</c:v>
                </c:pt>
                <c:pt idx="330">
                  <c:v>0.37037037037037002</c:v>
                </c:pt>
                <c:pt idx="331">
                  <c:v>0.371549893842887</c:v>
                </c:pt>
                <c:pt idx="332">
                  <c:v>0.37254901960784298</c:v>
                </c:pt>
                <c:pt idx="333">
                  <c:v>0.37254901960784298</c:v>
                </c:pt>
                <c:pt idx="334">
                  <c:v>0.37362637362637402</c:v>
                </c:pt>
                <c:pt idx="335">
                  <c:v>0.375</c:v>
                </c:pt>
                <c:pt idx="336">
                  <c:v>0.375</c:v>
                </c:pt>
                <c:pt idx="337">
                  <c:v>0.37579617834394902</c:v>
                </c:pt>
                <c:pt idx="338">
                  <c:v>0.376811594202899</c:v>
                </c:pt>
                <c:pt idx="339">
                  <c:v>0.37804878048780499</c:v>
                </c:pt>
                <c:pt idx="340">
                  <c:v>0.37837837837837801</c:v>
                </c:pt>
                <c:pt idx="341">
                  <c:v>0.37837837837837801</c:v>
                </c:pt>
                <c:pt idx="342">
                  <c:v>0.37908496732026098</c:v>
                </c:pt>
                <c:pt idx="343">
                  <c:v>0.37931034482758602</c:v>
                </c:pt>
                <c:pt idx="344">
                  <c:v>0.38</c:v>
                </c:pt>
                <c:pt idx="345">
                  <c:v>0.38095238095238099</c:v>
                </c:pt>
                <c:pt idx="346">
                  <c:v>0.38095238095238099</c:v>
                </c:pt>
                <c:pt idx="347">
                  <c:v>0.38095238095238099</c:v>
                </c:pt>
                <c:pt idx="348">
                  <c:v>0.38157894736842102</c:v>
                </c:pt>
                <c:pt idx="349">
                  <c:v>0.381818181818182</c:v>
                </c:pt>
                <c:pt idx="350">
                  <c:v>0.381818181818182</c:v>
                </c:pt>
                <c:pt idx="351">
                  <c:v>0.38235294117647101</c:v>
                </c:pt>
                <c:pt idx="352">
                  <c:v>0.38271604938271597</c:v>
                </c:pt>
                <c:pt idx="353">
                  <c:v>0.38461538461538503</c:v>
                </c:pt>
                <c:pt idx="354">
                  <c:v>0.38461538461538503</c:v>
                </c:pt>
                <c:pt idx="355">
                  <c:v>0.38461538461538503</c:v>
                </c:pt>
                <c:pt idx="356">
                  <c:v>0.38524590163934402</c:v>
                </c:pt>
                <c:pt idx="357">
                  <c:v>0.38709677419354799</c:v>
                </c:pt>
                <c:pt idx="358">
                  <c:v>0.38709677419354799</c:v>
                </c:pt>
                <c:pt idx="359">
                  <c:v>0.38709677419354799</c:v>
                </c:pt>
                <c:pt idx="360">
                  <c:v>0.38750000000000001</c:v>
                </c:pt>
                <c:pt idx="361">
                  <c:v>0.38775510204081598</c:v>
                </c:pt>
                <c:pt idx="362">
                  <c:v>0.38805970149253699</c:v>
                </c:pt>
                <c:pt idx="363">
                  <c:v>0.38805970149253699</c:v>
                </c:pt>
                <c:pt idx="364">
                  <c:v>0.38834951456310701</c:v>
                </c:pt>
                <c:pt idx="365">
                  <c:v>0.38888888888888901</c:v>
                </c:pt>
                <c:pt idx="366">
                  <c:v>0.38888888888888901</c:v>
                </c:pt>
                <c:pt idx="367">
                  <c:v>0.38983050847457601</c:v>
                </c:pt>
                <c:pt idx="368">
                  <c:v>0.38983050847457601</c:v>
                </c:pt>
                <c:pt idx="369">
                  <c:v>0.38983050847457601</c:v>
                </c:pt>
                <c:pt idx="370">
                  <c:v>0.39024390243902402</c:v>
                </c:pt>
                <c:pt idx="371">
                  <c:v>0.390625</c:v>
                </c:pt>
                <c:pt idx="372">
                  <c:v>0.390625</c:v>
                </c:pt>
                <c:pt idx="373">
                  <c:v>0.390625</c:v>
                </c:pt>
                <c:pt idx="374">
                  <c:v>0.390804597701149</c:v>
                </c:pt>
                <c:pt idx="375">
                  <c:v>0.39130434782608697</c:v>
                </c:pt>
                <c:pt idx="376">
                  <c:v>0.39130434782608697</c:v>
                </c:pt>
                <c:pt idx="377">
                  <c:v>0.39204545454545398</c:v>
                </c:pt>
                <c:pt idx="378">
                  <c:v>0.39215686274509798</c:v>
                </c:pt>
                <c:pt idx="379">
                  <c:v>0.392405063291139</c:v>
                </c:pt>
                <c:pt idx="380">
                  <c:v>0.39344262295082</c:v>
                </c:pt>
                <c:pt idx="381">
                  <c:v>0.39393939393939398</c:v>
                </c:pt>
                <c:pt idx="382">
                  <c:v>0.39393939393939398</c:v>
                </c:pt>
                <c:pt idx="383">
                  <c:v>0.39428571428571402</c:v>
                </c:pt>
                <c:pt idx="384">
                  <c:v>0.394736842105263</c:v>
                </c:pt>
                <c:pt idx="385">
                  <c:v>0.394736842105263</c:v>
                </c:pt>
                <c:pt idx="386">
                  <c:v>0.39506172839506198</c:v>
                </c:pt>
                <c:pt idx="387">
                  <c:v>0.39583333333333298</c:v>
                </c:pt>
                <c:pt idx="388">
                  <c:v>0.39622641509433998</c:v>
                </c:pt>
                <c:pt idx="389">
                  <c:v>0.39622641509433998</c:v>
                </c:pt>
                <c:pt idx="390">
                  <c:v>0.396341463414634</c:v>
                </c:pt>
                <c:pt idx="391">
                  <c:v>0.39705882352941202</c:v>
                </c:pt>
                <c:pt idx="392">
                  <c:v>0.39759036144578302</c:v>
                </c:pt>
                <c:pt idx="393">
                  <c:v>0.39759036144578302</c:v>
                </c:pt>
                <c:pt idx="394">
                  <c:v>0.4</c:v>
                </c:pt>
                <c:pt idx="395">
                  <c:v>0.4</c:v>
                </c:pt>
                <c:pt idx="396">
                  <c:v>0.4</c:v>
                </c:pt>
                <c:pt idx="397">
                  <c:v>0.4</c:v>
                </c:pt>
                <c:pt idx="398">
                  <c:v>0.4</c:v>
                </c:pt>
                <c:pt idx="399">
                  <c:v>0.4</c:v>
                </c:pt>
                <c:pt idx="400">
                  <c:v>0.4</c:v>
                </c:pt>
                <c:pt idx="401">
                  <c:v>0.40119760479041899</c:v>
                </c:pt>
                <c:pt idx="402">
                  <c:v>0.40243902439024398</c:v>
                </c:pt>
                <c:pt idx="403">
                  <c:v>0.40476190476190499</c:v>
                </c:pt>
                <c:pt idx="404">
                  <c:v>0.40540540540540498</c:v>
                </c:pt>
                <c:pt idx="405">
                  <c:v>0.40540540540540498</c:v>
                </c:pt>
                <c:pt idx="406">
                  <c:v>0.40625</c:v>
                </c:pt>
                <c:pt idx="407">
                  <c:v>0.40625</c:v>
                </c:pt>
                <c:pt idx="408">
                  <c:v>0.40625</c:v>
                </c:pt>
                <c:pt idx="409">
                  <c:v>0.407407407407407</c:v>
                </c:pt>
                <c:pt idx="410">
                  <c:v>0.407407407407407</c:v>
                </c:pt>
                <c:pt idx="411">
                  <c:v>0.40776699029126201</c:v>
                </c:pt>
                <c:pt idx="412">
                  <c:v>0.40789473684210498</c:v>
                </c:pt>
                <c:pt idx="413">
                  <c:v>0.40799999999999997</c:v>
                </c:pt>
                <c:pt idx="414">
                  <c:v>0.40816326530612201</c:v>
                </c:pt>
                <c:pt idx="415">
                  <c:v>0.40909090909090901</c:v>
                </c:pt>
                <c:pt idx="416">
                  <c:v>0.40909090909090901</c:v>
                </c:pt>
                <c:pt idx="417">
                  <c:v>0.40983606557377</c:v>
                </c:pt>
                <c:pt idx="418">
                  <c:v>0.41025641025641002</c:v>
                </c:pt>
                <c:pt idx="419">
                  <c:v>0.41025641025641002</c:v>
                </c:pt>
                <c:pt idx="420">
                  <c:v>0.41176470588235298</c:v>
                </c:pt>
                <c:pt idx="421">
                  <c:v>0.41176470588235298</c:v>
                </c:pt>
                <c:pt idx="422">
                  <c:v>0.41176470588235298</c:v>
                </c:pt>
                <c:pt idx="423">
                  <c:v>0.412790697674419</c:v>
                </c:pt>
                <c:pt idx="424">
                  <c:v>0.41304347826087001</c:v>
                </c:pt>
                <c:pt idx="425">
                  <c:v>0.41346153846153799</c:v>
                </c:pt>
                <c:pt idx="426">
                  <c:v>0.41379310344827602</c:v>
                </c:pt>
                <c:pt idx="427">
                  <c:v>0.41379310344827602</c:v>
                </c:pt>
                <c:pt idx="428">
                  <c:v>0.41379310344827602</c:v>
                </c:pt>
                <c:pt idx="429">
                  <c:v>0.41399999999999998</c:v>
                </c:pt>
                <c:pt idx="430">
                  <c:v>0.41463414634146301</c:v>
                </c:pt>
                <c:pt idx="431">
                  <c:v>0.41538461538461502</c:v>
                </c:pt>
                <c:pt idx="432">
                  <c:v>0.41666666666666702</c:v>
                </c:pt>
                <c:pt idx="433">
                  <c:v>0.41666666666666702</c:v>
                </c:pt>
                <c:pt idx="434">
                  <c:v>0.41666666666666702</c:v>
                </c:pt>
                <c:pt idx="435">
                  <c:v>0.417721518987342</c:v>
                </c:pt>
                <c:pt idx="436">
                  <c:v>0.41818181818181799</c:v>
                </c:pt>
                <c:pt idx="437">
                  <c:v>0.41818181818181799</c:v>
                </c:pt>
                <c:pt idx="438">
                  <c:v>0.41818181818181799</c:v>
                </c:pt>
                <c:pt idx="439">
                  <c:v>0.418604651162791</c:v>
                </c:pt>
                <c:pt idx="440">
                  <c:v>0.418604651162791</c:v>
                </c:pt>
                <c:pt idx="441">
                  <c:v>0.41891891891891903</c:v>
                </c:pt>
                <c:pt idx="442">
                  <c:v>0.41923076923076902</c:v>
                </c:pt>
                <c:pt idx="443">
                  <c:v>0.41935483870967699</c:v>
                </c:pt>
                <c:pt idx="444">
                  <c:v>0.41935483870967699</c:v>
                </c:pt>
                <c:pt idx="445">
                  <c:v>0.41935483870967699</c:v>
                </c:pt>
                <c:pt idx="446">
                  <c:v>0.42105263157894701</c:v>
                </c:pt>
                <c:pt idx="447">
                  <c:v>0.42105263157894701</c:v>
                </c:pt>
                <c:pt idx="448">
                  <c:v>0.421875</c:v>
                </c:pt>
                <c:pt idx="449">
                  <c:v>0.422222222222222</c:v>
                </c:pt>
                <c:pt idx="450">
                  <c:v>0.422222222222222</c:v>
                </c:pt>
                <c:pt idx="451">
                  <c:v>0.422222222222222</c:v>
                </c:pt>
                <c:pt idx="452">
                  <c:v>0.422222222222222</c:v>
                </c:pt>
                <c:pt idx="453">
                  <c:v>0.42253521126760601</c:v>
                </c:pt>
                <c:pt idx="454">
                  <c:v>0.42307692307692302</c:v>
                </c:pt>
                <c:pt idx="455">
                  <c:v>0.42307692307692302</c:v>
                </c:pt>
                <c:pt idx="456">
                  <c:v>0.42307692307692302</c:v>
                </c:pt>
                <c:pt idx="457">
                  <c:v>0.42424242424242398</c:v>
                </c:pt>
                <c:pt idx="458">
                  <c:v>0.42424242424242398</c:v>
                </c:pt>
                <c:pt idx="459">
                  <c:v>0.42499999999999999</c:v>
                </c:pt>
                <c:pt idx="460">
                  <c:v>0.42499999999999999</c:v>
                </c:pt>
                <c:pt idx="461">
                  <c:v>0.42499999999999999</c:v>
                </c:pt>
                <c:pt idx="462">
                  <c:v>0.42647058823529399</c:v>
                </c:pt>
                <c:pt idx="463">
                  <c:v>0.42666666666666703</c:v>
                </c:pt>
                <c:pt idx="464">
                  <c:v>0.42733812949640299</c:v>
                </c:pt>
                <c:pt idx="465">
                  <c:v>0.42753623188405798</c:v>
                </c:pt>
                <c:pt idx="466">
                  <c:v>0.42857142857142899</c:v>
                </c:pt>
                <c:pt idx="467">
                  <c:v>0.42857142857142899</c:v>
                </c:pt>
                <c:pt idx="468">
                  <c:v>0.42857142857142899</c:v>
                </c:pt>
                <c:pt idx="469">
                  <c:v>0.42857142857142899</c:v>
                </c:pt>
                <c:pt idx="470">
                  <c:v>0.42857142857142899</c:v>
                </c:pt>
                <c:pt idx="471">
                  <c:v>0.42857142857142899</c:v>
                </c:pt>
                <c:pt idx="472">
                  <c:v>0.42926829268292699</c:v>
                </c:pt>
                <c:pt idx="473">
                  <c:v>0.43005181347150301</c:v>
                </c:pt>
                <c:pt idx="474">
                  <c:v>0.43010752688171999</c:v>
                </c:pt>
                <c:pt idx="475">
                  <c:v>0.431034482758621</c:v>
                </c:pt>
                <c:pt idx="476">
                  <c:v>0.43137254901960798</c:v>
                </c:pt>
                <c:pt idx="477">
                  <c:v>0.43137254901960798</c:v>
                </c:pt>
                <c:pt idx="478">
                  <c:v>0.43243243243243201</c:v>
                </c:pt>
                <c:pt idx="479">
                  <c:v>0.43243243243243201</c:v>
                </c:pt>
                <c:pt idx="480">
                  <c:v>0.43283582089552203</c:v>
                </c:pt>
                <c:pt idx="481">
                  <c:v>0.43333333333333302</c:v>
                </c:pt>
                <c:pt idx="482">
                  <c:v>0.43380281690140798</c:v>
                </c:pt>
                <c:pt idx="483">
                  <c:v>0.43421052631578899</c:v>
                </c:pt>
                <c:pt idx="484">
                  <c:v>0.434782608695652</c:v>
                </c:pt>
                <c:pt idx="485">
                  <c:v>0.434782608695652</c:v>
                </c:pt>
                <c:pt idx="486">
                  <c:v>0.434782608695652</c:v>
                </c:pt>
                <c:pt idx="487">
                  <c:v>0.434782608695652</c:v>
                </c:pt>
                <c:pt idx="488">
                  <c:v>0.434782608695652</c:v>
                </c:pt>
                <c:pt idx="489">
                  <c:v>0.434782608695652</c:v>
                </c:pt>
                <c:pt idx="490">
                  <c:v>0.43503937007874</c:v>
                </c:pt>
                <c:pt idx="491">
                  <c:v>0.43564356435643597</c:v>
                </c:pt>
                <c:pt idx="492">
                  <c:v>0.43589743589743601</c:v>
                </c:pt>
                <c:pt idx="493">
                  <c:v>0.43589743589743601</c:v>
                </c:pt>
                <c:pt idx="494">
                  <c:v>0.43617021276595702</c:v>
                </c:pt>
                <c:pt idx="495">
                  <c:v>0.436265709156194</c:v>
                </c:pt>
                <c:pt idx="496">
                  <c:v>0.43636363636363601</c:v>
                </c:pt>
                <c:pt idx="497">
                  <c:v>0.43636363636363601</c:v>
                </c:pt>
                <c:pt idx="498">
                  <c:v>0.43636363636363601</c:v>
                </c:pt>
                <c:pt idx="499">
                  <c:v>0.43636363636363601</c:v>
                </c:pt>
                <c:pt idx="500">
                  <c:v>0.4375</c:v>
                </c:pt>
                <c:pt idx="501">
                  <c:v>0.4375</c:v>
                </c:pt>
                <c:pt idx="502">
                  <c:v>0.4375</c:v>
                </c:pt>
                <c:pt idx="503">
                  <c:v>0.43835616438356201</c:v>
                </c:pt>
                <c:pt idx="504">
                  <c:v>0.43835616438356201</c:v>
                </c:pt>
                <c:pt idx="505">
                  <c:v>0.43859649122806998</c:v>
                </c:pt>
                <c:pt idx="506">
                  <c:v>0.439024390243902</c:v>
                </c:pt>
                <c:pt idx="507">
                  <c:v>0.439024390243902</c:v>
                </c:pt>
                <c:pt idx="508">
                  <c:v>0.439024390243902</c:v>
                </c:pt>
                <c:pt idx="509">
                  <c:v>0.439024390243902</c:v>
                </c:pt>
                <c:pt idx="510">
                  <c:v>0.43956043956044</c:v>
                </c:pt>
                <c:pt idx="511">
                  <c:v>0.44</c:v>
                </c:pt>
                <c:pt idx="512">
                  <c:v>0.44</c:v>
                </c:pt>
                <c:pt idx="513">
                  <c:v>0.44</c:v>
                </c:pt>
                <c:pt idx="514">
                  <c:v>0.44</c:v>
                </c:pt>
                <c:pt idx="515">
                  <c:v>0.44078947368421001</c:v>
                </c:pt>
                <c:pt idx="516">
                  <c:v>0.441176470588235</c:v>
                </c:pt>
                <c:pt idx="517">
                  <c:v>0.441176470588235</c:v>
                </c:pt>
                <c:pt idx="518">
                  <c:v>0.441176470588235</c:v>
                </c:pt>
                <c:pt idx="519">
                  <c:v>0.44186046511627902</c:v>
                </c:pt>
                <c:pt idx="520">
                  <c:v>0.44186046511627902</c:v>
                </c:pt>
                <c:pt idx="521">
                  <c:v>0.44186046511627902</c:v>
                </c:pt>
                <c:pt idx="522">
                  <c:v>0.44230769230769201</c:v>
                </c:pt>
                <c:pt idx="523">
                  <c:v>0.44230769230769201</c:v>
                </c:pt>
                <c:pt idx="524">
                  <c:v>0.443037974683544</c:v>
                </c:pt>
                <c:pt idx="525">
                  <c:v>0.44418052256532098</c:v>
                </c:pt>
                <c:pt idx="526">
                  <c:v>0.44444444444444398</c:v>
                </c:pt>
                <c:pt idx="527">
                  <c:v>0.44444444444444398</c:v>
                </c:pt>
                <c:pt idx="528">
                  <c:v>0.44444444444444398</c:v>
                </c:pt>
                <c:pt idx="529">
                  <c:v>0.44444444444444398</c:v>
                </c:pt>
                <c:pt idx="530">
                  <c:v>0.44444444444444398</c:v>
                </c:pt>
                <c:pt idx="531">
                  <c:v>0.44444444444444398</c:v>
                </c:pt>
                <c:pt idx="532">
                  <c:v>0.44537815126050401</c:v>
                </c:pt>
                <c:pt idx="533">
                  <c:v>0.44578313253011997</c:v>
                </c:pt>
                <c:pt idx="534">
                  <c:v>0.44642857142857101</c:v>
                </c:pt>
                <c:pt idx="535">
                  <c:v>0.44680851063829802</c:v>
                </c:pt>
                <c:pt idx="536">
                  <c:v>0.44827586206896503</c:v>
                </c:pt>
                <c:pt idx="537">
                  <c:v>0.44827586206896503</c:v>
                </c:pt>
                <c:pt idx="538">
                  <c:v>0.44897959183673503</c:v>
                </c:pt>
                <c:pt idx="539">
                  <c:v>0.44897959183673503</c:v>
                </c:pt>
                <c:pt idx="540">
                  <c:v>0.449438202247191</c:v>
                </c:pt>
                <c:pt idx="541">
                  <c:v>0.45</c:v>
                </c:pt>
                <c:pt idx="542">
                  <c:v>0.45</c:v>
                </c:pt>
                <c:pt idx="543">
                  <c:v>0.45121951219512202</c:v>
                </c:pt>
                <c:pt idx="544">
                  <c:v>0.45161290322580599</c:v>
                </c:pt>
                <c:pt idx="545">
                  <c:v>0.45217391304347798</c:v>
                </c:pt>
                <c:pt idx="546">
                  <c:v>0.452380952380952</c:v>
                </c:pt>
                <c:pt idx="547">
                  <c:v>0.45360824742268002</c:v>
                </c:pt>
                <c:pt idx="548">
                  <c:v>0.45454545454545398</c:v>
                </c:pt>
                <c:pt idx="549">
                  <c:v>0.45454545454545398</c:v>
                </c:pt>
                <c:pt idx="550">
                  <c:v>0.45454545454545398</c:v>
                </c:pt>
                <c:pt idx="551">
                  <c:v>0.45454545454545398</c:v>
                </c:pt>
                <c:pt idx="552">
                  <c:v>0.45454545454545398</c:v>
                </c:pt>
                <c:pt idx="553">
                  <c:v>0.45528455284552799</c:v>
                </c:pt>
                <c:pt idx="554">
                  <c:v>0.45614035087719301</c:v>
                </c:pt>
                <c:pt idx="555">
                  <c:v>0.45626477541371202</c:v>
                </c:pt>
                <c:pt idx="556">
                  <c:v>0.45714285714285702</c:v>
                </c:pt>
                <c:pt idx="557">
                  <c:v>0.45736434108527102</c:v>
                </c:pt>
                <c:pt idx="558">
                  <c:v>0.45833333333333298</c:v>
                </c:pt>
                <c:pt idx="559">
                  <c:v>0.45833333333333298</c:v>
                </c:pt>
                <c:pt idx="560">
                  <c:v>0.45833333333333298</c:v>
                </c:pt>
                <c:pt idx="561">
                  <c:v>0.45945945945945899</c:v>
                </c:pt>
                <c:pt idx="562">
                  <c:v>0.46</c:v>
                </c:pt>
                <c:pt idx="563">
                  <c:v>0.46</c:v>
                </c:pt>
                <c:pt idx="564">
                  <c:v>0.46</c:v>
                </c:pt>
                <c:pt idx="565">
                  <c:v>0.46153846153846201</c:v>
                </c:pt>
                <c:pt idx="566">
                  <c:v>0.46153846153846201</c:v>
                </c:pt>
                <c:pt idx="567">
                  <c:v>0.46153846153846201</c:v>
                </c:pt>
                <c:pt idx="568">
                  <c:v>0.46153846153846201</c:v>
                </c:pt>
                <c:pt idx="569">
                  <c:v>0.46153846153846201</c:v>
                </c:pt>
                <c:pt idx="570">
                  <c:v>0.46250000000000002</c:v>
                </c:pt>
                <c:pt idx="571">
                  <c:v>0.46280991735537202</c:v>
                </c:pt>
                <c:pt idx="572">
                  <c:v>0.46413043478260901</c:v>
                </c:pt>
                <c:pt idx="573">
                  <c:v>0.46428571428571402</c:v>
                </c:pt>
                <c:pt idx="574">
                  <c:v>0.46428571428571402</c:v>
                </c:pt>
                <c:pt idx="575">
                  <c:v>0.46428571428571402</c:v>
                </c:pt>
                <c:pt idx="576">
                  <c:v>0.464566929133858</c:v>
                </c:pt>
                <c:pt idx="577">
                  <c:v>0.465648854961832</c:v>
                </c:pt>
                <c:pt idx="578">
                  <c:v>0.465753424657534</c:v>
                </c:pt>
                <c:pt idx="579">
                  <c:v>0.46621621621621601</c:v>
                </c:pt>
                <c:pt idx="580">
                  <c:v>0.46666666666666701</c:v>
                </c:pt>
                <c:pt idx="581">
                  <c:v>0.46666666666666701</c:v>
                </c:pt>
                <c:pt idx="582">
                  <c:v>0.46666666666666701</c:v>
                </c:pt>
                <c:pt idx="583">
                  <c:v>0.46666666666666701</c:v>
                </c:pt>
                <c:pt idx="584">
                  <c:v>0.46753246753246702</c:v>
                </c:pt>
                <c:pt idx="585">
                  <c:v>0.46808510638297901</c:v>
                </c:pt>
                <c:pt idx="586">
                  <c:v>0.46808510638297901</c:v>
                </c:pt>
                <c:pt idx="587">
                  <c:v>0.46808510638297901</c:v>
                </c:pt>
                <c:pt idx="588">
                  <c:v>0.46969696969697</c:v>
                </c:pt>
                <c:pt idx="589">
                  <c:v>0.469879518072289</c:v>
                </c:pt>
                <c:pt idx="590">
                  <c:v>0.47058823529411797</c:v>
                </c:pt>
                <c:pt idx="591">
                  <c:v>0.47058823529411797</c:v>
                </c:pt>
                <c:pt idx="592">
                  <c:v>0.47126436781609199</c:v>
                </c:pt>
                <c:pt idx="593">
                  <c:v>0.47138047138047101</c:v>
                </c:pt>
                <c:pt idx="594">
                  <c:v>0.47169811320754701</c:v>
                </c:pt>
                <c:pt idx="595">
                  <c:v>0.47222222222222199</c:v>
                </c:pt>
                <c:pt idx="596">
                  <c:v>0.47222222222222199</c:v>
                </c:pt>
                <c:pt idx="597">
                  <c:v>0.47252747252747201</c:v>
                </c:pt>
                <c:pt idx="598">
                  <c:v>0.47368421052631599</c:v>
                </c:pt>
                <c:pt idx="599">
                  <c:v>0.47368421052631599</c:v>
                </c:pt>
                <c:pt idx="600">
                  <c:v>0.47368421052631599</c:v>
                </c:pt>
                <c:pt idx="601">
                  <c:v>0.47368421052631599</c:v>
                </c:pt>
                <c:pt idx="602">
                  <c:v>0.47435897435897401</c:v>
                </c:pt>
                <c:pt idx="603">
                  <c:v>0.47499999999999998</c:v>
                </c:pt>
                <c:pt idx="604">
                  <c:v>0.47560975609756101</c:v>
                </c:pt>
                <c:pt idx="605">
                  <c:v>0.47698744769874502</c:v>
                </c:pt>
                <c:pt idx="606">
                  <c:v>0.47727272727272702</c:v>
                </c:pt>
                <c:pt idx="607">
                  <c:v>0.47727272727272702</c:v>
                </c:pt>
                <c:pt idx="608">
                  <c:v>0.47727272727272702</c:v>
                </c:pt>
                <c:pt idx="609">
                  <c:v>0.47826086956521702</c:v>
                </c:pt>
                <c:pt idx="610">
                  <c:v>0.47826086956521702</c:v>
                </c:pt>
                <c:pt idx="611">
                  <c:v>0.47826086956521702</c:v>
                </c:pt>
                <c:pt idx="612">
                  <c:v>0.47887323943662002</c:v>
                </c:pt>
                <c:pt idx="613">
                  <c:v>0.47904191616766501</c:v>
                </c:pt>
                <c:pt idx="614">
                  <c:v>0.47945205479452002</c:v>
                </c:pt>
                <c:pt idx="615">
                  <c:v>0.48</c:v>
                </c:pt>
                <c:pt idx="616">
                  <c:v>0.48</c:v>
                </c:pt>
                <c:pt idx="617">
                  <c:v>0.480263157894737</c:v>
                </c:pt>
                <c:pt idx="618">
                  <c:v>0.480392156862745</c:v>
                </c:pt>
                <c:pt idx="619">
                  <c:v>0.48048780487804899</c:v>
                </c:pt>
                <c:pt idx="620">
                  <c:v>0.48148148148148101</c:v>
                </c:pt>
                <c:pt idx="621">
                  <c:v>0.48148148148148101</c:v>
                </c:pt>
                <c:pt idx="622">
                  <c:v>0.481578947368421</c:v>
                </c:pt>
                <c:pt idx="623">
                  <c:v>0.48170731707317099</c:v>
                </c:pt>
                <c:pt idx="624">
                  <c:v>0.48181818181818198</c:v>
                </c:pt>
                <c:pt idx="625">
                  <c:v>0.48217636022514099</c:v>
                </c:pt>
                <c:pt idx="626">
                  <c:v>0.48235294117647098</c:v>
                </c:pt>
                <c:pt idx="627">
                  <c:v>0.48275862068965503</c:v>
                </c:pt>
                <c:pt idx="628">
                  <c:v>0.48275862068965503</c:v>
                </c:pt>
                <c:pt idx="629">
                  <c:v>0.48275862068965503</c:v>
                </c:pt>
                <c:pt idx="630">
                  <c:v>0.483333333333333</c:v>
                </c:pt>
                <c:pt idx="631">
                  <c:v>0.483870967741935</c:v>
                </c:pt>
                <c:pt idx="632">
                  <c:v>0.48447204968944102</c:v>
                </c:pt>
                <c:pt idx="633">
                  <c:v>0.48453608247422703</c:v>
                </c:pt>
                <c:pt idx="634">
                  <c:v>0.48571428571428599</c:v>
                </c:pt>
                <c:pt idx="635">
                  <c:v>0.48648648648648601</c:v>
                </c:pt>
                <c:pt idx="636">
                  <c:v>0.487179487179487</c:v>
                </c:pt>
                <c:pt idx="637">
                  <c:v>0.48780487804877998</c:v>
                </c:pt>
                <c:pt idx="638">
                  <c:v>0.48837209302325602</c:v>
                </c:pt>
                <c:pt idx="639">
                  <c:v>0.48837209302325602</c:v>
                </c:pt>
                <c:pt idx="640">
                  <c:v>0.48837209302325602</c:v>
                </c:pt>
                <c:pt idx="641">
                  <c:v>0.48888888888888898</c:v>
                </c:pt>
                <c:pt idx="642">
                  <c:v>0.48905109489051102</c:v>
                </c:pt>
                <c:pt idx="643">
                  <c:v>0.48979591836734698</c:v>
                </c:pt>
                <c:pt idx="644">
                  <c:v>0.48979591836734698</c:v>
                </c:pt>
                <c:pt idx="645">
                  <c:v>0.48979591836734698</c:v>
                </c:pt>
                <c:pt idx="646">
                  <c:v>0.490566037735849</c:v>
                </c:pt>
                <c:pt idx="647">
                  <c:v>0.49090909090909102</c:v>
                </c:pt>
                <c:pt idx="648">
                  <c:v>0.49090909090909102</c:v>
                </c:pt>
                <c:pt idx="649">
                  <c:v>0.49107142857142899</c:v>
                </c:pt>
                <c:pt idx="650">
                  <c:v>0.49122807017543901</c:v>
                </c:pt>
                <c:pt idx="651">
                  <c:v>0.49122807017543901</c:v>
                </c:pt>
                <c:pt idx="652">
                  <c:v>0.491620111731844</c:v>
                </c:pt>
                <c:pt idx="653">
                  <c:v>0.49166666666666697</c:v>
                </c:pt>
                <c:pt idx="654">
                  <c:v>0.49206349206349198</c:v>
                </c:pt>
                <c:pt idx="655">
                  <c:v>0.49222797927461098</c:v>
                </c:pt>
                <c:pt idx="656">
                  <c:v>0.49259259259259303</c:v>
                </c:pt>
                <c:pt idx="657">
                  <c:v>0.49315068493150699</c:v>
                </c:pt>
                <c:pt idx="658">
                  <c:v>0.49333333333333301</c:v>
                </c:pt>
                <c:pt idx="659">
                  <c:v>0.49433962264150899</c:v>
                </c:pt>
                <c:pt idx="660">
                  <c:v>0.49473684210526298</c:v>
                </c:pt>
                <c:pt idx="661">
                  <c:v>0.49593495934959297</c:v>
                </c:pt>
                <c:pt idx="662">
                  <c:v>0.49618320610687</c:v>
                </c:pt>
                <c:pt idx="663">
                  <c:v>0.49655172413793103</c:v>
                </c:pt>
                <c:pt idx="664">
                  <c:v>0.5</c:v>
                </c:pt>
                <c:pt idx="665">
                  <c:v>0.5</c:v>
                </c:pt>
                <c:pt idx="666">
                  <c:v>0.5</c:v>
                </c:pt>
                <c:pt idx="667">
                  <c:v>0.5</c:v>
                </c:pt>
                <c:pt idx="668">
                  <c:v>0.5</c:v>
                </c:pt>
                <c:pt idx="669">
                  <c:v>0.5</c:v>
                </c:pt>
                <c:pt idx="670">
                  <c:v>0.5</c:v>
                </c:pt>
                <c:pt idx="671">
                  <c:v>0.5</c:v>
                </c:pt>
                <c:pt idx="672">
                  <c:v>0.5</c:v>
                </c:pt>
                <c:pt idx="673">
                  <c:v>0.5</c:v>
                </c:pt>
                <c:pt idx="674">
                  <c:v>0.5</c:v>
                </c:pt>
                <c:pt idx="675">
                  <c:v>0.5</c:v>
                </c:pt>
                <c:pt idx="676">
                  <c:v>0.5</c:v>
                </c:pt>
                <c:pt idx="677">
                  <c:v>0.5</c:v>
                </c:pt>
                <c:pt idx="678">
                  <c:v>0.5</c:v>
                </c:pt>
                <c:pt idx="679">
                  <c:v>0.5</c:v>
                </c:pt>
                <c:pt idx="680">
                  <c:v>0.5</c:v>
                </c:pt>
                <c:pt idx="681">
                  <c:v>0.5</c:v>
                </c:pt>
                <c:pt idx="682">
                  <c:v>0.5</c:v>
                </c:pt>
                <c:pt idx="683">
                  <c:v>0.5</c:v>
                </c:pt>
                <c:pt idx="684">
                  <c:v>0.5</c:v>
                </c:pt>
                <c:pt idx="685">
                  <c:v>0.5</c:v>
                </c:pt>
                <c:pt idx="686">
                  <c:v>0.5</c:v>
                </c:pt>
                <c:pt idx="687">
                  <c:v>0.5</c:v>
                </c:pt>
                <c:pt idx="688">
                  <c:v>0.50287907869481796</c:v>
                </c:pt>
                <c:pt idx="689">
                  <c:v>0.50303030303030305</c:v>
                </c:pt>
                <c:pt idx="690">
                  <c:v>0.50321199143468998</c:v>
                </c:pt>
                <c:pt idx="691">
                  <c:v>0.50335570469798696</c:v>
                </c:pt>
                <c:pt idx="692">
                  <c:v>0.50373134328358204</c:v>
                </c:pt>
                <c:pt idx="693">
                  <c:v>0.50434782608695605</c:v>
                </c:pt>
                <c:pt idx="694">
                  <c:v>0.50467289719626196</c:v>
                </c:pt>
                <c:pt idx="695">
                  <c:v>0.50479233226837095</c:v>
                </c:pt>
                <c:pt idx="696">
                  <c:v>0.50485436893203905</c:v>
                </c:pt>
                <c:pt idx="697">
                  <c:v>0.50515463917525805</c:v>
                </c:pt>
                <c:pt idx="698">
                  <c:v>0.50574712643678199</c:v>
                </c:pt>
                <c:pt idx="699">
                  <c:v>0.50602409638554202</c:v>
                </c:pt>
                <c:pt idx="700">
                  <c:v>0.506493506493506</c:v>
                </c:pt>
                <c:pt idx="701">
                  <c:v>0.506493506493506</c:v>
                </c:pt>
                <c:pt idx="702">
                  <c:v>0.50663871418588402</c:v>
                </c:pt>
                <c:pt idx="703">
                  <c:v>0.507692307692308</c:v>
                </c:pt>
                <c:pt idx="704">
                  <c:v>0.50819672131147497</c:v>
                </c:pt>
                <c:pt idx="705">
                  <c:v>0.50847457627118597</c:v>
                </c:pt>
                <c:pt idx="706">
                  <c:v>0.50847457627118597</c:v>
                </c:pt>
                <c:pt idx="707">
                  <c:v>0.50877192982456099</c:v>
                </c:pt>
                <c:pt idx="708">
                  <c:v>0.50909090909090904</c:v>
                </c:pt>
                <c:pt idx="709">
                  <c:v>0.50980392156862697</c:v>
                </c:pt>
                <c:pt idx="710">
                  <c:v>0.51020408163265296</c:v>
                </c:pt>
                <c:pt idx="711">
                  <c:v>0.51020408163265296</c:v>
                </c:pt>
                <c:pt idx="712">
                  <c:v>0.51086956521739102</c:v>
                </c:pt>
                <c:pt idx="713">
                  <c:v>0.51111111111111096</c:v>
                </c:pt>
                <c:pt idx="714">
                  <c:v>0.51162790697674398</c:v>
                </c:pt>
                <c:pt idx="715">
                  <c:v>0.51162790697674398</c:v>
                </c:pt>
                <c:pt idx="716">
                  <c:v>0.51190476190476197</c:v>
                </c:pt>
                <c:pt idx="717">
                  <c:v>0.51219512195121997</c:v>
                </c:pt>
                <c:pt idx="718">
                  <c:v>0.51219512195121997</c:v>
                </c:pt>
                <c:pt idx="719">
                  <c:v>0.51219512195121997</c:v>
                </c:pt>
                <c:pt idx="720">
                  <c:v>0.512280701754386</c:v>
                </c:pt>
                <c:pt idx="721">
                  <c:v>0.51234567901234596</c:v>
                </c:pt>
                <c:pt idx="722">
                  <c:v>0.51351351351351304</c:v>
                </c:pt>
                <c:pt idx="723">
                  <c:v>0.51358695652173902</c:v>
                </c:pt>
                <c:pt idx="724">
                  <c:v>0.51428571428571401</c:v>
                </c:pt>
                <c:pt idx="725">
                  <c:v>0.51428571428571401</c:v>
                </c:pt>
                <c:pt idx="726">
                  <c:v>0.51428571428571401</c:v>
                </c:pt>
                <c:pt idx="727">
                  <c:v>0.51492537313432796</c:v>
                </c:pt>
                <c:pt idx="728">
                  <c:v>0.51515151515151503</c:v>
                </c:pt>
                <c:pt idx="729">
                  <c:v>0.51515151515151503</c:v>
                </c:pt>
                <c:pt idx="730">
                  <c:v>0.515625</c:v>
                </c:pt>
                <c:pt idx="731">
                  <c:v>0.51578947368421102</c:v>
                </c:pt>
                <c:pt idx="732">
                  <c:v>0.51666666666666705</c:v>
                </c:pt>
                <c:pt idx="733">
                  <c:v>0.51666666666666705</c:v>
                </c:pt>
                <c:pt idx="734">
                  <c:v>0.51724137931034497</c:v>
                </c:pt>
                <c:pt idx="735">
                  <c:v>0.51724137931034497</c:v>
                </c:pt>
                <c:pt idx="736">
                  <c:v>0.51785714285714302</c:v>
                </c:pt>
                <c:pt idx="737">
                  <c:v>0.51785714285714302</c:v>
                </c:pt>
                <c:pt idx="738">
                  <c:v>0.51785714285714302</c:v>
                </c:pt>
                <c:pt idx="739">
                  <c:v>0.518987341772152</c:v>
                </c:pt>
                <c:pt idx="740">
                  <c:v>0.518987341772152</c:v>
                </c:pt>
                <c:pt idx="741">
                  <c:v>0.51911468812877304</c:v>
                </c:pt>
                <c:pt idx="742">
                  <c:v>0.51923076923076905</c:v>
                </c:pt>
                <c:pt idx="743">
                  <c:v>0.52</c:v>
                </c:pt>
                <c:pt idx="744">
                  <c:v>0.52</c:v>
                </c:pt>
                <c:pt idx="745">
                  <c:v>0.52</c:v>
                </c:pt>
                <c:pt idx="746">
                  <c:v>0.52173913043478304</c:v>
                </c:pt>
                <c:pt idx="747">
                  <c:v>0.52173913043478304</c:v>
                </c:pt>
                <c:pt idx="748">
                  <c:v>0.52205882352941202</c:v>
                </c:pt>
                <c:pt idx="749">
                  <c:v>0.52205882352941202</c:v>
                </c:pt>
                <c:pt idx="750">
                  <c:v>0.52222222222222203</c:v>
                </c:pt>
                <c:pt idx="751">
                  <c:v>0.52252252252252296</c:v>
                </c:pt>
                <c:pt idx="752">
                  <c:v>0.5234375</c:v>
                </c:pt>
                <c:pt idx="753">
                  <c:v>0.52380952380952395</c:v>
                </c:pt>
                <c:pt idx="754">
                  <c:v>0.52380952380952395</c:v>
                </c:pt>
                <c:pt idx="755">
                  <c:v>0.52403846153846201</c:v>
                </c:pt>
                <c:pt idx="756">
                  <c:v>0.52500000000000002</c:v>
                </c:pt>
                <c:pt idx="757">
                  <c:v>0.52505966587112196</c:v>
                </c:pt>
                <c:pt idx="758">
                  <c:v>0.52551408987052495</c:v>
                </c:pt>
                <c:pt idx="759">
                  <c:v>0.52579535683576994</c:v>
                </c:pt>
                <c:pt idx="760">
                  <c:v>0.52631578947368396</c:v>
                </c:pt>
                <c:pt idx="761">
                  <c:v>0.52631578947368396</c:v>
                </c:pt>
                <c:pt idx="762">
                  <c:v>0.52631578947368396</c:v>
                </c:pt>
                <c:pt idx="763">
                  <c:v>0.52645502645502695</c:v>
                </c:pt>
                <c:pt idx="764">
                  <c:v>0.52650176678445204</c:v>
                </c:pt>
                <c:pt idx="765">
                  <c:v>0.52684563758389302</c:v>
                </c:pt>
                <c:pt idx="766">
                  <c:v>0.52713178294573604</c:v>
                </c:pt>
                <c:pt idx="767">
                  <c:v>0.527272727272727</c:v>
                </c:pt>
                <c:pt idx="768">
                  <c:v>0.527272727272727</c:v>
                </c:pt>
                <c:pt idx="769">
                  <c:v>0.52777777777777801</c:v>
                </c:pt>
                <c:pt idx="770">
                  <c:v>0.52830188679245305</c:v>
                </c:pt>
                <c:pt idx="771">
                  <c:v>0.52866242038216604</c:v>
                </c:pt>
                <c:pt idx="772">
                  <c:v>0.52873563218390796</c:v>
                </c:pt>
                <c:pt idx="773">
                  <c:v>0.528813559322034</c:v>
                </c:pt>
                <c:pt idx="774">
                  <c:v>0.528813559322034</c:v>
                </c:pt>
                <c:pt idx="775">
                  <c:v>0.52941176470588203</c:v>
                </c:pt>
                <c:pt idx="776">
                  <c:v>0.52941176470588203</c:v>
                </c:pt>
                <c:pt idx="777">
                  <c:v>0.52941176470588203</c:v>
                </c:pt>
                <c:pt idx="778">
                  <c:v>0.52941176470588203</c:v>
                </c:pt>
                <c:pt idx="779">
                  <c:v>0.53008595988538698</c:v>
                </c:pt>
                <c:pt idx="780">
                  <c:v>0.53076923076923099</c:v>
                </c:pt>
                <c:pt idx="781">
                  <c:v>0.53125</c:v>
                </c:pt>
                <c:pt idx="782">
                  <c:v>0.53125</c:v>
                </c:pt>
                <c:pt idx="783">
                  <c:v>0.53153153153153199</c:v>
                </c:pt>
                <c:pt idx="784">
                  <c:v>0.531645569620253</c:v>
                </c:pt>
                <c:pt idx="785">
                  <c:v>0.53181818181818197</c:v>
                </c:pt>
                <c:pt idx="786">
                  <c:v>0.53191489361702105</c:v>
                </c:pt>
                <c:pt idx="787">
                  <c:v>0.53191489361702105</c:v>
                </c:pt>
                <c:pt idx="788">
                  <c:v>0.532258064516129</c:v>
                </c:pt>
                <c:pt idx="789">
                  <c:v>0.532258064516129</c:v>
                </c:pt>
                <c:pt idx="790">
                  <c:v>0.53246753246753198</c:v>
                </c:pt>
                <c:pt idx="791">
                  <c:v>0.53333333333333299</c:v>
                </c:pt>
                <c:pt idx="792">
                  <c:v>0.53333333333333299</c:v>
                </c:pt>
                <c:pt idx="793">
                  <c:v>0.53333333333333299</c:v>
                </c:pt>
                <c:pt idx="794">
                  <c:v>0.53369272237196796</c:v>
                </c:pt>
                <c:pt idx="795">
                  <c:v>0.53389830508474601</c:v>
                </c:pt>
                <c:pt idx="796">
                  <c:v>0.534246575342466</c:v>
                </c:pt>
                <c:pt idx="797">
                  <c:v>0.53448275862068995</c:v>
                </c:pt>
                <c:pt idx="798">
                  <c:v>0.53465346534653502</c:v>
                </c:pt>
                <c:pt idx="799">
                  <c:v>0.53482587064676601</c:v>
                </c:pt>
                <c:pt idx="800">
                  <c:v>0.53488372093023295</c:v>
                </c:pt>
                <c:pt idx="801">
                  <c:v>0.53488372093023295</c:v>
                </c:pt>
                <c:pt idx="802">
                  <c:v>0.53494623655913998</c:v>
                </c:pt>
                <c:pt idx="803">
                  <c:v>0.53497942386831299</c:v>
                </c:pt>
                <c:pt idx="804">
                  <c:v>0.53503184713375795</c:v>
                </c:pt>
                <c:pt idx="805">
                  <c:v>0.535433070866142</c:v>
                </c:pt>
                <c:pt idx="806">
                  <c:v>0.53571428571428603</c:v>
                </c:pt>
                <c:pt idx="807">
                  <c:v>0.53571428571428603</c:v>
                </c:pt>
                <c:pt idx="808">
                  <c:v>0.53571428571428603</c:v>
                </c:pt>
                <c:pt idx="809">
                  <c:v>0.53571428571428603</c:v>
                </c:pt>
                <c:pt idx="810">
                  <c:v>0.53658536585365901</c:v>
                </c:pt>
                <c:pt idx="811">
                  <c:v>0.53661784287616499</c:v>
                </c:pt>
                <c:pt idx="812">
                  <c:v>0.53669724770642202</c:v>
                </c:pt>
                <c:pt idx="813">
                  <c:v>0.53703703703703698</c:v>
                </c:pt>
                <c:pt idx="814">
                  <c:v>0.53703703703703698</c:v>
                </c:pt>
                <c:pt idx="815">
                  <c:v>0.53703703703703698</c:v>
                </c:pt>
                <c:pt idx="816">
                  <c:v>0.53741496598639504</c:v>
                </c:pt>
                <c:pt idx="817">
                  <c:v>0.53758865248226895</c:v>
                </c:pt>
                <c:pt idx="818">
                  <c:v>0.53773584905660399</c:v>
                </c:pt>
                <c:pt idx="819">
                  <c:v>0.53828306264501202</c:v>
                </c:pt>
                <c:pt idx="820">
                  <c:v>0.53846153846153799</c:v>
                </c:pt>
                <c:pt idx="821">
                  <c:v>0.53846153846153799</c:v>
                </c:pt>
                <c:pt idx="822">
                  <c:v>0.53846153846153799</c:v>
                </c:pt>
                <c:pt idx="823">
                  <c:v>0.53846153846153799</c:v>
                </c:pt>
                <c:pt idx="824">
                  <c:v>0.53846153846153799</c:v>
                </c:pt>
                <c:pt idx="825">
                  <c:v>0.53846153846153799</c:v>
                </c:pt>
                <c:pt idx="826">
                  <c:v>0.53846153846153799</c:v>
                </c:pt>
                <c:pt idx="827">
                  <c:v>0.53921568627451</c:v>
                </c:pt>
                <c:pt idx="828">
                  <c:v>0.53968253968253999</c:v>
                </c:pt>
                <c:pt idx="829">
                  <c:v>0.53968253968253999</c:v>
                </c:pt>
                <c:pt idx="830">
                  <c:v>0.53968253968253999</c:v>
                </c:pt>
                <c:pt idx="831">
                  <c:v>0.54</c:v>
                </c:pt>
                <c:pt idx="832">
                  <c:v>0.54012345679012297</c:v>
                </c:pt>
                <c:pt idx="833">
                  <c:v>0.54022988505747105</c:v>
                </c:pt>
                <c:pt idx="834">
                  <c:v>0.54054054054054101</c:v>
                </c:pt>
                <c:pt idx="835">
                  <c:v>0.54081632653061196</c:v>
                </c:pt>
                <c:pt idx="836">
                  <c:v>0.54092526690391496</c:v>
                </c:pt>
                <c:pt idx="837">
                  <c:v>0.54166666666666696</c:v>
                </c:pt>
                <c:pt idx="838">
                  <c:v>0.54166666666666696</c:v>
                </c:pt>
                <c:pt idx="839">
                  <c:v>0.54166666666666696</c:v>
                </c:pt>
                <c:pt idx="840">
                  <c:v>0.54166666666666696</c:v>
                </c:pt>
                <c:pt idx="841">
                  <c:v>0.54166666666666696</c:v>
                </c:pt>
                <c:pt idx="842">
                  <c:v>0.54226804123711303</c:v>
                </c:pt>
                <c:pt idx="843">
                  <c:v>0.54285714285714304</c:v>
                </c:pt>
                <c:pt idx="844">
                  <c:v>0.54285714285714304</c:v>
                </c:pt>
                <c:pt idx="845">
                  <c:v>0.54306220095693802</c:v>
                </c:pt>
                <c:pt idx="846">
                  <c:v>0.54329004329004305</c:v>
                </c:pt>
                <c:pt idx="847">
                  <c:v>0.54330708661417304</c:v>
                </c:pt>
                <c:pt idx="848">
                  <c:v>0.54368932038834905</c:v>
                </c:pt>
                <c:pt idx="849">
                  <c:v>0.544303797468354</c:v>
                </c:pt>
                <c:pt idx="850">
                  <c:v>0.544303797468354</c:v>
                </c:pt>
                <c:pt idx="851">
                  <c:v>0.54446177847113897</c:v>
                </c:pt>
                <c:pt idx="852">
                  <c:v>0.54545454545454497</c:v>
                </c:pt>
                <c:pt idx="853">
                  <c:v>0.54545454545454497</c:v>
                </c:pt>
                <c:pt idx="854">
                  <c:v>0.54545454545454497</c:v>
                </c:pt>
                <c:pt idx="855">
                  <c:v>0.54545454545454497</c:v>
                </c:pt>
                <c:pt idx="856">
                  <c:v>0.54545454545454497</c:v>
                </c:pt>
                <c:pt idx="857">
                  <c:v>0.54629629629629595</c:v>
                </c:pt>
                <c:pt idx="858">
                  <c:v>0.54651162790697705</c:v>
                </c:pt>
                <c:pt idx="859">
                  <c:v>0.54658385093167705</c:v>
                </c:pt>
                <c:pt idx="860">
                  <c:v>0.54676258992805804</c:v>
                </c:pt>
                <c:pt idx="861">
                  <c:v>0.547619047619048</c:v>
                </c:pt>
                <c:pt idx="862">
                  <c:v>0.547619047619048</c:v>
                </c:pt>
                <c:pt idx="863">
                  <c:v>0.547619047619048</c:v>
                </c:pt>
                <c:pt idx="864">
                  <c:v>0.547619047619048</c:v>
                </c:pt>
                <c:pt idx="865">
                  <c:v>0.54794520547945202</c:v>
                </c:pt>
                <c:pt idx="866">
                  <c:v>0.54794520547945202</c:v>
                </c:pt>
                <c:pt idx="867">
                  <c:v>0.548327137546468</c:v>
                </c:pt>
                <c:pt idx="868">
                  <c:v>0.54838709677419295</c:v>
                </c:pt>
                <c:pt idx="869">
                  <c:v>0.54895104895104896</c:v>
                </c:pt>
                <c:pt idx="870">
                  <c:v>0.54901960784313697</c:v>
                </c:pt>
                <c:pt idx="871">
                  <c:v>0.54901960784313697</c:v>
                </c:pt>
                <c:pt idx="872">
                  <c:v>0.54904171364148802</c:v>
                </c:pt>
                <c:pt idx="873">
                  <c:v>0.54945054945054905</c:v>
                </c:pt>
                <c:pt idx="874">
                  <c:v>0.55000000000000004</c:v>
                </c:pt>
                <c:pt idx="875">
                  <c:v>0.55026455026455001</c:v>
                </c:pt>
                <c:pt idx="876">
                  <c:v>0.55026455026455001</c:v>
                </c:pt>
                <c:pt idx="877">
                  <c:v>0.55047318611987395</c:v>
                </c:pt>
                <c:pt idx="878">
                  <c:v>0.55066079295154202</c:v>
                </c:pt>
                <c:pt idx="879">
                  <c:v>0.55084745762711895</c:v>
                </c:pt>
                <c:pt idx="880">
                  <c:v>0.55095541401273895</c:v>
                </c:pt>
                <c:pt idx="881">
                  <c:v>0.55102040816326503</c:v>
                </c:pt>
                <c:pt idx="882">
                  <c:v>0.55128205128205099</c:v>
                </c:pt>
                <c:pt idx="883">
                  <c:v>0.55172413793103403</c:v>
                </c:pt>
                <c:pt idx="884">
                  <c:v>0.55172413793103403</c:v>
                </c:pt>
                <c:pt idx="885">
                  <c:v>0.55172413793103403</c:v>
                </c:pt>
                <c:pt idx="886">
                  <c:v>0.55197132616487499</c:v>
                </c:pt>
                <c:pt idx="887">
                  <c:v>0.55223880597014896</c:v>
                </c:pt>
                <c:pt idx="888">
                  <c:v>0.55263157894736803</c:v>
                </c:pt>
                <c:pt idx="889">
                  <c:v>0.55263157894736803</c:v>
                </c:pt>
                <c:pt idx="890">
                  <c:v>0.55294117647058805</c:v>
                </c:pt>
                <c:pt idx="891">
                  <c:v>0.55313351498637597</c:v>
                </c:pt>
                <c:pt idx="892">
                  <c:v>0.55319148936170204</c:v>
                </c:pt>
                <c:pt idx="893">
                  <c:v>0.553459119496855</c:v>
                </c:pt>
                <c:pt idx="894">
                  <c:v>0.553459119496855</c:v>
                </c:pt>
                <c:pt idx="895">
                  <c:v>0.55357142857142905</c:v>
                </c:pt>
                <c:pt idx="896">
                  <c:v>0.55357142857142905</c:v>
                </c:pt>
                <c:pt idx="897">
                  <c:v>0.55384615384615399</c:v>
                </c:pt>
                <c:pt idx="898">
                  <c:v>0.55384615384615399</c:v>
                </c:pt>
                <c:pt idx="899">
                  <c:v>0.55421686746987997</c:v>
                </c:pt>
                <c:pt idx="900">
                  <c:v>0.55421686746987997</c:v>
                </c:pt>
                <c:pt idx="901">
                  <c:v>0.55445544554455395</c:v>
                </c:pt>
                <c:pt idx="902">
                  <c:v>0.55474452554744502</c:v>
                </c:pt>
                <c:pt idx="903">
                  <c:v>0.55521783181357698</c:v>
                </c:pt>
                <c:pt idx="904">
                  <c:v>0.55555555555555602</c:v>
                </c:pt>
                <c:pt idx="905">
                  <c:v>0.55555555555555602</c:v>
                </c:pt>
                <c:pt idx="906">
                  <c:v>0.55555555555555602</c:v>
                </c:pt>
                <c:pt idx="907">
                  <c:v>0.55555555555555602</c:v>
                </c:pt>
                <c:pt idx="908">
                  <c:v>0.55555555555555602</c:v>
                </c:pt>
                <c:pt idx="909">
                  <c:v>0.55555555555555602</c:v>
                </c:pt>
                <c:pt idx="910">
                  <c:v>0.55555555555555602</c:v>
                </c:pt>
                <c:pt idx="911">
                  <c:v>0.55555555555555602</c:v>
                </c:pt>
                <c:pt idx="912">
                  <c:v>0.55555555555555602</c:v>
                </c:pt>
                <c:pt idx="913">
                  <c:v>0.55555555555555602</c:v>
                </c:pt>
                <c:pt idx="914">
                  <c:v>0.55645161290322598</c:v>
                </c:pt>
                <c:pt idx="915">
                  <c:v>0.55660377358490598</c:v>
                </c:pt>
                <c:pt idx="916">
                  <c:v>0.55681818181818199</c:v>
                </c:pt>
                <c:pt idx="917">
                  <c:v>0.55743243243243201</c:v>
                </c:pt>
                <c:pt idx="918">
                  <c:v>0.55760368663594495</c:v>
                </c:pt>
                <c:pt idx="919">
                  <c:v>0.55813953488372103</c:v>
                </c:pt>
                <c:pt idx="920">
                  <c:v>0.55813953488372103</c:v>
                </c:pt>
                <c:pt idx="921">
                  <c:v>0.55844155844155796</c:v>
                </c:pt>
                <c:pt idx="922">
                  <c:v>0.55858310626703001</c:v>
                </c:pt>
                <c:pt idx="923">
                  <c:v>0.55882352941176505</c:v>
                </c:pt>
                <c:pt idx="924">
                  <c:v>0.55882352941176505</c:v>
                </c:pt>
                <c:pt idx="925">
                  <c:v>0.55900621118012395</c:v>
                </c:pt>
                <c:pt idx="926">
                  <c:v>0.559055118110236</c:v>
                </c:pt>
                <c:pt idx="927">
                  <c:v>0.55928853754940699</c:v>
                </c:pt>
                <c:pt idx="928">
                  <c:v>0.55932203389830504</c:v>
                </c:pt>
                <c:pt idx="929">
                  <c:v>0.55932203389830504</c:v>
                </c:pt>
                <c:pt idx="930">
                  <c:v>0.55932203389830504</c:v>
                </c:pt>
                <c:pt idx="931">
                  <c:v>0.56000000000000005</c:v>
                </c:pt>
                <c:pt idx="932">
                  <c:v>0.56000000000000005</c:v>
                </c:pt>
                <c:pt idx="933">
                  <c:v>0.56000000000000005</c:v>
                </c:pt>
                <c:pt idx="934">
                  <c:v>0.56000000000000005</c:v>
                </c:pt>
                <c:pt idx="935">
                  <c:v>0.560606060606061</c:v>
                </c:pt>
                <c:pt idx="936">
                  <c:v>0.56077348066298305</c:v>
                </c:pt>
                <c:pt idx="937">
                  <c:v>0.56097560975609795</c:v>
                </c:pt>
                <c:pt idx="938">
                  <c:v>0.56097560975609795</c:v>
                </c:pt>
                <c:pt idx="939">
                  <c:v>0.56140350877193002</c:v>
                </c:pt>
                <c:pt idx="940">
                  <c:v>0.56179775280898903</c:v>
                </c:pt>
                <c:pt idx="941">
                  <c:v>0.5625</c:v>
                </c:pt>
                <c:pt idx="942">
                  <c:v>0.5625</c:v>
                </c:pt>
                <c:pt idx="943">
                  <c:v>0.5625</c:v>
                </c:pt>
                <c:pt idx="944">
                  <c:v>0.5625</c:v>
                </c:pt>
                <c:pt idx="945">
                  <c:v>0.5625</c:v>
                </c:pt>
                <c:pt idx="946">
                  <c:v>0.56293706293706303</c:v>
                </c:pt>
                <c:pt idx="947">
                  <c:v>0.56363636363636405</c:v>
                </c:pt>
                <c:pt idx="948">
                  <c:v>0.56382978723404298</c:v>
                </c:pt>
                <c:pt idx="949">
                  <c:v>0.56392694063926896</c:v>
                </c:pt>
                <c:pt idx="950">
                  <c:v>0.56410256410256399</c:v>
                </c:pt>
                <c:pt idx="951">
                  <c:v>0.56435643564356397</c:v>
                </c:pt>
                <c:pt idx="952">
                  <c:v>0.56447688564476906</c:v>
                </c:pt>
                <c:pt idx="953">
                  <c:v>0.565217391304348</c:v>
                </c:pt>
                <c:pt idx="954">
                  <c:v>0.565217391304348</c:v>
                </c:pt>
                <c:pt idx="955">
                  <c:v>0.565217391304348</c:v>
                </c:pt>
                <c:pt idx="956">
                  <c:v>0.565217391304348</c:v>
                </c:pt>
                <c:pt idx="957">
                  <c:v>0.565217391304348</c:v>
                </c:pt>
                <c:pt idx="958">
                  <c:v>0.56565656565656597</c:v>
                </c:pt>
                <c:pt idx="959">
                  <c:v>0.56603773584905703</c:v>
                </c:pt>
                <c:pt idx="960">
                  <c:v>0.56666666666666698</c:v>
                </c:pt>
                <c:pt idx="961">
                  <c:v>0.56666666666666698</c:v>
                </c:pt>
                <c:pt idx="962">
                  <c:v>0.56666666666666698</c:v>
                </c:pt>
                <c:pt idx="963">
                  <c:v>0.56701030927835006</c:v>
                </c:pt>
                <c:pt idx="964">
                  <c:v>0.56716417910447803</c:v>
                </c:pt>
                <c:pt idx="965">
                  <c:v>0.56756756756756799</c:v>
                </c:pt>
                <c:pt idx="966">
                  <c:v>0.56818181818181801</c:v>
                </c:pt>
                <c:pt idx="967">
                  <c:v>0.56834532374100699</c:v>
                </c:pt>
                <c:pt idx="968">
                  <c:v>0.56959314775160597</c:v>
                </c:pt>
                <c:pt idx="969">
                  <c:v>0.56993006993007</c:v>
                </c:pt>
                <c:pt idx="970">
                  <c:v>0.57033248081841403</c:v>
                </c:pt>
                <c:pt idx="971">
                  <c:v>0.57088122605364</c:v>
                </c:pt>
                <c:pt idx="972">
                  <c:v>0.57142857142857095</c:v>
                </c:pt>
                <c:pt idx="973">
                  <c:v>0.57142857142857095</c:v>
                </c:pt>
                <c:pt idx="974">
                  <c:v>0.57142857142857095</c:v>
                </c:pt>
                <c:pt idx="975">
                  <c:v>0.57142857142857095</c:v>
                </c:pt>
                <c:pt idx="976">
                  <c:v>0.57142857142857095</c:v>
                </c:pt>
                <c:pt idx="977">
                  <c:v>0.57142857142857095</c:v>
                </c:pt>
                <c:pt idx="978">
                  <c:v>0.57142857142857095</c:v>
                </c:pt>
                <c:pt idx="979">
                  <c:v>0.57142857142857095</c:v>
                </c:pt>
                <c:pt idx="980">
                  <c:v>0.57142857142857095</c:v>
                </c:pt>
                <c:pt idx="981">
                  <c:v>0.57142857142857095</c:v>
                </c:pt>
                <c:pt idx="982">
                  <c:v>0.57142857142857095</c:v>
                </c:pt>
                <c:pt idx="983">
                  <c:v>0.57142857142857095</c:v>
                </c:pt>
                <c:pt idx="984">
                  <c:v>0.57142857142857095</c:v>
                </c:pt>
                <c:pt idx="985">
                  <c:v>0.57258064516129004</c:v>
                </c:pt>
                <c:pt idx="986">
                  <c:v>0.57317073170731703</c:v>
                </c:pt>
                <c:pt idx="987">
                  <c:v>0.57333333333333303</c:v>
                </c:pt>
                <c:pt idx="988">
                  <c:v>0.57419354838709702</c:v>
                </c:pt>
                <c:pt idx="989">
                  <c:v>0.57423580786026196</c:v>
                </c:pt>
                <c:pt idx="990">
                  <c:v>0.57446808510638303</c:v>
                </c:pt>
                <c:pt idx="991">
                  <c:v>0.57468354430379698</c:v>
                </c:pt>
                <c:pt idx="992">
                  <c:v>0.57471264367816099</c:v>
                </c:pt>
                <c:pt idx="993">
                  <c:v>0.57485029940119803</c:v>
                </c:pt>
                <c:pt idx="994">
                  <c:v>0.57499999999999996</c:v>
                </c:pt>
                <c:pt idx="995">
                  <c:v>0.57499999999999996</c:v>
                </c:pt>
                <c:pt idx="996">
                  <c:v>0.57575757575757602</c:v>
                </c:pt>
                <c:pt idx="997">
                  <c:v>0.57575757575757602</c:v>
                </c:pt>
                <c:pt idx="998">
                  <c:v>0.57575757575757602</c:v>
                </c:pt>
                <c:pt idx="999">
                  <c:v>0.57627118644067798</c:v>
                </c:pt>
                <c:pt idx="1000">
                  <c:v>0.57650273224043702</c:v>
                </c:pt>
                <c:pt idx="1001">
                  <c:v>0.57692307692307698</c:v>
                </c:pt>
                <c:pt idx="1002">
                  <c:v>0.57692307692307698</c:v>
                </c:pt>
                <c:pt idx="1003">
                  <c:v>0.57692307692307698</c:v>
                </c:pt>
                <c:pt idx="1004">
                  <c:v>0.57701711491442498</c:v>
                </c:pt>
                <c:pt idx="1005">
                  <c:v>0.57706093189964203</c:v>
                </c:pt>
                <c:pt idx="1006">
                  <c:v>0.57791629563668701</c:v>
                </c:pt>
                <c:pt idx="1007">
                  <c:v>0.57851239669421495</c:v>
                </c:pt>
                <c:pt idx="1008">
                  <c:v>0.57874015748031504</c:v>
                </c:pt>
                <c:pt idx="1009">
                  <c:v>0.57877813504823095</c:v>
                </c:pt>
                <c:pt idx="1010">
                  <c:v>0.57894736842105299</c:v>
                </c:pt>
                <c:pt idx="1011">
                  <c:v>0.57894736842105299</c:v>
                </c:pt>
                <c:pt idx="1012">
                  <c:v>0.57894736842105299</c:v>
                </c:pt>
                <c:pt idx="1013">
                  <c:v>0.57894736842105299</c:v>
                </c:pt>
                <c:pt idx="1014">
                  <c:v>0.57894736842105299</c:v>
                </c:pt>
                <c:pt idx="1015">
                  <c:v>0.57894736842105299</c:v>
                </c:pt>
                <c:pt idx="1016">
                  <c:v>0.57894736842105299</c:v>
                </c:pt>
                <c:pt idx="1017">
                  <c:v>0.57894736842105299</c:v>
                </c:pt>
                <c:pt idx="1018">
                  <c:v>0.57933579335793395</c:v>
                </c:pt>
                <c:pt idx="1019">
                  <c:v>0.57999999999999996</c:v>
                </c:pt>
                <c:pt idx="1020">
                  <c:v>0.57999999999999996</c:v>
                </c:pt>
                <c:pt idx="1021">
                  <c:v>0.58064516129032295</c:v>
                </c:pt>
                <c:pt idx="1022">
                  <c:v>0.58064516129032295</c:v>
                </c:pt>
                <c:pt idx="1023">
                  <c:v>0.58098591549295797</c:v>
                </c:pt>
                <c:pt idx="1024">
                  <c:v>0.58098591549295797</c:v>
                </c:pt>
                <c:pt idx="1025">
                  <c:v>0.581395348837209</c:v>
                </c:pt>
                <c:pt idx="1026">
                  <c:v>0.581395348837209</c:v>
                </c:pt>
                <c:pt idx="1027">
                  <c:v>0.58156028368794299</c:v>
                </c:pt>
                <c:pt idx="1028">
                  <c:v>0.58156028368794299</c:v>
                </c:pt>
                <c:pt idx="1029">
                  <c:v>0.58181818181818201</c:v>
                </c:pt>
                <c:pt idx="1030">
                  <c:v>0.58181818181818201</c:v>
                </c:pt>
                <c:pt idx="1031">
                  <c:v>0.58181818181818201</c:v>
                </c:pt>
                <c:pt idx="1032">
                  <c:v>0.58208955223880599</c:v>
                </c:pt>
                <c:pt idx="1033">
                  <c:v>0.582278481012658</c:v>
                </c:pt>
                <c:pt idx="1034">
                  <c:v>0.58235294117647096</c:v>
                </c:pt>
                <c:pt idx="1035">
                  <c:v>0.58252427184466005</c:v>
                </c:pt>
                <c:pt idx="1036">
                  <c:v>0.58252427184466005</c:v>
                </c:pt>
                <c:pt idx="1037">
                  <c:v>0.58260869565217399</c:v>
                </c:pt>
                <c:pt idx="1038">
                  <c:v>0.58278145695364203</c:v>
                </c:pt>
                <c:pt idx="1039">
                  <c:v>0.58322411533420704</c:v>
                </c:pt>
                <c:pt idx="1040">
                  <c:v>0.58333333333333304</c:v>
                </c:pt>
                <c:pt idx="1041">
                  <c:v>0.58333333333333304</c:v>
                </c:pt>
                <c:pt idx="1042">
                  <c:v>0.58333333333333304</c:v>
                </c:pt>
                <c:pt idx="1043">
                  <c:v>0.58333333333333304</c:v>
                </c:pt>
                <c:pt idx="1044">
                  <c:v>0.58333333333333304</c:v>
                </c:pt>
                <c:pt idx="1045">
                  <c:v>0.58333333333333304</c:v>
                </c:pt>
                <c:pt idx="1046">
                  <c:v>0.58333333333333304</c:v>
                </c:pt>
                <c:pt idx="1047">
                  <c:v>0.58333333333333304</c:v>
                </c:pt>
                <c:pt idx="1048">
                  <c:v>0.58394160583941601</c:v>
                </c:pt>
                <c:pt idx="1049">
                  <c:v>0.58407079646017701</c:v>
                </c:pt>
                <c:pt idx="1050">
                  <c:v>0.58407079646017701</c:v>
                </c:pt>
                <c:pt idx="1051">
                  <c:v>0.58426966292134797</c:v>
                </c:pt>
                <c:pt idx="1052">
                  <c:v>0.58441558441558406</c:v>
                </c:pt>
                <c:pt idx="1053">
                  <c:v>0.58465011286681701</c:v>
                </c:pt>
                <c:pt idx="1054">
                  <c:v>0.58472222222222203</c:v>
                </c:pt>
                <c:pt idx="1055">
                  <c:v>0.58474576271186396</c:v>
                </c:pt>
                <c:pt idx="1056">
                  <c:v>0.58490566037735803</c:v>
                </c:pt>
                <c:pt idx="1057">
                  <c:v>0.5850622406639</c:v>
                </c:pt>
                <c:pt idx="1058">
                  <c:v>0.58536585365853699</c:v>
                </c:pt>
                <c:pt idx="1059">
                  <c:v>0.58558558558558604</c:v>
                </c:pt>
                <c:pt idx="1060">
                  <c:v>0.58641975308642003</c:v>
                </c:pt>
                <c:pt idx="1061">
                  <c:v>0.58677685950413205</c:v>
                </c:pt>
                <c:pt idx="1062">
                  <c:v>0.58695652173913004</c:v>
                </c:pt>
                <c:pt idx="1063">
                  <c:v>0.587096774193548</c:v>
                </c:pt>
                <c:pt idx="1064">
                  <c:v>0.58715596330275199</c:v>
                </c:pt>
                <c:pt idx="1065">
                  <c:v>0.58730158730158699</c:v>
                </c:pt>
                <c:pt idx="1066">
                  <c:v>0.58791208791208804</c:v>
                </c:pt>
                <c:pt idx="1067">
                  <c:v>0.58823529411764697</c:v>
                </c:pt>
                <c:pt idx="1068">
                  <c:v>0.58823529411764697</c:v>
                </c:pt>
                <c:pt idx="1069">
                  <c:v>0.58823529411764697</c:v>
                </c:pt>
                <c:pt idx="1070">
                  <c:v>0.58849557522123896</c:v>
                </c:pt>
                <c:pt idx="1071">
                  <c:v>0.58878504672897203</c:v>
                </c:pt>
                <c:pt idx="1072">
                  <c:v>0.58894230769230804</c:v>
                </c:pt>
                <c:pt idx="1073">
                  <c:v>0.58974358974358998</c:v>
                </c:pt>
                <c:pt idx="1074">
                  <c:v>0.58974358974358998</c:v>
                </c:pt>
                <c:pt idx="1075">
                  <c:v>0.58974358974358998</c:v>
                </c:pt>
                <c:pt idx="1076">
                  <c:v>0.59</c:v>
                </c:pt>
                <c:pt idx="1077">
                  <c:v>0.59090909090909105</c:v>
                </c:pt>
                <c:pt idx="1078">
                  <c:v>0.59090909090909105</c:v>
                </c:pt>
                <c:pt idx="1079">
                  <c:v>0.59090909090909105</c:v>
                </c:pt>
                <c:pt idx="1080">
                  <c:v>0.59154929577464799</c:v>
                </c:pt>
                <c:pt idx="1081">
                  <c:v>0.59166666666666701</c:v>
                </c:pt>
                <c:pt idx="1082">
                  <c:v>0.59183673469387799</c:v>
                </c:pt>
                <c:pt idx="1083">
                  <c:v>0.59195402298850597</c:v>
                </c:pt>
                <c:pt idx="1084">
                  <c:v>0.59223300970873805</c:v>
                </c:pt>
                <c:pt idx="1085">
                  <c:v>0.592592592592593</c:v>
                </c:pt>
                <c:pt idx="1086">
                  <c:v>0.592592592592593</c:v>
                </c:pt>
                <c:pt idx="1087">
                  <c:v>0.59322033898305104</c:v>
                </c:pt>
                <c:pt idx="1088">
                  <c:v>0.59322033898305104</c:v>
                </c:pt>
                <c:pt idx="1089">
                  <c:v>0.59322033898305104</c:v>
                </c:pt>
                <c:pt idx="1090">
                  <c:v>0.59322033898305104</c:v>
                </c:pt>
                <c:pt idx="1091">
                  <c:v>0.59322033898305104</c:v>
                </c:pt>
                <c:pt idx="1092">
                  <c:v>0.59433962264150897</c:v>
                </c:pt>
                <c:pt idx="1093">
                  <c:v>0.59459459459459496</c:v>
                </c:pt>
                <c:pt idx="1094">
                  <c:v>0.594663278271919</c:v>
                </c:pt>
                <c:pt idx="1095">
                  <c:v>0.59482758620689702</c:v>
                </c:pt>
                <c:pt idx="1096">
                  <c:v>0.594936708860759</c:v>
                </c:pt>
                <c:pt idx="1097">
                  <c:v>0.594936708860759</c:v>
                </c:pt>
                <c:pt idx="1098">
                  <c:v>0.59504132231405005</c:v>
                </c:pt>
                <c:pt idx="1099">
                  <c:v>0.59558011049723802</c:v>
                </c:pt>
                <c:pt idx="1100">
                  <c:v>0.59558823529411797</c:v>
                </c:pt>
                <c:pt idx="1101">
                  <c:v>0.59574468085106402</c:v>
                </c:pt>
                <c:pt idx="1102">
                  <c:v>0.59579180509413099</c:v>
                </c:pt>
                <c:pt idx="1103">
                  <c:v>0.59701492537313405</c:v>
                </c:pt>
                <c:pt idx="1104">
                  <c:v>0.59708737864077699</c:v>
                </c:pt>
                <c:pt idx="1105">
                  <c:v>0.597122302158273</c:v>
                </c:pt>
                <c:pt idx="1106">
                  <c:v>0.59715639810426502</c:v>
                </c:pt>
                <c:pt idx="1107">
                  <c:v>0.59722222222222199</c:v>
                </c:pt>
                <c:pt idx="1108">
                  <c:v>0.59722222222222199</c:v>
                </c:pt>
                <c:pt idx="1109">
                  <c:v>0.59740259740259705</c:v>
                </c:pt>
                <c:pt idx="1110">
                  <c:v>0.59756097560975596</c:v>
                </c:pt>
                <c:pt idx="1111">
                  <c:v>0.59756097560975596</c:v>
                </c:pt>
                <c:pt idx="1112">
                  <c:v>0.597938144329897</c:v>
                </c:pt>
                <c:pt idx="1113">
                  <c:v>0.59839357429718898</c:v>
                </c:pt>
                <c:pt idx="1114">
                  <c:v>0.59909909909909898</c:v>
                </c:pt>
                <c:pt idx="1115">
                  <c:v>0.59912854030501095</c:v>
                </c:pt>
                <c:pt idx="1116">
                  <c:v>0.6</c:v>
                </c:pt>
                <c:pt idx="1117">
                  <c:v>0.6</c:v>
                </c:pt>
                <c:pt idx="1118">
                  <c:v>0.6</c:v>
                </c:pt>
                <c:pt idx="1119">
                  <c:v>0.6</c:v>
                </c:pt>
                <c:pt idx="1120">
                  <c:v>0.6</c:v>
                </c:pt>
                <c:pt idx="1121">
                  <c:v>0.6</c:v>
                </c:pt>
                <c:pt idx="1122">
                  <c:v>0.6</c:v>
                </c:pt>
                <c:pt idx="1123">
                  <c:v>0.6</c:v>
                </c:pt>
                <c:pt idx="1124">
                  <c:v>0.6</c:v>
                </c:pt>
                <c:pt idx="1125">
                  <c:v>0.6</c:v>
                </c:pt>
                <c:pt idx="1126">
                  <c:v>0.6</c:v>
                </c:pt>
                <c:pt idx="1127">
                  <c:v>0.6</c:v>
                </c:pt>
                <c:pt idx="1128">
                  <c:v>0.6</c:v>
                </c:pt>
                <c:pt idx="1129">
                  <c:v>0.6</c:v>
                </c:pt>
                <c:pt idx="1130">
                  <c:v>0.6</c:v>
                </c:pt>
                <c:pt idx="1131">
                  <c:v>0.6</c:v>
                </c:pt>
                <c:pt idx="1132">
                  <c:v>0.60142348754448405</c:v>
                </c:pt>
                <c:pt idx="1133">
                  <c:v>0.6015625</c:v>
                </c:pt>
                <c:pt idx="1134">
                  <c:v>0.60167130919220002</c:v>
                </c:pt>
                <c:pt idx="1135">
                  <c:v>0.60176991150442505</c:v>
                </c:pt>
                <c:pt idx="1136">
                  <c:v>0.60189573459715595</c:v>
                </c:pt>
                <c:pt idx="1137">
                  <c:v>0.60220994475138101</c:v>
                </c:pt>
                <c:pt idx="1138">
                  <c:v>0.60251046025104604</c:v>
                </c:pt>
                <c:pt idx="1139">
                  <c:v>0.60317460317460303</c:v>
                </c:pt>
                <c:pt idx="1140">
                  <c:v>0.60317460317460303</c:v>
                </c:pt>
                <c:pt idx="1141">
                  <c:v>0.60317460317460303</c:v>
                </c:pt>
                <c:pt idx="1142">
                  <c:v>0.60344827586206895</c:v>
                </c:pt>
                <c:pt idx="1143">
                  <c:v>0.60377358490566002</c:v>
                </c:pt>
                <c:pt idx="1144">
                  <c:v>0.60377358490566002</c:v>
                </c:pt>
                <c:pt idx="1145">
                  <c:v>0.60465116279069797</c:v>
                </c:pt>
                <c:pt idx="1146">
                  <c:v>0.60465116279069797</c:v>
                </c:pt>
                <c:pt idx="1147">
                  <c:v>0.60465116279069797</c:v>
                </c:pt>
                <c:pt idx="1148">
                  <c:v>0.60493827160493796</c:v>
                </c:pt>
                <c:pt idx="1149">
                  <c:v>0.60493827160493796</c:v>
                </c:pt>
                <c:pt idx="1150">
                  <c:v>0.60526315789473695</c:v>
                </c:pt>
                <c:pt idx="1151">
                  <c:v>0.605504587155963</c:v>
                </c:pt>
                <c:pt idx="1152">
                  <c:v>0.60606060606060597</c:v>
                </c:pt>
                <c:pt idx="1153">
                  <c:v>0.60606060606060597</c:v>
                </c:pt>
                <c:pt idx="1154">
                  <c:v>0.60606060606060597</c:v>
                </c:pt>
                <c:pt idx="1155">
                  <c:v>0.60641399416909603</c:v>
                </c:pt>
                <c:pt idx="1156">
                  <c:v>0.60655737704918</c:v>
                </c:pt>
                <c:pt idx="1157">
                  <c:v>0.60679611650485399</c:v>
                </c:pt>
                <c:pt idx="1158">
                  <c:v>0.60714285714285698</c:v>
                </c:pt>
                <c:pt idx="1159">
                  <c:v>0.60784313725490202</c:v>
                </c:pt>
                <c:pt idx="1160">
                  <c:v>0.60869565217391297</c:v>
                </c:pt>
                <c:pt idx="1161">
                  <c:v>0.60869565217391297</c:v>
                </c:pt>
                <c:pt idx="1162">
                  <c:v>0.60869565217391297</c:v>
                </c:pt>
                <c:pt idx="1163">
                  <c:v>0.60869565217391297</c:v>
                </c:pt>
                <c:pt idx="1164">
                  <c:v>0.60897435897435903</c:v>
                </c:pt>
                <c:pt idx="1165">
                  <c:v>0.60909090909090902</c:v>
                </c:pt>
                <c:pt idx="1166">
                  <c:v>0.60919540229885105</c:v>
                </c:pt>
                <c:pt idx="1167">
                  <c:v>0.60919540229885105</c:v>
                </c:pt>
                <c:pt idx="1168">
                  <c:v>0.60924369747899099</c:v>
                </c:pt>
                <c:pt idx="1169">
                  <c:v>0.60952380952380902</c:v>
                </c:pt>
                <c:pt idx="1170">
                  <c:v>0.60955056179775302</c:v>
                </c:pt>
                <c:pt idx="1171">
                  <c:v>0.60975609756097604</c:v>
                </c:pt>
                <c:pt idx="1172">
                  <c:v>0.60975609756097604</c:v>
                </c:pt>
                <c:pt idx="1173">
                  <c:v>0.60975609756097604</c:v>
                </c:pt>
                <c:pt idx="1174">
                  <c:v>0.60975609756097604</c:v>
                </c:pt>
                <c:pt idx="1175">
                  <c:v>0.60975609756097604</c:v>
                </c:pt>
                <c:pt idx="1176">
                  <c:v>0.60975609756097604</c:v>
                </c:pt>
                <c:pt idx="1177">
                  <c:v>0.60990712074303399</c:v>
                </c:pt>
                <c:pt idx="1178">
                  <c:v>0.61061946902654896</c:v>
                </c:pt>
                <c:pt idx="1179">
                  <c:v>0.61061946902654896</c:v>
                </c:pt>
                <c:pt idx="1180">
                  <c:v>0.61073825503355705</c:v>
                </c:pt>
                <c:pt idx="1181">
                  <c:v>0.61111111111111105</c:v>
                </c:pt>
                <c:pt idx="1182">
                  <c:v>0.61111111111111105</c:v>
                </c:pt>
                <c:pt idx="1183">
                  <c:v>0.61111111111111105</c:v>
                </c:pt>
                <c:pt idx="1184">
                  <c:v>0.61111111111111105</c:v>
                </c:pt>
                <c:pt idx="1185">
                  <c:v>0.61111111111111105</c:v>
                </c:pt>
                <c:pt idx="1186">
                  <c:v>0.61111111111111105</c:v>
                </c:pt>
                <c:pt idx="1187">
                  <c:v>0.61111111111111105</c:v>
                </c:pt>
                <c:pt idx="1188">
                  <c:v>0.61119081779053097</c:v>
                </c:pt>
                <c:pt idx="1189">
                  <c:v>0.61157024793388404</c:v>
                </c:pt>
                <c:pt idx="1190">
                  <c:v>0.61194029850746301</c:v>
                </c:pt>
                <c:pt idx="1191">
                  <c:v>0.61194029850746301</c:v>
                </c:pt>
                <c:pt idx="1192">
                  <c:v>0.61224489795918402</c:v>
                </c:pt>
                <c:pt idx="1193">
                  <c:v>0.61224489795918402</c:v>
                </c:pt>
                <c:pt idx="1194">
                  <c:v>0.61233480176211397</c:v>
                </c:pt>
                <c:pt idx="1195">
                  <c:v>0.61269841269841296</c:v>
                </c:pt>
                <c:pt idx="1196">
                  <c:v>0.61271676300578004</c:v>
                </c:pt>
                <c:pt idx="1197">
                  <c:v>0.61290322580645196</c:v>
                </c:pt>
                <c:pt idx="1198">
                  <c:v>0.61290322580645196</c:v>
                </c:pt>
                <c:pt idx="1199">
                  <c:v>0.61337209302325602</c:v>
                </c:pt>
                <c:pt idx="1200">
                  <c:v>0.61388550548111998</c:v>
                </c:pt>
                <c:pt idx="1201">
                  <c:v>0.61403508771929804</c:v>
                </c:pt>
                <c:pt idx="1202">
                  <c:v>0.61403508771929804</c:v>
                </c:pt>
                <c:pt idx="1203">
                  <c:v>0.61417322834645705</c:v>
                </c:pt>
                <c:pt idx="1204">
                  <c:v>0.61445783132530096</c:v>
                </c:pt>
                <c:pt idx="1205">
                  <c:v>0.61538461538461497</c:v>
                </c:pt>
                <c:pt idx="1206">
                  <c:v>0.61538461538461497</c:v>
                </c:pt>
                <c:pt idx="1207">
                  <c:v>0.61538461538461497</c:v>
                </c:pt>
                <c:pt idx="1208">
                  <c:v>0.61538461538461497</c:v>
                </c:pt>
                <c:pt idx="1209">
                  <c:v>0.61554192229038796</c:v>
                </c:pt>
                <c:pt idx="1210">
                  <c:v>0.61599999999999999</c:v>
                </c:pt>
                <c:pt idx="1211">
                  <c:v>0.61599999999999999</c:v>
                </c:pt>
                <c:pt idx="1212">
                  <c:v>0.61619718309859095</c:v>
                </c:pt>
                <c:pt idx="1213">
                  <c:v>0.61643835616438303</c:v>
                </c:pt>
                <c:pt idx="1214">
                  <c:v>0.61658031088082899</c:v>
                </c:pt>
                <c:pt idx="1215">
                  <c:v>0.61682242990654201</c:v>
                </c:pt>
                <c:pt idx="1216">
                  <c:v>0.61702127659574502</c:v>
                </c:pt>
                <c:pt idx="1217">
                  <c:v>0.61755485893416895</c:v>
                </c:pt>
                <c:pt idx="1218">
                  <c:v>0.61764705882352899</c:v>
                </c:pt>
                <c:pt idx="1219">
                  <c:v>0.61818181818181805</c:v>
                </c:pt>
                <c:pt idx="1220">
                  <c:v>0.61818181818181805</c:v>
                </c:pt>
                <c:pt idx="1221">
                  <c:v>0.61818181818181805</c:v>
                </c:pt>
                <c:pt idx="1222">
                  <c:v>0.61832061068702304</c:v>
                </c:pt>
                <c:pt idx="1223">
                  <c:v>0.61871750433275596</c:v>
                </c:pt>
                <c:pt idx="1224">
                  <c:v>0.61904761904761896</c:v>
                </c:pt>
                <c:pt idx="1225">
                  <c:v>0.61928934010152303</c:v>
                </c:pt>
                <c:pt idx="1226">
                  <c:v>0.61983471074380203</c:v>
                </c:pt>
                <c:pt idx="1227">
                  <c:v>0.61993769470405002</c:v>
                </c:pt>
                <c:pt idx="1228">
                  <c:v>0.62</c:v>
                </c:pt>
                <c:pt idx="1229">
                  <c:v>0.62</c:v>
                </c:pt>
                <c:pt idx="1230">
                  <c:v>0.62</c:v>
                </c:pt>
                <c:pt idx="1231">
                  <c:v>0.62013729977116705</c:v>
                </c:pt>
                <c:pt idx="1232">
                  <c:v>0.62015503875969002</c:v>
                </c:pt>
                <c:pt idx="1233">
                  <c:v>0.62037037037037002</c:v>
                </c:pt>
                <c:pt idx="1234">
                  <c:v>0.62037037037037002</c:v>
                </c:pt>
                <c:pt idx="1235">
                  <c:v>0.62068965517241403</c:v>
                </c:pt>
                <c:pt idx="1236">
                  <c:v>0.62068965517241403</c:v>
                </c:pt>
                <c:pt idx="1237">
                  <c:v>0.62068965517241403</c:v>
                </c:pt>
                <c:pt idx="1238">
                  <c:v>0.62085308056872002</c:v>
                </c:pt>
                <c:pt idx="1239">
                  <c:v>0.62132352941176505</c:v>
                </c:pt>
                <c:pt idx="1240">
                  <c:v>0.62149532710280397</c:v>
                </c:pt>
                <c:pt idx="1241">
                  <c:v>0.62152777777777801</c:v>
                </c:pt>
                <c:pt idx="1242">
                  <c:v>0.62162162162162204</c:v>
                </c:pt>
                <c:pt idx="1243">
                  <c:v>0.62162162162162204</c:v>
                </c:pt>
                <c:pt idx="1244">
                  <c:v>0.62204724409448797</c:v>
                </c:pt>
                <c:pt idx="1245">
                  <c:v>0.62222222222222201</c:v>
                </c:pt>
                <c:pt idx="1246">
                  <c:v>0.62222222222222201</c:v>
                </c:pt>
                <c:pt idx="1247">
                  <c:v>0.62244897959183698</c:v>
                </c:pt>
                <c:pt idx="1248">
                  <c:v>0.62244897959183698</c:v>
                </c:pt>
                <c:pt idx="1249">
                  <c:v>0.62264150943396201</c:v>
                </c:pt>
                <c:pt idx="1250">
                  <c:v>0.62272727272727302</c:v>
                </c:pt>
                <c:pt idx="1251">
                  <c:v>0.62295081967213095</c:v>
                </c:pt>
                <c:pt idx="1252">
                  <c:v>0.62295081967213095</c:v>
                </c:pt>
                <c:pt idx="1253">
                  <c:v>0.62295081967213095</c:v>
                </c:pt>
                <c:pt idx="1254">
                  <c:v>0.62295081967213095</c:v>
                </c:pt>
                <c:pt idx="1255">
                  <c:v>0.62323943661971803</c:v>
                </c:pt>
                <c:pt idx="1256">
                  <c:v>0.62337662337662303</c:v>
                </c:pt>
                <c:pt idx="1257">
                  <c:v>0.62365591397849496</c:v>
                </c:pt>
                <c:pt idx="1258">
                  <c:v>0.62391304347826104</c:v>
                </c:pt>
                <c:pt idx="1259">
                  <c:v>0.62416107382550301</c:v>
                </c:pt>
                <c:pt idx="1260">
                  <c:v>0.625</c:v>
                </c:pt>
                <c:pt idx="1261">
                  <c:v>0.625</c:v>
                </c:pt>
                <c:pt idx="1262">
                  <c:v>0.625</c:v>
                </c:pt>
                <c:pt idx="1263">
                  <c:v>0.625</c:v>
                </c:pt>
                <c:pt idx="1264">
                  <c:v>0.625</c:v>
                </c:pt>
                <c:pt idx="1265">
                  <c:v>0.625</c:v>
                </c:pt>
                <c:pt idx="1266">
                  <c:v>0.625</c:v>
                </c:pt>
                <c:pt idx="1267">
                  <c:v>0.62527716186252802</c:v>
                </c:pt>
                <c:pt idx="1268">
                  <c:v>0.62566844919786102</c:v>
                </c:pt>
                <c:pt idx="1269">
                  <c:v>0.62573099415204703</c:v>
                </c:pt>
                <c:pt idx="1270">
                  <c:v>0.625925925925926</c:v>
                </c:pt>
                <c:pt idx="1271">
                  <c:v>0.62637362637362604</c:v>
                </c:pt>
                <c:pt idx="1272">
                  <c:v>0.62643678160919503</c:v>
                </c:pt>
                <c:pt idx="1273">
                  <c:v>0.62651727357609699</c:v>
                </c:pt>
                <c:pt idx="1274">
                  <c:v>0.62666666666666704</c:v>
                </c:pt>
                <c:pt idx="1275">
                  <c:v>0.62686567164179097</c:v>
                </c:pt>
                <c:pt idx="1276">
                  <c:v>0.62727272727272698</c:v>
                </c:pt>
                <c:pt idx="1277">
                  <c:v>0.62765957446808496</c:v>
                </c:pt>
                <c:pt idx="1278">
                  <c:v>0.62768031189083795</c:v>
                </c:pt>
                <c:pt idx="1279">
                  <c:v>0.62790697674418605</c:v>
                </c:pt>
                <c:pt idx="1280">
                  <c:v>0.62804878048780499</c:v>
                </c:pt>
                <c:pt idx="1281">
                  <c:v>0.62814070351758799</c:v>
                </c:pt>
                <c:pt idx="1282">
                  <c:v>0.628571428571428</c:v>
                </c:pt>
                <c:pt idx="1283">
                  <c:v>0.628571428571428</c:v>
                </c:pt>
                <c:pt idx="1284">
                  <c:v>0.628571428571428</c:v>
                </c:pt>
                <c:pt idx="1285">
                  <c:v>0.628571428571428</c:v>
                </c:pt>
                <c:pt idx="1286">
                  <c:v>0.628571428571428</c:v>
                </c:pt>
                <c:pt idx="1287">
                  <c:v>0.62886597938144295</c:v>
                </c:pt>
                <c:pt idx="1288">
                  <c:v>0.62918660287081296</c:v>
                </c:pt>
                <c:pt idx="1289">
                  <c:v>0.62944162436548201</c:v>
                </c:pt>
                <c:pt idx="1290">
                  <c:v>0.62962962962962998</c:v>
                </c:pt>
                <c:pt idx="1291">
                  <c:v>0.62962962962962998</c:v>
                </c:pt>
                <c:pt idx="1292">
                  <c:v>0.62962962962962998</c:v>
                </c:pt>
                <c:pt idx="1293">
                  <c:v>0.63021582733812898</c:v>
                </c:pt>
                <c:pt idx="1294">
                  <c:v>0.63043478260869601</c:v>
                </c:pt>
                <c:pt idx="1295">
                  <c:v>0.63076923076923097</c:v>
                </c:pt>
                <c:pt idx="1296">
                  <c:v>0.63076923076923097</c:v>
                </c:pt>
                <c:pt idx="1297">
                  <c:v>0.63076923076923097</c:v>
                </c:pt>
                <c:pt idx="1298">
                  <c:v>0.63095238095238104</c:v>
                </c:pt>
                <c:pt idx="1299">
                  <c:v>0.63106796116504904</c:v>
                </c:pt>
                <c:pt idx="1300">
                  <c:v>0.63110307414104905</c:v>
                </c:pt>
                <c:pt idx="1301">
                  <c:v>0.63114754098360604</c:v>
                </c:pt>
                <c:pt idx="1302">
                  <c:v>0.63128491620111704</c:v>
                </c:pt>
                <c:pt idx="1303">
                  <c:v>0.63157894736842102</c:v>
                </c:pt>
                <c:pt idx="1304">
                  <c:v>0.63157894736842102</c:v>
                </c:pt>
                <c:pt idx="1305">
                  <c:v>0.63157894736842102</c:v>
                </c:pt>
                <c:pt idx="1306">
                  <c:v>0.63157894736842102</c:v>
                </c:pt>
                <c:pt idx="1307">
                  <c:v>0.63157894736842102</c:v>
                </c:pt>
                <c:pt idx="1308">
                  <c:v>0.63184079601989995</c:v>
                </c:pt>
                <c:pt idx="1309">
                  <c:v>0.63218390804597702</c:v>
                </c:pt>
                <c:pt idx="1310">
                  <c:v>0.63218390804597702</c:v>
                </c:pt>
                <c:pt idx="1311">
                  <c:v>0.63260869565217404</c:v>
                </c:pt>
                <c:pt idx="1312">
                  <c:v>0.632911392405063</c:v>
                </c:pt>
                <c:pt idx="1313">
                  <c:v>0.632911392405063</c:v>
                </c:pt>
                <c:pt idx="1314">
                  <c:v>0.63311688311688297</c:v>
                </c:pt>
                <c:pt idx="1315">
                  <c:v>0.63333333333333297</c:v>
                </c:pt>
                <c:pt idx="1316">
                  <c:v>0.63333333333333297</c:v>
                </c:pt>
                <c:pt idx="1317">
                  <c:v>0.63333333333333297</c:v>
                </c:pt>
                <c:pt idx="1318">
                  <c:v>0.63333333333333297</c:v>
                </c:pt>
                <c:pt idx="1319">
                  <c:v>0.63333333333333297</c:v>
                </c:pt>
                <c:pt idx="1320">
                  <c:v>0.63348416289592702</c:v>
                </c:pt>
                <c:pt idx="1321">
                  <c:v>0.63349514563106801</c:v>
                </c:pt>
                <c:pt idx="1322">
                  <c:v>0.63380281690140805</c:v>
                </c:pt>
                <c:pt idx="1323">
                  <c:v>0.63380281690140805</c:v>
                </c:pt>
                <c:pt idx="1324">
                  <c:v>0.63392857142857095</c:v>
                </c:pt>
                <c:pt idx="1325">
                  <c:v>0.63434022257551703</c:v>
                </c:pt>
                <c:pt idx="1326">
                  <c:v>0.63475177304964503</c:v>
                </c:pt>
                <c:pt idx="1327">
                  <c:v>0.634920634920635</c:v>
                </c:pt>
                <c:pt idx="1328">
                  <c:v>0.634920634920635</c:v>
                </c:pt>
                <c:pt idx="1329">
                  <c:v>0.63529411764705901</c:v>
                </c:pt>
                <c:pt idx="1330">
                  <c:v>0.63529411764705901</c:v>
                </c:pt>
                <c:pt idx="1331">
                  <c:v>0.63541666666666696</c:v>
                </c:pt>
                <c:pt idx="1332">
                  <c:v>0.63541666666666696</c:v>
                </c:pt>
                <c:pt idx="1333">
                  <c:v>0.63571428571428601</c:v>
                </c:pt>
                <c:pt idx="1334">
                  <c:v>0.635849056603773</c:v>
                </c:pt>
                <c:pt idx="1335">
                  <c:v>0.63636363636363602</c:v>
                </c:pt>
                <c:pt idx="1336">
                  <c:v>0.63636363636363602</c:v>
                </c:pt>
                <c:pt idx="1337">
                  <c:v>0.63636363636363602</c:v>
                </c:pt>
                <c:pt idx="1338">
                  <c:v>0.63636363636363602</c:v>
                </c:pt>
                <c:pt idx="1339">
                  <c:v>0.63677130044843</c:v>
                </c:pt>
                <c:pt idx="1340">
                  <c:v>0.63725490196078405</c:v>
                </c:pt>
                <c:pt idx="1341">
                  <c:v>0.63729508196721296</c:v>
                </c:pt>
                <c:pt idx="1342">
                  <c:v>0.63736263736263699</c:v>
                </c:pt>
                <c:pt idx="1343">
                  <c:v>0.63736263736263699</c:v>
                </c:pt>
                <c:pt idx="1344">
                  <c:v>0.63736263736263699</c:v>
                </c:pt>
                <c:pt idx="1345">
                  <c:v>0.63749999999999996</c:v>
                </c:pt>
                <c:pt idx="1346">
                  <c:v>0.63758389261744997</c:v>
                </c:pt>
                <c:pt idx="1347">
                  <c:v>0.63763066202090601</c:v>
                </c:pt>
                <c:pt idx="1348">
                  <c:v>0.63768115942029002</c:v>
                </c:pt>
                <c:pt idx="1349">
                  <c:v>0.63768115942029002</c:v>
                </c:pt>
                <c:pt idx="1350">
                  <c:v>0.63768115942029002</c:v>
                </c:pt>
                <c:pt idx="1351">
                  <c:v>0.63779527559055105</c:v>
                </c:pt>
                <c:pt idx="1352">
                  <c:v>0.63779527559055105</c:v>
                </c:pt>
                <c:pt idx="1353">
                  <c:v>0.63793103448275901</c:v>
                </c:pt>
                <c:pt idx="1354">
                  <c:v>0.63793103448275901</c:v>
                </c:pt>
                <c:pt idx="1355">
                  <c:v>0.63817663817663794</c:v>
                </c:pt>
                <c:pt idx="1356">
                  <c:v>0.63829787234042501</c:v>
                </c:pt>
                <c:pt idx="1357">
                  <c:v>0.63829787234042501</c:v>
                </c:pt>
                <c:pt idx="1358">
                  <c:v>0.63869463869463905</c:v>
                </c:pt>
                <c:pt idx="1359">
                  <c:v>0.63869463869463905</c:v>
                </c:pt>
                <c:pt idx="1360">
                  <c:v>0.63888888888888895</c:v>
                </c:pt>
                <c:pt idx="1361">
                  <c:v>0.63919413919413903</c:v>
                </c:pt>
                <c:pt idx="1362">
                  <c:v>0.63928571428571401</c:v>
                </c:pt>
                <c:pt idx="1363">
                  <c:v>0.63941605839416105</c:v>
                </c:pt>
                <c:pt idx="1364">
                  <c:v>0.63953488372093004</c:v>
                </c:pt>
                <c:pt idx="1365">
                  <c:v>0.63963963963963999</c:v>
                </c:pt>
                <c:pt idx="1366">
                  <c:v>0.63963963963963999</c:v>
                </c:pt>
                <c:pt idx="1367">
                  <c:v>0.64</c:v>
                </c:pt>
                <c:pt idx="1368">
                  <c:v>0.64</c:v>
                </c:pt>
                <c:pt idx="1369">
                  <c:v>0.64</c:v>
                </c:pt>
                <c:pt idx="1370">
                  <c:v>0.64</c:v>
                </c:pt>
                <c:pt idx="1371">
                  <c:v>0.64024390243902396</c:v>
                </c:pt>
                <c:pt idx="1372">
                  <c:v>0.64028776978417301</c:v>
                </c:pt>
                <c:pt idx="1373">
                  <c:v>0.64028776978417301</c:v>
                </c:pt>
                <c:pt idx="1374">
                  <c:v>0.640306122448979</c:v>
                </c:pt>
                <c:pt idx="1375">
                  <c:v>0.64044943820224698</c:v>
                </c:pt>
                <c:pt idx="1376">
                  <c:v>0.64077669902912604</c:v>
                </c:pt>
                <c:pt idx="1377">
                  <c:v>0.64098837209302295</c:v>
                </c:pt>
                <c:pt idx="1378">
                  <c:v>0.64150943396226401</c:v>
                </c:pt>
                <c:pt idx="1379">
                  <c:v>0.64179104477611904</c:v>
                </c:pt>
                <c:pt idx="1380">
                  <c:v>0.64179104477611904</c:v>
                </c:pt>
                <c:pt idx="1381">
                  <c:v>0.64179104477611904</c:v>
                </c:pt>
                <c:pt idx="1382">
                  <c:v>0.64242424242424201</c:v>
                </c:pt>
                <c:pt idx="1383">
                  <c:v>0.64269662921348303</c:v>
                </c:pt>
                <c:pt idx="1384">
                  <c:v>0.64285714285714302</c:v>
                </c:pt>
                <c:pt idx="1385">
                  <c:v>0.64285714285714302</c:v>
                </c:pt>
                <c:pt idx="1386">
                  <c:v>0.64285714285714302</c:v>
                </c:pt>
                <c:pt idx="1387">
                  <c:v>0.64285714285714302</c:v>
                </c:pt>
                <c:pt idx="1388">
                  <c:v>0.64301552106430204</c:v>
                </c:pt>
                <c:pt idx="1389">
                  <c:v>0.64325323475046203</c:v>
                </c:pt>
                <c:pt idx="1390">
                  <c:v>0.64356435643564303</c:v>
                </c:pt>
                <c:pt idx="1391">
                  <c:v>0.64383561643835596</c:v>
                </c:pt>
                <c:pt idx="1392">
                  <c:v>0.64386792452830199</c:v>
                </c:pt>
                <c:pt idx="1393">
                  <c:v>0.64397905759162299</c:v>
                </c:pt>
                <c:pt idx="1394">
                  <c:v>0.64397905759162299</c:v>
                </c:pt>
                <c:pt idx="1395">
                  <c:v>0.644067796610169</c:v>
                </c:pt>
                <c:pt idx="1396">
                  <c:v>0.644067796610169</c:v>
                </c:pt>
                <c:pt idx="1397">
                  <c:v>0.64444444444444404</c:v>
                </c:pt>
                <c:pt idx="1398">
                  <c:v>0.64516129032258096</c:v>
                </c:pt>
                <c:pt idx="1399">
                  <c:v>0.64516129032258096</c:v>
                </c:pt>
                <c:pt idx="1400">
                  <c:v>0.64528301886792405</c:v>
                </c:pt>
                <c:pt idx="1401">
                  <c:v>0.64529058116232496</c:v>
                </c:pt>
                <c:pt idx="1402">
                  <c:v>0.64532019704433496</c:v>
                </c:pt>
                <c:pt idx="1403">
                  <c:v>0.64534883720930203</c:v>
                </c:pt>
                <c:pt idx="1404">
                  <c:v>0.645569620253164</c:v>
                </c:pt>
                <c:pt idx="1405">
                  <c:v>0.64619883040935699</c:v>
                </c:pt>
                <c:pt idx="1406">
                  <c:v>0.64620938628158797</c:v>
                </c:pt>
                <c:pt idx="1407">
                  <c:v>0.64634146341463405</c:v>
                </c:pt>
                <c:pt idx="1408">
                  <c:v>0.64649681528662395</c:v>
                </c:pt>
                <c:pt idx="1409">
                  <c:v>0.64666666666666694</c:v>
                </c:pt>
                <c:pt idx="1410">
                  <c:v>0.64705882352941202</c:v>
                </c:pt>
                <c:pt idx="1411">
                  <c:v>0.64705882352941202</c:v>
                </c:pt>
                <c:pt idx="1412">
                  <c:v>0.64705882352941202</c:v>
                </c:pt>
                <c:pt idx="1413">
                  <c:v>0.64736842105263104</c:v>
                </c:pt>
                <c:pt idx="1414">
                  <c:v>0.64738805970149205</c:v>
                </c:pt>
                <c:pt idx="1415">
                  <c:v>0.64748201438848896</c:v>
                </c:pt>
                <c:pt idx="1416">
                  <c:v>0.64750171115674204</c:v>
                </c:pt>
                <c:pt idx="1417">
                  <c:v>0.64784946236559104</c:v>
                </c:pt>
                <c:pt idx="1418">
                  <c:v>0.647887323943662</c:v>
                </c:pt>
                <c:pt idx="1419">
                  <c:v>0.647887323943662</c:v>
                </c:pt>
                <c:pt idx="1420">
                  <c:v>0.64800000000000002</c:v>
                </c:pt>
                <c:pt idx="1421">
                  <c:v>0.64814814814814803</c:v>
                </c:pt>
                <c:pt idx="1422">
                  <c:v>0.64827586206896504</c:v>
                </c:pt>
                <c:pt idx="1423">
                  <c:v>0.6484375</c:v>
                </c:pt>
                <c:pt idx="1424">
                  <c:v>0.64851485148514798</c:v>
                </c:pt>
                <c:pt idx="1425">
                  <c:v>0.64864864864864902</c:v>
                </c:pt>
                <c:pt idx="1426">
                  <c:v>0.64864864864864902</c:v>
                </c:pt>
                <c:pt idx="1427">
                  <c:v>0.64864864864864902</c:v>
                </c:pt>
                <c:pt idx="1428">
                  <c:v>0.64880952380952395</c:v>
                </c:pt>
                <c:pt idx="1429">
                  <c:v>0.64893617021276595</c:v>
                </c:pt>
                <c:pt idx="1430">
                  <c:v>0.64923076923076894</c:v>
                </c:pt>
                <c:pt idx="1431">
                  <c:v>0.64935064935064901</c:v>
                </c:pt>
                <c:pt idx="1432">
                  <c:v>0.64942528735632199</c:v>
                </c:pt>
                <c:pt idx="1433">
                  <c:v>0.64957264957264904</c:v>
                </c:pt>
                <c:pt idx="1434">
                  <c:v>0.64976958525345596</c:v>
                </c:pt>
                <c:pt idx="1435">
                  <c:v>0.65</c:v>
                </c:pt>
                <c:pt idx="1436">
                  <c:v>0.65</c:v>
                </c:pt>
                <c:pt idx="1437">
                  <c:v>0.65053763440860202</c:v>
                </c:pt>
                <c:pt idx="1438">
                  <c:v>0.65116279069767402</c:v>
                </c:pt>
                <c:pt idx="1439">
                  <c:v>0.65131578947368396</c:v>
                </c:pt>
                <c:pt idx="1440">
                  <c:v>0.65137614678899103</c:v>
                </c:pt>
                <c:pt idx="1441">
                  <c:v>0.65137614678899103</c:v>
                </c:pt>
                <c:pt idx="1442">
                  <c:v>0.65144766146993305</c:v>
                </c:pt>
                <c:pt idx="1443">
                  <c:v>0.65151515151515105</c:v>
                </c:pt>
                <c:pt idx="1444">
                  <c:v>0.651685393258427</c:v>
                </c:pt>
                <c:pt idx="1445">
                  <c:v>0.65185185185185202</c:v>
                </c:pt>
                <c:pt idx="1446">
                  <c:v>0.65205479452054804</c:v>
                </c:pt>
                <c:pt idx="1447">
                  <c:v>0.65263157894736801</c:v>
                </c:pt>
                <c:pt idx="1448">
                  <c:v>0.65277777777777801</c:v>
                </c:pt>
                <c:pt idx="1449">
                  <c:v>0.65277777777777801</c:v>
                </c:pt>
                <c:pt idx="1450">
                  <c:v>0.65289256198347101</c:v>
                </c:pt>
                <c:pt idx="1451">
                  <c:v>0.65327695560253696</c:v>
                </c:pt>
                <c:pt idx="1452">
                  <c:v>0.65365853658536599</c:v>
                </c:pt>
                <c:pt idx="1453">
                  <c:v>0.65432098765432101</c:v>
                </c:pt>
                <c:pt idx="1454">
                  <c:v>0.65454545454545399</c:v>
                </c:pt>
                <c:pt idx="1455">
                  <c:v>0.65483476132190899</c:v>
                </c:pt>
                <c:pt idx="1456">
                  <c:v>0.65490196078431395</c:v>
                </c:pt>
                <c:pt idx="1457">
                  <c:v>0.65502183406113501</c:v>
                </c:pt>
                <c:pt idx="1458">
                  <c:v>0.65517241379310298</c:v>
                </c:pt>
                <c:pt idx="1459">
                  <c:v>0.65517241379310298</c:v>
                </c:pt>
                <c:pt idx="1460">
                  <c:v>0.65562913907284803</c:v>
                </c:pt>
                <c:pt idx="1461">
                  <c:v>0.65570934256055402</c:v>
                </c:pt>
                <c:pt idx="1462">
                  <c:v>0.65573770491803296</c:v>
                </c:pt>
                <c:pt idx="1463">
                  <c:v>0.65581395348837201</c:v>
                </c:pt>
                <c:pt idx="1464">
                  <c:v>0.65615141955835998</c:v>
                </c:pt>
                <c:pt idx="1465">
                  <c:v>0.65625</c:v>
                </c:pt>
                <c:pt idx="1466">
                  <c:v>0.65625</c:v>
                </c:pt>
                <c:pt idx="1467">
                  <c:v>0.65625</c:v>
                </c:pt>
                <c:pt idx="1468">
                  <c:v>0.65631469979296098</c:v>
                </c:pt>
                <c:pt idx="1469">
                  <c:v>0.65644171779141103</c:v>
                </c:pt>
                <c:pt idx="1470">
                  <c:v>0.65658914728682205</c:v>
                </c:pt>
                <c:pt idx="1471">
                  <c:v>0.656626506024096</c:v>
                </c:pt>
                <c:pt idx="1472">
                  <c:v>0.65671641791044799</c:v>
                </c:pt>
                <c:pt idx="1473">
                  <c:v>0.65679012345679</c:v>
                </c:pt>
                <c:pt idx="1474">
                  <c:v>0.65693430656934304</c:v>
                </c:pt>
                <c:pt idx="1475">
                  <c:v>0.65693430656934304</c:v>
                </c:pt>
                <c:pt idx="1476">
                  <c:v>0.65714285714285703</c:v>
                </c:pt>
                <c:pt idx="1477">
                  <c:v>0.65714285714285703</c:v>
                </c:pt>
                <c:pt idx="1478">
                  <c:v>0.65714285714285703</c:v>
                </c:pt>
                <c:pt idx="1479">
                  <c:v>0.657258064516129</c:v>
                </c:pt>
                <c:pt idx="1480">
                  <c:v>0.65762711864406798</c:v>
                </c:pt>
                <c:pt idx="1481">
                  <c:v>0.65765765765765805</c:v>
                </c:pt>
                <c:pt idx="1482">
                  <c:v>0.65771812080536896</c:v>
                </c:pt>
                <c:pt idx="1483">
                  <c:v>0.65789473684210498</c:v>
                </c:pt>
                <c:pt idx="1484">
                  <c:v>0.65789473684210498</c:v>
                </c:pt>
                <c:pt idx="1485">
                  <c:v>0.65800865800865804</c:v>
                </c:pt>
                <c:pt idx="1486">
                  <c:v>0.658119658119658</c:v>
                </c:pt>
                <c:pt idx="1487">
                  <c:v>0.658119658119658</c:v>
                </c:pt>
                <c:pt idx="1488">
                  <c:v>0.65816326530612201</c:v>
                </c:pt>
                <c:pt idx="1489">
                  <c:v>0.658385093167702</c:v>
                </c:pt>
                <c:pt idx="1490">
                  <c:v>0.65853658536585402</c:v>
                </c:pt>
                <c:pt idx="1491">
                  <c:v>0.65862068965517195</c:v>
                </c:pt>
                <c:pt idx="1492">
                  <c:v>0.65909090909090895</c:v>
                </c:pt>
                <c:pt idx="1493">
                  <c:v>0.65909090909090895</c:v>
                </c:pt>
                <c:pt idx="1494">
                  <c:v>0.65909090909090895</c:v>
                </c:pt>
                <c:pt idx="1495">
                  <c:v>0.659340659340659</c:v>
                </c:pt>
                <c:pt idx="1496">
                  <c:v>0.65939597315436205</c:v>
                </c:pt>
                <c:pt idx="1497">
                  <c:v>0.659574468085106</c:v>
                </c:pt>
                <c:pt idx="1498">
                  <c:v>0.659574468085106</c:v>
                </c:pt>
                <c:pt idx="1499">
                  <c:v>0.659574468085106</c:v>
                </c:pt>
                <c:pt idx="1500">
                  <c:v>0.659574468085106</c:v>
                </c:pt>
                <c:pt idx="1501">
                  <c:v>0.66</c:v>
                </c:pt>
                <c:pt idx="1502">
                  <c:v>0.66025641025641002</c:v>
                </c:pt>
                <c:pt idx="1503">
                  <c:v>0.660377358490566</c:v>
                </c:pt>
                <c:pt idx="1504">
                  <c:v>0.66055045871559603</c:v>
                </c:pt>
                <c:pt idx="1505">
                  <c:v>0.66085271317829397</c:v>
                </c:pt>
                <c:pt idx="1506">
                  <c:v>0.66086956521739104</c:v>
                </c:pt>
                <c:pt idx="1507">
                  <c:v>0.66101694915254205</c:v>
                </c:pt>
                <c:pt idx="1508">
                  <c:v>0.66111111111111098</c:v>
                </c:pt>
                <c:pt idx="1509">
                  <c:v>0.66118421052631604</c:v>
                </c:pt>
                <c:pt idx="1510">
                  <c:v>0.66129032258064502</c:v>
                </c:pt>
                <c:pt idx="1511">
                  <c:v>0.66129032258064502</c:v>
                </c:pt>
                <c:pt idx="1512">
                  <c:v>0.66129032258064502</c:v>
                </c:pt>
                <c:pt idx="1513">
                  <c:v>0.661333333333333</c:v>
                </c:pt>
                <c:pt idx="1514">
                  <c:v>0.66153846153846096</c:v>
                </c:pt>
                <c:pt idx="1515">
                  <c:v>0.66153846153846096</c:v>
                </c:pt>
                <c:pt idx="1516">
                  <c:v>0.66163793103448298</c:v>
                </c:pt>
                <c:pt idx="1517">
                  <c:v>0.66165413533834605</c:v>
                </c:pt>
                <c:pt idx="1518">
                  <c:v>0.66167664670658699</c:v>
                </c:pt>
                <c:pt idx="1519">
                  <c:v>0.66216216216216195</c:v>
                </c:pt>
                <c:pt idx="1520">
                  <c:v>0.66225839267548303</c:v>
                </c:pt>
                <c:pt idx="1521">
                  <c:v>0.662337662337662</c:v>
                </c:pt>
                <c:pt idx="1522">
                  <c:v>0.66242937853107298</c:v>
                </c:pt>
                <c:pt idx="1523">
                  <c:v>0.66249999999999998</c:v>
                </c:pt>
                <c:pt idx="1524">
                  <c:v>0.66249999999999998</c:v>
                </c:pt>
                <c:pt idx="1525">
                  <c:v>0.66279069767441801</c:v>
                </c:pt>
                <c:pt idx="1526">
                  <c:v>0.66292134831460703</c:v>
                </c:pt>
                <c:pt idx="1527">
                  <c:v>0.66298342541436495</c:v>
                </c:pt>
                <c:pt idx="1528">
                  <c:v>0.66326530612244905</c:v>
                </c:pt>
                <c:pt idx="1529">
                  <c:v>0.66336633663366296</c:v>
                </c:pt>
                <c:pt idx="1530">
                  <c:v>0.66339869281045705</c:v>
                </c:pt>
                <c:pt idx="1531">
                  <c:v>0.66341463414634105</c:v>
                </c:pt>
                <c:pt idx="1532">
                  <c:v>0.66371681415929196</c:v>
                </c:pt>
                <c:pt idx="1533">
                  <c:v>0.66393442622950805</c:v>
                </c:pt>
                <c:pt idx="1534">
                  <c:v>0.66417910447761197</c:v>
                </c:pt>
                <c:pt idx="1535">
                  <c:v>0.66428571428571404</c:v>
                </c:pt>
                <c:pt idx="1536">
                  <c:v>0.665116279069767</c:v>
                </c:pt>
                <c:pt idx="1537">
                  <c:v>0.66519823788546195</c:v>
                </c:pt>
                <c:pt idx="1538">
                  <c:v>0.66530612244897902</c:v>
                </c:pt>
                <c:pt idx="1539">
                  <c:v>0.66551724137931001</c:v>
                </c:pt>
                <c:pt idx="1540">
                  <c:v>0.66554621848739504</c:v>
                </c:pt>
                <c:pt idx="1541">
                  <c:v>0.66556291390728495</c:v>
                </c:pt>
                <c:pt idx="1542">
                  <c:v>0.66566265060240903</c:v>
                </c:pt>
                <c:pt idx="1543">
                  <c:v>0.66578249336869999</c:v>
                </c:pt>
                <c:pt idx="1544">
                  <c:v>0.66666666666666696</c:v>
                </c:pt>
                <c:pt idx="1545">
                  <c:v>0.66666666666666696</c:v>
                </c:pt>
                <c:pt idx="1546">
                  <c:v>0.66666666666666696</c:v>
                </c:pt>
                <c:pt idx="1547">
                  <c:v>0.66666666666666696</c:v>
                </c:pt>
                <c:pt idx="1548">
                  <c:v>0.66666666666666696</c:v>
                </c:pt>
                <c:pt idx="1549">
                  <c:v>0.66666666666666696</c:v>
                </c:pt>
                <c:pt idx="1550">
                  <c:v>0.66666666666666696</c:v>
                </c:pt>
                <c:pt idx="1551">
                  <c:v>0.66666666666666696</c:v>
                </c:pt>
                <c:pt idx="1552">
                  <c:v>0.66666666666666696</c:v>
                </c:pt>
                <c:pt idx="1553">
                  <c:v>0.66666666666666696</c:v>
                </c:pt>
                <c:pt idx="1554">
                  <c:v>0.66666666666666696</c:v>
                </c:pt>
                <c:pt idx="1555">
                  <c:v>0.66666666666666696</c:v>
                </c:pt>
                <c:pt idx="1556">
                  <c:v>0.66666666666666696</c:v>
                </c:pt>
                <c:pt idx="1557">
                  <c:v>0.66666666666666696</c:v>
                </c:pt>
                <c:pt idx="1558">
                  <c:v>0.66666666666666696</c:v>
                </c:pt>
                <c:pt idx="1559">
                  <c:v>0.66748768472906395</c:v>
                </c:pt>
                <c:pt idx="1560">
                  <c:v>0.66753926701570698</c:v>
                </c:pt>
                <c:pt idx="1561">
                  <c:v>0.66766467065868296</c:v>
                </c:pt>
                <c:pt idx="1562">
                  <c:v>0.667682926829268</c:v>
                </c:pt>
                <c:pt idx="1563">
                  <c:v>0.66775244299674297</c:v>
                </c:pt>
                <c:pt idx="1564">
                  <c:v>0.66791044776119401</c:v>
                </c:pt>
                <c:pt idx="1565">
                  <c:v>0.66804979253111996</c:v>
                </c:pt>
                <c:pt idx="1566">
                  <c:v>0.66810344827586199</c:v>
                </c:pt>
                <c:pt idx="1567">
                  <c:v>0.66829268292682897</c:v>
                </c:pt>
                <c:pt idx="1568">
                  <c:v>0.66845878136200698</c:v>
                </c:pt>
                <c:pt idx="1569">
                  <c:v>0.66867469879518104</c:v>
                </c:pt>
                <c:pt idx="1570">
                  <c:v>0.66871165644171804</c:v>
                </c:pt>
                <c:pt idx="1571">
                  <c:v>0.66874999999999996</c:v>
                </c:pt>
                <c:pt idx="1572">
                  <c:v>0.66887417218542999</c:v>
                </c:pt>
                <c:pt idx="1573">
                  <c:v>0.66899766899766899</c:v>
                </c:pt>
                <c:pt idx="1574">
                  <c:v>0.66913123844732003</c:v>
                </c:pt>
                <c:pt idx="1575">
                  <c:v>0.669421487603306</c:v>
                </c:pt>
                <c:pt idx="1576">
                  <c:v>0.66956521739130404</c:v>
                </c:pt>
                <c:pt idx="1577">
                  <c:v>0.66956521739130404</c:v>
                </c:pt>
                <c:pt idx="1578">
                  <c:v>0.66956521739130404</c:v>
                </c:pt>
                <c:pt idx="1579">
                  <c:v>0.66981132075471705</c:v>
                </c:pt>
                <c:pt idx="1580">
                  <c:v>0.66985645933014304</c:v>
                </c:pt>
                <c:pt idx="1581">
                  <c:v>0.66990291262135904</c:v>
                </c:pt>
                <c:pt idx="1582">
                  <c:v>0.67</c:v>
                </c:pt>
                <c:pt idx="1583">
                  <c:v>0.67032967032966995</c:v>
                </c:pt>
                <c:pt idx="1584">
                  <c:v>0.67032967032966995</c:v>
                </c:pt>
                <c:pt idx="1585">
                  <c:v>0.67039106145251404</c:v>
                </c:pt>
                <c:pt idx="1586">
                  <c:v>0.67045454545454497</c:v>
                </c:pt>
                <c:pt idx="1587">
                  <c:v>0.67070217917675501</c:v>
                </c:pt>
                <c:pt idx="1588">
                  <c:v>0.67073170731707299</c:v>
                </c:pt>
                <c:pt idx="1589">
                  <c:v>0.67087011349306402</c:v>
                </c:pt>
                <c:pt idx="1590">
                  <c:v>0.670886075949367</c:v>
                </c:pt>
                <c:pt idx="1591">
                  <c:v>0.67115384615384599</c:v>
                </c:pt>
                <c:pt idx="1592">
                  <c:v>0.67126574685063001</c:v>
                </c:pt>
                <c:pt idx="1593">
                  <c:v>0.67139479905437305</c:v>
                </c:pt>
                <c:pt idx="1594">
                  <c:v>0.67142857142857104</c:v>
                </c:pt>
                <c:pt idx="1595">
                  <c:v>0.67142857142857104</c:v>
                </c:pt>
                <c:pt idx="1596">
                  <c:v>0.671554252199413</c:v>
                </c:pt>
                <c:pt idx="1597">
                  <c:v>0.67164179104477595</c:v>
                </c:pt>
                <c:pt idx="1598">
                  <c:v>0.67167381974248896</c:v>
                </c:pt>
                <c:pt idx="1599">
                  <c:v>0.671875</c:v>
                </c:pt>
                <c:pt idx="1600">
                  <c:v>0.67195767195767198</c:v>
                </c:pt>
                <c:pt idx="1601">
                  <c:v>0.67200000000000004</c:v>
                </c:pt>
                <c:pt idx="1602">
                  <c:v>0.67213114754098302</c:v>
                </c:pt>
                <c:pt idx="1603">
                  <c:v>0.67213114754098302</c:v>
                </c:pt>
                <c:pt idx="1604">
                  <c:v>0.67241379310344795</c:v>
                </c:pt>
                <c:pt idx="1605">
                  <c:v>0.67241379310344795</c:v>
                </c:pt>
                <c:pt idx="1606">
                  <c:v>0.67241379310344795</c:v>
                </c:pt>
                <c:pt idx="1607">
                  <c:v>0.67241379310344795</c:v>
                </c:pt>
                <c:pt idx="1608">
                  <c:v>0.67247386759581895</c:v>
                </c:pt>
                <c:pt idx="1609">
                  <c:v>0.672619047619048</c:v>
                </c:pt>
                <c:pt idx="1610">
                  <c:v>0.67272727272727295</c:v>
                </c:pt>
                <c:pt idx="1611">
                  <c:v>0.67293233082706805</c:v>
                </c:pt>
                <c:pt idx="1612">
                  <c:v>0.67346938775510201</c:v>
                </c:pt>
                <c:pt idx="1613">
                  <c:v>0.67391304347826098</c:v>
                </c:pt>
                <c:pt idx="1614">
                  <c:v>0.67441860465116299</c:v>
                </c:pt>
                <c:pt idx="1615">
                  <c:v>0.67441860465116299</c:v>
                </c:pt>
                <c:pt idx="1616">
                  <c:v>0.67500000000000004</c:v>
                </c:pt>
                <c:pt idx="1617">
                  <c:v>0.67500000000000004</c:v>
                </c:pt>
                <c:pt idx="1618">
                  <c:v>0.67521367521367504</c:v>
                </c:pt>
                <c:pt idx="1619">
                  <c:v>0.67532467532467499</c:v>
                </c:pt>
                <c:pt idx="1620">
                  <c:v>0.67532467532467499</c:v>
                </c:pt>
                <c:pt idx="1621">
                  <c:v>0.67567567567567599</c:v>
                </c:pt>
                <c:pt idx="1622">
                  <c:v>0.67567567567567599</c:v>
                </c:pt>
                <c:pt idx="1623">
                  <c:v>0.67592592592592604</c:v>
                </c:pt>
                <c:pt idx="1624">
                  <c:v>0.67595818815330999</c:v>
                </c:pt>
                <c:pt idx="1625">
                  <c:v>0.67603305785124002</c:v>
                </c:pt>
                <c:pt idx="1626">
                  <c:v>0.676056338028169</c:v>
                </c:pt>
                <c:pt idx="1627">
                  <c:v>0.676056338028169</c:v>
                </c:pt>
                <c:pt idx="1628">
                  <c:v>0.67613636363636398</c:v>
                </c:pt>
                <c:pt idx="1629">
                  <c:v>0.67647058823529405</c:v>
                </c:pt>
                <c:pt idx="1630">
                  <c:v>0.67647058823529405</c:v>
                </c:pt>
                <c:pt idx="1631">
                  <c:v>0.67647058823529405</c:v>
                </c:pt>
                <c:pt idx="1632">
                  <c:v>0.67657142857142905</c:v>
                </c:pt>
                <c:pt idx="1633">
                  <c:v>0.67676767676767702</c:v>
                </c:pt>
                <c:pt idx="1634">
                  <c:v>0.67680608365019002</c:v>
                </c:pt>
                <c:pt idx="1635">
                  <c:v>0.67692307692307696</c:v>
                </c:pt>
                <c:pt idx="1636">
                  <c:v>0.67692307692307696</c:v>
                </c:pt>
                <c:pt idx="1637">
                  <c:v>0.67692307692307696</c:v>
                </c:pt>
                <c:pt idx="1638">
                  <c:v>0.67708333333333304</c:v>
                </c:pt>
                <c:pt idx="1639">
                  <c:v>0.677152317880795</c:v>
                </c:pt>
                <c:pt idx="1640">
                  <c:v>0.67723342939481301</c:v>
                </c:pt>
                <c:pt idx="1641">
                  <c:v>0.67741935483870996</c:v>
                </c:pt>
                <c:pt idx="1642">
                  <c:v>0.67741935483870996</c:v>
                </c:pt>
                <c:pt idx="1643">
                  <c:v>0.67741935483870996</c:v>
                </c:pt>
                <c:pt idx="1644">
                  <c:v>0.67741935483870996</c:v>
                </c:pt>
                <c:pt idx="1645">
                  <c:v>0.67777777777777803</c:v>
                </c:pt>
                <c:pt idx="1646">
                  <c:v>0.677966101694915</c:v>
                </c:pt>
                <c:pt idx="1647">
                  <c:v>0.67809523809523797</c:v>
                </c:pt>
                <c:pt idx="1648">
                  <c:v>0.67816091954022995</c:v>
                </c:pt>
                <c:pt idx="1649">
                  <c:v>0.678200692041522</c:v>
                </c:pt>
                <c:pt idx="1650">
                  <c:v>0.67857142857142905</c:v>
                </c:pt>
                <c:pt idx="1651">
                  <c:v>0.67875647668393801</c:v>
                </c:pt>
                <c:pt idx="1652">
                  <c:v>0.67892156862745101</c:v>
                </c:pt>
                <c:pt idx="1653">
                  <c:v>0.67901234567901203</c:v>
                </c:pt>
                <c:pt idx="1654">
                  <c:v>0.67901234567901203</c:v>
                </c:pt>
                <c:pt idx="1655">
                  <c:v>0.679245283018868</c:v>
                </c:pt>
                <c:pt idx="1656">
                  <c:v>0.679245283018868</c:v>
                </c:pt>
                <c:pt idx="1657">
                  <c:v>0.67961165048543704</c:v>
                </c:pt>
                <c:pt idx="1658">
                  <c:v>0.6796875</c:v>
                </c:pt>
                <c:pt idx="1659">
                  <c:v>0.67970660146699302</c:v>
                </c:pt>
                <c:pt idx="1660">
                  <c:v>0.67980295566502402</c:v>
                </c:pt>
                <c:pt idx="1661">
                  <c:v>0.67985611510791399</c:v>
                </c:pt>
                <c:pt idx="1662">
                  <c:v>0.68</c:v>
                </c:pt>
                <c:pt idx="1663">
                  <c:v>0.68</c:v>
                </c:pt>
                <c:pt idx="1664">
                  <c:v>0.68</c:v>
                </c:pt>
                <c:pt idx="1665">
                  <c:v>0.68</c:v>
                </c:pt>
                <c:pt idx="1666">
                  <c:v>0.68016194331983804</c:v>
                </c:pt>
                <c:pt idx="1667">
                  <c:v>0.68072289156626498</c:v>
                </c:pt>
                <c:pt idx="1668">
                  <c:v>0.680851063829787</c:v>
                </c:pt>
                <c:pt idx="1669">
                  <c:v>0.680851063829787</c:v>
                </c:pt>
                <c:pt idx="1670">
                  <c:v>0.680851063829787</c:v>
                </c:pt>
                <c:pt idx="1671">
                  <c:v>0.68095238095238098</c:v>
                </c:pt>
                <c:pt idx="1672">
                  <c:v>0.681034482758621</c:v>
                </c:pt>
                <c:pt idx="1673">
                  <c:v>0.68115942028985499</c:v>
                </c:pt>
                <c:pt idx="1674">
                  <c:v>0.68119266055045902</c:v>
                </c:pt>
                <c:pt idx="1675">
                  <c:v>0.68127490039840599</c:v>
                </c:pt>
                <c:pt idx="1676">
                  <c:v>0.68131868131868101</c:v>
                </c:pt>
                <c:pt idx="1677">
                  <c:v>0.68181818181818199</c:v>
                </c:pt>
                <c:pt idx="1678">
                  <c:v>0.68181818181818199</c:v>
                </c:pt>
                <c:pt idx="1679">
                  <c:v>0.68181818181818199</c:v>
                </c:pt>
                <c:pt idx="1680">
                  <c:v>0.68181818181818199</c:v>
                </c:pt>
                <c:pt idx="1681">
                  <c:v>0.68211920529801295</c:v>
                </c:pt>
                <c:pt idx="1682">
                  <c:v>0.68224299065420502</c:v>
                </c:pt>
                <c:pt idx="1683">
                  <c:v>0.68235294117647105</c:v>
                </c:pt>
                <c:pt idx="1684">
                  <c:v>0.682539682539682</c:v>
                </c:pt>
                <c:pt idx="1685">
                  <c:v>0.68279569892473102</c:v>
                </c:pt>
                <c:pt idx="1686">
                  <c:v>0.68306010928961702</c:v>
                </c:pt>
                <c:pt idx="1687">
                  <c:v>0.68333333333333302</c:v>
                </c:pt>
                <c:pt idx="1688">
                  <c:v>0.68333333333333302</c:v>
                </c:pt>
                <c:pt idx="1689">
                  <c:v>0.68333333333333302</c:v>
                </c:pt>
                <c:pt idx="1690">
                  <c:v>0.68335419274092601</c:v>
                </c:pt>
                <c:pt idx="1691">
                  <c:v>0.68339768339768303</c:v>
                </c:pt>
                <c:pt idx="1692">
                  <c:v>0.68348623853210999</c:v>
                </c:pt>
                <c:pt idx="1693">
                  <c:v>0.683544303797468</c:v>
                </c:pt>
                <c:pt idx="1694">
                  <c:v>0.68361581920903902</c:v>
                </c:pt>
                <c:pt idx="1695">
                  <c:v>0.68419493408383902</c:v>
                </c:pt>
                <c:pt idx="1696">
                  <c:v>0.68421052631578905</c:v>
                </c:pt>
                <c:pt idx="1697">
                  <c:v>0.68421052631578905</c:v>
                </c:pt>
                <c:pt idx="1698">
                  <c:v>0.68456375838926198</c:v>
                </c:pt>
                <c:pt idx="1699">
                  <c:v>0.684782608695652</c:v>
                </c:pt>
                <c:pt idx="1700">
                  <c:v>0.68504531722054396</c:v>
                </c:pt>
                <c:pt idx="1701">
                  <c:v>0.68518518518518501</c:v>
                </c:pt>
                <c:pt idx="1702">
                  <c:v>0.68539325842696597</c:v>
                </c:pt>
                <c:pt idx="1703">
                  <c:v>0.68548387096774199</c:v>
                </c:pt>
                <c:pt idx="1704">
                  <c:v>0.68553459119496796</c:v>
                </c:pt>
                <c:pt idx="1705">
                  <c:v>0.68560606060606</c:v>
                </c:pt>
                <c:pt idx="1706">
                  <c:v>0.68582375478927204</c:v>
                </c:pt>
                <c:pt idx="1707">
                  <c:v>0.68604651162790697</c:v>
                </c:pt>
                <c:pt idx="1708">
                  <c:v>0.68617021276595702</c:v>
                </c:pt>
                <c:pt idx="1709">
                  <c:v>0.68617021276595702</c:v>
                </c:pt>
                <c:pt idx="1710">
                  <c:v>0.68648648648648602</c:v>
                </c:pt>
                <c:pt idx="1711">
                  <c:v>0.68661971830985902</c:v>
                </c:pt>
                <c:pt idx="1712">
                  <c:v>0.68669527896995697</c:v>
                </c:pt>
                <c:pt idx="1713">
                  <c:v>0.686746987951807</c:v>
                </c:pt>
                <c:pt idx="1714">
                  <c:v>0.68696711327649196</c:v>
                </c:pt>
                <c:pt idx="1715">
                  <c:v>0.68711656441717806</c:v>
                </c:pt>
                <c:pt idx="1716">
                  <c:v>0.68722466960352402</c:v>
                </c:pt>
                <c:pt idx="1717">
                  <c:v>0.687258687258687</c:v>
                </c:pt>
                <c:pt idx="1718">
                  <c:v>0.6875</c:v>
                </c:pt>
                <c:pt idx="1719">
                  <c:v>0.6875</c:v>
                </c:pt>
                <c:pt idx="1720">
                  <c:v>0.6875</c:v>
                </c:pt>
                <c:pt idx="1721">
                  <c:v>0.6875</c:v>
                </c:pt>
                <c:pt idx="1722">
                  <c:v>0.6875</c:v>
                </c:pt>
                <c:pt idx="1723">
                  <c:v>0.6875</c:v>
                </c:pt>
                <c:pt idx="1724">
                  <c:v>0.6875</c:v>
                </c:pt>
                <c:pt idx="1725">
                  <c:v>0.68771929824561395</c:v>
                </c:pt>
                <c:pt idx="1726">
                  <c:v>0.68777292576419202</c:v>
                </c:pt>
                <c:pt idx="1727">
                  <c:v>0.68796068796068799</c:v>
                </c:pt>
                <c:pt idx="1728">
                  <c:v>0.68831168831168799</c:v>
                </c:pt>
                <c:pt idx="1729">
                  <c:v>0.68844221105527603</c:v>
                </c:pt>
                <c:pt idx="1730">
                  <c:v>0.68844221105527603</c:v>
                </c:pt>
                <c:pt idx="1731">
                  <c:v>0.68867924528301905</c:v>
                </c:pt>
                <c:pt idx="1732">
                  <c:v>0.68902439024390205</c:v>
                </c:pt>
                <c:pt idx="1733">
                  <c:v>0.68909090909090898</c:v>
                </c:pt>
                <c:pt idx="1734">
                  <c:v>0.68932038834951403</c:v>
                </c:pt>
                <c:pt idx="1735">
                  <c:v>0.68956743002544496</c:v>
                </c:pt>
                <c:pt idx="1736">
                  <c:v>0.68997668997669004</c:v>
                </c:pt>
                <c:pt idx="1737">
                  <c:v>0.69</c:v>
                </c:pt>
                <c:pt idx="1738">
                  <c:v>0.69</c:v>
                </c:pt>
                <c:pt idx="1739">
                  <c:v>0.69047619047619002</c:v>
                </c:pt>
                <c:pt idx="1740">
                  <c:v>0.69047619047619002</c:v>
                </c:pt>
                <c:pt idx="1741">
                  <c:v>0.69108910891089104</c:v>
                </c:pt>
                <c:pt idx="1742">
                  <c:v>0.69124423963133597</c:v>
                </c:pt>
                <c:pt idx="1743">
                  <c:v>0.69135802469135799</c:v>
                </c:pt>
                <c:pt idx="1744">
                  <c:v>0.69140625</c:v>
                </c:pt>
                <c:pt idx="1745">
                  <c:v>0.69147005444646104</c:v>
                </c:pt>
                <c:pt idx="1746">
                  <c:v>0.69178082191780799</c:v>
                </c:pt>
                <c:pt idx="1747">
                  <c:v>0.69182389937106903</c:v>
                </c:pt>
                <c:pt idx="1748">
                  <c:v>0.69206349206349205</c:v>
                </c:pt>
                <c:pt idx="1749">
                  <c:v>0.69230769230769196</c:v>
                </c:pt>
                <c:pt idx="1750">
                  <c:v>0.69230769230769196</c:v>
                </c:pt>
                <c:pt idx="1751">
                  <c:v>0.69230769230769196</c:v>
                </c:pt>
                <c:pt idx="1752">
                  <c:v>0.69230769230769196</c:v>
                </c:pt>
                <c:pt idx="1753">
                  <c:v>0.69230769230769196</c:v>
                </c:pt>
                <c:pt idx="1754">
                  <c:v>0.69230769230769196</c:v>
                </c:pt>
                <c:pt idx="1755">
                  <c:v>0.69230769230769196</c:v>
                </c:pt>
                <c:pt idx="1756">
                  <c:v>0.69251336898395699</c:v>
                </c:pt>
                <c:pt idx="1757">
                  <c:v>0.69273743016759803</c:v>
                </c:pt>
                <c:pt idx="1758">
                  <c:v>0.69309462915600994</c:v>
                </c:pt>
                <c:pt idx="1759">
                  <c:v>0.69337979094076596</c:v>
                </c:pt>
                <c:pt idx="1760">
                  <c:v>0.69363166953528399</c:v>
                </c:pt>
                <c:pt idx="1761">
                  <c:v>0.69364161849711004</c:v>
                </c:pt>
                <c:pt idx="1762">
                  <c:v>0.69407894736842102</c:v>
                </c:pt>
                <c:pt idx="1763">
                  <c:v>0.69408740359897203</c:v>
                </c:pt>
                <c:pt idx="1764">
                  <c:v>0.69411764705882295</c:v>
                </c:pt>
                <c:pt idx="1765">
                  <c:v>0.69411764705882295</c:v>
                </c:pt>
                <c:pt idx="1766">
                  <c:v>0.69444444444444398</c:v>
                </c:pt>
                <c:pt idx="1767">
                  <c:v>0.69444444444444398</c:v>
                </c:pt>
                <c:pt idx="1768">
                  <c:v>0.69491525423728795</c:v>
                </c:pt>
                <c:pt idx="1769">
                  <c:v>0.69503546099290803</c:v>
                </c:pt>
                <c:pt idx="1770">
                  <c:v>0.69512195121951204</c:v>
                </c:pt>
                <c:pt idx="1771">
                  <c:v>0.69525065963060695</c:v>
                </c:pt>
                <c:pt idx="1772">
                  <c:v>0.69536423841059603</c:v>
                </c:pt>
                <c:pt idx="1773">
                  <c:v>0.69543147208121803</c:v>
                </c:pt>
                <c:pt idx="1774">
                  <c:v>0.69545454545454499</c:v>
                </c:pt>
                <c:pt idx="1775">
                  <c:v>0.695501730103806</c:v>
                </c:pt>
                <c:pt idx="1776">
                  <c:v>0.69565217391304301</c:v>
                </c:pt>
                <c:pt idx="1777">
                  <c:v>0.69565217391304301</c:v>
                </c:pt>
                <c:pt idx="1778">
                  <c:v>0.69565217391304301</c:v>
                </c:pt>
                <c:pt idx="1779">
                  <c:v>0.69565217391304301</c:v>
                </c:pt>
                <c:pt idx="1780">
                  <c:v>0.69565217391304301</c:v>
                </c:pt>
                <c:pt idx="1781">
                  <c:v>0.69565217391304301</c:v>
                </c:pt>
                <c:pt idx="1782">
                  <c:v>0.69565217391304301</c:v>
                </c:pt>
                <c:pt idx="1783">
                  <c:v>0.69565217391304301</c:v>
                </c:pt>
                <c:pt idx="1784">
                  <c:v>0.69565217391304301</c:v>
                </c:pt>
                <c:pt idx="1785">
                  <c:v>0.69565217391304301</c:v>
                </c:pt>
                <c:pt idx="1786">
                  <c:v>0.69585849870578098</c:v>
                </c:pt>
                <c:pt idx="1787">
                  <c:v>0.69603524229074898</c:v>
                </c:pt>
                <c:pt idx="1788">
                  <c:v>0.69607843137254899</c:v>
                </c:pt>
                <c:pt idx="1789">
                  <c:v>0.69620253164557</c:v>
                </c:pt>
                <c:pt idx="1790">
                  <c:v>0.69642857142857095</c:v>
                </c:pt>
                <c:pt idx="1791">
                  <c:v>0.69642857142857095</c:v>
                </c:pt>
                <c:pt idx="1792">
                  <c:v>0.69655172413793098</c:v>
                </c:pt>
                <c:pt idx="1793">
                  <c:v>0.69696969696969702</c:v>
                </c:pt>
                <c:pt idx="1794">
                  <c:v>0.69696969696969702</c:v>
                </c:pt>
                <c:pt idx="1795">
                  <c:v>0.69711538461538403</c:v>
                </c:pt>
                <c:pt idx="1796">
                  <c:v>0.69718309859154903</c:v>
                </c:pt>
                <c:pt idx="1797">
                  <c:v>0.69736842105263097</c:v>
                </c:pt>
                <c:pt idx="1798">
                  <c:v>0.69743589743589696</c:v>
                </c:pt>
                <c:pt idx="1799">
                  <c:v>0.69759450171821302</c:v>
                </c:pt>
                <c:pt idx="1800">
                  <c:v>0.69767441860465096</c:v>
                </c:pt>
                <c:pt idx="1801">
                  <c:v>0.69767441860465096</c:v>
                </c:pt>
                <c:pt idx="1802">
                  <c:v>0.69795918367346899</c:v>
                </c:pt>
                <c:pt idx="1803">
                  <c:v>0.69841269841269804</c:v>
                </c:pt>
                <c:pt idx="1804">
                  <c:v>0.69841269841269804</c:v>
                </c:pt>
                <c:pt idx="1805">
                  <c:v>0.69849246231155804</c:v>
                </c:pt>
                <c:pt idx="1806">
                  <c:v>0.69892473118279597</c:v>
                </c:pt>
                <c:pt idx="1807">
                  <c:v>0.69911504424778703</c:v>
                </c:pt>
                <c:pt idx="1808">
                  <c:v>0.69918699186991895</c:v>
                </c:pt>
                <c:pt idx="1809">
                  <c:v>0.699367088607595</c:v>
                </c:pt>
                <c:pt idx="1810">
                  <c:v>0.699367088607595</c:v>
                </c:pt>
                <c:pt idx="1811">
                  <c:v>0.69948186528497402</c:v>
                </c:pt>
                <c:pt idx="1812">
                  <c:v>0.69964664310953995</c:v>
                </c:pt>
                <c:pt idx="1813">
                  <c:v>0.7</c:v>
                </c:pt>
                <c:pt idx="1814">
                  <c:v>0.7</c:v>
                </c:pt>
                <c:pt idx="1815">
                  <c:v>0.7</c:v>
                </c:pt>
                <c:pt idx="1816">
                  <c:v>0.7</c:v>
                </c:pt>
                <c:pt idx="1817">
                  <c:v>0.7</c:v>
                </c:pt>
                <c:pt idx="1818">
                  <c:v>0.70034246575342496</c:v>
                </c:pt>
                <c:pt idx="1819">
                  <c:v>0.70034246575342496</c:v>
                </c:pt>
                <c:pt idx="1820">
                  <c:v>0.70036540803897696</c:v>
                </c:pt>
                <c:pt idx="1821">
                  <c:v>0.70038910505836605</c:v>
                </c:pt>
                <c:pt idx="1822">
                  <c:v>0.70044052863436101</c:v>
                </c:pt>
                <c:pt idx="1823">
                  <c:v>0.70068027210884298</c:v>
                </c:pt>
                <c:pt idx="1824">
                  <c:v>0.70076481835563997</c:v>
                </c:pt>
                <c:pt idx="1825">
                  <c:v>0.70078740157480301</c:v>
                </c:pt>
                <c:pt idx="1826">
                  <c:v>0.70085470085470103</c:v>
                </c:pt>
                <c:pt idx="1827">
                  <c:v>0.70090634441087596</c:v>
                </c:pt>
                <c:pt idx="1828">
                  <c:v>0.70093457943925197</c:v>
                </c:pt>
                <c:pt idx="1829">
                  <c:v>0.70104633781763803</c:v>
                </c:pt>
                <c:pt idx="1830">
                  <c:v>0.70114942528735602</c:v>
                </c:pt>
                <c:pt idx="1831">
                  <c:v>0.70119521912350602</c:v>
                </c:pt>
                <c:pt idx="1832">
                  <c:v>0.70129870129870098</c:v>
                </c:pt>
                <c:pt idx="1833">
                  <c:v>0.70129870129870098</c:v>
                </c:pt>
                <c:pt idx="1834">
                  <c:v>0.70139968895800897</c:v>
                </c:pt>
                <c:pt idx="1835">
                  <c:v>0.70149253731343297</c:v>
                </c:pt>
                <c:pt idx="1836">
                  <c:v>0.70156249999999998</c:v>
                </c:pt>
                <c:pt idx="1837">
                  <c:v>0.70192307692307698</c:v>
                </c:pt>
                <c:pt idx="1838">
                  <c:v>0.70212765957446799</c:v>
                </c:pt>
                <c:pt idx="1839">
                  <c:v>0.70212765957446799</c:v>
                </c:pt>
                <c:pt idx="1840">
                  <c:v>0.702380952380952</c:v>
                </c:pt>
                <c:pt idx="1841">
                  <c:v>0.702380952380952</c:v>
                </c:pt>
                <c:pt idx="1842">
                  <c:v>0.70247933884297498</c:v>
                </c:pt>
                <c:pt idx="1843">
                  <c:v>0.70270270270270296</c:v>
                </c:pt>
                <c:pt idx="1844">
                  <c:v>0.70270270270270296</c:v>
                </c:pt>
                <c:pt idx="1845">
                  <c:v>0.70270270270270296</c:v>
                </c:pt>
                <c:pt idx="1846">
                  <c:v>0.70303030303030301</c:v>
                </c:pt>
                <c:pt idx="1847">
                  <c:v>0.70303030303030301</c:v>
                </c:pt>
                <c:pt idx="1848">
                  <c:v>0.703125</c:v>
                </c:pt>
                <c:pt idx="1849">
                  <c:v>0.70316301703162998</c:v>
                </c:pt>
                <c:pt idx="1850">
                  <c:v>0.70323741007194196</c:v>
                </c:pt>
                <c:pt idx="1851">
                  <c:v>0.70338983050847503</c:v>
                </c:pt>
                <c:pt idx="1852">
                  <c:v>0.70370370370370405</c:v>
                </c:pt>
                <c:pt idx="1853">
                  <c:v>0.70370370370370405</c:v>
                </c:pt>
                <c:pt idx="1854">
                  <c:v>0.70380434782608703</c:v>
                </c:pt>
                <c:pt idx="1855">
                  <c:v>0.70399999999999996</c:v>
                </c:pt>
                <c:pt idx="1856">
                  <c:v>0.70403587443946203</c:v>
                </c:pt>
                <c:pt idx="1857">
                  <c:v>0.70408163265306101</c:v>
                </c:pt>
                <c:pt idx="1858">
                  <c:v>0.70416666666666705</c:v>
                </c:pt>
                <c:pt idx="1859">
                  <c:v>0.70416666666666705</c:v>
                </c:pt>
                <c:pt idx="1860">
                  <c:v>0.70434782608695601</c:v>
                </c:pt>
                <c:pt idx="1861">
                  <c:v>0.70454545454545503</c:v>
                </c:pt>
                <c:pt idx="1862">
                  <c:v>0.70454545454545503</c:v>
                </c:pt>
                <c:pt idx="1863">
                  <c:v>0.70454545454545503</c:v>
                </c:pt>
                <c:pt idx="1864">
                  <c:v>0.70460704607046099</c:v>
                </c:pt>
                <c:pt idx="1865">
                  <c:v>0.70462633451957302</c:v>
                </c:pt>
                <c:pt idx="1866">
                  <c:v>0.70491803278688503</c:v>
                </c:pt>
                <c:pt idx="1867">
                  <c:v>0.70512820512820495</c:v>
                </c:pt>
                <c:pt idx="1868">
                  <c:v>0.70512820512820495</c:v>
                </c:pt>
                <c:pt idx="1869">
                  <c:v>0.70531400966183599</c:v>
                </c:pt>
                <c:pt idx="1870">
                  <c:v>0.70568561872909696</c:v>
                </c:pt>
                <c:pt idx="1871">
                  <c:v>0.70568561872909696</c:v>
                </c:pt>
                <c:pt idx="1872">
                  <c:v>0.70588235294117596</c:v>
                </c:pt>
                <c:pt idx="1873">
                  <c:v>0.70588235294117596</c:v>
                </c:pt>
                <c:pt idx="1874">
                  <c:v>0.70642201834862395</c:v>
                </c:pt>
                <c:pt idx="1875">
                  <c:v>0.706618962432916</c:v>
                </c:pt>
                <c:pt idx="1876">
                  <c:v>0.70676691729323304</c:v>
                </c:pt>
                <c:pt idx="1877">
                  <c:v>0.70683661645422902</c:v>
                </c:pt>
                <c:pt idx="1878">
                  <c:v>0.70689655172413801</c:v>
                </c:pt>
                <c:pt idx="1879">
                  <c:v>0.70689655172413801</c:v>
                </c:pt>
                <c:pt idx="1880">
                  <c:v>0.70700636942675099</c:v>
                </c:pt>
                <c:pt idx="1881">
                  <c:v>0.70703125</c:v>
                </c:pt>
                <c:pt idx="1882">
                  <c:v>0.707317073170732</c:v>
                </c:pt>
                <c:pt idx="1883">
                  <c:v>0.707317073170732</c:v>
                </c:pt>
                <c:pt idx="1884">
                  <c:v>0.707317073170732</c:v>
                </c:pt>
                <c:pt idx="1885">
                  <c:v>0.707317073170732</c:v>
                </c:pt>
                <c:pt idx="1886">
                  <c:v>0.70744680851063801</c:v>
                </c:pt>
                <c:pt idx="1887">
                  <c:v>0.70746268656716405</c:v>
                </c:pt>
                <c:pt idx="1888">
                  <c:v>0.70762711864406802</c:v>
                </c:pt>
                <c:pt idx="1889">
                  <c:v>0.70769230769230795</c:v>
                </c:pt>
                <c:pt idx="1890">
                  <c:v>0.70769230769230795</c:v>
                </c:pt>
                <c:pt idx="1891">
                  <c:v>0.70786516853932602</c:v>
                </c:pt>
                <c:pt idx="1892">
                  <c:v>0.70786516853932602</c:v>
                </c:pt>
                <c:pt idx="1893">
                  <c:v>0.70796460176991105</c:v>
                </c:pt>
                <c:pt idx="1894">
                  <c:v>0.70813397129186595</c:v>
                </c:pt>
                <c:pt idx="1895">
                  <c:v>0.70841121495327097</c:v>
                </c:pt>
                <c:pt idx="1896">
                  <c:v>0.70860927152317899</c:v>
                </c:pt>
                <c:pt idx="1897">
                  <c:v>0.70860927152317899</c:v>
                </c:pt>
                <c:pt idx="1898">
                  <c:v>0.70866141732283505</c:v>
                </c:pt>
                <c:pt idx="1899">
                  <c:v>0.70881226053639801</c:v>
                </c:pt>
                <c:pt idx="1900">
                  <c:v>0.708860759493671</c:v>
                </c:pt>
                <c:pt idx="1901">
                  <c:v>0.708860759493671</c:v>
                </c:pt>
                <c:pt idx="1902">
                  <c:v>0.708860759493671</c:v>
                </c:pt>
                <c:pt idx="1903">
                  <c:v>0.708860759493671</c:v>
                </c:pt>
                <c:pt idx="1904">
                  <c:v>0.70909090909090899</c:v>
                </c:pt>
                <c:pt idx="1905">
                  <c:v>0.70910780669145002</c:v>
                </c:pt>
                <c:pt idx="1906">
                  <c:v>0.70921985815602795</c:v>
                </c:pt>
                <c:pt idx="1907">
                  <c:v>0.70940170940170899</c:v>
                </c:pt>
                <c:pt idx="1908">
                  <c:v>0.70948012232415902</c:v>
                </c:pt>
                <c:pt idx="1909">
                  <c:v>0.70967741935483897</c:v>
                </c:pt>
                <c:pt idx="1910">
                  <c:v>0.70967741935483897</c:v>
                </c:pt>
                <c:pt idx="1911">
                  <c:v>0.70967741935483897</c:v>
                </c:pt>
                <c:pt idx="1912">
                  <c:v>0.70967741935483897</c:v>
                </c:pt>
                <c:pt idx="1913">
                  <c:v>0.70967741935483897</c:v>
                </c:pt>
                <c:pt idx="1914">
                  <c:v>0.70976253298153003</c:v>
                </c:pt>
                <c:pt idx="1915">
                  <c:v>0.70984455958549197</c:v>
                </c:pt>
                <c:pt idx="1916">
                  <c:v>0.70985401459854003</c:v>
                </c:pt>
                <c:pt idx="1917">
                  <c:v>0.71027131782945696</c:v>
                </c:pt>
                <c:pt idx="1918">
                  <c:v>0.71038251366120198</c:v>
                </c:pt>
                <c:pt idx="1919">
                  <c:v>0.71047957371225601</c:v>
                </c:pt>
                <c:pt idx="1920">
                  <c:v>0.71052631578947401</c:v>
                </c:pt>
                <c:pt idx="1921">
                  <c:v>0.71052631578947401</c:v>
                </c:pt>
                <c:pt idx="1922">
                  <c:v>0.71052631578947401</c:v>
                </c:pt>
                <c:pt idx="1923">
                  <c:v>0.71065989847715705</c:v>
                </c:pt>
                <c:pt idx="1924">
                  <c:v>0.71084337349397597</c:v>
                </c:pt>
                <c:pt idx="1925">
                  <c:v>0.71084337349397597</c:v>
                </c:pt>
                <c:pt idx="1926">
                  <c:v>0.71139705882352899</c:v>
                </c:pt>
                <c:pt idx="1927">
                  <c:v>0.71153846153846101</c:v>
                </c:pt>
                <c:pt idx="1928">
                  <c:v>0.71153846153846101</c:v>
                </c:pt>
                <c:pt idx="1929">
                  <c:v>0.71153846153846101</c:v>
                </c:pt>
                <c:pt idx="1930">
                  <c:v>0.71176470588235297</c:v>
                </c:pt>
                <c:pt idx="1931">
                  <c:v>0.71186440677966101</c:v>
                </c:pt>
                <c:pt idx="1932">
                  <c:v>0.71195652173913004</c:v>
                </c:pt>
                <c:pt idx="1933">
                  <c:v>0.71199999999999997</c:v>
                </c:pt>
                <c:pt idx="1934">
                  <c:v>0.71204188481675401</c:v>
                </c:pt>
                <c:pt idx="1935">
                  <c:v>0.71212121212121204</c:v>
                </c:pt>
                <c:pt idx="1936">
                  <c:v>0.71212121212121204</c:v>
                </c:pt>
                <c:pt idx="1937">
                  <c:v>0.71232876712328796</c:v>
                </c:pt>
                <c:pt idx="1938">
                  <c:v>0.71232876712328796</c:v>
                </c:pt>
                <c:pt idx="1939">
                  <c:v>0.71257485029940104</c:v>
                </c:pt>
                <c:pt idx="1940">
                  <c:v>0.712643678160919</c:v>
                </c:pt>
                <c:pt idx="1941">
                  <c:v>0.71287128712871295</c:v>
                </c:pt>
                <c:pt idx="1942">
                  <c:v>0.71287128712871295</c:v>
                </c:pt>
                <c:pt idx="1943">
                  <c:v>0.71287128712871295</c:v>
                </c:pt>
                <c:pt idx="1944">
                  <c:v>0.713043478260869</c:v>
                </c:pt>
                <c:pt idx="1945">
                  <c:v>0.71317829457364301</c:v>
                </c:pt>
                <c:pt idx="1946">
                  <c:v>0.713286713286713</c:v>
                </c:pt>
                <c:pt idx="1947">
                  <c:v>0.71341463414634099</c:v>
                </c:pt>
                <c:pt idx="1948">
                  <c:v>0.71357285429141704</c:v>
                </c:pt>
                <c:pt idx="1949">
                  <c:v>0.71373056994818596</c:v>
                </c:pt>
                <c:pt idx="1950">
                  <c:v>0.713987473903966</c:v>
                </c:pt>
                <c:pt idx="1951">
                  <c:v>0.71399176954732502</c:v>
                </c:pt>
                <c:pt idx="1952">
                  <c:v>0.71399387129724201</c:v>
                </c:pt>
                <c:pt idx="1953">
                  <c:v>0.71428571428571397</c:v>
                </c:pt>
                <c:pt idx="1954">
                  <c:v>0.71428571428571397</c:v>
                </c:pt>
                <c:pt idx="1955">
                  <c:v>0.71428571428571397</c:v>
                </c:pt>
                <c:pt idx="1956">
                  <c:v>0.71428571428571397</c:v>
                </c:pt>
                <c:pt idx="1957">
                  <c:v>0.71428571428571397</c:v>
                </c:pt>
                <c:pt idx="1958">
                  <c:v>0.71428571428571397</c:v>
                </c:pt>
                <c:pt idx="1959">
                  <c:v>0.71428571428571397</c:v>
                </c:pt>
                <c:pt idx="1960">
                  <c:v>0.71428571428571397</c:v>
                </c:pt>
                <c:pt idx="1961">
                  <c:v>0.71465295629820003</c:v>
                </c:pt>
                <c:pt idx="1962">
                  <c:v>0.71485943775100402</c:v>
                </c:pt>
                <c:pt idx="1963">
                  <c:v>0.71491228070175405</c:v>
                </c:pt>
                <c:pt idx="1964">
                  <c:v>0.71497584541062797</c:v>
                </c:pt>
                <c:pt idx="1965">
                  <c:v>0.71515151515151498</c:v>
                </c:pt>
                <c:pt idx="1966">
                  <c:v>0.715189873417721</c:v>
                </c:pt>
                <c:pt idx="1967">
                  <c:v>0.71523178807946997</c:v>
                </c:pt>
                <c:pt idx="1968">
                  <c:v>0.71554252199413504</c:v>
                </c:pt>
                <c:pt idx="1969">
                  <c:v>0.71559633027522895</c:v>
                </c:pt>
                <c:pt idx="1970">
                  <c:v>0.71568627450980404</c:v>
                </c:pt>
                <c:pt idx="1971">
                  <c:v>0.71568627450980404</c:v>
                </c:pt>
                <c:pt idx="1972">
                  <c:v>0.71570247933884301</c:v>
                </c:pt>
                <c:pt idx="1973">
                  <c:v>0.71576227390180902</c:v>
                </c:pt>
                <c:pt idx="1974">
                  <c:v>0.71590909090909105</c:v>
                </c:pt>
                <c:pt idx="1975">
                  <c:v>0.71604938271604901</c:v>
                </c:pt>
                <c:pt idx="1976">
                  <c:v>0.71614583333333304</c:v>
                </c:pt>
                <c:pt idx="1977">
                  <c:v>0.71618037135278501</c:v>
                </c:pt>
                <c:pt idx="1978">
                  <c:v>0.71621621621621601</c:v>
                </c:pt>
                <c:pt idx="1979">
                  <c:v>0.71636363636363598</c:v>
                </c:pt>
                <c:pt idx="1980">
                  <c:v>0.71641791044776104</c:v>
                </c:pt>
                <c:pt idx="1981">
                  <c:v>0.71666666666666701</c:v>
                </c:pt>
                <c:pt idx="1982">
                  <c:v>0.71666666666666701</c:v>
                </c:pt>
                <c:pt idx="1983">
                  <c:v>0.71686746987951799</c:v>
                </c:pt>
                <c:pt idx="1984">
                  <c:v>0.71698113207547198</c:v>
                </c:pt>
                <c:pt idx="1985">
                  <c:v>0.71702637889688203</c:v>
                </c:pt>
                <c:pt idx="1986">
                  <c:v>0.71710526315789502</c:v>
                </c:pt>
                <c:pt idx="1987">
                  <c:v>0.71724137931034504</c:v>
                </c:pt>
                <c:pt idx="1988">
                  <c:v>0.71739130434782605</c:v>
                </c:pt>
                <c:pt idx="1989">
                  <c:v>0.71751412429378503</c:v>
                </c:pt>
                <c:pt idx="1990">
                  <c:v>0.71794871794871795</c:v>
                </c:pt>
                <c:pt idx="1991">
                  <c:v>0.71830985915492995</c:v>
                </c:pt>
                <c:pt idx="1992">
                  <c:v>0.71839080459770099</c:v>
                </c:pt>
                <c:pt idx="1993">
                  <c:v>0.71839080459770099</c:v>
                </c:pt>
                <c:pt idx="1994">
                  <c:v>0.71861471861471904</c:v>
                </c:pt>
                <c:pt idx="1995">
                  <c:v>0.71875</c:v>
                </c:pt>
                <c:pt idx="1996">
                  <c:v>0.71875</c:v>
                </c:pt>
                <c:pt idx="1997">
                  <c:v>0.71889400921658997</c:v>
                </c:pt>
                <c:pt idx="1998">
                  <c:v>0.71895424836601296</c:v>
                </c:pt>
                <c:pt idx="1999">
                  <c:v>0.71910112359550604</c:v>
                </c:pt>
                <c:pt idx="2000">
                  <c:v>0.71921182266009798</c:v>
                </c:pt>
                <c:pt idx="2001">
                  <c:v>0.71929824561403499</c:v>
                </c:pt>
                <c:pt idx="2002">
                  <c:v>0.71929824561403499</c:v>
                </c:pt>
                <c:pt idx="2003">
                  <c:v>0.71935483870967698</c:v>
                </c:pt>
                <c:pt idx="2004">
                  <c:v>0.71936758893280595</c:v>
                </c:pt>
                <c:pt idx="2005">
                  <c:v>0.71954314720812196</c:v>
                </c:pt>
                <c:pt idx="2006">
                  <c:v>0.71962616822429903</c:v>
                </c:pt>
                <c:pt idx="2007">
                  <c:v>0.71987798678190096</c:v>
                </c:pt>
                <c:pt idx="2008">
                  <c:v>0.72</c:v>
                </c:pt>
                <c:pt idx="2009">
                  <c:v>0.72010869565217395</c:v>
                </c:pt>
                <c:pt idx="2010">
                  <c:v>0.72033898305084698</c:v>
                </c:pt>
                <c:pt idx="2011">
                  <c:v>0.72037914691943095</c:v>
                </c:pt>
                <c:pt idx="2012">
                  <c:v>0.72058823529411797</c:v>
                </c:pt>
                <c:pt idx="2013">
                  <c:v>0.72058823529411797</c:v>
                </c:pt>
                <c:pt idx="2014">
                  <c:v>0.72058823529411797</c:v>
                </c:pt>
                <c:pt idx="2015">
                  <c:v>0.72060535506402801</c:v>
                </c:pt>
                <c:pt idx="2016">
                  <c:v>0.72064777327935203</c:v>
                </c:pt>
                <c:pt idx="2017">
                  <c:v>0.72067039106145203</c:v>
                </c:pt>
                <c:pt idx="2018">
                  <c:v>0.72072072072072102</c:v>
                </c:pt>
                <c:pt idx="2019">
                  <c:v>0.72072072072072102</c:v>
                </c:pt>
                <c:pt idx="2020">
                  <c:v>0.72072072072072102</c:v>
                </c:pt>
                <c:pt idx="2021">
                  <c:v>0.72083333333333299</c:v>
                </c:pt>
                <c:pt idx="2022">
                  <c:v>0.72093023255813904</c:v>
                </c:pt>
                <c:pt idx="2023">
                  <c:v>0.72131147540983598</c:v>
                </c:pt>
                <c:pt idx="2024">
                  <c:v>0.72131147540983598</c:v>
                </c:pt>
                <c:pt idx="2025">
                  <c:v>0.72137404580152698</c:v>
                </c:pt>
                <c:pt idx="2026">
                  <c:v>0.72139303482587103</c:v>
                </c:pt>
                <c:pt idx="2027">
                  <c:v>0.72142857142857097</c:v>
                </c:pt>
                <c:pt idx="2028">
                  <c:v>0.72146118721461205</c:v>
                </c:pt>
                <c:pt idx="2029">
                  <c:v>0.721518987341772</c:v>
                </c:pt>
                <c:pt idx="2030">
                  <c:v>0.721518987341772</c:v>
                </c:pt>
                <c:pt idx="2031">
                  <c:v>0.72159090909090895</c:v>
                </c:pt>
                <c:pt idx="2032">
                  <c:v>0.72164948453608202</c:v>
                </c:pt>
                <c:pt idx="2033">
                  <c:v>0.72164948453608202</c:v>
                </c:pt>
                <c:pt idx="2034">
                  <c:v>0.72164948453608202</c:v>
                </c:pt>
                <c:pt idx="2035">
                  <c:v>0.721804511278195</c:v>
                </c:pt>
                <c:pt idx="2036">
                  <c:v>0.72222222222222199</c:v>
                </c:pt>
                <c:pt idx="2037">
                  <c:v>0.72222222222222199</c:v>
                </c:pt>
                <c:pt idx="2038">
                  <c:v>0.72222222222222199</c:v>
                </c:pt>
                <c:pt idx="2039">
                  <c:v>0.72222222222222199</c:v>
                </c:pt>
                <c:pt idx="2040">
                  <c:v>0.72222222222222199</c:v>
                </c:pt>
                <c:pt idx="2041">
                  <c:v>0.72222222222222199</c:v>
                </c:pt>
                <c:pt idx="2042">
                  <c:v>0.72232304900181499</c:v>
                </c:pt>
                <c:pt idx="2043">
                  <c:v>0.72246696035242297</c:v>
                </c:pt>
                <c:pt idx="2044">
                  <c:v>0.72248803827751196</c:v>
                </c:pt>
                <c:pt idx="2045">
                  <c:v>0.72248803827751196</c:v>
                </c:pt>
                <c:pt idx="2046">
                  <c:v>0.72260273972602695</c:v>
                </c:pt>
                <c:pt idx="2047">
                  <c:v>0.72264355362946897</c:v>
                </c:pt>
                <c:pt idx="2048">
                  <c:v>0.72307692307692295</c:v>
                </c:pt>
                <c:pt idx="2049">
                  <c:v>0.72340425531914898</c:v>
                </c:pt>
                <c:pt idx="2050">
                  <c:v>0.72343632253202705</c:v>
                </c:pt>
                <c:pt idx="2051">
                  <c:v>0.72372372372372396</c:v>
                </c:pt>
                <c:pt idx="2052">
                  <c:v>0.72380952380952401</c:v>
                </c:pt>
                <c:pt idx="2053">
                  <c:v>0.72413793103448298</c:v>
                </c:pt>
                <c:pt idx="2054">
                  <c:v>0.72413793103448298</c:v>
                </c:pt>
                <c:pt idx="2055">
                  <c:v>0.72413793103448298</c:v>
                </c:pt>
                <c:pt idx="2056">
                  <c:v>0.72413793103448298</c:v>
                </c:pt>
                <c:pt idx="2057">
                  <c:v>0.72429906542056099</c:v>
                </c:pt>
                <c:pt idx="2058">
                  <c:v>0.72448979591836704</c:v>
                </c:pt>
                <c:pt idx="2059">
                  <c:v>0.72499999999999998</c:v>
                </c:pt>
                <c:pt idx="2060">
                  <c:v>0.72499999999999998</c:v>
                </c:pt>
                <c:pt idx="2061">
                  <c:v>0.72499999999999998</c:v>
                </c:pt>
                <c:pt idx="2062">
                  <c:v>0.72499999999999998</c:v>
                </c:pt>
                <c:pt idx="2063">
                  <c:v>0.72519083969465603</c:v>
                </c:pt>
                <c:pt idx="2064">
                  <c:v>0.72527472527472503</c:v>
                </c:pt>
                <c:pt idx="2065">
                  <c:v>0.72527472527472503</c:v>
                </c:pt>
                <c:pt idx="2066">
                  <c:v>0.72529644268774696</c:v>
                </c:pt>
                <c:pt idx="2067">
                  <c:v>0.72538860103626901</c:v>
                </c:pt>
                <c:pt idx="2068">
                  <c:v>0.72549019607843102</c:v>
                </c:pt>
                <c:pt idx="2069">
                  <c:v>0.72549019607843102</c:v>
                </c:pt>
                <c:pt idx="2070">
                  <c:v>0.72566371681415898</c:v>
                </c:pt>
                <c:pt idx="2071">
                  <c:v>0.72592592592592597</c:v>
                </c:pt>
                <c:pt idx="2072">
                  <c:v>0.72602739726027399</c:v>
                </c:pt>
                <c:pt idx="2073">
                  <c:v>0.72602739726027399</c:v>
                </c:pt>
                <c:pt idx="2074">
                  <c:v>0.72602739726027399</c:v>
                </c:pt>
                <c:pt idx="2075">
                  <c:v>0.72602739726027399</c:v>
                </c:pt>
                <c:pt idx="2076">
                  <c:v>0.72608695652173905</c:v>
                </c:pt>
                <c:pt idx="2077">
                  <c:v>0.72611464968152895</c:v>
                </c:pt>
                <c:pt idx="2078">
                  <c:v>0.72619047619047605</c:v>
                </c:pt>
                <c:pt idx="2079">
                  <c:v>0.72619047619047605</c:v>
                </c:pt>
                <c:pt idx="2080">
                  <c:v>0.72625698324022303</c:v>
                </c:pt>
                <c:pt idx="2081">
                  <c:v>0.72631578947368403</c:v>
                </c:pt>
                <c:pt idx="2082">
                  <c:v>0.72641509433962304</c:v>
                </c:pt>
                <c:pt idx="2083">
                  <c:v>0.72649572649572602</c:v>
                </c:pt>
                <c:pt idx="2084">
                  <c:v>0.72649572649572602</c:v>
                </c:pt>
                <c:pt idx="2085">
                  <c:v>0.7265625</c:v>
                </c:pt>
                <c:pt idx="2086">
                  <c:v>0.72669491525423702</c:v>
                </c:pt>
                <c:pt idx="2087">
                  <c:v>0.72674418604651203</c:v>
                </c:pt>
                <c:pt idx="2088">
                  <c:v>0.72698412698412695</c:v>
                </c:pt>
                <c:pt idx="2089">
                  <c:v>0.72701149425287404</c:v>
                </c:pt>
                <c:pt idx="2090">
                  <c:v>0.72727272727272696</c:v>
                </c:pt>
                <c:pt idx="2091">
                  <c:v>0.72727272727272696</c:v>
                </c:pt>
                <c:pt idx="2092">
                  <c:v>0.72727272727272696</c:v>
                </c:pt>
                <c:pt idx="2093">
                  <c:v>0.72727272727272696</c:v>
                </c:pt>
                <c:pt idx="2094">
                  <c:v>0.72727272727272696</c:v>
                </c:pt>
                <c:pt idx="2095">
                  <c:v>0.72748267898383401</c:v>
                </c:pt>
                <c:pt idx="2096">
                  <c:v>0.72769089236430495</c:v>
                </c:pt>
                <c:pt idx="2097">
                  <c:v>0.72774869109947604</c:v>
                </c:pt>
                <c:pt idx="2098">
                  <c:v>0.72777777777777797</c:v>
                </c:pt>
                <c:pt idx="2099">
                  <c:v>0.72794117647058798</c:v>
                </c:pt>
                <c:pt idx="2100">
                  <c:v>0.72812500000000002</c:v>
                </c:pt>
                <c:pt idx="2101">
                  <c:v>0.72815533980582503</c:v>
                </c:pt>
                <c:pt idx="2102">
                  <c:v>0.72820512820512795</c:v>
                </c:pt>
                <c:pt idx="2103">
                  <c:v>0.72826086956521696</c:v>
                </c:pt>
                <c:pt idx="2104">
                  <c:v>0.72839506172839497</c:v>
                </c:pt>
                <c:pt idx="2105">
                  <c:v>0.72857142857142798</c:v>
                </c:pt>
                <c:pt idx="2106">
                  <c:v>0.72862957937584805</c:v>
                </c:pt>
                <c:pt idx="2107">
                  <c:v>0.72865275142315</c:v>
                </c:pt>
                <c:pt idx="2108">
                  <c:v>0.72872340425531901</c:v>
                </c:pt>
                <c:pt idx="2109">
                  <c:v>0.72881355932203395</c:v>
                </c:pt>
                <c:pt idx="2110">
                  <c:v>0.72916666666666696</c:v>
                </c:pt>
                <c:pt idx="2111">
                  <c:v>0.72916666666666696</c:v>
                </c:pt>
                <c:pt idx="2112">
                  <c:v>0.72925764192139697</c:v>
                </c:pt>
                <c:pt idx="2113">
                  <c:v>0.72928176795580102</c:v>
                </c:pt>
                <c:pt idx="2114">
                  <c:v>0.72932330827067704</c:v>
                </c:pt>
                <c:pt idx="2115">
                  <c:v>0.72941176470588198</c:v>
                </c:pt>
                <c:pt idx="2116">
                  <c:v>0.72941176470588198</c:v>
                </c:pt>
                <c:pt idx="2117">
                  <c:v>0.729468599033816</c:v>
                </c:pt>
                <c:pt idx="2118">
                  <c:v>0.72950819672131095</c:v>
                </c:pt>
                <c:pt idx="2119">
                  <c:v>0.72972972972973005</c:v>
                </c:pt>
                <c:pt idx="2120">
                  <c:v>0.72972972972973005</c:v>
                </c:pt>
                <c:pt idx="2121">
                  <c:v>0.72972972972973005</c:v>
                </c:pt>
                <c:pt idx="2122">
                  <c:v>0.72972972972973005</c:v>
                </c:pt>
                <c:pt idx="2123">
                  <c:v>0.72972972972973005</c:v>
                </c:pt>
                <c:pt idx="2124">
                  <c:v>0.72972972972973005</c:v>
                </c:pt>
                <c:pt idx="2125">
                  <c:v>0.72992700729926996</c:v>
                </c:pt>
                <c:pt idx="2126">
                  <c:v>0.73015873015873001</c:v>
                </c:pt>
                <c:pt idx="2127">
                  <c:v>0.73015873015873001</c:v>
                </c:pt>
                <c:pt idx="2128">
                  <c:v>0.73031496062992096</c:v>
                </c:pt>
                <c:pt idx="2129">
                  <c:v>0.73040752351097205</c:v>
                </c:pt>
                <c:pt idx="2130">
                  <c:v>0.73041474654377903</c:v>
                </c:pt>
                <c:pt idx="2131">
                  <c:v>0.730941704035874</c:v>
                </c:pt>
                <c:pt idx="2132">
                  <c:v>0.730964467005076</c:v>
                </c:pt>
                <c:pt idx="2133">
                  <c:v>0.73130193905817198</c:v>
                </c:pt>
                <c:pt idx="2134">
                  <c:v>0.731343283582089</c:v>
                </c:pt>
                <c:pt idx="2135">
                  <c:v>0.731343283582089</c:v>
                </c:pt>
                <c:pt idx="2136">
                  <c:v>0.73142857142857098</c:v>
                </c:pt>
                <c:pt idx="2137">
                  <c:v>0.73148148148148096</c:v>
                </c:pt>
                <c:pt idx="2138">
                  <c:v>0.73170731707317105</c:v>
                </c:pt>
                <c:pt idx="2139">
                  <c:v>0.73170731707317105</c:v>
                </c:pt>
                <c:pt idx="2140">
                  <c:v>0.73193717277486903</c:v>
                </c:pt>
                <c:pt idx="2141">
                  <c:v>0.731958762886598</c:v>
                </c:pt>
                <c:pt idx="2142">
                  <c:v>0.73224043715846998</c:v>
                </c:pt>
                <c:pt idx="2143">
                  <c:v>0.73224043715846998</c:v>
                </c:pt>
                <c:pt idx="2144">
                  <c:v>0.73237179487179505</c:v>
                </c:pt>
                <c:pt idx="2145">
                  <c:v>0.73248407643312097</c:v>
                </c:pt>
                <c:pt idx="2146">
                  <c:v>0.732530120481928</c:v>
                </c:pt>
                <c:pt idx="2147">
                  <c:v>0.73255813953488402</c:v>
                </c:pt>
                <c:pt idx="2148">
                  <c:v>0.73257467994310099</c:v>
                </c:pt>
                <c:pt idx="2149">
                  <c:v>0.73265306122449003</c:v>
                </c:pt>
                <c:pt idx="2150">
                  <c:v>0.73267326732673299</c:v>
                </c:pt>
                <c:pt idx="2151">
                  <c:v>0.73267326732673299</c:v>
                </c:pt>
                <c:pt idx="2152">
                  <c:v>0.73275862068965503</c:v>
                </c:pt>
                <c:pt idx="2153">
                  <c:v>0.73282442748091603</c:v>
                </c:pt>
                <c:pt idx="2154">
                  <c:v>0.73317307692307698</c:v>
                </c:pt>
                <c:pt idx="2155">
                  <c:v>0.73333333333333295</c:v>
                </c:pt>
                <c:pt idx="2156">
                  <c:v>0.73333333333333295</c:v>
                </c:pt>
                <c:pt idx="2157">
                  <c:v>0.73333333333333295</c:v>
                </c:pt>
                <c:pt idx="2158">
                  <c:v>0.73333333333333295</c:v>
                </c:pt>
                <c:pt idx="2159">
                  <c:v>0.73333333333333295</c:v>
                </c:pt>
                <c:pt idx="2160">
                  <c:v>0.73333333333333295</c:v>
                </c:pt>
                <c:pt idx="2161">
                  <c:v>0.73333333333333295</c:v>
                </c:pt>
                <c:pt idx="2162">
                  <c:v>0.73333333333333295</c:v>
                </c:pt>
                <c:pt idx="2163">
                  <c:v>0.73333333333333295</c:v>
                </c:pt>
                <c:pt idx="2164">
                  <c:v>0.73360655737704905</c:v>
                </c:pt>
                <c:pt idx="2165">
                  <c:v>0.73376623376623396</c:v>
                </c:pt>
                <c:pt idx="2166">
                  <c:v>0.73387096774193505</c:v>
                </c:pt>
                <c:pt idx="2167">
                  <c:v>0.73387096774193505</c:v>
                </c:pt>
                <c:pt idx="2168">
                  <c:v>0.73410404624277503</c:v>
                </c:pt>
                <c:pt idx="2169">
                  <c:v>0.73412698412698396</c:v>
                </c:pt>
                <c:pt idx="2170">
                  <c:v>0.734177215189873</c:v>
                </c:pt>
                <c:pt idx="2171">
                  <c:v>0.73426573426573405</c:v>
                </c:pt>
                <c:pt idx="2172">
                  <c:v>0.734375</c:v>
                </c:pt>
                <c:pt idx="2173">
                  <c:v>0.734375</c:v>
                </c:pt>
                <c:pt idx="2174">
                  <c:v>0.73456790123456805</c:v>
                </c:pt>
                <c:pt idx="2175">
                  <c:v>0.73469387755102</c:v>
                </c:pt>
                <c:pt idx="2176">
                  <c:v>0.73487031700288197</c:v>
                </c:pt>
                <c:pt idx="2177">
                  <c:v>0.73487031700288197</c:v>
                </c:pt>
                <c:pt idx="2178">
                  <c:v>0.73529411764705899</c:v>
                </c:pt>
                <c:pt idx="2179">
                  <c:v>0.73529411764705899</c:v>
                </c:pt>
                <c:pt idx="2180">
                  <c:v>0.73529411764705899</c:v>
                </c:pt>
                <c:pt idx="2181">
                  <c:v>0.73529411764705899</c:v>
                </c:pt>
                <c:pt idx="2182">
                  <c:v>0.73533083645443198</c:v>
                </c:pt>
                <c:pt idx="2183">
                  <c:v>0.73542828180435904</c:v>
                </c:pt>
                <c:pt idx="2184">
                  <c:v>0.73546511627906996</c:v>
                </c:pt>
                <c:pt idx="2185">
                  <c:v>0.73560767590618303</c:v>
                </c:pt>
                <c:pt idx="2186">
                  <c:v>0.73563218390804597</c:v>
                </c:pt>
                <c:pt idx="2187">
                  <c:v>0.73584905660377298</c:v>
                </c:pt>
                <c:pt idx="2188">
                  <c:v>0.73584905660377298</c:v>
                </c:pt>
                <c:pt idx="2189">
                  <c:v>0.73591310251188002</c:v>
                </c:pt>
                <c:pt idx="2190">
                  <c:v>0.73593073593073599</c:v>
                </c:pt>
                <c:pt idx="2191">
                  <c:v>0.73611111111111105</c:v>
                </c:pt>
                <c:pt idx="2192">
                  <c:v>0.73626373626373598</c:v>
                </c:pt>
                <c:pt idx="2193">
                  <c:v>0.73631840796019898</c:v>
                </c:pt>
                <c:pt idx="2194">
                  <c:v>0.73638613861386104</c:v>
                </c:pt>
                <c:pt idx="2195">
                  <c:v>0.73684210526315796</c:v>
                </c:pt>
                <c:pt idx="2196">
                  <c:v>0.73684210526315796</c:v>
                </c:pt>
                <c:pt idx="2197">
                  <c:v>0.73684210526315796</c:v>
                </c:pt>
                <c:pt idx="2198">
                  <c:v>0.73684210526315796</c:v>
                </c:pt>
                <c:pt idx="2199">
                  <c:v>0.73684210526315796</c:v>
                </c:pt>
                <c:pt idx="2200">
                  <c:v>0.73714285714285699</c:v>
                </c:pt>
                <c:pt idx="2201">
                  <c:v>0.73722627737226298</c:v>
                </c:pt>
                <c:pt idx="2202">
                  <c:v>0.73728813559322004</c:v>
                </c:pt>
                <c:pt idx="2203">
                  <c:v>0.73737373737373701</c:v>
                </c:pt>
                <c:pt idx="2204">
                  <c:v>0.73750000000000004</c:v>
                </c:pt>
                <c:pt idx="2205">
                  <c:v>0.73765432098765404</c:v>
                </c:pt>
                <c:pt idx="2206">
                  <c:v>0.73766546329723204</c:v>
                </c:pt>
                <c:pt idx="2207">
                  <c:v>0.73770491803278704</c:v>
                </c:pt>
                <c:pt idx="2208">
                  <c:v>0.73793103448275899</c:v>
                </c:pt>
                <c:pt idx="2209">
                  <c:v>0.73825503355704702</c:v>
                </c:pt>
                <c:pt idx="2210">
                  <c:v>0.73834196891191695</c:v>
                </c:pt>
                <c:pt idx="2211">
                  <c:v>0.73846153846153795</c:v>
                </c:pt>
                <c:pt idx="2212">
                  <c:v>0.73846153846153795</c:v>
                </c:pt>
                <c:pt idx="2213">
                  <c:v>0.73867069486404802</c:v>
                </c:pt>
                <c:pt idx="2214">
                  <c:v>0.73893805309734495</c:v>
                </c:pt>
                <c:pt idx="2215">
                  <c:v>0.738955823293173</c:v>
                </c:pt>
                <c:pt idx="2216">
                  <c:v>0.73902439024390199</c:v>
                </c:pt>
                <c:pt idx="2217">
                  <c:v>0.73913043478260898</c:v>
                </c:pt>
                <c:pt idx="2218">
                  <c:v>0.73921380632790001</c:v>
                </c:pt>
                <c:pt idx="2219">
                  <c:v>0.73944294699011703</c:v>
                </c:pt>
                <c:pt idx="2220">
                  <c:v>0.73949579831932799</c:v>
                </c:pt>
                <c:pt idx="2221">
                  <c:v>0.73952879581151798</c:v>
                </c:pt>
                <c:pt idx="2222">
                  <c:v>0.73958333333333304</c:v>
                </c:pt>
                <c:pt idx="2223">
                  <c:v>0.73958333333333304</c:v>
                </c:pt>
                <c:pt idx="2224">
                  <c:v>0.73958333333333304</c:v>
                </c:pt>
                <c:pt idx="2225">
                  <c:v>0.73964497041420096</c:v>
                </c:pt>
                <c:pt idx="2226">
                  <c:v>0.73970588235294099</c:v>
                </c:pt>
                <c:pt idx="2227">
                  <c:v>0.73978494623655899</c:v>
                </c:pt>
                <c:pt idx="2228">
                  <c:v>0.73991031390134498</c:v>
                </c:pt>
                <c:pt idx="2229">
                  <c:v>0.73998543335761102</c:v>
                </c:pt>
                <c:pt idx="2230">
                  <c:v>0.74</c:v>
                </c:pt>
                <c:pt idx="2231">
                  <c:v>0.74019607843137303</c:v>
                </c:pt>
                <c:pt idx="2232">
                  <c:v>0.74021352313167199</c:v>
                </c:pt>
                <c:pt idx="2233">
                  <c:v>0.74074074074074103</c:v>
                </c:pt>
                <c:pt idx="2234">
                  <c:v>0.74074074074074103</c:v>
                </c:pt>
                <c:pt idx="2235">
                  <c:v>0.74074074074074103</c:v>
                </c:pt>
                <c:pt idx="2236">
                  <c:v>0.74074074074074103</c:v>
                </c:pt>
                <c:pt idx="2237">
                  <c:v>0.74074074074074103</c:v>
                </c:pt>
                <c:pt idx="2238">
                  <c:v>0.74074074074074103</c:v>
                </c:pt>
                <c:pt idx="2239">
                  <c:v>0.74104401228249706</c:v>
                </c:pt>
                <c:pt idx="2240">
                  <c:v>0.74110032362459499</c:v>
                </c:pt>
                <c:pt idx="2241">
                  <c:v>0.74117647058823499</c:v>
                </c:pt>
                <c:pt idx="2242">
                  <c:v>0.74120082815735</c:v>
                </c:pt>
                <c:pt idx="2243">
                  <c:v>0.74137931034482796</c:v>
                </c:pt>
                <c:pt idx="2244">
                  <c:v>0.74147727272727304</c:v>
                </c:pt>
                <c:pt idx="2245">
                  <c:v>0.74149659863945605</c:v>
                </c:pt>
                <c:pt idx="2246">
                  <c:v>0.74157303370786498</c:v>
                </c:pt>
                <c:pt idx="2247">
                  <c:v>0.74166666666666703</c:v>
                </c:pt>
                <c:pt idx="2248">
                  <c:v>0.74166666666666703</c:v>
                </c:pt>
                <c:pt idx="2249">
                  <c:v>0.74166666666666703</c:v>
                </c:pt>
                <c:pt idx="2250">
                  <c:v>0.74175824175824201</c:v>
                </c:pt>
                <c:pt idx="2251">
                  <c:v>0.74175824175824201</c:v>
                </c:pt>
                <c:pt idx="2252">
                  <c:v>0.74178403755868505</c:v>
                </c:pt>
                <c:pt idx="2253">
                  <c:v>0.74193548387096797</c:v>
                </c:pt>
                <c:pt idx="2254">
                  <c:v>0.74205844980940305</c:v>
                </c:pt>
                <c:pt idx="2255">
                  <c:v>0.74213836477987405</c:v>
                </c:pt>
                <c:pt idx="2256">
                  <c:v>0.7421875</c:v>
                </c:pt>
                <c:pt idx="2257">
                  <c:v>0.74223034734917703</c:v>
                </c:pt>
                <c:pt idx="2258">
                  <c:v>0.74226804123711299</c:v>
                </c:pt>
                <c:pt idx="2259">
                  <c:v>0.74226804123711299</c:v>
                </c:pt>
                <c:pt idx="2260">
                  <c:v>0.74242424242424199</c:v>
                </c:pt>
                <c:pt idx="2261">
                  <c:v>0.74242424242424199</c:v>
                </c:pt>
                <c:pt idx="2262">
                  <c:v>0.74244833068362504</c:v>
                </c:pt>
                <c:pt idx="2263">
                  <c:v>0.742489270386266</c:v>
                </c:pt>
                <c:pt idx="2264">
                  <c:v>0.74278215223097099</c:v>
                </c:pt>
                <c:pt idx="2265">
                  <c:v>0.74281805745553997</c:v>
                </c:pt>
                <c:pt idx="2266">
                  <c:v>0.74285714285714299</c:v>
                </c:pt>
                <c:pt idx="2267">
                  <c:v>0.74299065420560695</c:v>
                </c:pt>
                <c:pt idx="2268">
                  <c:v>0.74303405572755399</c:v>
                </c:pt>
                <c:pt idx="2269">
                  <c:v>0.74304068522483901</c:v>
                </c:pt>
                <c:pt idx="2270">
                  <c:v>0.74305555555555602</c:v>
                </c:pt>
                <c:pt idx="2271">
                  <c:v>0.74324324324324298</c:v>
                </c:pt>
                <c:pt idx="2272">
                  <c:v>0.74324324324324298</c:v>
                </c:pt>
                <c:pt idx="2273">
                  <c:v>0.74366197183098603</c:v>
                </c:pt>
                <c:pt idx="2274">
                  <c:v>0.74390243902439002</c:v>
                </c:pt>
                <c:pt idx="2275">
                  <c:v>0.74396135265700503</c:v>
                </c:pt>
                <c:pt idx="2276">
                  <c:v>0.74418604651162801</c:v>
                </c:pt>
                <c:pt idx="2277">
                  <c:v>0.74444444444444402</c:v>
                </c:pt>
                <c:pt idx="2278">
                  <c:v>0.74468085106382997</c:v>
                </c:pt>
                <c:pt idx="2279">
                  <c:v>0.74482758620689704</c:v>
                </c:pt>
                <c:pt idx="2280">
                  <c:v>0.74482758620689704</c:v>
                </c:pt>
                <c:pt idx="2281">
                  <c:v>0.74489795918367296</c:v>
                </c:pt>
                <c:pt idx="2282">
                  <c:v>0.744990892531876</c:v>
                </c:pt>
                <c:pt idx="2283">
                  <c:v>0.74509803921568596</c:v>
                </c:pt>
                <c:pt idx="2284">
                  <c:v>0.74509803921568596</c:v>
                </c:pt>
                <c:pt idx="2285">
                  <c:v>0.74509803921568596</c:v>
                </c:pt>
                <c:pt idx="2286">
                  <c:v>0.74522292993630601</c:v>
                </c:pt>
                <c:pt idx="2287">
                  <c:v>0.74545454545454504</c:v>
                </c:pt>
                <c:pt idx="2288">
                  <c:v>0.74545454545454504</c:v>
                </c:pt>
                <c:pt idx="2289">
                  <c:v>0.74548311076198004</c:v>
                </c:pt>
                <c:pt idx="2290">
                  <c:v>0.74576271186440701</c:v>
                </c:pt>
                <c:pt idx="2291">
                  <c:v>0.74583333333333302</c:v>
                </c:pt>
                <c:pt idx="2292">
                  <c:v>0.74585635359115998</c:v>
                </c:pt>
                <c:pt idx="2293">
                  <c:v>0.745882352941176</c:v>
                </c:pt>
                <c:pt idx="2294">
                  <c:v>0.74603174603174605</c:v>
                </c:pt>
                <c:pt idx="2295">
                  <c:v>0.746059544658494</c:v>
                </c:pt>
                <c:pt idx="2296">
                  <c:v>0.74615384615384595</c:v>
                </c:pt>
                <c:pt idx="2297">
                  <c:v>0.74641675854465295</c:v>
                </c:pt>
                <c:pt idx="2298">
                  <c:v>0.746428571428571</c:v>
                </c:pt>
                <c:pt idx="2299">
                  <c:v>0.74647887323943696</c:v>
                </c:pt>
                <c:pt idx="2300">
                  <c:v>0.746518105849582</c:v>
                </c:pt>
                <c:pt idx="2301">
                  <c:v>0.74676524953789303</c:v>
                </c:pt>
                <c:pt idx="2302">
                  <c:v>0.746835443037975</c:v>
                </c:pt>
                <c:pt idx="2303">
                  <c:v>0.74696969696969695</c:v>
                </c:pt>
                <c:pt idx="2304">
                  <c:v>0.74725274725274704</c:v>
                </c:pt>
                <c:pt idx="2305">
                  <c:v>0.74739829706717098</c:v>
                </c:pt>
                <c:pt idx="2306">
                  <c:v>0.74752475247524697</c:v>
                </c:pt>
                <c:pt idx="2307">
                  <c:v>0.74757281553398103</c:v>
                </c:pt>
                <c:pt idx="2308">
                  <c:v>0.74757281553398103</c:v>
                </c:pt>
                <c:pt idx="2309">
                  <c:v>0.74766355140186902</c:v>
                </c:pt>
                <c:pt idx="2310">
                  <c:v>0.74774774774774799</c:v>
                </c:pt>
                <c:pt idx="2311">
                  <c:v>0.74778761061946897</c:v>
                </c:pt>
                <c:pt idx="2312">
                  <c:v>0.74820143884892099</c:v>
                </c:pt>
                <c:pt idx="2313">
                  <c:v>0.74820143884892099</c:v>
                </c:pt>
                <c:pt idx="2314">
                  <c:v>0.74868189806678398</c:v>
                </c:pt>
                <c:pt idx="2315">
                  <c:v>0.74874371859296496</c:v>
                </c:pt>
                <c:pt idx="2316">
                  <c:v>0.74876847290640403</c:v>
                </c:pt>
                <c:pt idx="2317">
                  <c:v>0.74887892376681597</c:v>
                </c:pt>
                <c:pt idx="2318">
                  <c:v>0.74895397489539695</c:v>
                </c:pt>
                <c:pt idx="2319">
                  <c:v>0.74910394265233005</c:v>
                </c:pt>
                <c:pt idx="2320">
                  <c:v>0.74919614147909996</c:v>
                </c:pt>
                <c:pt idx="2321">
                  <c:v>0.74919614147909996</c:v>
                </c:pt>
                <c:pt idx="2322">
                  <c:v>0.74923076923076903</c:v>
                </c:pt>
                <c:pt idx="2323">
                  <c:v>0.74939172749391703</c:v>
                </c:pt>
                <c:pt idx="2324">
                  <c:v>0.74965986394557804</c:v>
                </c:pt>
                <c:pt idx="2325">
                  <c:v>0.749672346002621</c:v>
                </c:pt>
                <c:pt idx="2326">
                  <c:v>0.74977738201246602</c:v>
                </c:pt>
                <c:pt idx="2327">
                  <c:v>0.75</c:v>
                </c:pt>
                <c:pt idx="2328">
                  <c:v>0.75</c:v>
                </c:pt>
                <c:pt idx="2329">
                  <c:v>0.75</c:v>
                </c:pt>
                <c:pt idx="2330">
                  <c:v>0.75</c:v>
                </c:pt>
                <c:pt idx="2331">
                  <c:v>0.75</c:v>
                </c:pt>
                <c:pt idx="2332">
                  <c:v>0.75</c:v>
                </c:pt>
                <c:pt idx="2333">
                  <c:v>0.75</c:v>
                </c:pt>
                <c:pt idx="2334">
                  <c:v>0.75</c:v>
                </c:pt>
                <c:pt idx="2335">
                  <c:v>0.75</c:v>
                </c:pt>
                <c:pt idx="2336">
                  <c:v>0.75</c:v>
                </c:pt>
                <c:pt idx="2337">
                  <c:v>0.75</c:v>
                </c:pt>
                <c:pt idx="2338">
                  <c:v>0.75</c:v>
                </c:pt>
                <c:pt idx="2339">
                  <c:v>0.75</c:v>
                </c:pt>
                <c:pt idx="2340">
                  <c:v>0.75</c:v>
                </c:pt>
                <c:pt idx="2341">
                  <c:v>0.75</c:v>
                </c:pt>
                <c:pt idx="2342">
                  <c:v>0.75</c:v>
                </c:pt>
                <c:pt idx="2343">
                  <c:v>0.75</c:v>
                </c:pt>
                <c:pt idx="2344">
                  <c:v>0.75</c:v>
                </c:pt>
                <c:pt idx="2345">
                  <c:v>0.75</c:v>
                </c:pt>
                <c:pt idx="2346">
                  <c:v>0.75</c:v>
                </c:pt>
                <c:pt idx="2347">
                  <c:v>0.75067750677506795</c:v>
                </c:pt>
                <c:pt idx="2348">
                  <c:v>0.75117370892018798</c:v>
                </c:pt>
                <c:pt idx="2349">
                  <c:v>0.75129533678756499</c:v>
                </c:pt>
                <c:pt idx="2350">
                  <c:v>0.75138121546961301</c:v>
                </c:pt>
                <c:pt idx="2351">
                  <c:v>0.75159235668789803</c:v>
                </c:pt>
                <c:pt idx="2352">
                  <c:v>0.75167785234899298</c:v>
                </c:pt>
                <c:pt idx="2353">
                  <c:v>0.75177304964539005</c:v>
                </c:pt>
                <c:pt idx="2354">
                  <c:v>0.75187969924812004</c:v>
                </c:pt>
                <c:pt idx="2355">
                  <c:v>0.75187969924812004</c:v>
                </c:pt>
                <c:pt idx="2356">
                  <c:v>0.75189107413010603</c:v>
                </c:pt>
                <c:pt idx="2357">
                  <c:v>0.751918158567775</c:v>
                </c:pt>
                <c:pt idx="2358">
                  <c:v>0.752</c:v>
                </c:pt>
                <c:pt idx="2359">
                  <c:v>0.75206611570247905</c:v>
                </c:pt>
                <c:pt idx="2360">
                  <c:v>0.75236966824644502</c:v>
                </c:pt>
                <c:pt idx="2361">
                  <c:v>0.75238095238095204</c:v>
                </c:pt>
                <c:pt idx="2362">
                  <c:v>0.75247524752475203</c:v>
                </c:pt>
                <c:pt idx="2363">
                  <c:v>0.75252525252525204</c:v>
                </c:pt>
                <c:pt idx="2364">
                  <c:v>0.75255102040816302</c:v>
                </c:pt>
                <c:pt idx="2365">
                  <c:v>0.75257731958762897</c:v>
                </c:pt>
                <c:pt idx="2366">
                  <c:v>0.75257731958762897</c:v>
                </c:pt>
                <c:pt idx="2367">
                  <c:v>0.75268817204301097</c:v>
                </c:pt>
                <c:pt idx="2368">
                  <c:v>0.75290697674418605</c:v>
                </c:pt>
                <c:pt idx="2369">
                  <c:v>0.752941176470588</c:v>
                </c:pt>
                <c:pt idx="2370">
                  <c:v>0.75321336760925395</c:v>
                </c:pt>
                <c:pt idx="2371">
                  <c:v>0.75331564986737398</c:v>
                </c:pt>
                <c:pt idx="2372">
                  <c:v>0.75342465753424703</c:v>
                </c:pt>
                <c:pt idx="2373">
                  <c:v>0.75349650349650299</c:v>
                </c:pt>
                <c:pt idx="2374">
                  <c:v>0.75362318840579701</c:v>
                </c:pt>
                <c:pt idx="2375">
                  <c:v>0.75362318840579701</c:v>
                </c:pt>
                <c:pt idx="2376">
                  <c:v>0.75362318840579701</c:v>
                </c:pt>
                <c:pt idx="2377">
                  <c:v>0.75380710659898498</c:v>
                </c:pt>
                <c:pt idx="2378">
                  <c:v>0.75384615384615405</c:v>
                </c:pt>
                <c:pt idx="2379">
                  <c:v>0.75384615384615405</c:v>
                </c:pt>
                <c:pt idx="2380">
                  <c:v>0.75384615384615405</c:v>
                </c:pt>
                <c:pt idx="2381">
                  <c:v>0.75390625</c:v>
                </c:pt>
                <c:pt idx="2382">
                  <c:v>0.75391032325338903</c:v>
                </c:pt>
                <c:pt idx="2383">
                  <c:v>0.75394321766561501</c:v>
                </c:pt>
                <c:pt idx="2384">
                  <c:v>0.75395033860045102</c:v>
                </c:pt>
                <c:pt idx="2385">
                  <c:v>0.75409836065573799</c:v>
                </c:pt>
                <c:pt idx="2386">
                  <c:v>0.75413711583924303</c:v>
                </c:pt>
                <c:pt idx="2387">
                  <c:v>0.75423728813559299</c:v>
                </c:pt>
                <c:pt idx="2388">
                  <c:v>0.75431034482758597</c:v>
                </c:pt>
                <c:pt idx="2389">
                  <c:v>0.75431034482758597</c:v>
                </c:pt>
                <c:pt idx="2390">
                  <c:v>0.75436046511627897</c:v>
                </c:pt>
                <c:pt idx="2391">
                  <c:v>0.75438596491228105</c:v>
                </c:pt>
                <c:pt idx="2392">
                  <c:v>0.75438596491228105</c:v>
                </c:pt>
                <c:pt idx="2393">
                  <c:v>0.75438596491228105</c:v>
                </c:pt>
                <c:pt idx="2394">
                  <c:v>0.75444839857651202</c:v>
                </c:pt>
                <c:pt idx="2395">
                  <c:v>0.75456389452332695</c:v>
                </c:pt>
                <c:pt idx="2396">
                  <c:v>0.75471698113207497</c:v>
                </c:pt>
                <c:pt idx="2397">
                  <c:v>0.75471698113207497</c:v>
                </c:pt>
                <c:pt idx="2398">
                  <c:v>0.75471698113207497</c:v>
                </c:pt>
                <c:pt idx="2399">
                  <c:v>0.75471698113207497</c:v>
                </c:pt>
                <c:pt idx="2400">
                  <c:v>0.75471698113207497</c:v>
                </c:pt>
                <c:pt idx="2401">
                  <c:v>0.75475687103594102</c:v>
                </c:pt>
                <c:pt idx="2402">
                  <c:v>0.75480769230769196</c:v>
                </c:pt>
                <c:pt idx="2403">
                  <c:v>0.75483870967741895</c:v>
                </c:pt>
                <c:pt idx="2404">
                  <c:v>0.75490196078431404</c:v>
                </c:pt>
                <c:pt idx="2405">
                  <c:v>0.75490196078431404</c:v>
                </c:pt>
                <c:pt idx="2406">
                  <c:v>0.75496688741721796</c:v>
                </c:pt>
                <c:pt idx="2407">
                  <c:v>0.755</c:v>
                </c:pt>
                <c:pt idx="2408">
                  <c:v>0.75510204081632604</c:v>
                </c:pt>
                <c:pt idx="2409">
                  <c:v>0.75510204081632604</c:v>
                </c:pt>
                <c:pt idx="2410">
                  <c:v>0.75517241379310296</c:v>
                </c:pt>
                <c:pt idx="2411">
                  <c:v>0.755186721991701</c:v>
                </c:pt>
                <c:pt idx="2412">
                  <c:v>0.75527426160337496</c:v>
                </c:pt>
                <c:pt idx="2413">
                  <c:v>0.75531914893617003</c:v>
                </c:pt>
                <c:pt idx="2414">
                  <c:v>0.75531914893617003</c:v>
                </c:pt>
                <c:pt idx="2415">
                  <c:v>0.75543478260869601</c:v>
                </c:pt>
                <c:pt idx="2416">
                  <c:v>0.75555555555555498</c:v>
                </c:pt>
                <c:pt idx="2417">
                  <c:v>0.75555555555555498</c:v>
                </c:pt>
                <c:pt idx="2418">
                  <c:v>0.75565610859728505</c:v>
                </c:pt>
                <c:pt idx="2419">
                  <c:v>0.75568181818181801</c:v>
                </c:pt>
                <c:pt idx="2420">
                  <c:v>0.75575447570332499</c:v>
                </c:pt>
                <c:pt idx="2421">
                  <c:v>0.75590551181102394</c:v>
                </c:pt>
                <c:pt idx="2422">
                  <c:v>0.75595238095238104</c:v>
                </c:pt>
                <c:pt idx="2423">
                  <c:v>0.75609756097560998</c:v>
                </c:pt>
                <c:pt idx="2424">
                  <c:v>0.75624999999999998</c:v>
                </c:pt>
                <c:pt idx="2425">
                  <c:v>0.75630252100840301</c:v>
                </c:pt>
                <c:pt idx="2426">
                  <c:v>0.756345177664975</c:v>
                </c:pt>
                <c:pt idx="2427">
                  <c:v>0.75641025641025605</c:v>
                </c:pt>
                <c:pt idx="2428">
                  <c:v>0.75665399239543696</c:v>
                </c:pt>
                <c:pt idx="2429">
                  <c:v>0.75675675675675702</c:v>
                </c:pt>
                <c:pt idx="2430">
                  <c:v>0.75675675675675702</c:v>
                </c:pt>
                <c:pt idx="2431">
                  <c:v>0.75675675675675702</c:v>
                </c:pt>
                <c:pt idx="2432">
                  <c:v>0.75675675675675702</c:v>
                </c:pt>
                <c:pt idx="2433">
                  <c:v>0.75690607734806603</c:v>
                </c:pt>
                <c:pt idx="2434">
                  <c:v>0.75700934579439205</c:v>
                </c:pt>
                <c:pt idx="2435">
                  <c:v>0.75704225352112697</c:v>
                </c:pt>
                <c:pt idx="2436">
                  <c:v>0.75706214689265505</c:v>
                </c:pt>
                <c:pt idx="2437">
                  <c:v>0.75706214689265505</c:v>
                </c:pt>
                <c:pt idx="2438">
                  <c:v>0.75714285714285701</c:v>
                </c:pt>
                <c:pt idx="2439">
                  <c:v>0.75726141078838205</c:v>
                </c:pt>
                <c:pt idx="2440">
                  <c:v>0.75735294117647001</c:v>
                </c:pt>
                <c:pt idx="2441">
                  <c:v>0.75735294117647001</c:v>
                </c:pt>
                <c:pt idx="2442">
                  <c:v>0.7574568288854</c:v>
                </c:pt>
                <c:pt idx="2443">
                  <c:v>0.75752413401476404</c:v>
                </c:pt>
                <c:pt idx="2444">
                  <c:v>0.75753424657534196</c:v>
                </c:pt>
                <c:pt idx="2445">
                  <c:v>0.75757575757575701</c:v>
                </c:pt>
                <c:pt idx="2446">
                  <c:v>0.75777777777777799</c:v>
                </c:pt>
                <c:pt idx="2447">
                  <c:v>0.75779376498800899</c:v>
                </c:pt>
                <c:pt idx="2448">
                  <c:v>0.75796178343948994</c:v>
                </c:pt>
                <c:pt idx="2449">
                  <c:v>0.75806451612903203</c:v>
                </c:pt>
                <c:pt idx="2450">
                  <c:v>0.75806451612903203</c:v>
                </c:pt>
                <c:pt idx="2451">
                  <c:v>0.75824175824175799</c:v>
                </c:pt>
                <c:pt idx="2452">
                  <c:v>0.75824175824175799</c:v>
                </c:pt>
                <c:pt idx="2453">
                  <c:v>0.75826086956521699</c:v>
                </c:pt>
                <c:pt idx="2454">
                  <c:v>0.75829383886255897</c:v>
                </c:pt>
                <c:pt idx="2455">
                  <c:v>0.75833333333333297</c:v>
                </c:pt>
                <c:pt idx="2456">
                  <c:v>0.75847457627118597</c:v>
                </c:pt>
                <c:pt idx="2457">
                  <c:v>0.75853018372703396</c:v>
                </c:pt>
                <c:pt idx="2458">
                  <c:v>0.75862068965517204</c:v>
                </c:pt>
                <c:pt idx="2459">
                  <c:v>0.75892857142857095</c:v>
                </c:pt>
                <c:pt idx="2460">
                  <c:v>0.75900277008310202</c:v>
                </c:pt>
                <c:pt idx="2461">
                  <c:v>0.75903614457831303</c:v>
                </c:pt>
                <c:pt idx="2462">
                  <c:v>0.75910364145658304</c:v>
                </c:pt>
                <c:pt idx="2463">
                  <c:v>0.75916230366492099</c:v>
                </c:pt>
                <c:pt idx="2464">
                  <c:v>0.75916230366492099</c:v>
                </c:pt>
                <c:pt idx="2465">
                  <c:v>0.75920679886685505</c:v>
                </c:pt>
                <c:pt idx="2466">
                  <c:v>0.75923392612859097</c:v>
                </c:pt>
                <c:pt idx="2467">
                  <c:v>0.75925925925925897</c:v>
                </c:pt>
                <c:pt idx="2468">
                  <c:v>0.75925925925925897</c:v>
                </c:pt>
                <c:pt idx="2469">
                  <c:v>0.75925925925925897</c:v>
                </c:pt>
                <c:pt idx="2470">
                  <c:v>0.75925925925925897</c:v>
                </c:pt>
                <c:pt idx="2471">
                  <c:v>0.75931232091690504</c:v>
                </c:pt>
                <c:pt idx="2472">
                  <c:v>0.75933609958506199</c:v>
                </c:pt>
                <c:pt idx="2473">
                  <c:v>0.75939849624060096</c:v>
                </c:pt>
                <c:pt idx="2474">
                  <c:v>0.75943396226415105</c:v>
                </c:pt>
                <c:pt idx="2475">
                  <c:v>0.75946372239747595</c:v>
                </c:pt>
                <c:pt idx="2476">
                  <c:v>0.759493670886076</c:v>
                </c:pt>
                <c:pt idx="2477">
                  <c:v>0.759493670886076</c:v>
                </c:pt>
                <c:pt idx="2478">
                  <c:v>0.75954198473282397</c:v>
                </c:pt>
                <c:pt idx="2479">
                  <c:v>0.75961538461538503</c:v>
                </c:pt>
                <c:pt idx="2480">
                  <c:v>0.75965665236051505</c:v>
                </c:pt>
                <c:pt idx="2481">
                  <c:v>0.75989445910290199</c:v>
                </c:pt>
                <c:pt idx="2482">
                  <c:v>0.75993091537132995</c:v>
                </c:pt>
                <c:pt idx="2483">
                  <c:v>0.75994513031550104</c:v>
                </c:pt>
                <c:pt idx="2484">
                  <c:v>0.76</c:v>
                </c:pt>
                <c:pt idx="2485">
                  <c:v>0.76</c:v>
                </c:pt>
                <c:pt idx="2486">
                  <c:v>0.76</c:v>
                </c:pt>
                <c:pt idx="2487">
                  <c:v>0.76016260162601601</c:v>
                </c:pt>
                <c:pt idx="2488">
                  <c:v>0.76017441860465096</c:v>
                </c:pt>
                <c:pt idx="2489">
                  <c:v>0.76020408163265296</c:v>
                </c:pt>
                <c:pt idx="2490">
                  <c:v>0.76022304832713705</c:v>
                </c:pt>
                <c:pt idx="2491">
                  <c:v>0.76027397260273999</c:v>
                </c:pt>
                <c:pt idx="2492">
                  <c:v>0.76030534351144996</c:v>
                </c:pt>
                <c:pt idx="2493">
                  <c:v>0.76041666666666696</c:v>
                </c:pt>
                <c:pt idx="2494">
                  <c:v>0.76044226044226004</c:v>
                </c:pt>
                <c:pt idx="2495">
                  <c:v>0.760479041916168</c:v>
                </c:pt>
                <c:pt idx="2496">
                  <c:v>0.76068376068376098</c:v>
                </c:pt>
                <c:pt idx="2497">
                  <c:v>0.76086956521739102</c:v>
                </c:pt>
                <c:pt idx="2498">
                  <c:v>0.76086956521739102</c:v>
                </c:pt>
                <c:pt idx="2499">
                  <c:v>0.76086956521739102</c:v>
                </c:pt>
                <c:pt idx="2500">
                  <c:v>0.76086956521739102</c:v>
                </c:pt>
                <c:pt idx="2501">
                  <c:v>0.76091954022988495</c:v>
                </c:pt>
                <c:pt idx="2502">
                  <c:v>0.76094276094276103</c:v>
                </c:pt>
                <c:pt idx="2503">
                  <c:v>0.76111111111111096</c:v>
                </c:pt>
                <c:pt idx="2504">
                  <c:v>0.76113360323886603</c:v>
                </c:pt>
                <c:pt idx="2505">
                  <c:v>0.76113360323886603</c:v>
                </c:pt>
                <c:pt idx="2506">
                  <c:v>0.76119402985074602</c:v>
                </c:pt>
                <c:pt idx="2507">
                  <c:v>0.76126126126126104</c:v>
                </c:pt>
                <c:pt idx="2508">
                  <c:v>0.761290322580645</c:v>
                </c:pt>
                <c:pt idx="2509">
                  <c:v>0.76136363636363602</c:v>
                </c:pt>
                <c:pt idx="2510">
                  <c:v>0.76138433515482695</c:v>
                </c:pt>
                <c:pt idx="2511">
                  <c:v>0.76141384388807098</c:v>
                </c:pt>
                <c:pt idx="2512">
                  <c:v>0.76153846153846105</c:v>
                </c:pt>
                <c:pt idx="2513">
                  <c:v>0.76153846153846105</c:v>
                </c:pt>
                <c:pt idx="2514">
                  <c:v>0.76171617161716199</c:v>
                </c:pt>
                <c:pt idx="2515">
                  <c:v>0.76183844011142099</c:v>
                </c:pt>
                <c:pt idx="2516">
                  <c:v>0.76190476190476197</c:v>
                </c:pt>
                <c:pt idx="2517">
                  <c:v>0.76190476190476197</c:v>
                </c:pt>
                <c:pt idx="2518">
                  <c:v>0.76190476190476197</c:v>
                </c:pt>
                <c:pt idx="2519">
                  <c:v>0.76190476190476197</c:v>
                </c:pt>
                <c:pt idx="2520">
                  <c:v>0.76198934280639397</c:v>
                </c:pt>
                <c:pt idx="2521">
                  <c:v>0.762081784386617</c:v>
                </c:pt>
                <c:pt idx="2522">
                  <c:v>0.76217765042979901</c:v>
                </c:pt>
                <c:pt idx="2523">
                  <c:v>0.76221498371335505</c:v>
                </c:pt>
                <c:pt idx="2524">
                  <c:v>0.76229508196721296</c:v>
                </c:pt>
                <c:pt idx="2525">
                  <c:v>0.76237623762376205</c:v>
                </c:pt>
                <c:pt idx="2526">
                  <c:v>0.76243093922651906</c:v>
                </c:pt>
                <c:pt idx="2527">
                  <c:v>0.76249999999999996</c:v>
                </c:pt>
                <c:pt idx="2528">
                  <c:v>0.76255707762557101</c:v>
                </c:pt>
                <c:pt idx="2529">
                  <c:v>0.76262626262626299</c:v>
                </c:pt>
                <c:pt idx="2530">
                  <c:v>0.76267281105990803</c:v>
                </c:pt>
                <c:pt idx="2531">
                  <c:v>0.76275207591933603</c:v>
                </c:pt>
                <c:pt idx="2532">
                  <c:v>0.762820512820513</c:v>
                </c:pt>
                <c:pt idx="2533">
                  <c:v>0.76293103448275901</c:v>
                </c:pt>
                <c:pt idx="2534">
                  <c:v>0.76294277929155296</c:v>
                </c:pt>
                <c:pt idx="2535">
                  <c:v>0.76315789473684204</c:v>
                </c:pt>
                <c:pt idx="2536">
                  <c:v>0.76322580645161298</c:v>
                </c:pt>
                <c:pt idx="2537">
                  <c:v>0.76328502415458899</c:v>
                </c:pt>
                <c:pt idx="2538">
                  <c:v>0.76335877862595403</c:v>
                </c:pt>
                <c:pt idx="2539">
                  <c:v>0.763636363636364</c:v>
                </c:pt>
                <c:pt idx="2540">
                  <c:v>0.763636363636364</c:v>
                </c:pt>
                <c:pt idx="2541">
                  <c:v>0.76373333333333304</c:v>
                </c:pt>
                <c:pt idx="2542">
                  <c:v>0.76377952755905498</c:v>
                </c:pt>
                <c:pt idx="2543">
                  <c:v>0.76388888888888895</c:v>
                </c:pt>
                <c:pt idx="2544">
                  <c:v>0.76388888888888895</c:v>
                </c:pt>
                <c:pt idx="2545">
                  <c:v>0.76397515527950299</c:v>
                </c:pt>
                <c:pt idx="2546">
                  <c:v>0.76405797101449302</c:v>
                </c:pt>
                <c:pt idx="2547">
                  <c:v>0.76411657559198498</c:v>
                </c:pt>
                <c:pt idx="2548">
                  <c:v>0.76415094339622602</c:v>
                </c:pt>
                <c:pt idx="2549">
                  <c:v>0.76417910447761195</c:v>
                </c:pt>
                <c:pt idx="2550">
                  <c:v>0.76420454545454497</c:v>
                </c:pt>
                <c:pt idx="2551">
                  <c:v>0.76428571428571401</c:v>
                </c:pt>
                <c:pt idx="2552">
                  <c:v>0.76428571428571401</c:v>
                </c:pt>
                <c:pt idx="2553">
                  <c:v>0.76433121019108297</c:v>
                </c:pt>
                <c:pt idx="2554">
                  <c:v>0.76440460947503197</c:v>
                </c:pt>
                <c:pt idx="2555">
                  <c:v>0.76444444444444404</c:v>
                </c:pt>
                <c:pt idx="2556">
                  <c:v>0.76452599388379205</c:v>
                </c:pt>
                <c:pt idx="2557">
                  <c:v>0.76459510357815397</c:v>
                </c:pt>
                <c:pt idx="2558">
                  <c:v>0.76459510357815397</c:v>
                </c:pt>
                <c:pt idx="2559">
                  <c:v>0.76470588235294101</c:v>
                </c:pt>
                <c:pt idx="2560">
                  <c:v>0.76470588235294101</c:v>
                </c:pt>
                <c:pt idx="2561">
                  <c:v>0.76470588235294101</c:v>
                </c:pt>
                <c:pt idx="2562">
                  <c:v>0.76470588235294101</c:v>
                </c:pt>
                <c:pt idx="2563">
                  <c:v>0.76510067114094005</c:v>
                </c:pt>
                <c:pt idx="2564">
                  <c:v>0.76518218623481804</c:v>
                </c:pt>
                <c:pt idx="2565">
                  <c:v>0.76525821596244104</c:v>
                </c:pt>
                <c:pt idx="2566">
                  <c:v>0.76526315789473698</c:v>
                </c:pt>
                <c:pt idx="2567">
                  <c:v>0.76543209876543195</c:v>
                </c:pt>
                <c:pt idx="2568">
                  <c:v>0.76551724137930999</c:v>
                </c:pt>
                <c:pt idx="2569">
                  <c:v>0.765625</c:v>
                </c:pt>
                <c:pt idx="2570">
                  <c:v>0.76576576576576605</c:v>
                </c:pt>
                <c:pt idx="2571">
                  <c:v>0.76579520697167702</c:v>
                </c:pt>
                <c:pt idx="2572">
                  <c:v>0.765822784810126</c:v>
                </c:pt>
                <c:pt idx="2573">
                  <c:v>0.76595744680851097</c:v>
                </c:pt>
                <c:pt idx="2574">
                  <c:v>0.76605504587156004</c:v>
                </c:pt>
                <c:pt idx="2575">
                  <c:v>0.76623376623376604</c:v>
                </c:pt>
                <c:pt idx="2576">
                  <c:v>0.76623376623376604</c:v>
                </c:pt>
                <c:pt idx="2577">
                  <c:v>0.76635514018691597</c:v>
                </c:pt>
                <c:pt idx="2578">
                  <c:v>0.76642335766423297</c:v>
                </c:pt>
                <c:pt idx="2579">
                  <c:v>0.766519823788546</c:v>
                </c:pt>
                <c:pt idx="2580">
                  <c:v>0.76666666666666705</c:v>
                </c:pt>
                <c:pt idx="2581">
                  <c:v>0.76666666666666705</c:v>
                </c:pt>
                <c:pt idx="2582">
                  <c:v>0.76666666666666705</c:v>
                </c:pt>
                <c:pt idx="2583">
                  <c:v>0.76666666666666705</c:v>
                </c:pt>
                <c:pt idx="2584">
                  <c:v>0.76666666666666705</c:v>
                </c:pt>
                <c:pt idx="2585">
                  <c:v>0.76674937965260503</c:v>
                </c:pt>
                <c:pt idx="2586">
                  <c:v>0.76685393258427004</c:v>
                </c:pt>
                <c:pt idx="2587">
                  <c:v>0.76694915254237295</c:v>
                </c:pt>
                <c:pt idx="2588">
                  <c:v>0.76694915254237295</c:v>
                </c:pt>
                <c:pt idx="2589">
                  <c:v>0.76701030927835001</c:v>
                </c:pt>
                <c:pt idx="2590">
                  <c:v>0.76702508960573501</c:v>
                </c:pt>
                <c:pt idx="2591">
                  <c:v>0.767054908485857</c:v>
                </c:pt>
                <c:pt idx="2592">
                  <c:v>0.76712328767123295</c:v>
                </c:pt>
                <c:pt idx="2593">
                  <c:v>0.76712328767123295</c:v>
                </c:pt>
                <c:pt idx="2594">
                  <c:v>0.76712328767123295</c:v>
                </c:pt>
                <c:pt idx="2595">
                  <c:v>0.76719576719576699</c:v>
                </c:pt>
                <c:pt idx="2596">
                  <c:v>0.76724137931034497</c:v>
                </c:pt>
                <c:pt idx="2597">
                  <c:v>0.76744186046511598</c:v>
                </c:pt>
                <c:pt idx="2598">
                  <c:v>0.76744186046511598</c:v>
                </c:pt>
                <c:pt idx="2599">
                  <c:v>0.76744186046511598</c:v>
                </c:pt>
                <c:pt idx="2600">
                  <c:v>0.76752136752136702</c:v>
                </c:pt>
                <c:pt idx="2601">
                  <c:v>0.76760563380281699</c:v>
                </c:pt>
                <c:pt idx="2602">
                  <c:v>0.76760563380281699</c:v>
                </c:pt>
                <c:pt idx="2603">
                  <c:v>0.76767676767676796</c:v>
                </c:pt>
                <c:pt idx="2604">
                  <c:v>0.76785714285714302</c:v>
                </c:pt>
                <c:pt idx="2605">
                  <c:v>0.76785714285714302</c:v>
                </c:pt>
                <c:pt idx="2606">
                  <c:v>0.76793248945147696</c:v>
                </c:pt>
                <c:pt idx="2607">
                  <c:v>0.76811594202898503</c:v>
                </c:pt>
                <c:pt idx="2608">
                  <c:v>0.76834659593280297</c:v>
                </c:pt>
                <c:pt idx="2609">
                  <c:v>0.768392370572207</c:v>
                </c:pt>
                <c:pt idx="2610">
                  <c:v>0.768421052631579</c:v>
                </c:pt>
                <c:pt idx="2611">
                  <c:v>0.76848874598070704</c:v>
                </c:pt>
                <c:pt idx="2612">
                  <c:v>0.76859504132231404</c:v>
                </c:pt>
                <c:pt idx="2613">
                  <c:v>0.76865671641791</c:v>
                </c:pt>
                <c:pt idx="2614">
                  <c:v>0.76870748299319702</c:v>
                </c:pt>
                <c:pt idx="2615">
                  <c:v>0.76870748299319702</c:v>
                </c:pt>
                <c:pt idx="2616">
                  <c:v>0.76875000000000004</c:v>
                </c:pt>
                <c:pt idx="2617">
                  <c:v>0.76923076923076905</c:v>
                </c:pt>
                <c:pt idx="2618">
                  <c:v>0.76923076923076905</c:v>
                </c:pt>
                <c:pt idx="2619">
                  <c:v>0.76923076923076905</c:v>
                </c:pt>
                <c:pt idx="2620">
                  <c:v>0.76923076923076905</c:v>
                </c:pt>
                <c:pt idx="2621">
                  <c:v>0.76923076923076905</c:v>
                </c:pt>
                <c:pt idx="2622">
                  <c:v>0.76923076923076905</c:v>
                </c:pt>
                <c:pt idx="2623">
                  <c:v>0.76923076923076905</c:v>
                </c:pt>
                <c:pt idx="2624">
                  <c:v>0.76923076923076905</c:v>
                </c:pt>
                <c:pt idx="2625">
                  <c:v>0.76923076923076905</c:v>
                </c:pt>
                <c:pt idx="2626">
                  <c:v>0.76923076923076905</c:v>
                </c:pt>
                <c:pt idx="2627">
                  <c:v>0.76923076923076905</c:v>
                </c:pt>
                <c:pt idx="2628">
                  <c:v>0.76941176470588202</c:v>
                </c:pt>
                <c:pt idx="2629">
                  <c:v>0.76942355889724301</c:v>
                </c:pt>
                <c:pt idx="2630">
                  <c:v>0.76950354609929095</c:v>
                </c:pt>
                <c:pt idx="2631">
                  <c:v>0.76952380952380905</c:v>
                </c:pt>
                <c:pt idx="2632">
                  <c:v>0.76954732510288104</c:v>
                </c:pt>
                <c:pt idx="2633">
                  <c:v>0.76960784313725505</c:v>
                </c:pt>
                <c:pt idx="2634">
                  <c:v>0.76964285714285696</c:v>
                </c:pt>
                <c:pt idx="2635">
                  <c:v>0.76984126984126999</c:v>
                </c:pt>
                <c:pt idx="2636">
                  <c:v>0.76984126984126999</c:v>
                </c:pt>
                <c:pt idx="2637">
                  <c:v>0.77</c:v>
                </c:pt>
                <c:pt idx="2638">
                  <c:v>0.77012609117361797</c:v>
                </c:pt>
                <c:pt idx="2639">
                  <c:v>0.77027027027026995</c:v>
                </c:pt>
                <c:pt idx="2640">
                  <c:v>0.77027027027026995</c:v>
                </c:pt>
                <c:pt idx="2641">
                  <c:v>0.77062609713282604</c:v>
                </c:pt>
                <c:pt idx="2642">
                  <c:v>0.77074235807860303</c:v>
                </c:pt>
                <c:pt idx="2643">
                  <c:v>0.77083333333333304</c:v>
                </c:pt>
                <c:pt idx="2644">
                  <c:v>0.77083333333333304</c:v>
                </c:pt>
                <c:pt idx="2645">
                  <c:v>0.77083333333333304</c:v>
                </c:pt>
                <c:pt idx="2646">
                  <c:v>0.77083333333333304</c:v>
                </c:pt>
                <c:pt idx="2647">
                  <c:v>0.77087378640776705</c:v>
                </c:pt>
                <c:pt idx="2648">
                  <c:v>0.77096114519427394</c:v>
                </c:pt>
                <c:pt idx="2649">
                  <c:v>0.77097996751488895</c:v>
                </c:pt>
                <c:pt idx="2650">
                  <c:v>0.77108433734939796</c:v>
                </c:pt>
                <c:pt idx="2651">
                  <c:v>0.77118644067796605</c:v>
                </c:pt>
                <c:pt idx="2652">
                  <c:v>0.77132486388384802</c:v>
                </c:pt>
                <c:pt idx="2653">
                  <c:v>0.77142857142857102</c:v>
                </c:pt>
                <c:pt idx="2654">
                  <c:v>0.771498771498771</c:v>
                </c:pt>
                <c:pt idx="2655">
                  <c:v>0.77160493827160503</c:v>
                </c:pt>
                <c:pt idx="2656">
                  <c:v>0.77173913043478304</c:v>
                </c:pt>
                <c:pt idx="2657">
                  <c:v>0.77173913043478304</c:v>
                </c:pt>
                <c:pt idx="2658">
                  <c:v>0.77173913043478304</c:v>
                </c:pt>
                <c:pt idx="2659">
                  <c:v>0.77186311787072204</c:v>
                </c:pt>
                <c:pt idx="2660">
                  <c:v>0.77205882352941202</c:v>
                </c:pt>
                <c:pt idx="2661">
                  <c:v>0.772151898734177</c:v>
                </c:pt>
                <c:pt idx="2662">
                  <c:v>0.77227722772277196</c:v>
                </c:pt>
                <c:pt idx="2663">
                  <c:v>0.77227722772277196</c:v>
                </c:pt>
                <c:pt idx="2664">
                  <c:v>0.77235772357723598</c:v>
                </c:pt>
                <c:pt idx="2665">
                  <c:v>0.772486772486772</c:v>
                </c:pt>
                <c:pt idx="2666">
                  <c:v>0.77251184834123199</c:v>
                </c:pt>
                <c:pt idx="2667">
                  <c:v>0.77262443438913997</c:v>
                </c:pt>
                <c:pt idx="2668">
                  <c:v>0.77272727272727304</c:v>
                </c:pt>
                <c:pt idx="2669">
                  <c:v>0.77300613496932502</c:v>
                </c:pt>
                <c:pt idx="2670">
                  <c:v>0.77310924369747902</c:v>
                </c:pt>
                <c:pt idx="2671">
                  <c:v>0.77325581395348797</c:v>
                </c:pt>
                <c:pt idx="2672">
                  <c:v>0.77333333333333298</c:v>
                </c:pt>
                <c:pt idx="2673">
                  <c:v>0.77336448598130803</c:v>
                </c:pt>
                <c:pt idx="2674">
                  <c:v>0.77358490566037696</c:v>
                </c:pt>
                <c:pt idx="2675">
                  <c:v>0.77364864864864902</c:v>
                </c:pt>
                <c:pt idx="2676">
                  <c:v>0.77366255144032903</c:v>
                </c:pt>
                <c:pt idx="2677">
                  <c:v>0.77370030581039695</c:v>
                </c:pt>
                <c:pt idx="2678">
                  <c:v>0.77375565610859698</c:v>
                </c:pt>
                <c:pt idx="2679">
                  <c:v>0.77391304347826095</c:v>
                </c:pt>
                <c:pt idx="2680">
                  <c:v>0.77393617021276595</c:v>
                </c:pt>
                <c:pt idx="2681">
                  <c:v>0.77396021699819195</c:v>
                </c:pt>
                <c:pt idx="2682">
                  <c:v>0.77396207073295697</c:v>
                </c:pt>
                <c:pt idx="2683">
                  <c:v>0.774011299435028</c:v>
                </c:pt>
                <c:pt idx="2684">
                  <c:v>0.77403846153846101</c:v>
                </c:pt>
                <c:pt idx="2685">
                  <c:v>0.77404580152671698</c:v>
                </c:pt>
                <c:pt idx="2686">
                  <c:v>0.77419354838709697</c:v>
                </c:pt>
                <c:pt idx="2687">
                  <c:v>0.77428571428571402</c:v>
                </c:pt>
                <c:pt idx="2688">
                  <c:v>0.77435897435897405</c:v>
                </c:pt>
                <c:pt idx="2689">
                  <c:v>0.77443609022556403</c:v>
                </c:pt>
                <c:pt idx="2690">
                  <c:v>0.77445652173913004</c:v>
                </c:pt>
                <c:pt idx="2691">
                  <c:v>0.77450980392156898</c:v>
                </c:pt>
                <c:pt idx="2692">
                  <c:v>0.77452229299363096</c:v>
                </c:pt>
                <c:pt idx="2693">
                  <c:v>0.77464788732394396</c:v>
                </c:pt>
                <c:pt idx="2694">
                  <c:v>0.77472527472527497</c:v>
                </c:pt>
                <c:pt idx="2695">
                  <c:v>0.77480916030534297</c:v>
                </c:pt>
                <c:pt idx="2696">
                  <c:v>0.77486338797814203</c:v>
                </c:pt>
                <c:pt idx="2697">
                  <c:v>0.77500000000000002</c:v>
                </c:pt>
                <c:pt idx="2698">
                  <c:v>0.77500000000000002</c:v>
                </c:pt>
                <c:pt idx="2699">
                  <c:v>0.77512776831345798</c:v>
                </c:pt>
                <c:pt idx="2700">
                  <c:v>0.775193798449612</c:v>
                </c:pt>
                <c:pt idx="2701">
                  <c:v>0.775193798449612</c:v>
                </c:pt>
                <c:pt idx="2702">
                  <c:v>0.77528089887640395</c:v>
                </c:pt>
                <c:pt idx="2703">
                  <c:v>0.77528089887640395</c:v>
                </c:pt>
                <c:pt idx="2704">
                  <c:v>0.77533960292580995</c:v>
                </c:pt>
                <c:pt idx="2705">
                  <c:v>0.77559055118110198</c:v>
                </c:pt>
                <c:pt idx="2706">
                  <c:v>0.77559055118110198</c:v>
                </c:pt>
                <c:pt idx="2707">
                  <c:v>0.77561608300907903</c:v>
                </c:pt>
                <c:pt idx="2708">
                  <c:v>0.77565982404692102</c:v>
                </c:pt>
                <c:pt idx="2709">
                  <c:v>0.77570093457943901</c:v>
                </c:pt>
                <c:pt idx="2710">
                  <c:v>0.77586206896551702</c:v>
                </c:pt>
                <c:pt idx="2711">
                  <c:v>0.77595628415300499</c:v>
                </c:pt>
                <c:pt idx="2712">
                  <c:v>0.77611940298507498</c:v>
                </c:pt>
                <c:pt idx="2713">
                  <c:v>0.77611940298507498</c:v>
                </c:pt>
                <c:pt idx="2714">
                  <c:v>0.77611940298507498</c:v>
                </c:pt>
                <c:pt idx="2715">
                  <c:v>0.77622377622377603</c:v>
                </c:pt>
                <c:pt idx="2716">
                  <c:v>0.77631578947368396</c:v>
                </c:pt>
                <c:pt idx="2717">
                  <c:v>0.77631578947368396</c:v>
                </c:pt>
                <c:pt idx="2718">
                  <c:v>0.77631578947368396</c:v>
                </c:pt>
                <c:pt idx="2719">
                  <c:v>0.77634961439588701</c:v>
                </c:pt>
                <c:pt idx="2720">
                  <c:v>0.77634961439588701</c:v>
                </c:pt>
                <c:pt idx="2721">
                  <c:v>0.77637130801687804</c:v>
                </c:pt>
                <c:pt idx="2722">
                  <c:v>0.77647058823529402</c:v>
                </c:pt>
                <c:pt idx="2723">
                  <c:v>0.77659574468085102</c:v>
                </c:pt>
                <c:pt idx="2724">
                  <c:v>0.77666248431618601</c:v>
                </c:pt>
                <c:pt idx="2725">
                  <c:v>0.77669902912621402</c:v>
                </c:pt>
                <c:pt idx="2726">
                  <c:v>0.77669902912621402</c:v>
                </c:pt>
                <c:pt idx="2727">
                  <c:v>0.77697841726618699</c:v>
                </c:pt>
                <c:pt idx="2728">
                  <c:v>0.77698574338085502</c:v>
                </c:pt>
                <c:pt idx="2729">
                  <c:v>0.77700348432055699</c:v>
                </c:pt>
                <c:pt idx="2730">
                  <c:v>0.77702702702702697</c:v>
                </c:pt>
                <c:pt idx="2731">
                  <c:v>0.77714285714285702</c:v>
                </c:pt>
                <c:pt idx="2732">
                  <c:v>0.77737226277372296</c:v>
                </c:pt>
                <c:pt idx="2733">
                  <c:v>0.77739726027397305</c:v>
                </c:pt>
                <c:pt idx="2734">
                  <c:v>0.777429467084639</c:v>
                </c:pt>
                <c:pt idx="2735">
                  <c:v>0.77747989276139395</c:v>
                </c:pt>
                <c:pt idx="2736">
                  <c:v>0.77777777777777801</c:v>
                </c:pt>
                <c:pt idx="2737">
                  <c:v>0.77777777777777801</c:v>
                </c:pt>
                <c:pt idx="2738">
                  <c:v>0.77777777777777801</c:v>
                </c:pt>
                <c:pt idx="2739">
                  <c:v>0.77777777777777801</c:v>
                </c:pt>
                <c:pt idx="2740">
                  <c:v>0.77777777777777801</c:v>
                </c:pt>
                <c:pt idx="2741">
                  <c:v>0.77777777777777801</c:v>
                </c:pt>
                <c:pt idx="2742">
                  <c:v>0.77777777777777801</c:v>
                </c:pt>
                <c:pt idx="2743">
                  <c:v>0.77777777777777801</c:v>
                </c:pt>
                <c:pt idx="2744">
                  <c:v>0.77777777777777801</c:v>
                </c:pt>
                <c:pt idx="2745">
                  <c:v>0.77777777777777801</c:v>
                </c:pt>
                <c:pt idx="2746">
                  <c:v>0.77777777777777801</c:v>
                </c:pt>
                <c:pt idx="2747">
                  <c:v>0.77777777777777801</c:v>
                </c:pt>
                <c:pt idx="2748">
                  <c:v>0.77777777777777801</c:v>
                </c:pt>
                <c:pt idx="2749">
                  <c:v>0.77805486284289305</c:v>
                </c:pt>
                <c:pt idx="2750">
                  <c:v>0.77807486631015998</c:v>
                </c:pt>
                <c:pt idx="2751">
                  <c:v>0.77813504823151103</c:v>
                </c:pt>
                <c:pt idx="2752">
                  <c:v>0.77816291161178497</c:v>
                </c:pt>
                <c:pt idx="2753">
                  <c:v>0.77826086956521701</c:v>
                </c:pt>
                <c:pt idx="2754">
                  <c:v>0.778481012658228</c:v>
                </c:pt>
                <c:pt idx="2755">
                  <c:v>0.77865612648221305</c:v>
                </c:pt>
                <c:pt idx="2756">
                  <c:v>0.77868852459016402</c:v>
                </c:pt>
                <c:pt idx="2757">
                  <c:v>0.77868852459016402</c:v>
                </c:pt>
                <c:pt idx="2758">
                  <c:v>0.77876106194690298</c:v>
                </c:pt>
                <c:pt idx="2759">
                  <c:v>0.77876106194690298</c:v>
                </c:pt>
                <c:pt idx="2760">
                  <c:v>0.77884615384615397</c:v>
                </c:pt>
                <c:pt idx="2761">
                  <c:v>0.77884615384615397</c:v>
                </c:pt>
                <c:pt idx="2762">
                  <c:v>0.77884615384615397</c:v>
                </c:pt>
                <c:pt idx="2763">
                  <c:v>0.77889447236180898</c:v>
                </c:pt>
                <c:pt idx="2764">
                  <c:v>0.77890466531440194</c:v>
                </c:pt>
                <c:pt idx="2765">
                  <c:v>0.77906976744185996</c:v>
                </c:pt>
                <c:pt idx="2766">
                  <c:v>0.77906976744185996</c:v>
                </c:pt>
                <c:pt idx="2767">
                  <c:v>0.77911646586345396</c:v>
                </c:pt>
                <c:pt idx="2768">
                  <c:v>0.77922077922077904</c:v>
                </c:pt>
                <c:pt idx="2769">
                  <c:v>0.77922077922077904</c:v>
                </c:pt>
                <c:pt idx="2770">
                  <c:v>0.77927063339731295</c:v>
                </c:pt>
                <c:pt idx="2771">
                  <c:v>0.77941176470588203</c:v>
                </c:pt>
                <c:pt idx="2772">
                  <c:v>0.77941176470588203</c:v>
                </c:pt>
                <c:pt idx="2773">
                  <c:v>0.77941176470588203</c:v>
                </c:pt>
                <c:pt idx="2774">
                  <c:v>0.77966101694915202</c:v>
                </c:pt>
                <c:pt idx="2775">
                  <c:v>0.77969018932874301</c:v>
                </c:pt>
                <c:pt idx="2776">
                  <c:v>0.77971014492753599</c:v>
                </c:pt>
                <c:pt idx="2777">
                  <c:v>0.77981651376146799</c:v>
                </c:pt>
                <c:pt idx="2778">
                  <c:v>0.77984084880636595</c:v>
                </c:pt>
                <c:pt idx="2779">
                  <c:v>0.78</c:v>
                </c:pt>
                <c:pt idx="2780">
                  <c:v>0.78</c:v>
                </c:pt>
                <c:pt idx="2781">
                  <c:v>0.78</c:v>
                </c:pt>
                <c:pt idx="2782">
                  <c:v>0.78</c:v>
                </c:pt>
                <c:pt idx="2783">
                  <c:v>0.78</c:v>
                </c:pt>
                <c:pt idx="2784">
                  <c:v>0.78005865102639305</c:v>
                </c:pt>
                <c:pt idx="2785">
                  <c:v>0.78012684989429204</c:v>
                </c:pt>
                <c:pt idx="2786">
                  <c:v>0.78019801980198</c:v>
                </c:pt>
                <c:pt idx="2787">
                  <c:v>0.78021978021978</c:v>
                </c:pt>
                <c:pt idx="2788">
                  <c:v>0.78037383177570097</c:v>
                </c:pt>
                <c:pt idx="2789">
                  <c:v>0.78048780487804903</c:v>
                </c:pt>
                <c:pt idx="2790">
                  <c:v>0.78048780487804903</c:v>
                </c:pt>
                <c:pt idx="2791">
                  <c:v>0.78048780487804903</c:v>
                </c:pt>
                <c:pt idx="2792">
                  <c:v>0.78064516129032202</c:v>
                </c:pt>
                <c:pt idx="2793">
                  <c:v>0.78082191780821897</c:v>
                </c:pt>
                <c:pt idx="2794">
                  <c:v>0.78095238095238095</c:v>
                </c:pt>
                <c:pt idx="2795">
                  <c:v>0.78104875804967799</c:v>
                </c:pt>
                <c:pt idx="2796">
                  <c:v>0.78113207547169805</c:v>
                </c:pt>
                <c:pt idx="2797">
                  <c:v>0.78118609406952999</c:v>
                </c:pt>
                <c:pt idx="2798">
                  <c:v>0.78125</c:v>
                </c:pt>
                <c:pt idx="2799">
                  <c:v>0.78125</c:v>
                </c:pt>
                <c:pt idx="2800">
                  <c:v>0.78125</c:v>
                </c:pt>
                <c:pt idx="2801">
                  <c:v>0.78125</c:v>
                </c:pt>
                <c:pt idx="2802">
                  <c:v>0.78142076502732205</c:v>
                </c:pt>
                <c:pt idx="2803">
                  <c:v>0.78142076502732205</c:v>
                </c:pt>
                <c:pt idx="2804">
                  <c:v>0.78145695364238399</c:v>
                </c:pt>
                <c:pt idx="2805">
                  <c:v>0.78145695364238399</c:v>
                </c:pt>
                <c:pt idx="2806">
                  <c:v>0.78151260504201703</c:v>
                </c:pt>
                <c:pt idx="2807">
                  <c:v>0.78151260504201703</c:v>
                </c:pt>
                <c:pt idx="2808">
                  <c:v>0.78165374677002597</c:v>
                </c:pt>
                <c:pt idx="2809">
                  <c:v>0.78165938864628803</c:v>
                </c:pt>
                <c:pt idx="2810">
                  <c:v>0.78171091445427698</c:v>
                </c:pt>
                <c:pt idx="2811">
                  <c:v>0.78181818181818197</c:v>
                </c:pt>
                <c:pt idx="2812">
                  <c:v>0.78187919463087197</c:v>
                </c:pt>
                <c:pt idx="2813">
                  <c:v>0.78199052132701397</c:v>
                </c:pt>
                <c:pt idx="2814">
                  <c:v>0.78205128205128205</c:v>
                </c:pt>
                <c:pt idx="2815">
                  <c:v>0.78217821782178198</c:v>
                </c:pt>
                <c:pt idx="2816">
                  <c:v>0.78224974200206399</c:v>
                </c:pt>
                <c:pt idx="2817">
                  <c:v>0.782258064516129</c:v>
                </c:pt>
                <c:pt idx="2818">
                  <c:v>0.782258064516129</c:v>
                </c:pt>
                <c:pt idx="2819">
                  <c:v>0.78235294117647103</c:v>
                </c:pt>
                <c:pt idx="2820">
                  <c:v>0.78243512974051899</c:v>
                </c:pt>
                <c:pt idx="2821">
                  <c:v>0.78260869565217395</c:v>
                </c:pt>
                <c:pt idx="2822">
                  <c:v>0.78260869565217395</c:v>
                </c:pt>
                <c:pt idx="2823">
                  <c:v>0.78260869565217395</c:v>
                </c:pt>
                <c:pt idx="2824">
                  <c:v>0.78280542986425306</c:v>
                </c:pt>
                <c:pt idx="2825">
                  <c:v>0.78282828282828298</c:v>
                </c:pt>
                <c:pt idx="2826">
                  <c:v>0.78289473684210498</c:v>
                </c:pt>
                <c:pt idx="2827">
                  <c:v>0.78294573643410803</c:v>
                </c:pt>
                <c:pt idx="2828">
                  <c:v>0.78294573643410803</c:v>
                </c:pt>
                <c:pt idx="2829">
                  <c:v>0.78300803673938002</c:v>
                </c:pt>
                <c:pt idx="2830">
                  <c:v>0.78313253012048201</c:v>
                </c:pt>
                <c:pt idx="2831">
                  <c:v>0.78333333333333299</c:v>
                </c:pt>
                <c:pt idx="2832">
                  <c:v>0.78333333333333299</c:v>
                </c:pt>
                <c:pt idx="2833">
                  <c:v>0.78333333333333299</c:v>
                </c:pt>
                <c:pt idx="2834">
                  <c:v>0.783357245337159</c:v>
                </c:pt>
                <c:pt idx="2835">
                  <c:v>0.78342245989304804</c:v>
                </c:pt>
                <c:pt idx="2836">
                  <c:v>0.78346456692913402</c:v>
                </c:pt>
                <c:pt idx="2837">
                  <c:v>0.78348439073514597</c:v>
                </c:pt>
                <c:pt idx="2838">
                  <c:v>0.78365384615384603</c:v>
                </c:pt>
                <c:pt idx="2839">
                  <c:v>0.78367346938775495</c:v>
                </c:pt>
                <c:pt idx="2840">
                  <c:v>0.78378378378378399</c:v>
                </c:pt>
                <c:pt idx="2841">
                  <c:v>0.78378378378378399</c:v>
                </c:pt>
                <c:pt idx="2842">
                  <c:v>0.78378378378378399</c:v>
                </c:pt>
                <c:pt idx="2843">
                  <c:v>0.78378378378378399</c:v>
                </c:pt>
                <c:pt idx="2844">
                  <c:v>0.78390804597701103</c:v>
                </c:pt>
                <c:pt idx="2845">
                  <c:v>0.78391959798995003</c:v>
                </c:pt>
                <c:pt idx="2846">
                  <c:v>0.78391959798995003</c:v>
                </c:pt>
                <c:pt idx="2847">
                  <c:v>0.78400000000000003</c:v>
                </c:pt>
                <c:pt idx="2848">
                  <c:v>0.78409090909090895</c:v>
                </c:pt>
                <c:pt idx="2849">
                  <c:v>0.78414442700157005</c:v>
                </c:pt>
                <c:pt idx="2850">
                  <c:v>0.78417266187050405</c:v>
                </c:pt>
                <c:pt idx="2851">
                  <c:v>0.78417266187050405</c:v>
                </c:pt>
                <c:pt idx="2852">
                  <c:v>0.78431372549019596</c:v>
                </c:pt>
                <c:pt idx="2853">
                  <c:v>0.78431372549019596</c:v>
                </c:pt>
                <c:pt idx="2854">
                  <c:v>0.78431372549019596</c:v>
                </c:pt>
                <c:pt idx="2855">
                  <c:v>0.78437500000000004</c:v>
                </c:pt>
                <c:pt idx="2856">
                  <c:v>0.78440366972477105</c:v>
                </c:pt>
                <c:pt idx="2857">
                  <c:v>0.78445229681978801</c:v>
                </c:pt>
                <c:pt idx="2858">
                  <c:v>0.78448275862068995</c:v>
                </c:pt>
                <c:pt idx="2859">
                  <c:v>0.78453038674033104</c:v>
                </c:pt>
                <c:pt idx="2860">
                  <c:v>0.78454332552693196</c:v>
                </c:pt>
                <c:pt idx="2861">
                  <c:v>0.78461538461538505</c:v>
                </c:pt>
                <c:pt idx="2862">
                  <c:v>0.78461538461538505</c:v>
                </c:pt>
                <c:pt idx="2863">
                  <c:v>0.78486055776892405</c:v>
                </c:pt>
                <c:pt idx="2864">
                  <c:v>0.78487972508591097</c:v>
                </c:pt>
                <c:pt idx="2865">
                  <c:v>0.78494623655913998</c:v>
                </c:pt>
                <c:pt idx="2866">
                  <c:v>0.78494623655913998</c:v>
                </c:pt>
                <c:pt idx="2867">
                  <c:v>0.78494623655913998</c:v>
                </c:pt>
                <c:pt idx="2868">
                  <c:v>0.78495502861815203</c:v>
                </c:pt>
                <c:pt idx="2869">
                  <c:v>0.78504672897196304</c:v>
                </c:pt>
                <c:pt idx="2870">
                  <c:v>0.78508771929824595</c:v>
                </c:pt>
                <c:pt idx="2871">
                  <c:v>0.78521126760563398</c:v>
                </c:pt>
                <c:pt idx="2872">
                  <c:v>0.78523489932885904</c:v>
                </c:pt>
                <c:pt idx="2873">
                  <c:v>0.78525641025641002</c:v>
                </c:pt>
                <c:pt idx="2874">
                  <c:v>0.78540305010893197</c:v>
                </c:pt>
                <c:pt idx="2875">
                  <c:v>0.78540772532188796</c:v>
                </c:pt>
                <c:pt idx="2876">
                  <c:v>0.78547297297297303</c:v>
                </c:pt>
                <c:pt idx="2877">
                  <c:v>0.78547854785478499</c:v>
                </c:pt>
                <c:pt idx="2878">
                  <c:v>0.78549848942598199</c:v>
                </c:pt>
                <c:pt idx="2879">
                  <c:v>0.78571428571428603</c:v>
                </c:pt>
                <c:pt idx="2880">
                  <c:v>0.78571428571428603</c:v>
                </c:pt>
                <c:pt idx="2881">
                  <c:v>0.78571428571428603</c:v>
                </c:pt>
                <c:pt idx="2882">
                  <c:v>0.78571428571428603</c:v>
                </c:pt>
                <c:pt idx="2883">
                  <c:v>0.78571428571428603</c:v>
                </c:pt>
                <c:pt idx="2884">
                  <c:v>0.78571428571428603</c:v>
                </c:pt>
                <c:pt idx="2885">
                  <c:v>0.78571428571428603</c:v>
                </c:pt>
                <c:pt idx="2886">
                  <c:v>0.78571428571428603</c:v>
                </c:pt>
                <c:pt idx="2887">
                  <c:v>0.78571428571428603</c:v>
                </c:pt>
                <c:pt idx="2888">
                  <c:v>0.78571428571428603</c:v>
                </c:pt>
                <c:pt idx="2889">
                  <c:v>0.78571428571428603</c:v>
                </c:pt>
                <c:pt idx="2890">
                  <c:v>0.78571428571428603</c:v>
                </c:pt>
                <c:pt idx="2891">
                  <c:v>0.78578024007386904</c:v>
                </c:pt>
                <c:pt idx="2892">
                  <c:v>0.78585086042065</c:v>
                </c:pt>
                <c:pt idx="2893">
                  <c:v>0.78588235294117603</c:v>
                </c:pt>
                <c:pt idx="2894">
                  <c:v>0.78591549295774599</c:v>
                </c:pt>
                <c:pt idx="2895">
                  <c:v>0.78597785977859802</c:v>
                </c:pt>
                <c:pt idx="2896">
                  <c:v>0.78597785977859802</c:v>
                </c:pt>
                <c:pt idx="2897">
                  <c:v>0.786012526096033</c:v>
                </c:pt>
                <c:pt idx="2898">
                  <c:v>0.78605769230769196</c:v>
                </c:pt>
                <c:pt idx="2899">
                  <c:v>0.786274509803921</c:v>
                </c:pt>
                <c:pt idx="2900">
                  <c:v>0.78629032258064502</c:v>
                </c:pt>
                <c:pt idx="2901">
                  <c:v>0.78630136986301402</c:v>
                </c:pt>
                <c:pt idx="2902">
                  <c:v>0.78635014836795203</c:v>
                </c:pt>
                <c:pt idx="2903">
                  <c:v>0.78644067796610195</c:v>
                </c:pt>
                <c:pt idx="2904">
                  <c:v>0.78645833333333304</c:v>
                </c:pt>
                <c:pt idx="2905">
                  <c:v>0.78645833333333304</c:v>
                </c:pt>
                <c:pt idx="2906">
                  <c:v>0.78651685393258397</c:v>
                </c:pt>
                <c:pt idx="2907">
                  <c:v>0.78651685393258397</c:v>
                </c:pt>
                <c:pt idx="2908">
                  <c:v>0.78658536585365801</c:v>
                </c:pt>
                <c:pt idx="2909">
                  <c:v>0.78661616161616199</c:v>
                </c:pt>
                <c:pt idx="2910">
                  <c:v>0.78674351585014402</c:v>
                </c:pt>
                <c:pt idx="2911">
                  <c:v>0.786885245901639</c:v>
                </c:pt>
                <c:pt idx="2912">
                  <c:v>0.78694581280788201</c:v>
                </c:pt>
                <c:pt idx="2913">
                  <c:v>0.78699551569506698</c:v>
                </c:pt>
                <c:pt idx="2914">
                  <c:v>0.78703703703703698</c:v>
                </c:pt>
                <c:pt idx="2915">
                  <c:v>0.787114845938375</c:v>
                </c:pt>
                <c:pt idx="2916">
                  <c:v>0.78711985688729902</c:v>
                </c:pt>
                <c:pt idx="2917">
                  <c:v>0.78714859437750995</c:v>
                </c:pt>
                <c:pt idx="2918">
                  <c:v>0.78722044728434504</c:v>
                </c:pt>
                <c:pt idx="2919">
                  <c:v>0.78723404255319096</c:v>
                </c:pt>
                <c:pt idx="2920">
                  <c:v>0.78723404255319096</c:v>
                </c:pt>
                <c:pt idx="2921">
                  <c:v>0.78726968174204404</c:v>
                </c:pt>
                <c:pt idx="2922">
                  <c:v>0.78749999999999998</c:v>
                </c:pt>
                <c:pt idx="2923">
                  <c:v>0.78754578754578697</c:v>
                </c:pt>
                <c:pt idx="2924">
                  <c:v>0.787610619469026</c:v>
                </c:pt>
                <c:pt idx="2925">
                  <c:v>0.78770949720670402</c:v>
                </c:pt>
                <c:pt idx="2926">
                  <c:v>0.78782608695652201</c:v>
                </c:pt>
                <c:pt idx="2927">
                  <c:v>0.78787878787878796</c:v>
                </c:pt>
                <c:pt idx="2928">
                  <c:v>0.78799392097264398</c:v>
                </c:pt>
                <c:pt idx="2929">
                  <c:v>0.78801843317972298</c:v>
                </c:pt>
                <c:pt idx="2930">
                  <c:v>0.78827977315690001</c:v>
                </c:pt>
                <c:pt idx="2931">
                  <c:v>0.78840579710144898</c:v>
                </c:pt>
                <c:pt idx="2932">
                  <c:v>0.78846153846153799</c:v>
                </c:pt>
                <c:pt idx="2933">
                  <c:v>0.78851963746223597</c:v>
                </c:pt>
                <c:pt idx="2934">
                  <c:v>0.78873239436619702</c:v>
                </c:pt>
                <c:pt idx="2935">
                  <c:v>0.78873239436619702</c:v>
                </c:pt>
                <c:pt idx="2936">
                  <c:v>0.78896551724137898</c:v>
                </c:pt>
                <c:pt idx="2937">
                  <c:v>0.78902953586497904</c:v>
                </c:pt>
                <c:pt idx="2938">
                  <c:v>0.7890625</c:v>
                </c:pt>
                <c:pt idx="2939">
                  <c:v>0.7890625</c:v>
                </c:pt>
                <c:pt idx="2940">
                  <c:v>0.78923766816143504</c:v>
                </c:pt>
                <c:pt idx="2941">
                  <c:v>0.78931140801644395</c:v>
                </c:pt>
                <c:pt idx="2942">
                  <c:v>0.78947368421052599</c:v>
                </c:pt>
                <c:pt idx="2943">
                  <c:v>0.78947368421052599</c:v>
                </c:pt>
                <c:pt idx="2944">
                  <c:v>0.78964941569282099</c:v>
                </c:pt>
                <c:pt idx="2945">
                  <c:v>0.78965517241379302</c:v>
                </c:pt>
                <c:pt idx="2946">
                  <c:v>0.78974358974359005</c:v>
                </c:pt>
                <c:pt idx="2947">
                  <c:v>0.78974358974359005</c:v>
                </c:pt>
                <c:pt idx="2948">
                  <c:v>0.78991596638655504</c:v>
                </c:pt>
                <c:pt idx="2949">
                  <c:v>0.78991596638655504</c:v>
                </c:pt>
                <c:pt idx="2950">
                  <c:v>0.78991596638655504</c:v>
                </c:pt>
                <c:pt idx="2951">
                  <c:v>0.79</c:v>
                </c:pt>
                <c:pt idx="2952">
                  <c:v>0.79</c:v>
                </c:pt>
                <c:pt idx="2953">
                  <c:v>0.79005524861878396</c:v>
                </c:pt>
                <c:pt idx="2954">
                  <c:v>0.79012345679012297</c:v>
                </c:pt>
                <c:pt idx="2955">
                  <c:v>0.79016874541452697</c:v>
                </c:pt>
                <c:pt idx="2956">
                  <c:v>0.79023508137432197</c:v>
                </c:pt>
                <c:pt idx="2957">
                  <c:v>0.79024390243902398</c:v>
                </c:pt>
                <c:pt idx="2958">
                  <c:v>0.79027355623100304</c:v>
                </c:pt>
                <c:pt idx="2959">
                  <c:v>0.79040852575488396</c:v>
                </c:pt>
                <c:pt idx="2960">
                  <c:v>0.79047619047619</c:v>
                </c:pt>
                <c:pt idx="2961">
                  <c:v>0.79050736497545004</c:v>
                </c:pt>
                <c:pt idx="2962">
                  <c:v>0.79054054054054002</c:v>
                </c:pt>
                <c:pt idx="2963">
                  <c:v>0.79061371841155204</c:v>
                </c:pt>
                <c:pt idx="2964">
                  <c:v>0.79069767441860495</c:v>
                </c:pt>
                <c:pt idx="2965">
                  <c:v>0.79069767441860495</c:v>
                </c:pt>
                <c:pt idx="2966">
                  <c:v>0.79069767441860495</c:v>
                </c:pt>
                <c:pt idx="2967">
                  <c:v>0.79075425790754295</c:v>
                </c:pt>
                <c:pt idx="2968">
                  <c:v>0.79081632653061196</c:v>
                </c:pt>
                <c:pt idx="2969">
                  <c:v>0.79084967320261401</c:v>
                </c:pt>
                <c:pt idx="2970">
                  <c:v>0.79090909090909101</c:v>
                </c:pt>
                <c:pt idx="2971">
                  <c:v>0.79096045197740095</c:v>
                </c:pt>
                <c:pt idx="2972">
                  <c:v>0.79096045197740095</c:v>
                </c:pt>
                <c:pt idx="2973">
                  <c:v>0.79104477611940305</c:v>
                </c:pt>
                <c:pt idx="2974">
                  <c:v>0.79104477611940305</c:v>
                </c:pt>
                <c:pt idx="2975">
                  <c:v>0.79111111111111099</c:v>
                </c:pt>
                <c:pt idx="2976">
                  <c:v>0.79113300492610805</c:v>
                </c:pt>
                <c:pt idx="2977">
                  <c:v>0.79118773946360099</c:v>
                </c:pt>
                <c:pt idx="2978">
                  <c:v>0.79131109387121801</c:v>
                </c:pt>
                <c:pt idx="2979">
                  <c:v>0.79134137686302297</c:v>
                </c:pt>
                <c:pt idx="2980">
                  <c:v>0.79135872654917605</c:v>
                </c:pt>
                <c:pt idx="2981">
                  <c:v>0.79148936170212802</c:v>
                </c:pt>
                <c:pt idx="2982">
                  <c:v>0.79158316633266501</c:v>
                </c:pt>
                <c:pt idx="2983">
                  <c:v>0.79166666666666696</c:v>
                </c:pt>
                <c:pt idx="2984">
                  <c:v>0.79166666666666696</c:v>
                </c:pt>
                <c:pt idx="2985">
                  <c:v>0.79166666666666696</c:v>
                </c:pt>
                <c:pt idx="2986">
                  <c:v>0.79166666666666696</c:v>
                </c:pt>
                <c:pt idx="2987">
                  <c:v>0.79166666666666696</c:v>
                </c:pt>
                <c:pt idx="2988">
                  <c:v>0.79166666666666696</c:v>
                </c:pt>
                <c:pt idx="2989">
                  <c:v>0.79174484052532801</c:v>
                </c:pt>
                <c:pt idx="2990">
                  <c:v>0.79178885630498497</c:v>
                </c:pt>
                <c:pt idx="2991">
                  <c:v>0.79183673469387705</c:v>
                </c:pt>
                <c:pt idx="2992">
                  <c:v>0.79194630872483196</c:v>
                </c:pt>
                <c:pt idx="2993">
                  <c:v>0.79197080291970801</c:v>
                </c:pt>
                <c:pt idx="2994">
                  <c:v>0.79203539823008795</c:v>
                </c:pt>
                <c:pt idx="2995">
                  <c:v>0.79207920792079201</c:v>
                </c:pt>
                <c:pt idx="2996">
                  <c:v>0.79220779220779203</c:v>
                </c:pt>
                <c:pt idx="2997">
                  <c:v>0.79220779220779203</c:v>
                </c:pt>
                <c:pt idx="2998">
                  <c:v>0.79230769230769205</c:v>
                </c:pt>
                <c:pt idx="2999">
                  <c:v>0.79237288135593198</c:v>
                </c:pt>
                <c:pt idx="3000">
                  <c:v>0.79243353783231096</c:v>
                </c:pt>
                <c:pt idx="3001">
                  <c:v>0.79245283018867896</c:v>
                </c:pt>
                <c:pt idx="3002">
                  <c:v>0.79245283018867896</c:v>
                </c:pt>
                <c:pt idx="3003">
                  <c:v>0.792682926829268</c:v>
                </c:pt>
                <c:pt idx="3004">
                  <c:v>0.79271708683473396</c:v>
                </c:pt>
                <c:pt idx="3005">
                  <c:v>0.79279279279279302</c:v>
                </c:pt>
                <c:pt idx="3006">
                  <c:v>0.79288025889967595</c:v>
                </c:pt>
                <c:pt idx="3007">
                  <c:v>0.79289940828402405</c:v>
                </c:pt>
                <c:pt idx="3008">
                  <c:v>0.79296875</c:v>
                </c:pt>
                <c:pt idx="3009">
                  <c:v>0.79310344827586199</c:v>
                </c:pt>
                <c:pt idx="3010">
                  <c:v>0.79310344827586199</c:v>
                </c:pt>
                <c:pt idx="3011">
                  <c:v>0.79310344827586199</c:v>
                </c:pt>
                <c:pt idx="3012">
                  <c:v>0.79329608938547502</c:v>
                </c:pt>
                <c:pt idx="3013">
                  <c:v>0.79335793357933604</c:v>
                </c:pt>
                <c:pt idx="3014">
                  <c:v>0.79340446168768197</c:v>
                </c:pt>
                <c:pt idx="3015">
                  <c:v>0.79347826086956497</c:v>
                </c:pt>
                <c:pt idx="3016">
                  <c:v>0.793522267206478</c:v>
                </c:pt>
                <c:pt idx="3017">
                  <c:v>0.793548387096774</c:v>
                </c:pt>
                <c:pt idx="3018">
                  <c:v>0.79365079365079405</c:v>
                </c:pt>
                <c:pt idx="3019">
                  <c:v>0.79365079365079405</c:v>
                </c:pt>
                <c:pt idx="3020">
                  <c:v>0.79372197309417003</c:v>
                </c:pt>
                <c:pt idx="3021">
                  <c:v>0.79385171790235098</c:v>
                </c:pt>
                <c:pt idx="3022">
                  <c:v>0.79389312977099202</c:v>
                </c:pt>
                <c:pt idx="3023">
                  <c:v>0.79389312977099202</c:v>
                </c:pt>
                <c:pt idx="3024">
                  <c:v>0.79389312977099202</c:v>
                </c:pt>
                <c:pt idx="3025">
                  <c:v>0.79392142327650095</c:v>
                </c:pt>
                <c:pt idx="3026">
                  <c:v>0.79393939393939394</c:v>
                </c:pt>
                <c:pt idx="3027">
                  <c:v>0.79411764705882304</c:v>
                </c:pt>
                <c:pt idx="3028">
                  <c:v>0.79411764705882304</c:v>
                </c:pt>
                <c:pt idx="3029">
                  <c:v>0.79427083333333304</c:v>
                </c:pt>
                <c:pt idx="3030">
                  <c:v>0.794303797468354</c:v>
                </c:pt>
                <c:pt idx="3031">
                  <c:v>0.79432624113475203</c:v>
                </c:pt>
                <c:pt idx="3032">
                  <c:v>0.79432624113475203</c:v>
                </c:pt>
                <c:pt idx="3033">
                  <c:v>0.79439252336448596</c:v>
                </c:pt>
                <c:pt idx="3034">
                  <c:v>0.79440789473684204</c:v>
                </c:pt>
                <c:pt idx="3035">
                  <c:v>0.79444444444444395</c:v>
                </c:pt>
                <c:pt idx="3036">
                  <c:v>0.79447852760736204</c:v>
                </c:pt>
                <c:pt idx="3037">
                  <c:v>0.79452054794520499</c:v>
                </c:pt>
                <c:pt idx="3038">
                  <c:v>0.79452054794520499</c:v>
                </c:pt>
                <c:pt idx="3039">
                  <c:v>0.79457364341085301</c:v>
                </c:pt>
                <c:pt idx="3040">
                  <c:v>0.79464285714285698</c:v>
                </c:pt>
                <c:pt idx="3041">
                  <c:v>0.79471544715447096</c:v>
                </c:pt>
                <c:pt idx="3042">
                  <c:v>0.79472140762463295</c:v>
                </c:pt>
                <c:pt idx="3043">
                  <c:v>0.79473684210526296</c:v>
                </c:pt>
                <c:pt idx="3044">
                  <c:v>0.79473684210526296</c:v>
                </c:pt>
                <c:pt idx="3045">
                  <c:v>0.79475982532751099</c:v>
                </c:pt>
                <c:pt idx="3046">
                  <c:v>0.79480519480519496</c:v>
                </c:pt>
                <c:pt idx="3047">
                  <c:v>0.79480519480519496</c:v>
                </c:pt>
                <c:pt idx="3048">
                  <c:v>0.79482071713147395</c:v>
                </c:pt>
                <c:pt idx="3049">
                  <c:v>0.79487179487179505</c:v>
                </c:pt>
                <c:pt idx="3050">
                  <c:v>0.79487179487179505</c:v>
                </c:pt>
                <c:pt idx="3051">
                  <c:v>0.79496402877697803</c:v>
                </c:pt>
                <c:pt idx="3052">
                  <c:v>0.795053003533569</c:v>
                </c:pt>
                <c:pt idx="3053">
                  <c:v>0.79518072289156605</c:v>
                </c:pt>
                <c:pt idx="3054">
                  <c:v>0.79518072289156605</c:v>
                </c:pt>
                <c:pt idx="3055">
                  <c:v>0.79518072289156605</c:v>
                </c:pt>
                <c:pt idx="3056">
                  <c:v>0.79518072289156605</c:v>
                </c:pt>
                <c:pt idx="3057">
                  <c:v>0.79520697167756005</c:v>
                </c:pt>
                <c:pt idx="3058">
                  <c:v>0.79523809523809497</c:v>
                </c:pt>
                <c:pt idx="3059">
                  <c:v>0.79523809523809497</c:v>
                </c:pt>
                <c:pt idx="3060">
                  <c:v>0.79527559055118102</c:v>
                </c:pt>
                <c:pt idx="3061">
                  <c:v>0.79534883720930205</c:v>
                </c:pt>
                <c:pt idx="3062">
                  <c:v>0.79534883720930205</c:v>
                </c:pt>
                <c:pt idx="3063">
                  <c:v>0.79545454545454497</c:v>
                </c:pt>
                <c:pt idx="3064">
                  <c:v>0.79545454545454497</c:v>
                </c:pt>
                <c:pt idx="3065">
                  <c:v>0.79562043795620396</c:v>
                </c:pt>
                <c:pt idx="3066">
                  <c:v>0.79566003616636505</c:v>
                </c:pt>
                <c:pt idx="3067">
                  <c:v>0.79581151832460695</c:v>
                </c:pt>
                <c:pt idx="3068">
                  <c:v>0.79581151832460695</c:v>
                </c:pt>
                <c:pt idx="3069">
                  <c:v>0.79581151832460695</c:v>
                </c:pt>
                <c:pt idx="3070">
                  <c:v>0.79587155963302703</c:v>
                </c:pt>
                <c:pt idx="3071">
                  <c:v>0.79601990049751203</c:v>
                </c:pt>
                <c:pt idx="3072">
                  <c:v>0.79602888086642598</c:v>
                </c:pt>
                <c:pt idx="3073">
                  <c:v>0.79611650485436902</c:v>
                </c:pt>
                <c:pt idx="3074">
                  <c:v>0.79611650485436902</c:v>
                </c:pt>
                <c:pt idx="3075">
                  <c:v>0.79613733905579398</c:v>
                </c:pt>
                <c:pt idx="3076">
                  <c:v>0.79615384615384599</c:v>
                </c:pt>
                <c:pt idx="3077">
                  <c:v>0.79617834394904496</c:v>
                </c:pt>
                <c:pt idx="3078">
                  <c:v>0.79623287671232901</c:v>
                </c:pt>
                <c:pt idx="3079">
                  <c:v>0.79629629629629595</c:v>
                </c:pt>
                <c:pt idx="3080">
                  <c:v>0.79629629629629595</c:v>
                </c:pt>
                <c:pt idx="3081">
                  <c:v>0.79638009049773695</c:v>
                </c:pt>
                <c:pt idx="3082">
                  <c:v>0.79640718562874202</c:v>
                </c:pt>
                <c:pt idx="3083">
                  <c:v>0.79653679653679599</c:v>
                </c:pt>
                <c:pt idx="3084">
                  <c:v>0.79656160458452696</c:v>
                </c:pt>
                <c:pt idx="3085">
                  <c:v>0.79661016949152497</c:v>
                </c:pt>
                <c:pt idx="3086">
                  <c:v>0.79661016949152497</c:v>
                </c:pt>
                <c:pt idx="3087">
                  <c:v>0.79664570230608001</c:v>
                </c:pt>
                <c:pt idx="3088">
                  <c:v>0.79668049792531104</c:v>
                </c:pt>
                <c:pt idx="3089">
                  <c:v>0.79674796747967502</c:v>
                </c:pt>
                <c:pt idx="3090">
                  <c:v>0.79677419354838697</c:v>
                </c:pt>
                <c:pt idx="3091">
                  <c:v>0.796875</c:v>
                </c:pt>
                <c:pt idx="3092">
                  <c:v>0.79691516709511601</c:v>
                </c:pt>
                <c:pt idx="3093">
                  <c:v>0.79705882352941204</c:v>
                </c:pt>
                <c:pt idx="3094">
                  <c:v>0.79715302491103202</c:v>
                </c:pt>
                <c:pt idx="3095">
                  <c:v>0.79716981132075504</c:v>
                </c:pt>
                <c:pt idx="3096">
                  <c:v>0.79728199320498305</c:v>
                </c:pt>
                <c:pt idx="3097">
                  <c:v>0.79729729729729704</c:v>
                </c:pt>
                <c:pt idx="3098">
                  <c:v>0.79729729729729704</c:v>
                </c:pt>
                <c:pt idx="3099">
                  <c:v>0.79732739420935395</c:v>
                </c:pt>
                <c:pt idx="3100">
                  <c:v>0.79746835443038</c:v>
                </c:pt>
                <c:pt idx="3101">
                  <c:v>0.79752066115702502</c:v>
                </c:pt>
                <c:pt idx="3102">
                  <c:v>0.79756326148078704</c:v>
                </c:pt>
                <c:pt idx="3103">
                  <c:v>0.797619047619048</c:v>
                </c:pt>
                <c:pt idx="3104">
                  <c:v>0.79792746113989599</c:v>
                </c:pt>
                <c:pt idx="3105">
                  <c:v>0.79797979797979801</c:v>
                </c:pt>
                <c:pt idx="3106">
                  <c:v>0.79807692307692302</c:v>
                </c:pt>
                <c:pt idx="3107">
                  <c:v>0.79807692307692302</c:v>
                </c:pt>
                <c:pt idx="3108">
                  <c:v>0.79811097992916202</c:v>
                </c:pt>
                <c:pt idx="3109">
                  <c:v>0.798165137614679</c:v>
                </c:pt>
                <c:pt idx="3110">
                  <c:v>0.798165137614679</c:v>
                </c:pt>
                <c:pt idx="3111">
                  <c:v>0.79828326180257503</c:v>
                </c:pt>
                <c:pt idx="3112">
                  <c:v>0.79831932773109204</c:v>
                </c:pt>
                <c:pt idx="3113">
                  <c:v>0.79831932773109204</c:v>
                </c:pt>
                <c:pt idx="3114">
                  <c:v>0.79834254143646399</c:v>
                </c:pt>
                <c:pt idx="3115">
                  <c:v>0.79843225083986502</c:v>
                </c:pt>
                <c:pt idx="3116">
                  <c:v>0.79844961240310097</c:v>
                </c:pt>
                <c:pt idx="3117">
                  <c:v>0.79844961240310097</c:v>
                </c:pt>
                <c:pt idx="3118">
                  <c:v>0.79850746268656703</c:v>
                </c:pt>
                <c:pt idx="3119">
                  <c:v>0.79874213836478003</c:v>
                </c:pt>
                <c:pt idx="3120">
                  <c:v>0.79878577623590596</c:v>
                </c:pt>
                <c:pt idx="3121">
                  <c:v>0.79879275653923498</c:v>
                </c:pt>
                <c:pt idx="3122">
                  <c:v>0.79881656804733703</c:v>
                </c:pt>
                <c:pt idx="3123">
                  <c:v>0.79888268156424602</c:v>
                </c:pt>
                <c:pt idx="3124">
                  <c:v>0.79894179894179895</c:v>
                </c:pt>
                <c:pt idx="3125">
                  <c:v>0.79900124843945097</c:v>
                </c:pt>
                <c:pt idx="3126">
                  <c:v>0.79901960784313697</c:v>
                </c:pt>
                <c:pt idx="3127">
                  <c:v>0.79903147699757904</c:v>
                </c:pt>
                <c:pt idx="3128">
                  <c:v>0.79903147699757904</c:v>
                </c:pt>
                <c:pt idx="3129">
                  <c:v>0.79929577464788704</c:v>
                </c:pt>
                <c:pt idx="3130">
                  <c:v>0.79934747145187601</c:v>
                </c:pt>
                <c:pt idx="3131">
                  <c:v>0.79936305732484103</c:v>
                </c:pt>
                <c:pt idx="3132">
                  <c:v>0.79936305732484103</c:v>
                </c:pt>
                <c:pt idx="3133">
                  <c:v>0.79939209726443805</c:v>
                </c:pt>
                <c:pt idx="3134">
                  <c:v>0.79941002949852502</c:v>
                </c:pt>
                <c:pt idx="3135">
                  <c:v>0.799514955537591</c:v>
                </c:pt>
                <c:pt idx="3136">
                  <c:v>0.799544419134396</c:v>
                </c:pt>
                <c:pt idx="3137">
                  <c:v>0.79960707269155196</c:v>
                </c:pt>
                <c:pt idx="3138">
                  <c:v>0.8</c:v>
                </c:pt>
                <c:pt idx="3139">
                  <c:v>0.8</c:v>
                </c:pt>
                <c:pt idx="3140">
                  <c:v>0.8</c:v>
                </c:pt>
                <c:pt idx="3141">
                  <c:v>0.8</c:v>
                </c:pt>
                <c:pt idx="3142">
                  <c:v>0.8</c:v>
                </c:pt>
                <c:pt idx="3143">
                  <c:v>0.8</c:v>
                </c:pt>
                <c:pt idx="3144">
                  <c:v>0.8</c:v>
                </c:pt>
                <c:pt idx="3145">
                  <c:v>0.8</c:v>
                </c:pt>
                <c:pt idx="3146">
                  <c:v>0.8</c:v>
                </c:pt>
                <c:pt idx="3147">
                  <c:v>0.8</c:v>
                </c:pt>
                <c:pt idx="3148">
                  <c:v>0.8</c:v>
                </c:pt>
                <c:pt idx="3149">
                  <c:v>0.8</c:v>
                </c:pt>
                <c:pt idx="3150">
                  <c:v>0.8</c:v>
                </c:pt>
                <c:pt idx="3151">
                  <c:v>0.80046403712296998</c:v>
                </c:pt>
                <c:pt idx="3152">
                  <c:v>0.80050505050505005</c:v>
                </c:pt>
                <c:pt idx="3153">
                  <c:v>0.80055147058823495</c:v>
                </c:pt>
                <c:pt idx="3154">
                  <c:v>0.80055401662049896</c:v>
                </c:pt>
                <c:pt idx="3155">
                  <c:v>0.80069930069930095</c:v>
                </c:pt>
                <c:pt idx="3156">
                  <c:v>0.80075187969924799</c:v>
                </c:pt>
                <c:pt idx="3157">
                  <c:v>0.80076628352490398</c:v>
                </c:pt>
                <c:pt idx="3158">
                  <c:v>0.80078125</c:v>
                </c:pt>
                <c:pt idx="3159">
                  <c:v>0.80080753701211305</c:v>
                </c:pt>
                <c:pt idx="3160">
                  <c:v>0.80082701585113703</c:v>
                </c:pt>
                <c:pt idx="3161">
                  <c:v>0.80104712041884796</c:v>
                </c:pt>
                <c:pt idx="3162">
                  <c:v>0.801104972375691</c:v>
                </c:pt>
                <c:pt idx="3163">
                  <c:v>0.80116959064327498</c:v>
                </c:pt>
                <c:pt idx="3164">
                  <c:v>0.80118110236220497</c:v>
                </c:pt>
                <c:pt idx="3165">
                  <c:v>0.80118694362017795</c:v>
                </c:pt>
                <c:pt idx="3166">
                  <c:v>0.80120481927710796</c:v>
                </c:pt>
                <c:pt idx="3167">
                  <c:v>0.80122950819672101</c:v>
                </c:pt>
                <c:pt idx="3168">
                  <c:v>0.80124223602484501</c:v>
                </c:pt>
                <c:pt idx="3169">
                  <c:v>0.80126182965299697</c:v>
                </c:pt>
                <c:pt idx="3170">
                  <c:v>0.80126182965299697</c:v>
                </c:pt>
                <c:pt idx="3171">
                  <c:v>0.80128205128205099</c:v>
                </c:pt>
                <c:pt idx="3172">
                  <c:v>0.80131004366812197</c:v>
                </c:pt>
                <c:pt idx="3173">
                  <c:v>0.801337153772684</c:v>
                </c:pt>
                <c:pt idx="3174">
                  <c:v>0.80134680134680103</c:v>
                </c:pt>
                <c:pt idx="3175">
                  <c:v>0.80147058823529405</c:v>
                </c:pt>
                <c:pt idx="3176">
                  <c:v>0.80147058823529405</c:v>
                </c:pt>
                <c:pt idx="3177">
                  <c:v>0.80154639175257703</c:v>
                </c:pt>
                <c:pt idx="3178">
                  <c:v>0.80161290322580603</c:v>
                </c:pt>
                <c:pt idx="3179">
                  <c:v>0.80165289256198302</c:v>
                </c:pt>
                <c:pt idx="3180">
                  <c:v>0.80165289256198302</c:v>
                </c:pt>
                <c:pt idx="3181">
                  <c:v>0.80165289256198302</c:v>
                </c:pt>
                <c:pt idx="3182">
                  <c:v>0.80172413793103403</c:v>
                </c:pt>
                <c:pt idx="3183">
                  <c:v>0.80172413793103403</c:v>
                </c:pt>
                <c:pt idx="3184">
                  <c:v>0.80176211453744495</c:v>
                </c:pt>
                <c:pt idx="3185">
                  <c:v>0.801781737193764</c:v>
                </c:pt>
                <c:pt idx="3186">
                  <c:v>0.80180180180180205</c:v>
                </c:pt>
                <c:pt idx="3187">
                  <c:v>0.80193236714975802</c:v>
                </c:pt>
                <c:pt idx="3188">
                  <c:v>0.80203045685279195</c:v>
                </c:pt>
                <c:pt idx="3189">
                  <c:v>0.80208333333333304</c:v>
                </c:pt>
                <c:pt idx="3190">
                  <c:v>0.802120141342756</c:v>
                </c:pt>
                <c:pt idx="3191">
                  <c:v>0.80219780219780201</c:v>
                </c:pt>
                <c:pt idx="3192">
                  <c:v>0.80219780219780201</c:v>
                </c:pt>
                <c:pt idx="3193">
                  <c:v>0.80222841225626695</c:v>
                </c:pt>
                <c:pt idx="3194">
                  <c:v>0.80222841225626695</c:v>
                </c:pt>
                <c:pt idx="3195">
                  <c:v>0.80232558139534904</c:v>
                </c:pt>
                <c:pt idx="3196">
                  <c:v>0.80245398773006105</c:v>
                </c:pt>
                <c:pt idx="3197">
                  <c:v>0.80246913580246904</c:v>
                </c:pt>
                <c:pt idx="3198">
                  <c:v>0.80246913580246904</c:v>
                </c:pt>
                <c:pt idx="3199">
                  <c:v>0.80254777070063699</c:v>
                </c:pt>
                <c:pt idx="3200">
                  <c:v>0.80258899676375395</c:v>
                </c:pt>
                <c:pt idx="3201">
                  <c:v>0.80263157894736803</c:v>
                </c:pt>
                <c:pt idx="3202">
                  <c:v>0.80281690140845097</c:v>
                </c:pt>
                <c:pt idx="3203">
                  <c:v>0.80281690140845097</c:v>
                </c:pt>
                <c:pt idx="3204">
                  <c:v>0.80290791599353795</c:v>
                </c:pt>
                <c:pt idx="3205">
                  <c:v>0.80291970802919699</c:v>
                </c:pt>
                <c:pt idx="3206">
                  <c:v>0.80299785867237705</c:v>
                </c:pt>
                <c:pt idx="3207">
                  <c:v>0.80303030303030298</c:v>
                </c:pt>
                <c:pt idx="3208">
                  <c:v>0.80307692307692302</c:v>
                </c:pt>
                <c:pt idx="3209">
                  <c:v>0.80308880308880304</c:v>
                </c:pt>
                <c:pt idx="3210">
                  <c:v>0.80313418217433896</c:v>
                </c:pt>
                <c:pt idx="3211">
                  <c:v>0.80319148936170204</c:v>
                </c:pt>
                <c:pt idx="3212">
                  <c:v>0.80321285140562204</c:v>
                </c:pt>
                <c:pt idx="3213">
                  <c:v>0.80327868852458995</c:v>
                </c:pt>
                <c:pt idx="3214">
                  <c:v>0.80327868852458995</c:v>
                </c:pt>
                <c:pt idx="3215">
                  <c:v>0.80332409972299201</c:v>
                </c:pt>
                <c:pt idx="3216">
                  <c:v>0.80337078651685401</c:v>
                </c:pt>
                <c:pt idx="3217">
                  <c:v>0.80338983050847501</c:v>
                </c:pt>
                <c:pt idx="3218">
                  <c:v>0.80343980343980304</c:v>
                </c:pt>
                <c:pt idx="3219">
                  <c:v>0.80345394736842102</c:v>
                </c:pt>
                <c:pt idx="3220">
                  <c:v>0.80346820809248498</c:v>
                </c:pt>
                <c:pt idx="3221">
                  <c:v>0.80357142857142905</c:v>
                </c:pt>
                <c:pt idx="3222">
                  <c:v>0.80357142857142905</c:v>
                </c:pt>
                <c:pt idx="3223">
                  <c:v>0.80361050328227601</c:v>
                </c:pt>
                <c:pt idx="3224">
                  <c:v>0.80361173814898401</c:v>
                </c:pt>
                <c:pt idx="3225">
                  <c:v>0.80365296803652997</c:v>
                </c:pt>
                <c:pt idx="3226">
                  <c:v>0.80378250591016498</c:v>
                </c:pt>
                <c:pt idx="3227">
                  <c:v>0.80379746835443</c:v>
                </c:pt>
                <c:pt idx="3228">
                  <c:v>0.80379746835443</c:v>
                </c:pt>
                <c:pt idx="3229">
                  <c:v>0.80380026513477698</c:v>
                </c:pt>
                <c:pt idx="3230">
                  <c:v>0.80395683453237399</c:v>
                </c:pt>
                <c:pt idx="3231">
                  <c:v>0.80419580419580405</c:v>
                </c:pt>
                <c:pt idx="3232">
                  <c:v>0.80423280423280397</c:v>
                </c:pt>
                <c:pt idx="3233">
                  <c:v>0.80429594272076399</c:v>
                </c:pt>
                <c:pt idx="3234">
                  <c:v>0.80434782608695599</c:v>
                </c:pt>
                <c:pt idx="3235">
                  <c:v>0.80443548387096797</c:v>
                </c:pt>
                <c:pt idx="3236">
                  <c:v>0.804498269896194</c:v>
                </c:pt>
                <c:pt idx="3237">
                  <c:v>0.80465444287729204</c:v>
                </c:pt>
                <c:pt idx="3238">
                  <c:v>0.8046875</c:v>
                </c:pt>
                <c:pt idx="3239">
                  <c:v>0.80481283422459904</c:v>
                </c:pt>
                <c:pt idx="3240">
                  <c:v>0.80487804878048796</c:v>
                </c:pt>
                <c:pt idx="3241">
                  <c:v>0.80487804878048796</c:v>
                </c:pt>
                <c:pt idx="3242">
                  <c:v>0.80487804878048796</c:v>
                </c:pt>
                <c:pt idx="3243">
                  <c:v>0.80493273542600896</c:v>
                </c:pt>
                <c:pt idx="3244">
                  <c:v>0.80500894454382799</c:v>
                </c:pt>
                <c:pt idx="3245">
                  <c:v>0.80503144654088099</c:v>
                </c:pt>
                <c:pt idx="3246">
                  <c:v>0.80508474576271205</c:v>
                </c:pt>
                <c:pt idx="3247">
                  <c:v>0.80516898608349896</c:v>
                </c:pt>
                <c:pt idx="3248">
                  <c:v>0.80519480519480502</c:v>
                </c:pt>
                <c:pt idx="3249">
                  <c:v>0.80519480519480502</c:v>
                </c:pt>
                <c:pt idx="3250">
                  <c:v>0.80526315789473701</c:v>
                </c:pt>
                <c:pt idx="3251">
                  <c:v>0.80527086383601698</c:v>
                </c:pt>
                <c:pt idx="3252">
                  <c:v>0.80546623794212202</c:v>
                </c:pt>
                <c:pt idx="3253">
                  <c:v>0.80547112462006099</c:v>
                </c:pt>
                <c:pt idx="3254">
                  <c:v>0.80547945205479399</c:v>
                </c:pt>
                <c:pt idx="3255">
                  <c:v>0.80547945205479399</c:v>
                </c:pt>
                <c:pt idx="3256">
                  <c:v>0.80555555555555602</c:v>
                </c:pt>
                <c:pt idx="3257">
                  <c:v>0.80555555555555602</c:v>
                </c:pt>
                <c:pt idx="3258">
                  <c:v>0.80555555555555602</c:v>
                </c:pt>
                <c:pt idx="3259">
                  <c:v>0.80555555555555602</c:v>
                </c:pt>
                <c:pt idx="3260">
                  <c:v>0.80555555555555602</c:v>
                </c:pt>
                <c:pt idx="3261">
                  <c:v>0.80555555555555602</c:v>
                </c:pt>
                <c:pt idx="3262">
                  <c:v>0.80555555555555602</c:v>
                </c:pt>
                <c:pt idx="3263">
                  <c:v>0.80555555555555602</c:v>
                </c:pt>
                <c:pt idx="3264">
                  <c:v>0.80558229066410003</c:v>
                </c:pt>
                <c:pt idx="3265">
                  <c:v>0.805676855895197</c:v>
                </c:pt>
                <c:pt idx="3266">
                  <c:v>0.805755395683453</c:v>
                </c:pt>
                <c:pt idx="3267">
                  <c:v>0.80590717299578096</c:v>
                </c:pt>
                <c:pt idx="3268">
                  <c:v>0.80606060606060603</c:v>
                </c:pt>
                <c:pt idx="3269">
                  <c:v>0.80607814761215602</c:v>
                </c:pt>
                <c:pt idx="3270">
                  <c:v>0.80609418282548495</c:v>
                </c:pt>
                <c:pt idx="3271">
                  <c:v>0.80612244897959195</c:v>
                </c:pt>
                <c:pt idx="3272">
                  <c:v>0.80616740088105698</c:v>
                </c:pt>
                <c:pt idx="3273">
                  <c:v>0.80630630630630595</c:v>
                </c:pt>
                <c:pt idx="3274">
                  <c:v>0.80645161290322598</c:v>
                </c:pt>
                <c:pt idx="3275">
                  <c:v>0.80645161290322598</c:v>
                </c:pt>
                <c:pt idx="3276">
                  <c:v>0.80645161290322598</c:v>
                </c:pt>
                <c:pt idx="3277">
                  <c:v>0.80645161290322598</c:v>
                </c:pt>
                <c:pt idx="3278">
                  <c:v>0.80656934306569295</c:v>
                </c:pt>
                <c:pt idx="3279">
                  <c:v>0.80666666666666698</c:v>
                </c:pt>
                <c:pt idx="3280">
                  <c:v>0.80669144981412599</c:v>
                </c:pt>
                <c:pt idx="3281">
                  <c:v>0.80672268907563005</c:v>
                </c:pt>
                <c:pt idx="3282">
                  <c:v>0.80672268907563005</c:v>
                </c:pt>
                <c:pt idx="3283">
                  <c:v>0.80672268907563005</c:v>
                </c:pt>
                <c:pt idx="3284">
                  <c:v>0.80676328502415495</c:v>
                </c:pt>
                <c:pt idx="3285">
                  <c:v>0.80689655172413799</c:v>
                </c:pt>
                <c:pt idx="3286">
                  <c:v>0.806949806949807</c:v>
                </c:pt>
                <c:pt idx="3287">
                  <c:v>0.80701754385964897</c:v>
                </c:pt>
                <c:pt idx="3288">
                  <c:v>0.80701754385964897</c:v>
                </c:pt>
                <c:pt idx="3289">
                  <c:v>0.80720338983050799</c:v>
                </c:pt>
                <c:pt idx="3290">
                  <c:v>0.80729166666666696</c:v>
                </c:pt>
                <c:pt idx="3291">
                  <c:v>0.80729166666666696</c:v>
                </c:pt>
                <c:pt idx="3292">
                  <c:v>0.807339449541284</c:v>
                </c:pt>
                <c:pt idx="3293">
                  <c:v>0.80740740740740702</c:v>
                </c:pt>
                <c:pt idx="3294">
                  <c:v>0.80742049469964705</c:v>
                </c:pt>
                <c:pt idx="3295">
                  <c:v>0.80745341614906796</c:v>
                </c:pt>
                <c:pt idx="3296">
                  <c:v>0.80748663101604301</c:v>
                </c:pt>
                <c:pt idx="3297">
                  <c:v>0.80751173708920199</c:v>
                </c:pt>
                <c:pt idx="3298">
                  <c:v>0.80769230769230804</c:v>
                </c:pt>
                <c:pt idx="3299">
                  <c:v>0.80769230769230804</c:v>
                </c:pt>
                <c:pt idx="3300">
                  <c:v>0.80769230769230804</c:v>
                </c:pt>
                <c:pt idx="3301">
                  <c:v>0.80769230769230804</c:v>
                </c:pt>
                <c:pt idx="3302">
                  <c:v>0.80769230769230804</c:v>
                </c:pt>
                <c:pt idx="3303">
                  <c:v>0.80769230769230804</c:v>
                </c:pt>
                <c:pt idx="3304">
                  <c:v>0.80769230769230804</c:v>
                </c:pt>
                <c:pt idx="3305">
                  <c:v>0.80784313725490198</c:v>
                </c:pt>
                <c:pt idx="3306">
                  <c:v>0.80787781350482302</c:v>
                </c:pt>
                <c:pt idx="3307">
                  <c:v>0.80788177339901501</c:v>
                </c:pt>
                <c:pt idx="3308">
                  <c:v>0.80790960451977401</c:v>
                </c:pt>
                <c:pt idx="3309">
                  <c:v>0.80790960451977401</c:v>
                </c:pt>
                <c:pt idx="3310">
                  <c:v>0.807929515418502</c:v>
                </c:pt>
                <c:pt idx="3311">
                  <c:v>0.80803571428571397</c:v>
                </c:pt>
                <c:pt idx="3312">
                  <c:v>0.80816326530612204</c:v>
                </c:pt>
                <c:pt idx="3313">
                  <c:v>0.80821917808219201</c:v>
                </c:pt>
                <c:pt idx="3314">
                  <c:v>0.80821917808219201</c:v>
                </c:pt>
                <c:pt idx="3315">
                  <c:v>0.80821917808219201</c:v>
                </c:pt>
                <c:pt idx="3316">
                  <c:v>0.80827886710239605</c:v>
                </c:pt>
                <c:pt idx="3317">
                  <c:v>0.80833333333333302</c:v>
                </c:pt>
                <c:pt idx="3318">
                  <c:v>0.80841121495327095</c:v>
                </c:pt>
                <c:pt idx="3319">
                  <c:v>0.80842911877394596</c:v>
                </c:pt>
                <c:pt idx="3320">
                  <c:v>0.80844155844155796</c:v>
                </c:pt>
                <c:pt idx="3321">
                  <c:v>0.80851063829787195</c:v>
                </c:pt>
                <c:pt idx="3322">
                  <c:v>0.808612440191388</c:v>
                </c:pt>
                <c:pt idx="3323">
                  <c:v>0.80865006553079899</c:v>
                </c:pt>
                <c:pt idx="3324">
                  <c:v>0.808664259927798</c:v>
                </c:pt>
                <c:pt idx="3325">
                  <c:v>0.80880974695407704</c:v>
                </c:pt>
                <c:pt idx="3326">
                  <c:v>0.80882352941176505</c:v>
                </c:pt>
                <c:pt idx="3327">
                  <c:v>0.80882352941176505</c:v>
                </c:pt>
                <c:pt idx="3328">
                  <c:v>0.80888888888888899</c:v>
                </c:pt>
                <c:pt idx="3329">
                  <c:v>0.80894308943089399</c:v>
                </c:pt>
                <c:pt idx="3330">
                  <c:v>0.80898876404494402</c:v>
                </c:pt>
                <c:pt idx="3331">
                  <c:v>0.80898876404494402</c:v>
                </c:pt>
                <c:pt idx="3332">
                  <c:v>0.80901287553648105</c:v>
                </c:pt>
                <c:pt idx="3333">
                  <c:v>0.809069212410501</c:v>
                </c:pt>
                <c:pt idx="3334">
                  <c:v>0.80909090909090897</c:v>
                </c:pt>
                <c:pt idx="3335">
                  <c:v>0.80913978494623595</c:v>
                </c:pt>
                <c:pt idx="3336">
                  <c:v>0.809187279151943</c:v>
                </c:pt>
                <c:pt idx="3337">
                  <c:v>0.80923076923076898</c:v>
                </c:pt>
                <c:pt idx="3338">
                  <c:v>0.80927835051546404</c:v>
                </c:pt>
                <c:pt idx="3339">
                  <c:v>0.80935251798561103</c:v>
                </c:pt>
                <c:pt idx="3340">
                  <c:v>0.80940594059405901</c:v>
                </c:pt>
                <c:pt idx="3341">
                  <c:v>0.80952380952380898</c:v>
                </c:pt>
                <c:pt idx="3342">
                  <c:v>0.80952380952380898</c:v>
                </c:pt>
                <c:pt idx="3343">
                  <c:v>0.80952380952380898</c:v>
                </c:pt>
                <c:pt idx="3344">
                  <c:v>0.80952380952380898</c:v>
                </c:pt>
                <c:pt idx="3345">
                  <c:v>0.80952380952380898</c:v>
                </c:pt>
                <c:pt idx="3346">
                  <c:v>0.80952380952380898</c:v>
                </c:pt>
                <c:pt idx="3347">
                  <c:v>0.80984340044742698</c:v>
                </c:pt>
                <c:pt idx="3348">
                  <c:v>0.80989583333333304</c:v>
                </c:pt>
                <c:pt idx="3349">
                  <c:v>0.80990099009900995</c:v>
                </c:pt>
                <c:pt idx="3350">
                  <c:v>0.81</c:v>
                </c:pt>
                <c:pt idx="3351">
                  <c:v>0.810065645514223</c:v>
                </c:pt>
                <c:pt idx="3352">
                  <c:v>0.810126582278481</c:v>
                </c:pt>
                <c:pt idx="3353">
                  <c:v>0.810126582278481</c:v>
                </c:pt>
                <c:pt idx="3354">
                  <c:v>0.81020408163265301</c:v>
                </c:pt>
                <c:pt idx="3355">
                  <c:v>0.81045751633986896</c:v>
                </c:pt>
                <c:pt idx="3356">
                  <c:v>0.81052631578947398</c:v>
                </c:pt>
                <c:pt idx="3357">
                  <c:v>0.81052631578947398</c:v>
                </c:pt>
                <c:pt idx="3358">
                  <c:v>0.81055900621118004</c:v>
                </c:pt>
                <c:pt idx="3359">
                  <c:v>0.81057268722467002</c:v>
                </c:pt>
                <c:pt idx="3360">
                  <c:v>0.810606060606061</c:v>
                </c:pt>
                <c:pt idx="3361">
                  <c:v>0.81062355658198604</c:v>
                </c:pt>
                <c:pt idx="3362">
                  <c:v>0.81065088757396397</c:v>
                </c:pt>
                <c:pt idx="3363">
                  <c:v>0.81071428571428605</c:v>
                </c:pt>
                <c:pt idx="3364">
                  <c:v>0.81074168797954005</c:v>
                </c:pt>
                <c:pt idx="3365">
                  <c:v>0.81081081081081097</c:v>
                </c:pt>
                <c:pt idx="3366">
                  <c:v>0.81081081081081097</c:v>
                </c:pt>
                <c:pt idx="3367">
                  <c:v>0.81081081081081097</c:v>
                </c:pt>
                <c:pt idx="3368">
                  <c:v>0.81081081081081097</c:v>
                </c:pt>
                <c:pt idx="3369">
                  <c:v>0.81081081081081097</c:v>
                </c:pt>
                <c:pt idx="3370">
                  <c:v>0.81081081081081097</c:v>
                </c:pt>
                <c:pt idx="3371">
                  <c:v>0.81086956521739095</c:v>
                </c:pt>
                <c:pt idx="3372">
                  <c:v>0.81094527363184099</c:v>
                </c:pt>
                <c:pt idx="3373">
                  <c:v>0.81097560975609795</c:v>
                </c:pt>
                <c:pt idx="3374">
                  <c:v>0.810983397190294</c:v>
                </c:pt>
                <c:pt idx="3375">
                  <c:v>0.811083123425693</c:v>
                </c:pt>
                <c:pt idx="3376">
                  <c:v>0.81111111111111101</c:v>
                </c:pt>
                <c:pt idx="3377">
                  <c:v>0.81111111111111101</c:v>
                </c:pt>
                <c:pt idx="3378">
                  <c:v>0.81122448979591799</c:v>
                </c:pt>
                <c:pt idx="3379">
                  <c:v>0.81125827814569496</c:v>
                </c:pt>
                <c:pt idx="3380">
                  <c:v>0.81125827814569496</c:v>
                </c:pt>
                <c:pt idx="3381">
                  <c:v>0.81140350877193002</c:v>
                </c:pt>
                <c:pt idx="3382">
                  <c:v>0.811594202898551</c:v>
                </c:pt>
                <c:pt idx="3383">
                  <c:v>0.811594202898551</c:v>
                </c:pt>
                <c:pt idx="3384">
                  <c:v>0.81163434903047105</c:v>
                </c:pt>
                <c:pt idx="3385">
                  <c:v>0.81173594132029303</c:v>
                </c:pt>
                <c:pt idx="3386">
                  <c:v>0.81176470588235305</c:v>
                </c:pt>
                <c:pt idx="3387">
                  <c:v>0.81182795698924703</c:v>
                </c:pt>
                <c:pt idx="3388">
                  <c:v>0.81182795698924703</c:v>
                </c:pt>
                <c:pt idx="3389">
                  <c:v>0.81186685962373395</c:v>
                </c:pt>
                <c:pt idx="3390">
                  <c:v>0.81188118811881205</c:v>
                </c:pt>
                <c:pt idx="3391">
                  <c:v>0.81202435312024401</c:v>
                </c:pt>
                <c:pt idx="3392">
                  <c:v>0.81206030150753805</c:v>
                </c:pt>
                <c:pt idx="3393">
                  <c:v>0.81207444394008199</c:v>
                </c:pt>
                <c:pt idx="3394">
                  <c:v>0.81222707423580798</c:v>
                </c:pt>
                <c:pt idx="3395">
                  <c:v>0.81229773462783195</c:v>
                </c:pt>
                <c:pt idx="3396">
                  <c:v>0.81230769230769195</c:v>
                </c:pt>
                <c:pt idx="3397">
                  <c:v>0.81233933161953698</c:v>
                </c:pt>
                <c:pt idx="3398">
                  <c:v>0.81238273921200699</c:v>
                </c:pt>
                <c:pt idx="3399">
                  <c:v>0.8125</c:v>
                </c:pt>
                <c:pt idx="3400">
                  <c:v>0.8125</c:v>
                </c:pt>
                <c:pt idx="3401">
                  <c:v>0.8125</c:v>
                </c:pt>
                <c:pt idx="3402">
                  <c:v>0.8125</c:v>
                </c:pt>
                <c:pt idx="3403">
                  <c:v>0.8125</c:v>
                </c:pt>
                <c:pt idx="3404">
                  <c:v>0.8125</c:v>
                </c:pt>
                <c:pt idx="3405">
                  <c:v>0.81265206812652102</c:v>
                </c:pt>
                <c:pt idx="3406">
                  <c:v>0.81266490765171495</c:v>
                </c:pt>
                <c:pt idx="3407">
                  <c:v>0.81274900398406402</c:v>
                </c:pt>
                <c:pt idx="3408">
                  <c:v>0.812875536480687</c:v>
                </c:pt>
                <c:pt idx="3409">
                  <c:v>0.81293302540415702</c:v>
                </c:pt>
                <c:pt idx="3410">
                  <c:v>0.81300813008130102</c:v>
                </c:pt>
                <c:pt idx="3411">
                  <c:v>0.81308411214953302</c:v>
                </c:pt>
                <c:pt idx="3412">
                  <c:v>0.81311475409836098</c:v>
                </c:pt>
                <c:pt idx="3413">
                  <c:v>0.81313131313131304</c:v>
                </c:pt>
                <c:pt idx="3414">
                  <c:v>0.81318681318681296</c:v>
                </c:pt>
                <c:pt idx="3415">
                  <c:v>0.81351981351981295</c:v>
                </c:pt>
                <c:pt idx="3416">
                  <c:v>0.81355932203389802</c:v>
                </c:pt>
                <c:pt idx="3417">
                  <c:v>0.81355932203389802</c:v>
                </c:pt>
                <c:pt idx="3418">
                  <c:v>0.81361607142857095</c:v>
                </c:pt>
                <c:pt idx="3419">
                  <c:v>0.81363636363636405</c:v>
                </c:pt>
                <c:pt idx="3420">
                  <c:v>0.81366965012204995</c:v>
                </c:pt>
                <c:pt idx="3421">
                  <c:v>0.81379310344827605</c:v>
                </c:pt>
                <c:pt idx="3422">
                  <c:v>0.81379310344827605</c:v>
                </c:pt>
                <c:pt idx="3423">
                  <c:v>0.81390296886314295</c:v>
                </c:pt>
                <c:pt idx="3424">
                  <c:v>0.81395348837209303</c:v>
                </c:pt>
                <c:pt idx="3425">
                  <c:v>0.81400437636761502</c:v>
                </c:pt>
                <c:pt idx="3426">
                  <c:v>0.81410256410256399</c:v>
                </c:pt>
                <c:pt idx="3427">
                  <c:v>0.81410256410256399</c:v>
                </c:pt>
                <c:pt idx="3428">
                  <c:v>0.81410256410256399</c:v>
                </c:pt>
                <c:pt idx="3429">
                  <c:v>0.81410256410256399</c:v>
                </c:pt>
                <c:pt idx="3430">
                  <c:v>0.81415929203539805</c:v>
                </c:pt>
                <c:pt idx="3431">
                  <c:v>0.81424936386768398</c:v>
                </c:pt>
                <c:pt idx="3432">
                  <c:v>0.81428571428571395</c:v>
                </c:pt>
                <c:pt idx="3433">
                  <c:v>0.81434977578475298</c:v>
                </c:pt>
                <c:pt idx="3434">
                  <c:v>0.81436077057793299</c:v>
                </c:pt>
                <c:pt idx="3435">
                  <c:v>0.81443298969072198</c:v>
                </c:pt>
                <c:pt idx="3436">
                  <c:v>0.81446540880503104</c:v>
                </c:pt>
                <c:pt idx="3437">
                  <c:v>0.81467181467181504</c:v>
                </c:pt>
                <c:pt idx="3438">
                  <c:v>0.81481481481481499</c:v>
                </c:pt>
                <c:pt idx="3439">
                  <c:v>0.81481481481481499</c:v>
                </c:pt>
                <c:pt idx="3440">
                  <c:v>0.81481481481481499</c:v>
                </c:pt>
                <c:pt idx="3441">
                  <c:v>0.81499202551834105</c:v>
                </c:pt>
                <c:pt idx="3442">
                  <c:v>0.81501831501831501</c:v>
                </c:pt>
                <c:pt idx="3443">
                  <c:v>0.81512605042016795</c:v>
                </c:pt>
                <c:pt idx="3444">
                  <c:v>0.81526104417670697</c:v>
                </c:pt>
                <c:pt idx="3445">
                  <c:v>0.81533101045296197</c:v>
                </c:pt>
                <c:pt idx="3446">
                  <c:v>0.81534090909090895</c:v>
                </c:pt>
                <c:pt idx="3447">
                  <c:v>0.815347721822542</c:v>
                </c:pt>
                <c:pt idx="3448">
                  <c:v>0.81543357199681799</c:v>
                </c:pt>
                <c:pt idx="3449">
                  <c:v>0.81551618814905302</c:v>
                </c:pt>
                <c:pt idx="3450">
                  <c:v>0.81558441558441597</c:v>
                </c:pt>
                <c:pt idx="3451">
                  <c:v>0.81560283687943302</c:v>
                </c:pt>
                <c:pt idx="3452">
                  <c:v>0.81560283687943302</c:v>
                </c:pt>
                <c:pt idx="3453">
                  <c:v>0.81560283687943302</c:v>
                </c:pt>
                <c:pt idx="3454">
                  <c:v>0.81560283687943302</c:v>
                </c:pt>
                <c:pt idx="3455">
                  <c:v>0.81571815718157203</c:v>
                </c:pt>
                <c:pt idx="3456">
                  <c:v>0.81572860447185802</c:v>
                </c:pt>
                <c:pt idx="3457">
                  <c:v>0.81578947368420995</c:v>
                </c:pt>
                <c:pt idx="3458">
                  <c:v>0.81578947368420995</c:v>
                </c:pt>
                <c:pt idx="3459">
                  <c:v>0.81578947368420995</c:v>
                </c:pt>
                <c:pt idx="3460">
                  <c:v>0.81578947368420995</c:v>
                </c:pt>
                <c:pt idx="3461">
                  <c:v>0.81584582441113496</c:v>
                </c:pt>
                <c:pt idx="3462">
                  <c:v>0.81595092024539895</c:v>
                </c:pt>
                <c:pt idx="3463">
                  <c:v>0.81603773584905703</c:v>
                </c:pt>
                <c:pt idx="3464">
                  <c:v>0.81605351170568596</c:v>
                </c:pt>
                <c:pt idx="3465">
                  <c:v>0.81609195402298795</c:v>
                </c:pt>
                <c:pt idx="3466">
                  <c:v>0.81609195402298795</c:v>
                </c:pt>
                <c:pt idx="3467">
                  <c:v>0.81611208406304703</c:v>
                </c:pt>
                <c:pt idx="3468">
                  <c:v>0.816143497757848</c:v>
                </c:pt>
                <c:pt idx="3469">
                  <c:v>0.81617647058823495</c:v>
                </c:pt>
                <c:pt idx="3470">
                  <c:v>0.81621621621621598</c:v>
                </c:pt>
                <c:pt idx="3471">
                  <c:v>0.81622911694510702</c:v>
                </c:pt>
                <c:pt idx="3472">
                  <c:v>0.81628392484342405</c:v>
                </c:pt>
                <c:pt idx="3473">
                  <c:v>0.81640625</c:v>
                </c:pt>
                <c:pt idx="3474">
                  <c:v>0.81644934804413205</c:v>
                </c:pt>
                <c:pt idx="3475">
                  <c:v>0.816455696202532</c:v>
                </c:pt>
                <c:pt idx="3476">
                  <c:v>0.81653746770025804</c:v>
                </c:pt>
                <c:pt idx="3477">
                  <c:v>0.81656804733727795</c:v>
                </c:pt>
                <c:pt idx="3478">
                  <c:v>0.81660899653979202</c:v>
                </c:pt>
                <c:pt idx="3479">
                  <c:v>0.81660899653979202</c:v>
                </c:pt>
                <c:pt idx="3480">
                  <c:v>0.81666666666666698</c:v>
                </c:pt>
                <c:pt idx="3481">
                  <c:v>0.81666666666666698</c:v>
                </c:pt>
                <c:pt idx="3482">
                  <c:v>0.81679389312977102</c:v>
                </c:pt>
                <c:pt idx="3483">
                  <c:v>0.81693363844393596</c:v>
                </c:pt>
                <c:pt idx="3484">
                  <c:v>0.81699346405228801</c:v>
                </c:pt>
                <c:pt idx="3485">
                  <c:v>0.81707317073170704</c:v>
                </c:pt>
                <c:pt idx="3486">
                  <c:v>0.81707317073170704</c:v>
                </c:pt>
                <c:pt idx="3487">
                  <c:v>0.817155756207675</c:v>
                </c:pt>
                <c:pt idx="3488">
                  <c:v>0.81720430107526898</c:v>
                </c:pt>
                <c:pt idx="3489">
                  <c:v>0.81720430107526898</c:v>
                </c:pt>
                <c:pt idx="3490">
                  <c:v>0.81730769230769196</c:v>
                </c:pt>
                <c:pt idx="3491">
                  <c:v>0.81740976645435204</c:v>
                </c:pt>
                <c:pt idx="3492">
                  <c:v>0.817460317460317</c:v>
                </c:pt>
                <c:pt idx="3493">
                  <c:v>0.81749049429657805</c:v>
                </c:pt>
                <c:pt idx="3494">
                  <c:v>0.81749049429657805</c:v>
                </c:pt>
                <c:pt idx="3495">
                  <c:v>0.81751824817518204</c:v>
                </c:pt>
                <c:pt idx="3496">
                  <c:v>0.81756756756756699</c:v>
                </c:pt>
                <c:pt idx="3497">
                  <c:v>0.81761006289308202</c:v>
                </c:pt>
                <c:pt idx="3498">
                  <c:v>0.81763285024154597</c:v>
                </c:pt>
                <c:pt idx="3499">
                  <c:v>0.81773399014778303</c:v>
                </c:pt>
                <c:pt idx="3500">
                  <c:v>0.81775700934579398</c:v>
                </c:pt>
                <c:pt idx="3501">
                  <c:v>0.81784386617100402</c:v>
                </c:pt>
                <c:pt idx="3502">
                  <c:v>0.81793478260869601</c:v>
                </c:pt>
                <c:pt idx="3503">
                  <c:v>0.81793478260869601</c:v>
                </c:pt>
                <c:pt idx="3504">
                  <c:v>0.81795511221945105</c:v>
                </c:pt>
                <c:pt idx="3505">
                  <c:v>0.81797235023041504</c:v>
                </c:pt>
                <c:pt idx="3506">
                  <c:v>0.81818181818181801</c:v>
                </c:pt>
                <c:pt idx="3507">
                  <c:v>0.81818181818181801</c:v>
                </c:pt>
                <c:pt idx="3508">
                  <c:v>0.81818181818181801</c:v>
                </c:pt>
                <c:pt idx="3509">
                  <c:v>0.81818181818181801</c:v>
                </c:pt>
                <c:pt idx="3510">
                  <c:v>0.81818181818181801</c:v>
                </c:pt>
                <c:pt idx="3511">
                  <c:v>0.81818181818181801</c:v>
                </c:pt>
                <c:pt idx="3512">
                  <c:v>0.81818181818181801</c:v>
                </c:pt>
                <c:pt idx="3513">
                  <c:v>0.818319454958365</c:v>
                </c:pt>
                <c:pt idx="3514">
                  <c:v>0.81845238095238104</c:v>
                </c:pt>
                <c:pt idx="3515">
                  <c:v>0.81855670103092804</c:v>
                </c:pt>
                <c:pt idx="3516">
                  <c:v>0.81858407079646001</c:v>
                </c:pt>
                <c:pt idx="3517">
                  <c:v>0.81862745098039202</c:v>
                </c:pt>
                <c:pt idx="3518">
                  <c:v>0.81868131868131899</c:v>
                </c:pt>
                <c:pt idx="3519">
                  <c:v>0.81868131868131899</c:v>
                </c:pt>
                <c:pt idx="3520">
                  <c:v>0.81871345029239795</c:v>
                </c:pt>
                <c:pt idx="3521">
                  <c:v>0.81871345029239795</c:v>
                </c:pt>
                <c:pt idx="3522">
                  <c:v>0.81881533101045301</c:v>
                </c:pt>
                <c:pt idx="3523">
                  <c:v>0.81881533101045301</c:v>
                </c:pt>
                <c:pt idx="3524">
                  <c:v>0.81884057971014501</c:v>
                </c:pt>
                <c:pt idx="3525">
                  <c:v>0.81885856079404495</c:v>
                </c:pt>
                <c:pt idx="3526">
                  <c:v>0.81886792452830204</c:v>
                </c:pt>
                <c:pt idx="3527">
                  <c:v>0.81886792452830204</c:v>
                </c:pt>
                <c:pt idx="3528">
                  <c:v>0.81889763779527602</c:v>
                </c:pt>
                <c:pt idx="3529">
                  <c:v>0.818965517241379</c:v>
                </c:pt>
                <c:pt idx="3530">
                  <c:v>0.818965517241379</c:v>
                </c:pt>
                <c:pt idx="3531">
                  <c:v>0.81900452488687803</c:v>
                </c:pt>
                <c:pt idx="3532">
                  <c:v>0.819148936170213</c:v>
                </c:pt>
                <c:pt idx="3533">
                  <c:v>0.81927710843373502</c:v>
                </c:pt>
                <c:pt idx="3534">
                  <c:v>0.81927710843373502</c:v>
                </c:pt>
                <c:pt idx="3535">
                  <c:v>0.81927710843373502</c:v>
                </c:pt>
                <c:pt idx="3536">
                  <c:v>0.81944444444444398</c:v>
                </c:pt>
                <c:pt idx="3537">
                  <c:v>0.81952662721893499</c:v>
                </c:pt>
                <c:pt idx="3538">
                  <c:v>0.81954887218045103</c:v>
                </c:pt>
                <c:pt idx="3539">
                  <c:v>0.81956521739130395</c:v>
                </c:pt>
                <c:pt idx="3540">
                  <c:v>0.81979695431472099</c:v>
                </c:pt>
                <c:pt idx="3541">
                  <c:v>0.81981981981981999</c:v>
                </c:pt>
                <c:pt idx="3542">
                  <c:v>0.81981981981981999</c:v>
                </c:pt>
                <c:pt idx="3543">
                  <c:v>0.81987577639751497</c:v>
                </c:pt>
                <c:pt idx="3544">
                  <c:v>0.81987577639751497</c:v>
                </c:pt>
                <c:pt idx="3545">
                  <c:v>0.81987577639751497</c:v>
                </c:pt>
                <c:pt idx="3546">
                  <c:v>0.81990521327014199</c:v>
                </c:pt>
                <c:pt idx="3547">
                  <c:v>0.81993006993007</c:v>
                </c:pt>
                <c:pt idx="3548">
                  <c:v>0.81994261119081802</c:v>
                </c:pt>
                <c:pt idx="3549">
                  <c:v>0.82</c:v>
                </c:pt>
                <c:pt idx="3550">
                  <c:v>0.82</c:v>
                </c:pt>
                <c:pt idx="3551">
                  <c:v>0.82</c:v>
                </c:pt>
                <c:pt idx="3552">
                  <c:v>0.82004555808655999</c:v>
                </c:pt>
                <c:pt idx="3553">
                  <c:v>0.82010582010582</c:v>
                </c:pt>
                <c:pt idx="3554">
                  <c:v>0.8203125</c:v>
                </c:pt>
                <c:pt idx="3555">
                  <c:v>0.82040816326530597</c:v>
                </c:pt>
                <c:pt idx="3556">
                  <c:v>0.82051282051282004</c:v>
                </c:pt>
                <c:pt idx="3557">
                  <c:v>0.82051282051282004</c:v>
                </c:pt>
                <c:pt idx="3558">
                  <c:v>0.82065217391304301</c:v>
                </c:pt>
                <c:pt idx="3559">
                  <c:v>0.82066869300911804</c:v>
                </c:pt>
                <c:pt idx="3560">
                  <c:v>0.82068965517241399</c:v>
                </c:pt>
                <c:pt idx="3561">
                  <c:v>0.82071269487750498</c:v>
                </c:pt>
                <c:pt idx="3562">
                  <c:v>0.82071713147410397</c:v>
                </c:pt>
                <c:pt idx="3563">
                  <c:v>0.820754716981132</c:v>
                </c:pt>
                <c:pt idx="3564">
                  <c:v>0.82079646017699104</c:v>
                </c:pt>
                <c:pt idx="3565">
                  <c:v>0.82080200501253098</c:v>
                </c:pt>
                <c:pt idx="3566">
                  <c:v>0.82088208820882103</c:v>
                </c:pt>
                <c:pt idx="3567">
                  <c:v>0.82089552238805996</c:v>
                </c:pt>
                <c:pt idx="3568">
                  <c:v>0.82092555331992001</c:v>
                </c:pt>
                <c:pt idx="3569">
                  <c:v>0.82093023255814002</c:v>
                </c:pt>
                <c:pt idx="3570">
                  <c:v>0.82095490716180397</c:v>
                </c:pt>
                <c:pt idx="3571">
                  <c:v>0.82098765432098797</c:v>
                </c:pt>
                <c:pt idx="3572">
                  <c:v>0.82107023411371205</c:v>
                </c:pt>
                <c:pt idx="3573">
                  <c:v>0.82110091743119296</c:v>
                </c:pt>
                <c:pt idx="3574">
                  <c:v>0.82113821138211396</c:v>
                </c:pt>
                <c:pt idx="3575">
                  <c:v>0.821187584345479</c:v>
                </c:pt>
                <c:pt idx="3576">
                  <c:v>0.82119205298013198</c:v>
                </c:pt>
                <c:pt idx="3577">
                  <c:v>0.82121212121212095</c:v>
                </c:pt>
                <c:pt idx="3578">
                  <c:v>0.82130584192439904</c:v>
                </c:pt>
                <c:pt idx="3579">
                  <c:v>0.82142857142857095</c:v>
                </c:pt>
                <c:pt idx="3580">
                  <c:v>0.82151589242053802</c:v>
                </c:pt>
                <c:pt idx="3581">
                  <c:v>0.82159624413145504</c:v>
                </c:pt>
                <c:pt idx="3582">
                  <c:v>0.82178217821782196</c:v>
                </c:pt>
                <c:pt idx="3583">
                  <c:v>0.82179054054054101</c:v>
                </c:pt>
                <c:pt idx="3584">
                  <c:v>0.82183908045977005</c:v>
                </c:pt>
                <c:pt idx="3585">
                  <c:v>0.82191780821917804</c:v>
                </c:pt>
                <c:pt idx="3586">
                  <c:v>0.82191780821917804</c:v>
                </c:pt>
                <c:pt idx="3587">
                  <c:v>0.82199999999999995</c:v>
                </c:pt>
                <c:pt idx="3588">
                  <c:v>0.822033898305085</c:v>
                </c:pt>
                <c:pt idx="3589">
                  <c:v>0.82205882352941195</c:v>
                </c:pt>
                <c:pt idx="3590">
                  <c:v>0.82208588957055195</c:v>
                </c:pt>
                <c:pt idx="3591">
                  <c:v>0.82213438735177902</c:v>
                </c:pt>
                <c:pt idx="3592">
                  <c:v>0.82217573221757301</c:v>
                </c:pt>
                <c:pt idx="3593">
                  <c:v>0.82222222222222197</c:v>
                </c:pt>
                <c:pt idx="3594">
                  <c:v>0.822257806244996</c:v>
                </c:pt>
                <c:pt idx="3595">
                  <c:v>0.82236842105263097</c:v>
                </c:pt>
                <c:pt idx="3596">
                  <c:v>0.82239382239382197</c:v>
                </c:pt>
                <c:pt idx="3597">
                  <c:v>0.82242990654205606</c:v>
                </c:pt>
                <c:pt idx="3598">
                  <c:v>0.82244897959183705</c:v>
                </c:pt>
                <c:pt idx="3599">
                  <c:v>0.82251082251082197</c:v>
                </c:pt>
                <c:pt idx="3600">
                  <c:v>0.82258064516129004</c:v>
                </c:pt>
                <c:pt idx="3601">
                  <c:v>0.82258064516129004</c:v>
                </c:pt>
                <c:pt idx="3602">
                  <c:v>0.82258064516129004</c:v>
                </c:pt>
                <c:pt idx="3603">
                  <c:v>0.82258064516129004</c:v>
                </c:pt>
                <c:pt idx="3604">
                  <c:v>0.82265090230242699</c:v>
                </c:pt>
                <c:pt idx="3605">
                  <c:v>0.82266009852216704</c:v>
                </c:pt>
                <c:pt idx="3606">
                  <c:v>0.82269503546099298</c:v>
                </c:pt>
                <c:pt idx="3607">
                  <c:v>0.82274247491638797</c:v>
                </c:pt>
                <c:pt idx="3608">
                  <c:v>0.82280867106503297</c:v>
                </c:pt>
                <c:pt idx="3609">
                  <c:v>0.82285714285714295</c:v>
                </c:pt>
                <c:pt idx="3610">
                  <c:v>0.82291666666666696</c:v>
                </c:pt>
                <c:pt idx="3611">
                  <c:v>0.82300884955752196</c:v>
                </c:pt>
                <c:pt idx="3612">
                  <c:v>0.82300884955752196</c:v>
                </c:pt>
                <c:pt idx="3613">
                  <c:v>0.82315789473684198</c:v>
                </c:pt>
                <c:pt idx="3614">
                  <c:v>0.82317073170731703</c:v>
                </c:pt>
                <c:pt idx="3615">
                  <c:v>0.82319660537482298</c:v>
                </c:pt>
                <c:pt idx="3616">
                  <c:v>0.82325581395348801</c:v>
                </c:pt>
                <c:pt idx="3617">
                  <c:v>0.82326621923937404</c:v>
                </c:pt>
                <c:pt idx="3618">
                  <c:v>0.82344213649851605</c:v>
                </c:pt>
                <c:pt idx="3619">
                  <c:v>0.82352941176470595</c:v>
                </c:pt>
                <c:pt idx="3620">
                  <c:v>0.82352941176470595</c:v>
                </c:pt>
                <c:pt idx="3621">
                  <c:v>0.82352941176470595</c:v>
                </c:pt>
                <c:pt idx="3622">
                  <c:v>0.82352941176470595</c:v>
                </c:pt>
                <c:pt idx="3623">
                  <c:v>0.82352941176470595</c:v>
                </c:pt>
                <c:pt idx="3624">
                  <c:v>0.82365364308342104</c:v>
                </c:pt>
                <c:pt idx="3625">
                  <c:v>0.82367149758454095</c:v>
                </c:pt>
                <c:pt idx="3626">
                  <c:v>0.82369146005509597</c:v>
                </c:pt>
                <c:pt idx="3627">
                  <c:v>0.82372881355932204</c:v>
                </c:pt>
                <c:pt idx="3628">
                  <c:v>0.82383419689119197</c:v>
                </c:pt>
                <c:pt idx="3629">
                  <c:v>0.82384341637010705</c:v>
                </c:pt>
                <c:pt idx="3630">
                  <c:v>0.82385120350109398</c:v>
                </c:pt>
                <c:pt idx="3631">
                  <c:v>0.823943661971831</c:v>
                </c:pt>
                <c:pt idx="3632">
                  <c:v>0.82397003745318298</c:v>
                </c:pt>
                <c:pt idx="3633">
                  <c:v>0.82417582417582402</c:v>
                </c:pt>
                <c:pt idx="3634">
                  <c:v>0.824242424242424</c:v>
                </c:pt>
                <c:pt idx="3635">
                  <c:v>0.82426778242677801</c:v>
                </c:pt>
                <c:pt idx="3636">
                  <c:v>0.82432432432432401</c:v>
                </c:pt>
                <c:pt idx="3637">
                  <c:v>0.82432432432432401</c:v>
                </c:pt>
                <c:pt idx="3638">
                  <c:v>0.82432432432432401</c:v>
                </c:pt>
                <c:pt idx="3639">
                  <c:v>0.82433090024330902</c:v>
                </c:pt>
                <c:pt idx="3640">
                  <c:v>0.82451923076923095</c:v>
                </c:pt>
                <c:pt idx="3641">
                  <c:v>0.82453151618398601</c:v>
                </c:pt>
                <c:pt idx="3642">
                  <c:v>0.82456140350877205</c:v>
                </c:pt>
                <c:pt idx="3643">
                  <c:v>0.82456140350877205</c:v>
                </c:pt>
                <c:pt idx="3644">
                  <c:v>0.82456140350877205</c:v>
                </c:pt>
                <c:pt idx="3645">
                  <c:v>0.82456140350877205</c:v>
                </c:pt>
                <c:pt idx="3646">
                  <c:v>0.82476635514018704</c:v>
                </c:pt>
                <c:pt idx="3647">
                  <c:v>0.82478632478632496</c:v>
                </c:pt>
                <c:pt idx="3648">
                  <c:v>0.824824824824825</c:v>
                </c:pt>
                <c:pt idx="3649">
                  <c:v>0.82484076433121001</c:v>
                </c:pt>
                <c:pt idx="3650">
                  <c:v>0.82488479262672798</c:v>
                </c:pt>
                <c:pt idx="3651">
                  <c:v>0.82499999999999996</c:v>
                </c:pt>
                <c:pt idx="3652">
                  <c:v>0.82499999999999996</c:v>
                </c:pt>
                <c:pt idx="3653">
                  <c:v>0.82499999999999996</c:v>
                </c:pt>
                <c:pt idx="3654">
                  <c:v>0.82499999999999996</c:v>
                </c:pt>
                <c:pt idx="3655">
                  <c:v>0.82505399568034499</c:v>
                </c:pt>
                <c:pt idx="3656">
                  <c:v>0.82508250825082496</c:v>
                </c:pt>
                <c:pt idx="3657">
                  <c:v>0.82511210762331799</c:v>
                </c:pt>
                <c:pt idx="3658">
                  <c:v>0.82513661202185795</c:v>
                </c:pt>
                <c:pt idx="3659">
                  <c:v>0.82513661202185795</c:v>
                </c:pt>
                <c:pt idx="3660">
                  <c:v>0.82517482517482499</c:v>
                </c:pt>
                <c:pt idx="3661">
                  <c:v>0.8251953125</c:v>
                </c:pt>
                <c:pt idx="3662">
                  <c:v>0.82524271844660202</c:v>
                </c:pt>
                <c:pt idx="3663">
                  <c:v>0.82527881040892204</c:v>
                </c:pt>
                <c:pt idx="3664">
                  <c:v>0.82539682539682502</c:v>
                </c:pt>
                <c:pt idx="3665">
                  <c:v>0.82539682539682502</c:v>
                </c:pt>
                <c:pt idx="3666">
                  <c:v>0.82539682539682502</c:v>
                </c:pt>
                <c:pt idx="3667">
                  <c:v>0.82555282555282505</c:v>
                </c:pt>
                <c:pt idx="3668">
                  <c:v>0.82558139534883701</c:v>
                </c:pt>
                <c:pt idx="3669">
                  <c:v>0.82558922558922498</c:v>
                </c:pt>
                <c:pt idx="3670">
                  <c:v>0.8256</c:v>
                </c:pt>
                <c:pt idx="3671">
                  <c:v>0.82564102564102604</c:v>
                </c:pt>
                <c:pt idx="3672">
                  <c:v>0.82565789473684204</c:v>
                </c:pt>
                <c:pt idx="3673">
                  <c:v>0.82575757575757602</c:v>
                </c:pt>
                <c:pt idx="3674">
                  <c:v>0.82582582582582598</c:v>
                </c:pt>
                <c:pt idx="3675">
                  <c:v>0.82582582582582598</c:v>
                </c:pt>
                <c:pt idx="3676">
                  <c:v>0.82602339181286499</c:v>
                </c:pt>
                <c:pt idx="3677">
                  <c:v>0.82608695652173902</c:v>
                </c:pt>
                <c:pt idx="3678">
                  <c:v>0.82608695652173902</c:v>
                </c:pt>
                <c:pt idx="3679">
                  <c:v>0.82615986584684198</c:v>
                </c:pt>
                <c:pt idx="3680">
                  <c:v>0.82619974059662804</c:v>
                </c:pt>
                <c:pt idx="3681">
                  <c:v>0.82629107981220695</c:v>
                </c:pt>
                <c:pt idx="3682">
                  <c:v>0.82634730538922097</c:v>
                </c:pt>
                <c:pt idx="3683">
                  <c:v>0.82638888888888895</c:v>
                </c:pt>
                <c:pt idx="3684">
                  <c:v>0.82638888888888895</c:v>
                </c:pt>
                <c:pt idx="3685">
                  <c:v>0.82643957826439596</c:v>
                </c:pt>
                <c:pt idx="3686">
                  <c:v>0.82646420824294997</c:v>
                </c:pt>
                <c:pt idx="3687">
                  <c:v>0.82647584973166399</c:v>
                </c:pt>
                <c:pt idx="3688">
                  <c:v>0.82648401826483997</c:v>
                </c:pt>
                <c:pt idx="3689">
                  <c:v>0.82650602409638496</c:v>
                </c:pt>
                <c:pt idx="3690">
                  <c:v>0.82653061224489799</c:v>
                </c:pt>
                <c:pt idx="3691">
                  <c:v>0.82653061224489799</c:v>
                </c:pt>
                <c:pt idx="3692">
                  <c:v>0.82661290322580605</c:v>
                </c:pt>
                <c:pt idx="3693">
                  <c:v>0.82666666666666699</c:v>
                </c:pt>
                <c:pt idx="3694">
                  <c:v>0.82670906200317995</c:v>
                </c:pt>
                <c:pt idx="3695">
                  <c:v>0.82692307692307698</c:v>
                </c:pt>
                <c:pt idx="3696">
                  <c:v>0.82692307692307698</c:v>
                </c:pt>
                <c:pt idx="3697">
                  <c:v>0.82692307692307698</c:v>
                </c:pt>
                <c:pt idx="3698">
                  <c:v>0.82694475760992103</c:v>
                </c:pt>
                <c:pt idx="3699">
                  <c:v>0.82702702702702702</c:v>
                </c:pt>
                <c:pt idx="3700">
                  <c:v>0.82706766917293195</c:v>
                </c:pt>
                <c:pt idx="3701">
                  <c:v>0.82707993474714503</c:v>
                </c:pt>
                <c:pt idx="3702">
                  <c:v>0.827111984282908</c:v>
                </c:pt>
                <c:pt idx="3703">
                  <c:v>0.82716049382715995</c:v>
                </c:pt>
                <c:pt idx="3704">
                  <c:v>0.82716049382715995</c:v>
                </c:pt>
                <c:pt idx="3705">
                  <c:v>0.82719546742209604</c:v>
                </c:pt>
                <c:pt idx="3706">
                  <c:v>0.82720178372352304</c:v>
                </c:pt>
                <c:pt idx="3707">
                  <c:v>0.82724252491694295</c:v>
                </c:pt>
                <c:pt idx="3708">
                  <c:v>0.82727272727272705</c:v>
                </c:pt>
                <c:pt idx="3709">
                  <c:v>0.82731277533039604</c:v>
                </c:pt>
                <c:pt idx="3710">
                  <c:v>0.82746478873239404</c:v>
                </c:pt>
                <c:pt idx="3711">
                  <c:v>0.82758620689655205</c:v>
                </c:pt>
                <c:pt idx="3712">
                  <c:v>0.82758620689655205</c:v>
                </c:pt>
                <c:pt idx="3713">
                  <c:v>0.82758620689655205</c:v>
                </c:pt>
                <c:pt idx="3714">
                  <c:v>0.82763532763532799</c:v>
                </c:pt>
                <c:pt idx="3715">
                  <c:v>0.82769230769230795</c:v>
                </c:pt>
                <c:pt idx="3716">
                  <c:v>0.82769726247987097</c:v>
                </c:pt>
                <c:pt idx="3717">
                  <c:v>0.82771305947271601</c:v>
                </c:pt>
                <c:pt idx="3718">
                  <c:v>0.82783882783882801</c:v>
                </c:pt>
                <c:pt idx="3719">
                  <c:v>0.82786885245901598</c:v>
                </c:pt>
                <c:pt idx="3720">
                  <c:v>0.82792452830188701</c:v>
                </c:pt>
                <c:pt idx="3721">
                  <c:v>0.82795698924731198</c:v>
                </c:pt>
                <c:pt idx="3722">
                  <c:v>0.82795698924731198</c:v>
                </c:pt>
                <c:pt idx="3723">
                  <c:v>0.82798833819242001</c:v>
                </c:pt>
                <c:pt idx="3724">
                  <c:v>0.82801418439716301</c:v>
                </c:pt>
                <c:pt idx="3725">
                  <c:v>0.82804232804232802</c:v>
                </c:pt>
                <c:pt idx="3726">
                  <c:v>0.82807017543859596</c:v>
                </c:pt>
                <c:pt idx="3727">
                  <c:v>0.828125</c:v>
                </c:pt>
                <c:pt idx="3728">
                  <c:v>0.828125</c:v>
                </c:pt>
                <c:pt idx="3729">
                  <c:v>0.828125</c:v>
                </c:pt>
                <c:pt idx="3730">
                  <c:v>0.82827476038338599</c:v>
                </c:pt>
                <c:pt idx="3731">
                  <c:v>0.82828282828282795</c:v>
                </c:pt>
                <c:pt idx="3732">
                  <c:v>0.82828282828282795</c:v>
                </c:pt>
                <c:pt idx="3733">
                  <c:v>0.82828282828282795</c:v>
                </c:pt>
                <c:pt idx="3734">
                  <c:v>0.82839313572542905</c:v>
                </c:pt>
                <c:pt idx="3735">
                  <c:v>0.82857142857142896</c:v>
                </c:pt>
                <c:pt idx="3736">
                  <c:v>0.82857142857142896</c:v>
                </c:pt>
                <c:pt idx="3737">
                  <c:v>0.82857142857142896</c:v>
                </c:pt>
                <c:pt idx="3738">
                  <c:v>0.828711256117455</c:v>
                </c:pt>
                <c:pt idx="3739">
                  <c:v>0.82878411910670002</c:v>
                </c:pt>
                <c:pt idx="3740">
                  <c:v>0.82881002087682698</c:v>
                </c:pt>
                <c:pt idx="3741">
                  <c:v>0.82888888888888901</c:v>
                </c:pt>
                <c:pt idx="3742">
                  <c:v>0.82889733840304203</c:v>
                </c:pt>
                <c:pt idx="3743">
                  <c:v>0.82894736842105299</c:v>
                </c:pt>
                <c:pt idx="3744">
                  <c:v>0.82907348242811496</c:v>
                </c:pt>
                <c:pt idx="3745">
                  <c:v>0.82918149466192204</c:v>
                </c:pt>
                <c:pt idx="3746">
                  <c:v>0.82918739635157501</c:v>
                </c:pt>
                <c:pt idx="3747">
                  <c:v>0.82923076923076899</c:v>
                </c:pt>
                <c:pt idx="3748">
                  <c:v>0.82938388625592396</c:v>
                </c:pt>
                <c:pt idx="3749">
                  <c:v>0.82945736434108497</c:v>
                </c:pt>
                <c:pt idx="3750">
                  <c:v>0.82958199356913198</c:v>
                </c:pt>
                <c:pt idx="3751">
                  <c:v>0.82963827304550797</c:v>
                </c:pt>
                <c:pt idx="3752">
                  <c:v>0.82978723404255295</c:v>
                </c:pt>
                <c:pt idx="3753">
                  <c:v>0.82978723404255295</c:v>
                </c:pt>
                <c:pt idx="3754">
                  <c:v>0.82978723404255295</c:v>
                </c:pt>
                <c:pt idx="3755">
                  <c:v>0.82978723404255295</c:v>
                </c:pt>
                <c:pt idx="3756">
                  <c:v>0.82986111111111105</c:v>
                </c:pt>
                <c:pt idx="3757">
                  <c:v>0.82990654205607495</c:v>
                </c:pt>
                <c:pt idx="3758">
                  <c:v>0.83</c:v>
                </c:pt>
                <c:pt idx="3759">
                  <c:v>0.83</c:v>
                </c:pt>
                <c:pt idx="3760">
                  <c:v>0.83002832861189801</c:v>
                </c:pt>
                <c:pt idx="3761">
                  <c:v>0.83006535947712401</c:v>
                </c:pt>
                <c:pt idx="3762">
                  <c:v>0.83011583011583001</c:v>
                </c:pt>
                <c:pt idx="3763">
                  <c:v>0.83013698630137001</c:v>
                </c:pt>
                <c:pt idx="3764">
                  <c:v>0.83018867924528295</c:v>
                </c:pt>
                <c:pt idx="3765">
                  <c:v>0.83018867924528295</c:v>
                </c:pt>
                <c:pt idx="3766">
                  <c:v>0.83028720626631902</c:v>
                </c:pt>
                <c:pt idx="3767">
                  <c:v>0.83029001074113795</c:v>
                </c:pt>
                <c:pt idx="3768">
                  <c:v>0.83031301482701803</c:v>
                </c:pt>
                <c:pt idx="3769">
                  <c:v>0.83032490974729201</c:v>
                </c:pt>
                <c:pt idx="3770">
                  <c:v>0.83035714285714302</c:v>
                </c:pt>
                <c:pt idx="3771">
                  <c:v>0.83035714285714302</c:v>
                </c:pt>
                <c:pt idx="3772">
                  <c:v>0.83035714285714302</c:v>
                </c:pt>
                <c:pt idx="3773">
                  <c:v>0.83038869257950498</c:v>
                </c:pt>
                <c:pt idx="3774">
                  <c:v>0.83040935672514604</c:v>
                </c:pt>
                <c:pt idx="3775">
                  <c:v>0.83040935672514604</c:v>
                </c:pt>
                <c:pt idx="3776">
                  <c:v>0.83050847457627097</c:v>
                </c:pt>
                <c:pt idx="3777">
                  <c:v>0.83050847457627097</c:v>
                </c:pt>
                <c:pt idx="3778">
                  <c:v>0.83050847457627097</c:v>
                </c:pt>
                <c:pt idx="3779">
                  <c:v>0.83050847457627097</c:v>
                </c:pt>
                <c:pt idx="3780">
                  <c:v>0.83067729083665298</c:v>
                </c:pt>
                <c:pt idx="3781">
                  <c:v>0.83068783068783103</c:v>
                </c:pt>
                <c:pt idx="3782">
                  <c:v>0.83070866141732302</c:v>
                </c:pt>
                <c:pt idx="3783">
                  <c:v>0.83076923076923104</c:v>
                </c:pt>
                <c:pt idx="3784">
                  <c:v>0.83088235294117596</c:v>
                </c:pt>
                <c:pt idx="3785">
                  <c:v>0.83098591549295797</c:v>
                </c:pt>
                <c:pt idx="3786">
                  <c:v>0.83100107642626497</c:v>
                </c:pt>
                <c:pt idx="3787">
                  <c:v>0.83103448275862102</c:v>
                </c:pt>
                <c:pt idx="3788">
                  <c:v>0.83105022831050201</c:v>
                </c:pt>
                <c:pt idx="3789">
                  <c:v>0.83108108108108103</c:v>
                </c:pt>
                <c:pt idx="3790">
                  <c:v>0.83109919571045598</c:v>
                </c:pt>
                <c:pt idx="3791">
                  <c:v>0.831168831168831</c:v>
                </c:pt>
                <c:pt idx="3792">
                  <c:v>0.83125519534497105</c:v>
                </c:pt>
                <c:pt idx="3793">
                  <c:v>0.83129855715871304</c:v>
                </c:pt>
                <c:pt idx="3794">
                  <c:v>0.83132530120481896</c:v>
                </c:pt>
                <c:pt idx="3795">
                  <c:v>0.83136327817178901</c:v>
                </c:pt>
                <c:pt idx="3796">
                  <c:v>0.83154121863799302</c:v>
                </c:pt>
                <c:pt idx="3797">
                  <c:v>0.83168316831683198</c:v>
                </c:pt>
                <c:pt idx="3798">
                  <c:v>0.83171521035598694</c:v>
                </c:pt>
                <c:pt idx="3799">
                  <c:v>0.83177570093457898</c:v>
                </c:pt>
                <c:pt idx="3800">
                  <c:v>0.83193277310924396</c:v>
                </c:pt>
                <c:pt idx="3801">
                  <c:v>0.83199999999999996</c:v>
                </c:pt>
                <c:pt idx="3802">
                  <c:v>0.83216783216783197</c:v>
                </c:pt>
                <c:pt idx="3803">
                  <c:v>0.832278481012658</c:v>
                </c:pt>
                <c:pt idx="3804">
                  <c:v>0.83233532934131704</c:v>
                </c:pt>
                <c:pt idx="3805">
                  <c:v>0.83238636363636398</c:v>
                </c:pt>
                <c:pt idx="3806">
                  <c:v>0.83247422680412397</c:v>
                </c:pt>
                <c:pt idx="3807">
                  <c:v>0.832558139534884</c:v>
                </c:pt>
                <c:pt idx="3808">
                  <c:v>0.83256528417818698</c:v>
                </c:pt>
                <c:pt idx="3809">
                  <c:v>0.83259911894273098</c:v>
                </c:pt>
                <c:pt idx="3810">
                  <c:v>0.83261802575107302</c:v>
                </c:pt>
                <c:pt idx="3811">
                  <c:v>0.83266932270916305</c:v>
                </c:pt>
                <c:pt idx="3812">
                  <c:v>0.83275261324041805</c:v>
                </c:pt>
                <c:pt idx="3813">
                  <c:v>0.83275261324041805</c:v>
                </c:pt>
                <c:pt idx="3814">
                  <c:v>0.83278688524590205</c:v>
                </c:pt>
                <c:pt idx="3815">
                  <c:v>0.83284457478005902</c:v>
                </c:pt>
                <c:pt idx="3816">
                  <c:v>0.83290488431876597</c:v>
                </c:pt>
                <c:pt idx="3817">
                  <c:v>0.83292978208232404</c:v>
                </c:pt>
                <c:pt idx="3818">
                  <c:v>0.83296703296703301</c:v>
                </c:pt>
                <c:pt idx="3819">
                  <c:v>0.83308270676691698</c:v>
                </c:pt>
                <c:pt idx="3820">
                  <c:v>0.83310595725329695</c:v>
                </c:pt>
                <c:pt idx="3821">
                  <c:v>0.83311081441922596</c:v>
                </c:pt>
                <c:pt idx="3822">
                  <c:v>0.83324566017885304</c:v>
                </c:pt>
                <c:pt idx="3823">
                  <c:v>0.83333333333333304</c:v>
                </c:pt>
                <c:pt idx="3824">
                  <c:v>0.83333333333333304</c:v>
                </c:pt>
                <c:pt idx="3825">
                  <c:v>0.83333333333333304</c:v>
                </c:pt>
                <c:pt idx="3826">
                  <c:v>0.83333333333333304</c:v>
                </c:pt>
                <c:pt idx="3827">
                  <c:v>0.83333333333333304</c:v>
                </c:pt>
                <c:pt idx="3828">
                  <c:v>0.83333333333333304</c:v>
                </c:pt>
                <c:pt idx="3829">
                  <c:v>0.83333333333333304</c:v>
                </c:pt>
                <c:pt idx="3830">
                  <c:v>0.83333333333333304</c:v>
                </c:pt>
                <c:pt idx="3831">
                  <c:v>0.83333333333333304</c:v>
                </c:pt>
                <c:pt idx="3832">
                  <c:v>0.83333333333333304</c:v>
                </c:pt>
                <c:pt idx="3833">
                  <c:v>0.83333333333333304</c:v>
                </c:pt>
                <c:pt idx="3834">
                  <c:v>0.83333333333333304</c:v>
                </c:pt>
                <c:pt idx="3835">
                  <c:v>0.83333333333333304</c:v>
                </c:pt>
                <c:pt idx="3836">
                  <c:v>0.83333333333333304</c:v>
                </c:pt>
                <c:pt idx="3837">
                  <c:v>0.83333333333333304</c:v>
                </c:pt>
                <c:pt idx="3838">
                  <c:v>0.83333333333333304</c:v>
                </c:pt>
                <c:pt idx="3839">
                  <c:v>0.83333333333333304</c:v>
                </c:pt>
                <c:pt idx="3840">
                  <c:v>0.83333333333333304</c:v>
                </c:pt>
                <c:pt idx="3841">
                  <c:v>0.83333333333333304</c:v>
                </c:pt>
                <c:pt idx="3842">
                  <c:v>0.833644859813084</c:v>
                </c:pt>
                <c:pt idx="3843">
                  <c:v>0.83368869936034096</c:v>
                </c:pt>
                <c:pt idx="3844">
                  <c:v>0.83374896093100603</c:v>
                </c:pt>
                <c:pt idx="3845">
                  <c:v>0.833810888252149</c:v>
                </c:pt>
                <c:pt idx="3846">
                  <c:v>0.833827893175074</c:v>
                </c:pt>
                <c:pt idx="3847">
                  <c:v>0.83386581469648602</c:v>
                </c:pt>
                <c:pt idx="3848">
                  <c:v>0.83412322274881501</c:v>
                </c:pt>
                <c:pt idx="3849">
                  <c:v>0.83428571428571396</c:v>
                </c:pt>
                <c:pt idx="3850">
                  <c:v>0.83433734939758997</c:v>
                </c:pt>
                <c:pt idx="3851">
                  <c:v>0.834504293520687</c:v>
                </c:pt>
                <c:pt idx="3852">
                  <c:v>0.83453237410071901</c:v>
                </c:pt>
                <c:pt idx="3853">
                  <c:v>0.83453237410071901</c:v>
                </c:pt>
                <c:pt idx="3854">
                  <c:v>0.83458646616541299</c:v>
                </c:pt>
                <c:pt idx="3855">
                  <c:v>0.83460559796437706</c:v>
                </c:pt>
                <c:pt idx="3856">
                  <c:v>0.83464566929133799</c:v>
                </c:pt>
                <c:pt idx="3857">
                  <c:v>0.83464566929133799</c:v>
                </c:pt>
                <c:pt idx="3858">
                  <c:v>0.83465608465608498</c:v>
                </c:pt>
                <c:pt idx="3859">
                  <c:v>0.83482142857142905</c:v>
                </c:pt>
                <c:pt idx="3860">
                  <c:v>0.83486238532110102</c:v>
                </c:pt>
                <c:pt idx="3861">
                  <c:v>0.83486238532110102</c:v>
                </c:pt>
                <c:pt idx="3862">
                  <c:v>0.83486238532110102</c:v>
                </c:pt>
                <c:pt idx="3863">
                  <c:v>0.83486238532110102</c:v>
                </c:pt>
                <c:pt idx="3864">
                  <c:v>0.83493449781659401</c:v>
                </c:pt>
                <c:pt idx="3865">
                  <c:v>0.83495145631068002</c:v>
                </c:pt>
                <c:pt idx="3866">
                  <c:v>0.83516483516483497</c:v>
                </c:pt>
                <c:pt idx="3867">
                  <c:v>0.83516483516483497</c:v>
                </c:pt>
                <c:pt idx="3868">
                  <c:v>0.835443037974684</c:v>
                </c:pt>
                <c:pt idx="3869">
                  <c:v>0.835443037974684</c:v>
                </c:pt>
                <c:pt idx="3870">
                  <c:v>0.835443037974684</c:v>
                </c:pt>
                <c:pt idx="3871">
                  <c:v>0.835443037974684</c:v>
                </c:pt>
                <c:pt idx="3872">
                  <c:v>0.835443037974684</c:v>
                </c:pt>
                <c:pt idx="3873">
                  <c:v>0.835443037974684</c:v>
                </c:pt>
                <c:pt idx="3874">
                  <c:v>0.835443037974684</c:v>
                </c:pt>
                <c:pt idx="3875">
                  <c:v>0.83547557840617004</c:v>
                </c:pt>
                <c:pt idx="3876">
                  <c:v>0.83555555555555605</c:v>
                </c:pt>
                <c:pt idx="3877">
                  <c:v>0.83561643835616395</c:v>
                </c:pt>
                <c:pt idx="3878">
                  <c:v>0.83561643835616395</c:v>
                </c:pt>
                <c:pt idx="3879">
                  <c:v>0.83563096500530198</c:v>
                </c:pt>
                <c:pt idx="3880">
                  <c:v>0.83566433566433596</c:v>
                </c:pt>
                <c:pt idx="3881">
                  <c:v>0.83572567783094098</c:v>
                </c:pt>
                <c:pt idx="3882">
                  <c:v>0.835748792270531</c:v>
                </c:pt>
                <c:pt idx="3883">
                  <c:v>0.83582089552238803</c:v>
                </c:pt>
                <c:pt idx="3884">
                  <c:v>0.83589743589743604</c:v>
                </c:pt>
                <c:pt idx="3885">
                  <c:v>0.8359375</c:v>
                </c:pt>
                <c:pt idx="3886">
                  <c:v>0.83595113438045399</c:v>
                </c:pt>
                <c:pt idx="3887">
                  <c:v>0.83606557377049195</c:v>
                </c:pt>
                <c:pt idx="3888">
                  <c:v>0.83606557377049195</c:v>
                </c:pt>
                <c:pt idx="3889">
                  <c:v>0.83615819209039499</c:v>
                </c:pt>
                <c:pt idx="3890">
                  <c:v>0.83617021276595704</c:v>
                </c:pt>
                <c:pt idx="3891">
                  <c:v>0.83618581907090495</c:v>
                </c:pt>
                <c:pt idx="3892">
                  <c:v>0.83620689655172398</c:v>
                </c:pt>
                <c:pt idx="3893">
                  <c:v>0.83620689655172398</c:v>
                </c:pt>
                <c:pt idx="3894">
                  <c:v>0.83623336745138199</c:v>
                </c:pt>
                <c:pt idx="3895">
                  <c:v>0.83624161073825498</c:v>
                </c:pt>
                <c:pt idx="3896">
                  <c:v>0.83625730994152003</c:v>
                </c:pt>
                <c:pt idx="3897">
                  <c:v>0.83629191321498997</c:v>
                </c:pt>
                <c:pt idx="3898">
                  <c:v>0.83636363636363598</c:v>
                </c:pt>
                <c:pt idx="3899">
                  <c:v>0.83636363636363598</c:v>
                </c:pt>
                <c:pt idx="3900">
                  <c:v>0.83636363636363598</c:v>
                </c:pt>
                <c:pt idx="3901">
                  <c:v>0.83643122676579895</c:v>
                </c:pt>
                <c:pt idx="3902">
                  <c:v>0.83650190114068401</c:v>
                </c:pt>
                <c:pt idx="3903">
                  <c:v>0.83653846153846201</c:v>
                </c:pt>
                <c:pt idx="3904">
                  <c:v>0.83661971830985904</c:v>
                </c:pt>
                <c:pt idx="3905">
                  <c:v>0.83665338645418297</c:v>
                </c:pt>
                <c:pt idx="3906">
                  <c:v>0.83673469387755095</c:v>
                </c:pt>
                <c:pt idx="3907">
                  <c:v>0.83676975945017196</c:v>
                </c:pt>
                <c:pt idx="3908">
                  <c:v>0.83679525222551898</c:v>
                </c:pt>
                <c:pt idx="3909">
                  <c:v>0.83687943262411302</c:v>
                </c:pt>
                <c:pt idx="3910">
                  <c:v>0.83689320388349497</c:v>
                </c:pt>
                <c:pt idx="3911">
                  <c:v>0.83690987124463501</c:v>
                </c:pt>
                <c:pt idx="3912">
                  <c:v>0.83695652173913004</c:v>
                </c:pt>
                <c:pt idx="3913">
                  <c:v>0.83695652173913004</c:v>
                </c:pt>
                <c:pt idx="3914">
                  <c:v>0.83700440528634401</c:v>
                </c:pt>
                <c:pt idx="3915">
                  <c:v>0.837209302325581</c:v>
                </c:pt>
                <c:pt idx="3916">
                  <c:v>0.837209302325581</c:v>
                </c:pt>
                <c:pt idx="3917">
                  <c:v>0.83731617647058798</c:v>
                </c:pt>
                <c:pt idx="3918">
                  <c:v>0.83739837398373995</c:v>
                </c:pt>
                <c:pt idx="3919">
                  <c:v>0.83739837398373995</c:v>
                </c:pt>
                <c:pt idx="3920">
                  <c:v>0.83747609942638601</c:v>
                </c:pt>
                <c:pt idx="3921">
                  <c:v>0.83750000000000002</c:v>
                </c:pt>
                <c:pt idx="3922">
                  <c:v>0.83750000000000002</c:v>
                </c:pt>
                <c:pt idx="3923">
                  <c:v>0.83760683760683796</c:v>
                </c:pt>
                <c:pt idx="3924">
                  <c:v>0.83760683760683796</c:v>
                </c:pt>
                <c:pt idx="3925">
                  <c:v>0.837619397501837</c:v>
                </c:pt>
                <c:pt idx="3926">
                  <c:v>0.83762200532386899</c:v>
                </c:pt>
                <c:pt idx="3927">
                  <c:v>0.83771929824561397</c:v>
                </c:pt>
                <c:pt idx="3928">
                  <c:v>0.83773584905660403</c:v>
                </c:pt>
                <c:pt idx="3929">
                  <c:v>0.83775811209439499</c:v>
                </c:pt>
                <c:pt idx="3930">
                  <c:v>0.83777777777777795</c:v>
                </c:pt>
                <c:pt idx="3931">
                  <c:v>0.83783783783783805</c:v>
                </c:pt>
                <c:pt idx="3932">
                  <c:v>0.83783783783783805</c:v>
                </c:pt>
                <c:pt idx="3933">
                  <c:v>0.83783783783783805</c:v>
                </c:pt>
                <c:pt idx="3934">
                  <c:v>0.83783783783783805</c:v>
                </c:pt>
                <c:pt idx="3935">
                  <c:v>0.83792048929663598</c:v>
                </c:pt>
                <c:pt idx="3936">
                  <c:v>0.83796296296296302</c:v>
                </c:pt>
                <c:pt idx="3937">
                  <c:v>0.83798882681564202</c:v>
                </c:pt>
                <c:pt idx="3938">
                  <c:v>0.83802816901408395</c:v>
                </c:pt>
                <c:pt idx="3939">
                  <c:v>0.83807439824945296</c:v>
                </c:pt>
                <c:pt idx="3940">
                  <c:v>0.83808095952023998</c:v>
                </c:pt>
                <c:pt idx="3941">
                  <c:v>0.83808437856328399</c:v>
                </c:pt>
                <c:pt idx="3942">
                  <c:v>0.83816793893129804</c:v>
                </c:pt>
                <c:pt idx="3943">
                  <c:v>0.83823529411764697</c:v>
                </c:pt>
                <c:pt idx="3944">
                  <c:v>0.83832335329341301</c:v>
                </c:pt>
                <c:pt idx="3945">
                  <c:v>0.83838383838383801</c:v>
                </c:pt>
                <c:pt idx="3946">
                  <c:v>0.83843717001055995</c:v>
                </c:pt>
                <c:pt idx="3947">
                  <c:v>0.83850715033135703</c:v>
                </c:pt>
                <c:pt idx="3948">
                  <c:v>0.83850931677018603</c:v>
                </c:pt>
                <c:pt idx="3949">
                  <c:v>0.83850931677018603</c:v>
                </c:pt>
                <c:pt idx="3950">
                  <c:v>0.83857868020304605</c:v>
                </c:pt>
                <c:pt idx="3951">
                  <c:v>0.83858998144712404</c:v>
                </c:pt>
                <c:pt idx="3952">
                  <c:v>0.83860232945091495</c:v>
                </c:pt>
                <c:pt idx="3953">
                  <c:v>0.83864337101747199</c:v>
                </c:pt>
                <c:pt idx="3954">
                  <c:v>0.83870967741935498</c:v>
                </c:pt>
                <c:pt idx="3955">
                  <c:v>0.83870967741935498</c:v>
                </c:pt>
                <c:pt idx="3956">
                  <c:v>0.83870967741935498</c:v>
                </c:pt>
                <c:pt idx="3957">
                  <c:v>0.83870967741935498</c:v>
                </c:pt>
                <c:pt idx="3958">
                  <c:v>0.83870967741935498</c:v>
                </c:pt>
                <c:pt idx="3959">
                  <c:v>0.83870967741935498</c:v>
                </c:pt>
                <c:pt idx="3960">
                  <c:v>0.83870967741935498</c:v>
                </c:pt>
                <c:pt idx="3961">
                  <c:v>0.83884546001202598</c:v>
                </c:pt>
                <c:pt idx="3962">
                  <c:v>0.83887043189368804</c:v>
                </c:pt>
                <c:pt idx="3963">
                  <c:v>0.83888888888888902</c:v>
                </c:pt>
                <c:pt idx="3964">
                  <c:v>0.83888888888888902</c:v>
                </c:pt>
                <c:pt idx="3965">
                  <c:v>0.83896620278330003</c:v>
                </c:pt>
                <c:pt idx="3966">
                  <c:v>0.83898305084745795</c:v>
                </c:pt>
                <c:pt idx="3967">
                  <c:v>0.83904109589041098</c:v>
                </c:pt>
                <c:pt idx="3968">
                  <c:v>0.83908045977011503</c:v>
                </c:pt>
                <c:pt idx="3969">
                  <c:v>0.83908045977011503</c:v>
                </c:pt>
                <c:pt idx="3970">
                  <c:v>0.83928571428571397</c:v>
                </c:pt>
                <c:pt idx="3971">
                  <c:v>0.83933518005540197</c:v>
                </c:pt>
                <c:pt idx="3972">
                  <c:v>0.839416058394161</c:v>
                </c:pt>
                <c:pt idx="3973">
                  <c:v>0.83948339483394796</c:v>
                </c:pt>
                <c:pt idx="3974">
                  <c:v>0.83950617283950602</c:v>
                </c:pt>
                <c:pt idx="3975">
                  <c:v>0.83950617283950602</c:v>
                </c:pt>
                <c:pt idx="3976">
                  <c:v>0.83951551854655604</c:v>
                </c:pt>
                <c:pt idx="3977">
                  <c:v>0.839622641509434</c:v>
                </c:pt>
                <c:pt idx="3978">
                  <c:v>0.83972602739725999</c:v>
                </c:pt>
                <c:pt idx="3979">
                  <c:v>0.83973288814691105</c:v>
                </c:pt>
                <c:pt idx="3980">
                  <c:v>0.83976833976833998</c:v>
                </c:pt>
                <c:pt idx="3981">
                  <c:v>0.83977900552486195</c:v>
                </c:pt>
                <c:pt idx="3982">
                  <c:v>0.83977900552486195</c:v>
                </c:pt>
                <c:pt idx="3983">
                  <c:v>0.83987341772151902</c:v>
                </c:pt>
                <c:pt idx="3984">
                  <c:v>0.83987682832948396</c:v>
                </c:pt>
                <c:pt idx="3985">
                  <c:v>0.83987915407854996</c:v>
                </c:pt>
                <c:pt idx="3986">
                  <c:v>0.83988764044943798</c:v>
                </c:pt>
                <c:pt idx="3987">
                  <c:v>0.84</c:v>
                </c:pt>
                <c:pt idx="3988">
                  <c:v>0.84</c:v>
                </c:pt>
                <c:pt idx="3989">
                  <c:v>0.84</c:v>
                </c:pt>
                <c:pt idx="3990">
                  <c:v>0.84</c:v>
                </c:pt>
                <c:pt idx="3991">
                  <c:v>0.84</c:v>
                </c:pt>
                <c:pt idx="3992">
                  <c:v>0.84020618556700999</c:v>
                </c:pt>
                <c:pt idx="3993">
                  <c:v>0.84023668639053195</c:v>
                </c:pt>
                <c:pt idx="3994">
                  <c:v>0.84032634032634002</c:v>
                </c:pt>
                <c:pt idx="3995">
                  <c:v>0.84033613445378097</c:v>
                </c:pt>
                <c:pt idx="3996">
                  <c:v>0.84033613445378097</c:v>
                </c:pt>
                <c:pt idx="3997">
                  <c:v>0.84037558685446001</c:v>
                </c:pt>
                <c:pt idx="3998">
                  <c:v>0.84040178571428603</c:v>
                </c:pt>
                <c:pt idx="3999">
                  <c:v>0.84040404040404004</c:v>
                </c:pt>
                <c:pt idx="4000">
                  <c:v>0.840425531914894</c:v>
                </c:pt>
                <c:pt idx="4001">
                  <c:v>0.840425531914894</c:v>
                </c:pt>
                <c:pt idx="4002">
                  <c:v>0.84051724137931005</c:v>
                </c:pt>
                <c:pt idx="4003">
                  <c:v>0.84076433121019101</c:v>
                </c:pt>
                <c:pt idx="4004">
                  <c:v>0.84085862324204297</c:v>
                </c:pt>
                <c:pt idx="4005">
                  <c:v>0.840862422997947</c:v>
                </c:pt>
                <c:pt idx="4006">
                  <c:v>0.84090909090909105</c:v>
                </c:pt>
                <c:pt idx="4007">
                  <c:v>0.84090909090909105</c:v>
                </c:pt>
                <c:pt idx="4008">
                  <c:v>0.84090909090909105</c:v>
                </c:pt>
                <c:pt idx="4009">
                  <c:v>0.84095427435387704</c:v>
                </c:pt>
                <c:pt idx="4010">
                  <c:v>0.84098939929328598</c:v>
                </c:pt>
                <c:pt idx="4011">
                  <c:v>0.84098939929328598</c:v>
                </c:pt>
                <c:pt idx="4012">
                  <c:v>0.84102564102564104</c:v>
                </c:pt>
                <c:pt idx="4013">
                  <c:v>0.84105960264900703</c:v>
                </c:pt>
                <c:pt idx="4014">
                  <c:v>0.84112149532710301</c:v>
                </c:pt>
                <c:pt idx="4015">
                  <c:v>0.84112149532710301</c:v>
                </c:pt>
                <c:pt idx="4016">
                  <c:v>0.84112149532710301</c:v>
                </c:pt>
                <c:pt idx="4017">
                  <c:v>0.84112149532710301</c:v>
                </c:pt>
                <c:pt idx="4018">
                  <c:v>0.84112149532710301</c:v>
                </c:pt>
                <c:pt idx="4019">
                  <c:v>0.84112595419847302</c:v>
                </c:pt>
                <c:pt idx="4020">
                  <c:v>0.84126984126984095</c:v>
                </c:pt>
                <c:pt idx="4021">
                  <c:v>0.84126984126984095</c:v>
                </c:pt>
                <c:pt idx="4022">
                  <c:v>0.84126984126984095</c:v>
                </c:pt>
                <c:pt idx="4023">
                  <c:v>0.84131736526946099</c:v>
                </c:pt>
                <c:pt idx="4024">
                  <c:v>0.84135977337110501</c:v>
                </c:pt>
                <c:pt idx="4025">
                  <c:v>0.84140969162995605</c:v>
                </c:pt>
                <c:pt idx="4026">
                  <c:v>0.841432225063939</c:v>
                </c:pt>
                <c:pt idx="4027">
                  <c:v>0.84143763213530598</c:v>
                </c:pt>
                <c:pt idx="4028">
                  <c:v>0.84157160963244604</c:v>
                </c:pt>
                <c:pt idx="4029">
                  <c:v>0.84162520729684898</c:v>
                </c:pt>
                <c:pt idx="4030">
                  <c:v>0.841628959276018</c:v>
                </c:pt>
                <c:pt idx="4031">
                  <c:v>0.84164222873900296</c:v>
                </c:pt>
                <c:pt idx="4032">
                  <c:v>0.84166666666666701</c:v>
                </c:pt>
                <c:pt idx="4033">
                  <c:v>0.84166666666666701</c:v>
                </c:pt>
                <c:pt idx="4034">
                  <c:v>0.84172661870503596</c:v>
                </c:pt>
                <c:pt idx="4035">
                  <c:v>0.84172661870503596</c:v>
                </c:pt>
                <c:pt idx="4036">
                  <c:v>0.84179104477611899</c:v>
                </c:pt>
                <c:pt idx="4037">
                  <c:v>0.84180790960452001</c:v>
                </c:pt>
                <c:pt idx="4038">
                  <c:v>0.84195402298850597</c:v>
                </c:pt>
                <c:pt idx="4039">
                  <c:v>0.84200385356454699</c:v>
                </c:pt>
                <c:pt idx="4040">
                  <c:v>0.84210526315789502</c:v>
                </c:pt>
                <c:pt idx="4041">
                  <c:v>0.84210526315789502</c:v>
                </c:pt>
                <c:pt idx="4042">
                  <c:v>0.84210526315789502</c:v>
                </c:pt>
                <c:pt idx="4043">
                  <c:v>0.84210526315789502</c:v>
                </c:pt>
                <c:pt idx="4044">
                  <c:v>0.84210526315789502</c:v>
                </c:pt>
                <c:pt idx="4045">
                  <c:v>0.84219554030874799</c:v>
                </c:pt>
                <c:pt idx="4046">
                  <c:v>0.84220907297830405</c:v>
                </c:pt>
                <c:pt idx="4047">
                  <c:v>0.84239130434782605</c:v>
                </c:pt>
                <c:pt idx="4048">
                  <c:v>0.84242424242424196</c:v>
                </c:pt>
                <c:pt idx="4049">
                  <c:v>0.84246575342465801</c:v>
                </c:pt>
                <c:pt idx="4050">
                  <c:v>0.84246575342465801</c:v>
                </c:pt>
                <c:pt idx="4051">
                  <c:v>0.84249628528974696</c:v>
                </c:pt>
                <c:pt idx="4052">
                  <c:v>0.842592592592593</c:v>
                </c:pt>
                <c:pt idx="4053">
                  <c:v>0.842592592592593</c:v>
                </c:pt>
                <c:pt idx="4054">
                  <c:v>0.84262295081967198</c:v>
                </c:pt>
                <c:pt idx="4055">
                  <c:v>0.84263959390862897</c:v>
                </c:pt>
                <c:pt idx="4056">
                  <c:v>0.84269662921348298</c:v>
                </c:pt>
                <c:pt idx="4057">
                  <c:v>0.84269662921348298</c:v>
                </c:pt>
                <c:pt idx="4058">
                  <c:v>0.84282460136674298</c:v>
                </c:pt>
                <c:pt idx="4059">
                  <c:v>0.84285714285714297</c:v>
                </c:pt>
                <c:pt idx="4060">
                  <c:v>0.84285714285714297</c:v>
                </c:pt>
                <c:pt idx="4061">
                  <c:v>0.84285714285714297</c:v>
                </c:pt>
                <c:pt idx="4062">
                  <c:v>0.84285714285714297</c:v>
                </c:pt>
                <c:pt idx="4063">
                  <c:v>0.84290540540540504</c:v>
                </c:pt>
                <c:pt idx="4064">
                  <c:v>0.84294871794871795</c:v>
                </c:pt>
                <c:pt idx="4065">
                  <c:v>0.84300341296928305</c:v>
                </c:pt>
                <c:pt idx="4066">
                  <c:v>0.84302325581395299</c:v>
                </c:pt>
                <c:pt idx="4067">
                  <c:v>0.84302325581395299</c:v>
                </c:pt>
                <c:pt idx="4068">
                  <c:v>0.84310018903591699</c:v>
                </c:pt>
                <c:pt idx="4069">
                  <c:v>0.84310618066561005</c:v>
                </c:pt>
                <c:pt idx="4070">
                  <c:v>0.84313725490196101</c:v>
                </c:pt>
                <c:pt idx="4071">
                  <c:v>0.84313725490196101</c:v>
                </c:pt>
                <c:pt idx="4072">
                  <c:v>0.84318766066838002</c:v>
                </c:pt>
                <c:pt idx="4073">
                  <c:v>0.84324324324324296</c:v>
                </c:pt>
                <c:pt idx="4074">
                  <c:v>0.84324758842443703</c:v>
                </c:pt>
                <c:pt idx="4075">
                  <c:v>0.84327323162274603</c:v>
                </c:pt>
                <c:pt idx="4076">
                  <c:v>0.84331337325349298</c:v>
                </c:pt>
                <c:pt idx="4077">
                  <c:v>0.843373493975904</c:v>
                </c:pt>
                <c:pt idx="4078">
                  <c:v>0.843373493975904</c:v>
                </c:pt>
                <c:pt idx="4079">
                  <c:v>0.84339080459770099</c:v>
                </c:pt>
                <c:pt idx="4080">
                  <c:v>0.84351145038167896</c:v>
                </c:pt>
                <c:pt idx="4081">
                  <c:v>0.84360189573459698</c:v>
                </c:pt>
                <c:pt idx="4082">
                  <c:v>0.843621399176955</c:v>
                </c:pt>
                <c:pt idx="4083">
                  <c:v>0.84363636363636396</c:v>
                </c:pt>
                <c:pt idx="4084">
                  <c:v>0.84369449378330397</c:v>
                </c:pt>
                <c:pt idx="4085">
                  <c:v>0.84375</c:v>
                </c:pt>
                <c:pt idx="4086">
                  <c:v>0.84375</c:v>
                </c:pt>
                <c:pt idx="4087">
                  <c:v>0.84379562043795597</c:v>
                </c:pt>
                <c:pt idx="4088">
                  <c:v>0.84381778741865499</c:v>
                </c:pt>
                <c:pt idx="4089">
                  <c:v>0.84382871536523896</c:v>
                </c:pt>
                <c:pt idx="4090">
                  <c:v>0.84383561643835603</c:v>
                </c:pt>
                <c:pt idx="4091">
                  <c:v>0.84383561643835603</c:v>
                </c:pt>
                <c:pt idx="4092">
                  <c:v>0.84389489953632102</c:v>
                </c:pt>
                <c:pt idx="4093">
                  <c:v>0.84390243902438999</c:v>
                </c:pt>
                <c:pt idx="4094">
                  <c:v>0.84397163120567398</c:v>
                </c:pt>
                <c:pt idx="4095">
                  <c:v>0.84403669724770602</c:v>
                </c:pt>
                <c:pt idx="4096">
                  <c:v>0.84403669724770602</c:v>
                </c:pt>
                <c:pt idx="4097">
                  <c:v>0.84408602150537604</c:v>
                </c:pt>
                <c:pt idx="4098">
                  <c:v>0.84408602150537604</c:v>
                </c:pt>
                <c:pt idx="4099">
                  <c:v>0.844091360476663</c:v>
                </c:pt>
                <c:pt idx="4100">
                  <c:v>0.84419263456090599</c:v>
                </c:pt>
                <c:pt idx="4101">
                  <c:v>0.84422110552763796</c:v>
                </c:pt>
                <c:pt idx="4102">
                  <c:v>0.84424379232505598</c:v>
                </c:pt>
                <c:pt idx="4103">
                  <c:v>0.84426229508196704</c:v>
                </c:pt>
                <c:pt idx="4104">
                  <c:v>0.84429065743944598</c:v>
                </c:pt>
                <c:pt idx="4105">
                  <c:v>0.84442595673876897</c:v>
                </c:pt>
                <c:pt idx="4106">
                  <c:v>0.844444444444444</c:v>
                </c:pt>
                <c:pt idx="4107">
                  <c:v>0.844444444444444</c:v>
                </c:pt>
                <c:pt idx="4108">
                  <c:v>0.844444444444444</c:v>
                </c:pt>
                <c:pt idx="4109">
                  <c:v>0.84448160535117101</c:v>
                </c:pt>
                <c:pt idx="4110">
                  <c:v>0.84451219512195097</c:v>
                </c:pt>
                <c:pt idx="4111">
                  <c:v>0.84451219512195097</c:v>
                </c:pt>
                <c:pt idx="4112">
                  <c:v>0.84455958549222798</c:v>
                </c:pt>
                <c:pt idx="4113">
                  <c:v>0.84467713787085497</c:v>
                </c:pt>
                <c:pt idx="4114">
                  <c:v>0.84473197781885401</c:v>
                </c:pt>
                <c:pt idx="4115">
                  <c:v>0.84480431848852899</c:v>
                </c:pt>
                <c:pt idx="4116">
                  <c:v>0.84482758620689702</c:v>
                </c:pt>
                <c:pt idx="4117">
                  <c:v>0.84485981308411195</c:v>
                </c:pt>
                <c:pt idx="4118">
                  <c:v>0.84496124031007702</c:v>
                </c:pt>
                <c:pt idx="4119">
                  <c:v>0.84507042253521103</c:v>
                </c:pt>
                <c:pt idx="4120">
                  <c:v>0.84507042253521103</c:v>
                </c:pt>
                <c:pt idx="4121">
                  <c:v>0.84518828451882799</c:v>
                </c:pt>
                <c:pt idx="4122">
                  <c:v>0.84520123839009298</c:v>
                </c:pt>
                <c:pt idx="4123">
                  <c:v>0.84520306062389605</c:v>
                </c:pt>
                <c:pt idx="4124">
                  <c:v>0.84521739130434803</c:v>
                </c:pt>
                <c:pt idx="4125">
                  <c:v>0.84523809523809501</c:v>
                </c:pt>
                <c:pt idx="4126">
                  <c:v>0.84530386740331498</c:v>
                </c:pt>
                <c:pt idx="4127">
                  <c:v>0.84530386740331498</c:v>
                </c:pt>
                <c:pt idx="4128">
                  <c:v>0.84539473684210498</c:v>
                </c:pt>
                <c:pt idx="4129">
                  <c:v>0.84554455445544496</c:v>
                </c:pt>
                <c:pt idx="4130">
                  <c:v>0.84562211981566804</c:v>
                </c:pt>
                <c:pt idx="4131">
                  <c:v>0.84565916398713803</c:v>
                </c:pt>
                <c:pt idx="4132">
                  <c:v>0.84567901234567899</c:v>
                </c:pt>
                <c:pt idx="4133">
                  <c:v>0.84568439407149099</c:v>
                </c:pt>
                <c:pt idx="4134">
                  <c:v>0.84569732937685504</c:v>
                </c:pt>
                <c:pt idx="4135">
                  <c:v>0.84574468085106402</c:v>
                </c:pt>
                <c:pt idx="4136">
                  <c:v>0.84574468085106402</c:v>
                </c:pt>
                <c:pt idx="4137">
                  <c:v>0.84578313253012005</c:v>
                </c:pt>
                <c:pt idx="4138">
                  <c:v>0.84581497797356797</c:v>
                </c:pt>
                <c:pt idx="4139">
                  <c:v>0.84587155963302696</c:v>
                </c:pt>
                <c:pt idx="4140">
                  <c:v>0.84589426321709804</c:v>
                </c:pt>
                <c:pt idx="4141">
                  <c:v>0.84595300261096595</c:v>
                </c:pt>
                <c:pt idx="4142">
                  <c:v>0.84596375617792396</c:v>
                </c:pt>
                <c:pt idx="4143">
                  <c:v>0.84615384615384603</c:v>
                </c:pt>
                <c:pt idx="4144">
                  <c:v>0.84615384615384603</c:v>
                </c:pt>
                <c:pt idx="4145">
                  <c:v>0.84615384615384603</c:v>
                </c:pt>
                <c:pt idx="4146">
                  <c:v>0.84615384615384603</c:v>
                </c:pt>
                <c:pt idx="4147">
                  <c:v>0.84615384615384603</c:v>
                </c:pt>
                <c:pt idx="4148">
                  <c:v>0.84615384615384603</c:v>
                </c:pt>
                <c:pt idx="4149">
                  <c:v>0.84615384615384603</c:v>
                </c:pt>
                <c:pt idx="4150">
                  <c:v>0.84615384615384603</c:v>
                </c:pt>
                <c:pt idx="4151">
                  <c:v>0.84615384615384603</c:v>
                </c:pt>
                <c:pt idx="4152">
                  <c:v>0.84632034632034603</c:v>
                </c:pt>
                <c:pt idx="4153">
                  <c:v>0.846330275229358</c:v>
                </c:pt>
                <c:pt idx="4154">
                  <c:v>0.84637681159420297</c:v>
                </c:pt>
                <c:pt idx="4155">
                  <c:v>0.84647302904564303</c:v>
                </c:pt>
                <c:pt idx="4156">
                  <c:v>0.84653465346534595</c:v>
                </c:pt>
                <c:pt idx="4157">
                  <c:v>0.84656084656084596</c:v>
                </c:pt>
                <c:pt idx="4158">
                  <c:v>0.84668192219679606</c:v>
                </c:pt>
                <c:pt idx="4159">
                  <c:v>0.84671532846715303</c:v>
                </c:pt>
                <c:pt idx="4160">
                  <c:v>0.84671532846715303</c:v>
                </c:pt>
                <c:pt idx="4161">
                  <c:v>0.84674329501915702</c:v>
                </c:pt>
                <c:pt idx="4162">
                  <c:v>0.84675324675324704</c:v>
                </c:pt>
                <c:pt idx="4163">
                  <c:v>0.84675324675324704</c:v>
                </c:pt>
                <c:pt idx="4164">
                  <c:v>0.84677419354838701</c:v>
                </c:pt>
                <c:pt idx="4165">
                  <c:v>0.84677419354838701</c:v>
                </c:pt>
                <c:pt idx="4166">
                  <c:v>0.84690553745928299</c:v>
                </c:pt>
                <c:pt idx="4167">
                  <c:v>0.84691848906560596</c:v>
                </c:pt>
                <c:pt idx="4168">
                  <c:v>0.84693877551020402</c:v>
                </c:pt>
                <c:pt idx="4169">
                  <c:v>0.84695652173913005</c:v>
                </c:pt>
                <c:pt idx="4170">
                  <c:v>0.84698608964451305</c:v>
                </c:pt>
                <c:pt idx="4171">
                  <c:v>0.84699453551912596</c:v>
                </c:pt>
                <c:pt idx="4172">
                  <c:v>0.84699453551912596</c:v>
                </c:pt>
                <c:pt idx="4173">
                  <c:v>0.84705882352941197</c:v>
                </c:pt>
                <c:pt idx="4174">
                  <c:v>0.84705882352941197</c:v>
                </c:pt>
                <c:pt idx="4175">
                  <c:v>0.84705882352941197</c:v>
                </c:pt>
                <c:pt idx="4176">
                  <c:v>0.847122302158273</c:v>
                </c:pt>
                <c:pt idx="4177">
                  <c:v>0.84716157205240195</c:v>
                </c:pt>
                <c:pt idx="4178">
                  <c:v>0.84716157205240195</c:v>
                </c:pt>
                <c:pt idx="4179">
                  <c:v>0.84722222222222199</c:v>
                </c:pt>
                <c:pt idx="4180">
                  <c:v>0.84729064039408897</c:v>
                </c:pt>
                <c:pt idx="4181">
                  <c:v>0.84745762711864403</c:v>
                </c:pt>
                <c:pt idx="4182">
                  <c:v>0.84745762711864403</c:v>
                </c:pt>
                <c:pt idx="4183">
                  <c:v>0.84761904761904805</c:v>
                </c:pt>
                <c:pt idx="4184">
                  <c:v>0.84771573604060901</c:v>
                </c:pt>
                <c:pt idx="4185">
                  <c:v>0.84773662551440299</c:v>
                </c:pt>
                <c:pt idx="4186">
                  <c:v>0.84778012684989401</c:v>
                </c:pt>
                <c:pt idx="4187">
                  <c:v>0.84782608695652195</c:v>
                </c:pt>
                <c:pt idx="4188">
                  <c:v>0.84782608695652195</c:v>
                </c:pt>
                <c:pt idx="4189">
                  <c:v>0.84782608695652195</c:v>
                </c:pt>
                <c:pt idx="4190">
                  <c:v>0.84782608695652195</c:v>
                </c:pt>
                <c:pt idx="4191">
                  <c:v>0.84782608695652195</c:v>
                </c:pt>
                <c:pt idx="4192">
                  <c:v>0.84782608695652195</c:v>
                </c:pt>
                <c:pt idx="4193">
                  <c:v>0.84782608695652195</c:v>
                </c:pt>
                <c:pt idx="4194">
                  <c:v>0.84782608695652195</c:v>
                </c:pt>
                <c:pt idx="4195">
                  <c:v>0.84782608695652195</c:v>
                </c:pt>
                <c:pt idx="4196">
                  <c:v>0.847919655667145</c:v>
                </c:pt>
                <c:pt idx="4197">
                  <c:v>0.84799999999999998</c:v>
                </c:pt>
                <c:pt idx="4198">
                  <c:v>0.84800664451827201</c:v>
                </c:pt>
                <c:pt idx="4199">
                  <c:v>0.848101265822785</c:v>
                </c:pt>
                <c:pt idx="4200">
                  <c:v>0.84814814814814798</c:v>
                </c:pt>
                <c:pt idx="4201">
                  <c:v>0.84821428571428603</c:v>
                </c:pt>
                <c:pt idx="4202">
                  <c:v>0.84823284823284795</c:v>
                </c:pt>
                <c:pt idx="4203">
                  <c:v>0.84823284823284795</c:v>
                </c:pt>
                <c:pt idx="4204">
                  <c:v>0.84826589595375701</c:v>
                </c:pt>
                <c:pt idx="4205">
                  <c:v>0.84829059829059805</c:v>
                </c:pt>
                <c:pt idx="4206">
                  <c:v>0.84836065573770503</c:v>
                </c:pt>
                <c:pt idx="4207">
                  <c:v>0.848368522072937</c:v>
                </c:pt>
                <c:pt idx="4208">
                  <c:v>0.84837545126353797</c:v>
                </c:pt>
                <c:pt idx="4209">
                  <c:v>0.84848484848484795</c:v>
                </c:pt>
                <c:pt idx="4210">
                  <c:v>0.84848484848484795</c:v>
                </c:pt>
                <c:pt idx="4211">
                  <c:v>0.84848484848484795</c:v>
                </c:pt>
                <c:pt idx="4212">
                  <c:v>0.84855769230769196</c:v>
                </c:pt>
                <c:pt idx="4213">
                  <c:v>0.848563968668407</c:v>
                </c:pt>
                <c:pt idx="4214">
                  <c:v>0.84859154929577496</c:v>
                </c:pt>
                <c:pt idx="4215">
                  <c:v>0.84869976359338095</c:v>
                </c:pt>
                <c:pt idx="4216">
                  <c:v>0.84883720930232498</c:v>
                </c:pt>
                <c:pt idx="4217">
                  <c:v>0.84883720930232498</c:v>
                </c:pt>
                <c:pt idx="4218">
                  <c:v>0.84883720930232498</c:v>
                </c:pt>
                <c:pt idx="4219">
                  <c:v>0.84886128364389202</c:v>
                </c:pt>
                <c:pt idx="4220">
                  <c:v>0.84887459807073895</c:v>
                </c:pt>
                <c:pt idx="4221">
                  <c:v>0.84888888888888903</c:v>
                </c:pt>
                <c:pt idx="4222">
                  <c:v>0.84893713251922198</c:v>
                </c:pt>
                <c:pt idx="4223">
                  <c:v>0.84900284900284895</c:v>
                </c:pt>
                <c:pt idx="4224">
                  <c:v>0.84900284900284895</c:v>
                </c:pt>
                <c:pt idx="4225">
                  <c:v>0.84905660377358505</c:v>
                </c:pt>
                <c:pt idx="4226">
                  <c:v>0.84905660377358505</c:v>
                </c:pt>
                <c:pt idx="4227">
                  <c:v>0.84908321579689705</c:v>
                </c:pt>
                <c:pt idx="4228">
                  <c:v>0.84912043301759099</c:v>
                </c:pt>
                <c:pt idx="4229">
                  <c:v>0.84919472913616401</c:v>
                </c:pt>
                <c:pt idx="4230">
                  <c:v>0.84920634920634896</c:v>
                </c:pt>
                <c:pt idx="4231">
                  <c:v>0.84923664122137399</c:v>
                </c:pt>
                <c:pt idx="4232">
                  <c:v>0.84924623115577902</c:v>
                </c:pt>
                <c:pt idx="4233">
                  <c:v>0.84928716904277002</c:v>
                </c:pt>
                <c:pt idx="4234">
                  <c:v>0.84931506849315097</c:v>
                </c:pt>
                <c:pt idx="4235">
                  <c:v>0.84939759036144602</c:v>
                </c:pt>
                <c:pt idx="4236">
                  <c:v>0.84946236559139798</c:v>
                </c:pt>
                <c:pt idx="4237">
                  <c:v>0.84946236559139798</c:v>
                </c:pt>
                <c:pt idx="4238">
                  <c:v>0.84951456310679596</c:v>
                </c:pt>
                <c:pt idx="4239">
                  <c:v>0.84955752212389402</c:v>
                </c:pt>
                <c:pt idx="4240">
                  <c:v>0.84955752212389402</c:v>
                </c:pt>
                <c:pt idx="4241">
                  <c:v>0.84959349593495903</c:v>
                </c:pt>
                <c:pt idx="4242">
                  <c:v>0.84962406015037595</c:v>
                </c:pt>
                <c:pt idx="4243">
                  <c:v>0.84962406015037595</c:v>
                </c:pt>
                <c:pt idx="4244">
                  <c:v>0.84962406015037595</c:v>
                </c:pt>
                <c:pt idx="4245">
                  <c:v>0.84971910112359506</c:v>
                </c:pt>
                <c:pt idx="4246">
                  <c:v>0.84976525821596205</c:v>
                </c:pt>
                <c:pt idx="4247">
                  <c:v>0.84978540772532196</c:v>
                </c:pt>
                <c:pt idx="4248">
                  <c:v>0.84990253411306005</c:v>
                </c:pt>
                <c:pt idx="4249">
                  <c:v>0.84990958408679895</c:v>
                </c:pt>
                <c:pt idx="4250">
                  <c:v>0.85</c:v>
                </c:pt>
                <c:pt idx="4251">
                  <c:v>0.85</c:v>
                </c:pt>
                <c:pt idx="4252">
                  <c:v>0.85</c:v>
                </c:pt>
                <c:pt idx="4253">
                  <c:v>0.85</c:v>
                </c:pt>
                <c:pt idx="4254">
                  <c:v>0.85</c:v>
                </c:pt>
                <c:pt idx="4255">
                  <c:v>0.85</c:v>
                </c:pt>
                <c:pt idx="4256">
                  <c:v>0.85</c:v>
                </c:pt>
                <c:pt idx="4257">
                  <c:v>0.85</c:v>
                </c:pt>
                <c:pt idx="4258">
                  <c:v>0.85</c:v>
                </c:pt>
                <c:pt idx="4259">
                  <c:v>0.85012285012285005</c:v>
                </c:pt>
                <c:pt idx="4260">
                  <c:v>0.85013623978201602</c:v>
                </c:pt>
                <c:pt idx="4261">
                  <c:v>0.85018726591760296</c:v>
                </c:pt>
                <c:pt idx="4262">
                  <c:v>0.85023041474654404</c:v>
                </c:pt>
                <c:pt idx="4263">
                  <c:v>0.85026737967914401</c:v>
                </c:pt>
                <c:pt idx="4264">
                  <c:v>0.85028571428571398</c:v>
                </c:pt>
                <c:pt idx="4265">
                  <c:v>0.85039370078740195</c:v>
                </c:pt>
                <c:pt idx="4266">
                  <c:v>0.85039370078740195</c:v>
                </c:pt>
                <c:pt idx="4267">
                  <c:v>0.85039370078740195</c:v>
                </c:pt>
                <c:pt idx="4268">
                  <c:v>0.85039370078740195</c:v>
                </c:pt>
                <c:pt idx="4269">
                  <c:v>0.85042735042734996</c:v>
                </c:pt>
                <c:pt idx="4270">
                  <c:v>0.85046728971962604</c:v>
                </c:pt>
                <c:pt idx="4271">
                  <c:v>0.850474683544304</c:v>
                </c:pt>
                <c:pt idx="4272">
                  <c:v>0.85057471264367801</c:v>
                </c:pt>
                <c:pt idx="4273">
                  <c:v>0.85064935064935099</c:v>
                </c:pt>
                <c:pt idx="4274">
                  <c:v>0.85064935064935099</c:v>
                </c:pt>
                <c:pt idx="4275">
                  <c:v>0.85069444444444398</c:v>
                </c:pt>
                <c:pt idx="4276">
                  <c:v>0.85069444444444398</c:v>
                </c:pt>
                <c:pt idx="4277">
                  <c:v>0.85072738772928502</c:v>
                </c:pt>
                <c:pt idx="4278">
                  <c:v>0.85074626865671599</c:v>
                </c:pt>
                <c:pt idx="4279">
                  <c:v>0.850828729281768</c:v>
                </c:pt>
                <c:pt idx="4280">
                  <c:v>0.85089974293059101</c:v>
                </c:pt>
                <c:pt idx="4281">
                  <c:v>0.85098039215686305</c:v>
                </c:pt>
                <c:pt idx="4282">
                  <c:v>0.85102420856610805</c:v>
                </c:pt>
                <c:pt idx="4283">
                  <c:v>0.85103132161955697</c:v>
                </c:pt>
                <c:pt idx="4284">
                  <c:v>0.85106382978723405</c:v>
                </c:pt>
                <c:pt idx="4285">
                  <c:v>0.85106382978723405</c:v>
                </c:pt>
                <c:pt idx="4286">
                  <c:v>0.85106382978723405</c:v>
                </c:pt>
                <c:pt idx="4287">
                  <c:v>0.85106382978723405</c:v>
                </c:pt>
                <c:pt idx="4288">
                  <c:v>0.851123595505618</c:v>
                </c:pt>
                <c:pt idx="4289">
                  <c:v>0.851123595505618</c:v>
                </c:pt>
                <c:pt idx="4290">
                  <c:v>0.85123966942148799</c:v>
                </c:pt>
                <c:pt idx="4291">
                  <c:v>0.85135135135135098</c:v>
                </c:pt>
                <c:pt idx="4292">
                  <c:v>0.85135135135135098</c:v>
                </c:pt>
                <c:pt idx="4293">
                  <c:v>0.85144927536231896</c:v>
                </c:pt>
                <c:pt idx="4294">
                  <c:v>0.85148514851485102</c:v>
                </c:pt>
                <c:pt idx="4295">
                  <c:v>0.8515625</c:v>
                </c:pt>
                <c:pt idx="4296">
                  <c:v>0.8515625</c:v>
                </c:pt>
                <c:pt idx="4297">
                  <c:v>0.85167464114832503</c:v>
                </c:pt>
                <c:pt idx="4298">
                  <c:v>0.85185185185185197</c:v>
                </c:pt>
                <c:pt idx="4299">
                  <c:v>0.85185185185185197</c:v>
                </c:pt>
                <c:pt idx="4300">
                  <c:v>0.85185185185185197</c:v>
                </c:pt>
                <c:pt idx="4301">
                  <c:v>0.85185185185185197</c:v>
                </c:pt>
                <c:pt idx="4302">
                  <c:v>0.85185185185185197</c:v>
                </c:pt>
                <c:pt idx="4303">
                  <c:v>0.85185185185185197</c:v>
                </c:pt>
                <c:pt idx="4304">
                  <c:v>0.85185185185185197</c:v>
                </c:pt>
                <c:pt idx="4305">
                  <c:v>0.85185185185185197</c:v>
                </c:pt>
                <c:pt idx="4306">
                  <c:v>0.85202492211837999</c:v>
                </c:pt>
                <c:pt idx="4307">
                  <c:v>0.85207100591716001</c:v>
                </c:pt>
                <c:pt idx="4308">
                  <c:v>0.85209003215434098</c:v>
                </c:pt>
                <c:pt idx="4309">
                  <c:v>0.85218978102189802</c:v>
                </c:pt>
                <c:pt idx="4310">
                  <c:v>0.85223367697594499</c:v>
                </c:pt>
                <c:pt idx="4311">
                  <c:v>0.85227272727272696</c:v>
                </c:pt>
                <c:pt idx="4312">
                  <c:v>0.852279284477784</c:v>
                </c:pt>
                <c:pt idx="4313">
                  <c:v>0.85232744783306602</c:v>
                </c:pt>
                <c:pt idx="4314">
                  <c:v>0.85235920852359204</c:v>
                </c:pt>
                <c:pt idx="4315">
                  <c:v>0.85238095238095202</c:v>
                </c:pt>
                <c:pt idx="4316">
                  <c:v>0.85263157894736796</c:v>
                </c:pt>
                <c:pt idx="4317">
                  <c:v>0.85263157894736796</c:v>
                </c:pt>
                <c:pt idx="4318">
                  <c:v>0.85271317829457405</c:v>
                </c:pt>
                <c:pt idx="4319">
                  <c:v>0.85282522996057797</c:v>
                </c:pt>
                <c:pt idx="4320">
                  <c:v>0.85286103542234304</c:v>
                </c:pt>
                <c:pt idx="4321">
                  <c:v>0.85294117647058798</c:v>
                </c:pt>
                <c:pt idx="4322">
                  <c:v>0.85294117647058798</c:v>
                </c:pt>
                <c:pt idx="4323">
                  <c:v>0.85297482837528604</c:v>
                </c:pt>
                <c:pt idx="4324">
                  <c:v>0.85307346326836597</c:v>
                </c:pt>
                <c:pt idx="4325">
                  <c:v>0.85308056872037896</c:v>
                </c:pt>
                <c:pt idx="4326">
                  <c:v>0.85310734463276805</c:v>
                </c:pt>
                <c:pt idx="4327">
                  <c:v>0.85314685314685301</c:v>
                </c:pt>
                <c:pt idx="4328">
                  <c:v>0.85314685314685301</c:v>
                </c:pt>
                <c:pt idx="4329">
                  <c:v>0.85317460317460303</c:v>
                </c:pt>
                <c:pt idx="4330">
                  <c:v>0.85321100917431203</c:v>
                </c:pt>
                <c:pt idx="4331">
                  <c:v>0.85333333333333306</c:v>
                </c:pt>
                <c:pt idx="4332">
                  <c:v>0.853479853479853</c:v>
                </c:pt>
                <c:pt idx="4333">
                  <c:v>0.85352622061482797</c:v>
                </c:pt>
                <c:pt idx="4334">
                  <c:v>0.85357142857142798</c:v>
                </c:pt>
                <c:pt idx="4335">
                  <c:v>0.85357737104825304</c:v>
                </c:pt>
                <c:pt idx="4336">
                  <c:v>0.85358255451713405</c:v>
                </c:pt>
                <c:pt idx="4337">
                  <c:v>0.85359116022099402</c:v>
                </c:pt>
                <c:pt idx="4338">
                  <c:v>0.85365853658536595</c:v>
                </c:pt>
                <c:pt idx="4339">
                  <c:v>0.85371702637889701</c:v>
                </c:pt>
                <c:pt idx="4340">
                  <c:v>0.85374554102259204</c:v>
                </c:pt>
                <c:pt idx="4341">
                  <c:v>0.85377358490566002</c:v>
                </c:pt>
                <c:pt idx="4342">
                  <c:v>0.85380116959064301</c:v>
                </c:pt>
                <c:pt idx="4343">
                  <c:v>0.85384615384615403</c:v>
                </c:pt>
                <c:pt idx="4344">
                  <c:v>0.85388127853881302</c:v>
                </c:pt>
                <c:pt idx="4345">
                  <c:v>0.85388127853881302</c:v>
                </c:pt>
                <c:pt idx="4346">
                  <c:v>0.85388716267154996</c:v>
                </c:pt>
                <c:pt idx="4347">
                  <c:v>0.85390946502057596</c:v>
                </c:pt>
                <c:pt idx="4348">
                  <c:v>0.85393258426966301</c:v>
                </c:pt>
                <c:pt idx="4349">
                  <c:v>0.85393258426966301</c:v>
                </c:pt>
                <c:pt idx="4350">
                  <c:v>0.85398230088495597</c:v>
                </c:pt>
                <c:pt idx="4351">
                  <c:v>0.85400907715582397</c:v>
                </c:pt>
                <c:pt idx="4352">
                  <c:v>0.85402843601895695</c:v>
                </c:pt>
                <c:pt idx="4353">
                  <c:v>0.85404624277456598</c:v>
                </c:pt>
                <c:pt idx="4354">
                  <c:v>0.85408560311283999</c:v>
                </c:pt>
                <c:pt idx="4355">
                  <c:v>0.85412262156448204</c:v>
                </c:pt>
                <c:pt idx="4356">
                  <c:v>0.85416666666666696</c:v>
                </c:pt>
                <c:pt idx="4357">
                  <c:v>0.85416666666666696</c:v>
                </c:pt>
                <c:pt idx="4358">
                  <c:v>0.85429447852760698</c:v>
                </c:pt>
                <c:pt idx="4359">
                  <c:v>0.85430463576158899</c:v>
                </c:pt>
                <c:pt idx="4360">
                  <c:v>0.85433070866141703</c:v>
                </c:pt>
                <c:pt idx="4361">
                  <c:v>0.85436893203883502</c:v>
                </c:pt>
                <c:pt idx="4362">
                  <c:v>0.854389721627409</c:v>
                </c:pt>
                <c:pt idx="4363">
                  <c:v>0.854430379746835</c:v>
                </c:pt>
                <c:pt idx="4364">
                  <c:v>0.85446009389671396</c:v>
                </c:pt>
                <c:pt idx="4365">
                  <c:v>0.85454545454545405</c:v>
                </c:pt>
                <c:pt idx="4366">
                  <c:v>0.85454545454545405</c:v>
                </c:pt>
                <c:pt idx="4367">
                  <c:v>0.85454545454545405</c:v>
                </c:pt>
                <c:pt idx="4368">
                  <c:v>0.85460992907801403</c:v>
                </c:pt>
                <c:pt idx="4369">
                  <c:v>0.85462555066079304</c:v>
                </c:pt>
                <c:pt idx="4370">
                  <c:v>0.85467128027681705</c:v>
                </c:pt>
                <c:pt idx="4371">
                  <c:v>0.854700854700855</c:v>
                </c:pt>
                <c:pt idx="4372">
                  <c:v>0.854700854700855</c:v>
                </c:pt>
                <c:pt idx="4373">
                  <c:v>0.854726368159204</c:v>
                </c:pt>
                <c:pt idx="4374">
                  <c:v>0.85492227979274604</c:v>
                </c:pt>
                <c:pt idx="4375">
                  <c:v>0.85493230174081203</c:v>
                </c:pt>
                <c:pt idx="4376">
                  <c:v>0.85496183206106902</c:v>
                </c:pt>
                <c:pt idx="4377">
                  <c:v>0.85498489425981905</c:v>
                </c:pt>
                <c:pt idx="4378">
                  <c:v>0.85500878734622099</c:v>
                </c:pt>
                <c:pt idx="4379">
                  <c:v>0.85502471169687</c:v>
                </c:pt>
                <c:pt idx="4380">
                  <c:v>0.85503355704698003</c:v>
                </c:pt>
                <c:pt idx="4381">
                  <c:v>0.85507246376811596</c:v>
                </c:pt>
                <c:pt idx="4382">
                  <c:v>0.85507246376811596</c:v>
                </c:pt>
                <c:pt idx="4383">
                  <c:v>0.855203619909502</c:v>
                </c:pt>
                <c:pt idx="4384">
                  <c:v>0.855203619909502</c:v>
                </c:pt>
                <c:pt idx="4385">
                  <c:v>0.85526315789473695</c:v>
                </c:pt>
                <c:pt idx="4386">
                  <c:v>0.85542168674698804</c:v>
                </c:pt>
                <c:pt idx="4387">
                  <c:v>0.85549132947976902</c:v>
                </c:pt>
                <c:pt idx="4388">
                  <c:v>0.85549132947976902</c:v>
                </c:pt>
                <c:pt idx="4389">
                  <c:v>0.85555555555555496</c:v>
                </c:pt>
                <c:pt idx="4390">
                  <c:v>0.85572139303482597</c:v>
                </c:pt>
                <c:pt idx="4391">
                  <c:v>0.85576923076923095</c:v>
                </c:pt>
                <c:pt idx="4392">
                  <c:v>0.85576923076923095</c:v>
                </c:pt>
                <c:pt idx="4393">
                  <c:v>0.85576923076923095</c:v>
                </c:pt>
                <c:pt idx="4394">
                  <c:v>0.85578231292517004</c:v>
                </c:pt>
                <c:pt idx="4395">
                  <c:v>0.85580524344569298</c:v>
                </c:pt>
                <c:pt idx="4396">
                  <c:v>0.85595776772247401</c:v>
                </c:pt>
                <c:pt idx="4397">
                  <c:v>0.85596707818929996</c:v>
                </c:pt>
                <c:pt idx="4398">
                  <c:v>0.85596707818929996</c:v>
                </c:pt>
                <c:pt idx="4399">
                  <c:v>0.85596707818929996</c:v>
                </c:pt>
                <c:pt idx="4400">
                  <c:v>0.85601503759398501</c:v>
                </c:pt>
                <c:pt idx="4401">
                  <c:v>0.85613760750586398</c:v>
                </c:pt>
                <c:pt idx="4402">
                  <c:v>0.85618729096989998</c:v>
                </c:pt>
                <c:pt idx="4403">
                  <c:v>0.85624999999999996</c:v>
                </c:pt>
                <c:pt idx="4404">
                  <c:v>0.85635359116022103</c:v>
                </c:pt>
                <c:pt idx="4405">
                  <c:v>0.85637342908438097</c:v>
                </c:pt>
                <c:pt idx="4406">
                  <c:v>0.85645933014354103</c:v>
                </c:pt>
                <c:pt idx="4407">
                  <c:v>0.85648994515539301</c:v>
                </c:pt>
                <c:pt idx="4408">
                  <c:v>0.85655737704918</c:v>
                </c:pt>
                <c:pt idx="4409">
                  <c:v>0.85670731707317105</c:v>
                </c:pt>
                <c:pt idx="4410">
                  <c:v>0.85674157303370801</c:v>
                </c:pt>
                <c:pt idx="4411">
                  <c:v>0.85682819383259901</c:v>
                </c:pt>
                <c:pt idx="4412">
                  <c:v>0.856834143706105</c:v>
                </c:pt>
                <c:pt idx="4413">
                  <c:v>0.85687382297551795</c:v>
                </c:pt>
                <c:pt idx="4414">
                  <c:v>0.85689045936395802</c:v>
                </c:pt>
                <c:pt idx="4415">
                  <c:v>0.85690376569037596</c:v>
                </c:pt>
                <c:pt idx="4416">
                  <c:v>0.85714285714285698</c:v>
                </c:pt>
                <c:pt idx="4417">
                  <c:v>0.85714285714285698</c:v>
                </c:pt>
                <c:pt idx="4418">
                  <c:v>0.85714285714285698</c:v>
                </c:pt>
                <c:pt idx="4419">
                  <c:v>0.85714285714285698</c:v>
                </c:pt>
                <c:pt idx="4420">
                  <c:v>0.85714285714285698</c:v>
                </c:pt>
                <c:pt idx="4421">
                  <c:v>0.85714285714285698</c:v>
                </c:pt>
                <c:pt idx="4422">
                  <c:v>0.85714285714285698</c:v>
                </c:pt>
                <c:pt idx="4423">
                  <c:v>0.85714285714285698</c:v>
                </c:pt>
                <c:pt idx="4424">
                  <c:v>0.85714285714285698</c:v>
                </c:pt>
                <c:pt idx="4425">
                  <c:v>0.85714285714285698</c:v>
                </c:pt>
                <c:pt idx="4426">
                  <c:v>0.85714285714285698</c:v>
                </c:pt>
                <c:pt idx="4427">
                  <c:v>0.85714285714285698</c:v>
                </c:pt>
                <c:pt idx="4428">
                  <c:v>0.85714285714285698</c:v>
                </c:pt>
                <c:pt idx="4429">
                  <c:v>0.85714285714285698</c:v>
                </c:pt>
                <c:pt idx="4430">
                  <c:v>0.85714285714285698</c:v>
                </c:pt>
                <c:pt idx="4431">
                  <c:v>0.85720064724919098</c:v>
                </c:pt>
                <c:pt idx="4432">
                  <c:v>0.85751295336787603</c:v>
                </c:pt>
                <c:pt idx="4433">
                  <c:v>0.85753424657534205</c:v>
                </c:pt>
                <c:pt idx="4434">
                  <c:v>0.85754189944134096</c:v>
                </c:pt>
                <c:pt idx="4435">
                  <c:v>0.85757575757575699</c:v>
                </c:pt>
                <c:pt idx="4436">
                  <c:v>0.85765124555160099</c:v>
                </c:pt>
                <c:pt idx="4437">
                  <c:v>0.85771812080536902</c:v>
                </c:pt>
                <c:pt idx="4438">
                  <c:v>0.85772357723577197</c:v>
                </c:pt>
                <c:pt idx="4439">
                  <c:v>0.85774058577405798</c:v>
                </c:pt>
                <c:pt idx="4440">
                  <c:v>0.85781990521327001</c:v>
                </c:pt>
                <c:pt idx="4441">
                  <c:v>0.85785536159600995</c:v>
                </c:pt>
                <c:pt idx="4442">
                  <c:v>0.85795454545454497</c:v>
                </c:pt>
                <c:pt idx="4443">
                  <c:v>0.85795454545454497</c:v>
                </c:pt>
                <c:pt idx="4444">
                  <c:v>0.85797950219619301</c:v>
                </c:pt>
                <c:pt idx="4445">
                  <c:v>0.85798816568047298</c:v>
                </c:pt>
                <c:pt idx="4446">
                  <c:v>0.85800604229607202</c:v>
                </c:pt>
                <c:pt idx="4447">
                  <c:v>0.85818713450292405</c:v>
                </c:pt>
                <c:pt idx="4448">
                  <c:v>0.85824345146379</c:v>
                </c:pt>
                <c:pt idx="4449">
                  <c:v>0.85831062670299696</c:v>
                </c:pt>
                <c:pt idx="4450">
                  <c:v>0.85840707964601803</c:v>
                </c:pt>
                <c:pt idx="4451">
                  <c:v>0.858426966292135</c:v>
                </c:pt>
                <c:pt idx="4452">
                  <c:v>0.85855263157894701</c:v>
                </c:pt>
                <c:pt idx="4453">
                  <c:v>0.85858585858585901</c:v>
                </c:pt>
                <c:pt idx="4454">
                  <c:v>0.85869565217391297</c:v>
                </c:pt>
                <c:pt idx="4455">
                  <c:v>0.85871559633027505</c:v>
                </c:pt>
                <c:pt idx="4456">
                  <c:v>0.858736059479554</c:v>
                </c:pt>
                <c:pt idx="4457">
                  <c:v>0.85880077369439101</c:v>
                </c:pt>
                <c:pt idx="4458">
                  <c:v>0.85882352941176499</c:v>
                </c:pt>
                <c:pt idx="4459">
                  <c:v>0.858883248730964</c:v>
                </c:pt>
                <c:pt idx="4460">
                  <c:v>0.85889570552147199</c:v>
                </c:pt>
                <c:pt idx="4461">
                  <c:v>0.85897435897435903</c:v>
                </c:pt>
                <c:pt idx="4462">
                  <c:v>0.85897435897435903</c:v>
                </c:pt>
                <c:pt idx="4463">
                  <c:v>0.85897435897435903</c:v>
                </c:pt>
                <c:pt idx="4464">
                  <c:v>0.85897435897435903</c:v>
                </c:pt>
                <c:pt idx="4465">
                  <c:v>0.85901639344262304</c:v>
                </c:pt>
                <c:pt idx="4466">
                  <c:v>0.85918367346938795</c:v>
                </c:pt>
                <c:pt idx="4467">
                  <c:v>0.85923753665689095</c:v>
                </c:pt>
                <c:pt idx="4468">
                  <c:v>0.85923753665689095</c:v>
                </c:pt>
                <c:pt idx="4469">
                  <c:v>0.85925925925925895</c:v>
                </c:pt>
                <c:pt idx="4470">
                  <c:v>0.85925925925925895</c:v>
                </c:pt>
                <c:pt idx="4471">
                  <c:v>0.85940594059405895</c:v>
                </c:pt>
                <c:pt idx="4472">
                  <c:v>0.85941644562334196</c:v>
                </c:pt>
                <c:pt idx="4473">
                  <c:v>0.85957446808510596</c:v>
                </c:pt>
                <c:pt idx="4474">
                  <c:v>0.85957446808510596</c:v>
                </c:pt>
                <c:pt idx="4475">
                  <c:v>0.859649122807017</c:v>
                </c:pt>
                <c:pt idx="4476">
                  <c:v>0.859649122807017</c:v>
                </c:pt>
                <c:pt idx="4477">
                  <c:v>0.859649122807017</c:v>
                </c:pt>
                <c:pt idx="4478">
                  <c:v>0.85971223021582699</c:v>
                </c:pt>
                <c:pt idx="4479">
                  <c:v>0.85980662983425404</c:v>
                </c:pt>
                <c:pt idx="4480">
                  <c:v>0.85981308411214896</c:v>
                </c:pt>
                <c:pt idx="4481">
                  <c:v>0.85985401459854005</c:v>
                </c:pt>
                <c:pt idx="4482">
                  <c:v>0.85987261146496796</c:v>
                </c:pt>
                <c:pt idx="4483">
                  <c:v>0.85987261146496796</c:v>
                </c:pt>
                <c:pt idx="4484">
                  <c:v>0.85987261146496796</c:v>
                </c:pt>
                <c:pt idx="4485">
                  <c:v>0.86010362694300502</c:v>
                </c:pt>
                <c:pt idx="4486">
                  <c:v>0.86021505376344098</c:v>
                </c:pt>
                <c:pt idx="4487">
                  <c:v>0.86021505376344098</c:v>
                </c:pt>
                <c:pt idx="4488">
                  <c:v>0.86029411764705899</c:v>
                </c:pt>
                <c:pt idx="4489">
                  <c:v>0.86029411764705899</c:v>
                </c:pt>
                <c:pt idx="4490">
                  <c:v>0.86029411764705899</c:v>
                </c:pt>
                <c:pt idx="4491">
                  <c:v>0.86029411764705899</c:v>
                </c:pt>
                <c:pt idx="4492">
                  <c:v>0.86040609137055801</c:v>
                </c:pt>
                <c:pt idx="4493">
                  <c:v>0.86043360433604299</c:v>
                </c:pt>
                <c:pt idx="4494">
                  <c:v>0.86046511627906996</c:v>
                </c:pt>
                <c:pt idx="4495">
                  <c:v>0.86053412462907997</c:v>
                </c:pt>
                <c:pt idx="4496">
                  <c:v>0.86055776892430302</c:v>
                </c:pt>
                <c:pt idx="4497">
                  <c:v>0.86060948081264099</c:v>
                </c:pt>
                <c:pt idx="4498">
                  <c:v>0.86065573770491799</c:v>
                </c:pt>
                <c:pt idx="4499">
                  <c:v>0.86072423398328701</c:v>
                </c:pt>
                <c:pt idx="4500">
                  <c:v>0.86072423398328701</c:v>
                </c:pt>
                <c:pt idx="4501">
                  <c:v>0.860759493670886</c:v>
                </c:pt>
                <c:pt idx="4502">
                  <c:v>0.86082474226804095</c:v>
                </c:pt>
                <c:pt idx="4503">
                  <c:v>0.86082783443311295</c:v>
                </c:pt>
                <c:pt idx="4504">
                  <c:v>0.86084142394822005</c:v>
                </c:pt>
                <c:pt idx="4505">
                  <c:v>0.86085150571131897</c:v>
                </c:pt>
                <c:pt idx="4506">
                  <c:v>0.86098654708520195</c:v>
                </c:pt>
                <c:pt idx="4507">
                  <c:v>0.86101694915254201</c:v>
                </c:pt>
                <c:pt idx="4508">
                  <c:v>0.86105675146770999</c:v>
                </c:pt>
                <c:pt idx="4509">
                  <c:v>0.86106032906764196</c:v>
                </c:pt>
                <c:pt idx="4510">
                  <c:v>0.86111111111111105</c:v>
                </c:pt>
                <c:pt idx="4511">
                  <c:v>0.86111111111111105</c:v>
                </c:pt>
                <c:pt idx="4512">
                  <c:v>0.86111111111111105</c:v>
                </c:pt>
                <c:pt idx="4513">
                  <c:v>0.86111111111111105</c:v>
                </c:pt>
                <c:pt idx="4514">
                  <c:v>0.86111111111111105</c:v>
                </c:pt>
                <c:pt idx="4515">
                  <c:v>0.86124401913875603</c:v>
                </c:pt>
                <c:pt idx="4516">
                  <c:v>0.86144578313252995</c:v>
                </c:pt>
                <c:pt idx="4517">
                  <c:v>0.86144578313252995</c:v>
                </c:pt>
                <c:pt idx="4518">
                  <c:v>0.86145648312611001</c:v>
                </c:pt>
                <c:pt idx="4519">
                  <c:v>0.86153846153846203</c:v>
                </c:pt>
                <c:pt idx="4520">
                  <c:v>0.86153846153846203</c:v>
                </c:pt>
                <c:pt idx="4521">
                  <c:v>0.861566484517304</c:v>
                </c:pt>
                <c:pt idx="4522">
                  <c:v>0.86158631415241105</c:v>
                </c:pt>
                <c:pt idx="4523">
                  <c:v>0.861618798955613</c:v>
                </c:pt>
                <c:pt idx="4524">
                  <c:v>0.86163522012578597</c:v>
                </c:pt>
                <c:pt idx="4525">
                  <c:v>0.86170212765957399</c:v>
                </c:pt>
                <c:pt idx="4526">
                  <c:v>0.86170212765957399</c:v>
                </c:pt>
                <c:pt idx="4527">
                  <c:v>0.86170212765957399</c:v>
                </c:pt>
                <c:pt idx="4528">
                  <c:v>0.86170212765957399</c:v>
                </c:pt>
                <c:pt idx="4529">
                  <c:v>0.86175115207373298</c:v>
                </c:pt>
                <c:pt idx="4530">
                  <c:v>0.86175115207373298</c:v>
                </c:pt>
                <c:pt idx="4531">
                  <c:v>0.86175847457627097</c:v>
                </c:pt>
                <c:pt idx="4532">
                  <c:v>0.86176470588235299</c:v>
                </c:pt>
                <c:pt idx="4533">
                  <c:v>0.86178010471204203</c:v>
                </c:pt>
                <c:pt idx="4534">
                  <c:v>0.86184210526315796</c:v>
                </c:pt>
                <c:pt idx="4535">
                  <c:v>0.86186186186186198</c:v>
                </c:pt>
                <c:pt idx="4536">
                  <c:v>0.86187845303867405</c:v>
                </c:pt>
                <c:pt idx="4537">
                  <c:v>0.86190476190476195</c:v>
                </c:pt>
                <c:pt idx="4538">
                  <c:v>0.86192468619246898</c:v>
                </c:pt>
                <c:pt idx="4539">
                  <c:v>0.86196830692243498</c:v>
                </c:pt>
                <c:pt idx="4540">
                  <c:v>0.86202185792349695</c:v>
                </c:pt>
                <c:pt idx="4541">
                  <c:v>0.86206896551724099</c:v>
                </c:pt>
                <c:pt idx="4542">
                  <c:v>0.86206896551724099</c:v>
                </c:pt>
                <c:pt idx="4543">
                  <c:v>0.86206896551724099</c:v>
                </c:pt>
                <c:pt idx="4544">
                  <c:v>0.86206896551724099</c:v>
                </c:pt>
                <c:pt idx="4545">
                  <c:v>0.862179487179487</c:v>
                </c:pt>
                <c:pt idx="4546">
                  <c:v>0.86220472440944895</c:v>
                </c:pt>
                <c:pt idx="4547">
                  <c:v>0.86220472440944895</c:v>
                </c:pt>
                <c:pt idx="4548">
                  <c:v>0.862222222222222</c:v>
                </c:pt>
                <c:pt idx="4549">
                  <c:v>0.86224489795918402</c:v>
                </c:pt>
                <c:pt idx="4550">
                  <c:v>0.862247540134645</c:v>
                </c:pt>
                <c:pt idx="4551">
                  <c:v>0.86227544910179599</c:v>
                </c:pt>
                <c:pt idx="4552">
                  <c:v>0.86228482003129903</c:v>
                </c:pt>
                <c:pt idx="4553">
                  <c:v>0.86229508196721305</c:v>
                </c:pt>
                <c:pt idx="4554">
                  <c:v>0.86231884057970998</c:v>
                </c:pt>
                <c:pt idx="4555">
                  <c:v>0.86238532110091703</c:v>
                </c:pt>
                <c:pt idx="4556">
                  <c:v>0.862433862433862</c:v>
                </c:pt>
                <c:pt idx="4557">
                  <c:v>0.86247544204322202</c:v>
                </c:pt>
                <c:pt idx="4558">
                  <c:v>0.86250000000000004</c:v>
                </c:pt>
                <c:pt idx="4559">
                  <c:v>0.86250000000000004</c:v>
                </c:pt>
                <c:pt idx="4560">
                  <c:v>0.86253369272237201</c:v>
                </c:pt>
                <c:pt idx="4561">
                  <c:v>0.86254295532645997</c:v>
                </c:pt>
                <c:pt idx="4562">
                  <c:v>0.86255924170616105</c:v>
                </c:pt>
                <c:pt idx="4563">
                  <c:v>0.86259541984732802</c:v>
                </c:pt>
                <c:pt idx="4564">
                  <c:v>0.86260236578707905</c:v>
                </c:pt>
                <c:pt idx="4565">
                  <c:v>0.86260454002389497</c:v>
                </c:pt>
                <c:pt idx="4566">
                  <c:v>0.86269744835966</c:v>
                </c:pt>
                <c:pt idx="4567">
                  <c:v>0.86274509803921595</c:v>
                </c:pt>
                <c:pt idx="4568">
                  <c:v>0.86274509803921595</c:v>
                </c:pt>
                <c:pt idx="4569">
                  <c:v>0.86285714285714299</c:v>
                </c:pt>
                <c:pt idx="4570">
                  <c:v>0.86295681063122898</c:v>
                </c:pt>
                <c:pt idx="4571">
                  <c:v>0.86295793758480299</c:v>
                </c:pt>
                <c:pt idx="4572">
                  <c:v>0.86301369863013699</c:v>
                </c:pt>
                <c:pt idx="4573">
                  <c:v>0.86309523809523803</c:v>
                </c:pt>
                <c:pt idx="4574">
                  <c:v>0.86309523809523803</c:v>
                </c:pt>
                <c:pt idx="4575">
                  <c:v>0.86329113924050604</c:v>
                </c:pt>
                <c:pt idx="4576">
                  <c:v>0.86330935251798602</c:v>
                </c:pt>
                <c:pt idx="4577">
                  <c:v>0.86333333333333295</c:v>
                </c:pt>
                <c:pt idx="4578">
                  <c:v>0.86335403726708104</c:v>
                </c:pt>
                <c:pt idx="4579">
                  <c:v>0.86336336336336295</c:v>
                </c:pt>
                <c:pt idx="4580">
                  <c:v>0.86347517730496504</c:v>
                </c:pt>
                <c:pt idx="4581">
                  <c:v>0.86349206349206298</c:v>
                </c:pt>
                <c:pt idx="4582">
                  <c:v>0.86359447004608303</c:v>
                </c:pt>
                <c:pt idx="4583">
                  <c:v>0.86360567184334902</c:v>
                </c:pt>
                <c:pt idx="4584">
                  <c:v>0.86363636363636398</c:v>
                </c:pt>
                <c:pt idx="4585">
                  <c:v>0.86363636363636398</c:v>
                </c:pt>
                <c:pt idx="4586">
                  <c:v>0.86363636363636398</c:v>
                </c:pt>
                <c:pt idx="4587">
                  <c:v>0.86363636363636398</c:v>
                </c:pt>
                <c:pt idx="4588">
                  <c:v>0.86363636363636398</c:v>
                </c:pt>
                <c:pt idx="4589">
                  <c:v>0.86363636363636398</c:v>
                </c:pt>
                <c:pt idx="4590">
                  <c:v>0.86363636363636398</c:v>
                </c:pt>
                <c:pt idx="4591">
                  <c:v>0.86363636363636398</c:v>
                </c:pt>
                <c:pt idx="4592">
                  <c:v>0.86363636363636398</c:v>
                </c:pt>
                <c:pt idx="4593">
                  <c:v>0.86367346938775502</c:v>
                </c:pt>
                <c:pt idx="4594">
                  <c:v>0.86379928315412202</c:v>
                </c:pt>
                <c:pt idx="4595">
                  <c:v>0.86380597014925398</c:v>
                </c:pt>
                <c:pt idx="4596">
                  <c:v>0.86387434554973797</c:v>
                </c:pt>
                <c:pt idx="4597">
                  <c:v>0.86388140161725102</c:v>
                </c:pt>
                <c:pt idx="4598">
                  <c:v>0.86388888888888904</c:v>
                </c:pt>
                <c:pt idx="4599">
                  <c:v>0.86390532544378695</c:v>
                </c:pt>
                <c:pt idx="4600">
                  <c:v>0.86390532544378695</c:v>
                </c:pt>
                <c:pt idx="4601">
                  <c:v>0.86390532544378695</c:v>
                </c:pt>
                <c:pt idx="4602">
                  <c:v>0.86394557823129203</c:v>
                </c:pt>
                <c:pt idx="4603">
                  <c:v>0.86397984886649903</c:v>
                </c:pt>
                <c:pt idx="4604">
                  <c:v>0.86399999999999999</c:v>
                </c:pt>
                <c:pt idx="4605">
                  <c:v>0.86404494382022501</c:v>
                </c:pt>
                <c:pt idx="4606">
                  <c:v>0.86407766990291301</c:v>
                </c:pt>
                <c:pt idx="4607">
                  <c:v>0.86413043478260898</c:v>
                </c:pt>
                <c:pt idx="4608">
                  <c:v>0.86418646346929595</c:v>
                </c:pt>
                <c:pt idx="4609">
                  <c:v>0.86419753086419704</c:v>
                </c:pt>
                <c:pt idx="4610">
                  <c:v>0.86430062630480198</c:v>
                </c:pt>
                <c:pt idx="4611">
                  <c:v>0.86440677966101698</c:v>
                </c:pt>
                <c:pt idx="4612">
                  <c:v>0.86440677966101698</c:v>
                </c:pt>
                <c:pt idx="4613">
                  <c:v>0.86445783132530096</c:v>
                </c:pt>
                <c:pt idx="4614">
                  <c:v>0.86446886446886395</c:v>
                </c:pt>
                <c:pt idx="4615">
                  <c:v>0.86453201970443305</c:v>
                </c:pt>
                <c:pt idx="4616">
                  <c:v>0.86454183266932305</c:v>
                </c:pt>
                <c:pt idx="4617">
                  <c:v>0.86454183266932305</c:v>
                </c:pt>
                <c:pt idx="4618">
                  <c:v>0.86462882096069904</c:v>
                </c:pt>
                <c:pt idx="4619">
                  <c:v>0.86463620981387501</c:v>
                </c:pt>
                <c:pt idx="4620">
                  <c:v>0.86464088397789995</c:v>
                </c:pt>
                <c:pt idx="4621">
                  <c:v>0.86466165413533802</c:v>
                </c:pt>
                <c:pt idx="4622">
                  <c:v>0.86470588235294099</c:v>
                </c:pt>
                <c:pt idx="4623">
                  <c:v>0.86474501108647395</c:v>
                </c:pt>
                <c:pt idx="4624">
                  <c:v>0.86477644492911698</c:v>
                </c:pt>
                <c:pt idx="4625">
                  <c:v>0.86478873239436604</c:v>
                </c:pt>
                <c:pt idx="4626">
                  <c:v>0.86482084690553696</c:v>
                </c:pt>
                <c:pt idx="4627">
                  <c:v>0.86486486486486502</c:v>
                </c:pt>
                <c:pt idx="4628">
                  <c:v>0.86486486486486502</c:v>
                </c:pt>
                <c:pt idx="4629">
                  <c:v>0.86486486486486502</c:v>
                </c:pt>
                <c:pt idx="4630">
                  <c:v>0.86499999999999999</c:v>
                </c:pt>
                <c:pt idx="4631">
                  <c:v>0.86499999999999999</c:v>
                </c:pt>
                <c:pt idx="4632">
                  <c:v>0.86503067484662599</c:v>
                </c:pt>
                <c:pt idx="4633">
                  <c:v>0.865079365079365</c:v>
                </c:pt>
                <c:pt idx="4634">
                  <c:v>0.865079365079365</c:v>
                </c:pt>
                <c:pt idx="4635">
                  <c:v>0.86511627906976696</c:v>
                </c:pt>
                <c:pt idx="4636">
                  <c:v>0.86511627906976696</c:v>
                </c:pt>
                <c:pt idx="4637">
                  <c:v>0.865145228215768</c:v>
                </c:pt>
                <c:pt idx="4638">
                  <c:v>0.86516853932584303</c:v>
                </c:pt>
                <c:pt idx="4639">
                  <c:v>0.86526315789473696</c:v>
                </c:pt>
                <c:pt idx="4640">
                  <c:v>0.86528497409326399</c:v>
                </c:pt>
                <c:pt idx="4641">
                  <c:v>0.86530612244897998</c:v>
                </c:pt>
                <c:pt idx="4642">
                  <c:v>0.86531986531986504</c:v>
                </c:pt>
                <c:pt idx="4643">
                  <c:v>0.86534216335540803</c:v>
                </c:pt>
                <c:pt idx="4644">
                  <c:v>0.86535008976660699</c:v>
                </c:pt>
                <c:pt idx="4645">
                  <c:v>0.86538461538461497</c:v>
                </c:pt>
                <c:pt idx="4646">
                  <c:v>0.86538461538461497</c:v>
                </c:pt>
                <c:pt idx="4647">
                  <c:v>0.86538461538461497</c:v>
                </c:pt>
                <c:pt idx="4648">
                  <c:v>0.86538461538461497</c:v>
                </c:pt>
                <c:pt idx="4649">
                  <c:v>0.86538461538461497</c:v>
                </c:pt>
                <c:pt idx="4650">
                  <c:v>0.86542443064182195</c:v>
                </c:pt>
                <c:pt idx="4651">
                  <c:v>0.86542923433874697</c:v>
                </c:pt>
                <c:pt idx="4652">
                  <c:v>0.86545454545454503</c:v>
                </c:pt>
                <c:pt idx="4653">
                  <c:v>0.865461847389558</c:v>
                </c:pt>
                <c:pt idx="4654">
                  <c:v>0.86554621848739499</c:v>
                </c:pt>
                <c:pt idx="4655">
                  <c:v>0.86554621848739499</c:v>
                </c:pt>
                <c:pt idx="4656">
                  <c:v>0.86558345642540602</c:v>
                </c:pt>
                <c:pt idx="4657">
                  <c:v>0.86559139784946204</c:v>
                </c:pt>
                <c:pt idx="4658">
                  <c:v>0.86567164179104505</c:v>
                </c:pt>
                <c:pt idx="4659">
                  <c:v>0.86567164179104505</c:v>
                </c:pt>
                <c:pt idx="4660">
                  <c:v>0.865771812080537</c:v>
                </c:pt>
                <c:pt idx="4661">
                  <c:v>0.86585365853658502</c:v>
                </c:pt>
                <c:pt idx="4662">
                  <c:v>0.86592178770949702</c:v>
                </c:pt>
                <c:pt idx="4663">
                  <c:v>0.865979381443299</c:v>
                </c:pt>
                <c:pt idx="4664">
                  <c:v>0.865979381443299</c:v>
                </c:pt>
                <c:pt idx="4665">
                  <c:v>0.86601307189542498</c:v>
                </c:pt>
                <c:pt idx="4666">
                  <c:v>0.86607142857142905</c:v>
                </c:pt>
                <c:pt idx="4667">
                  <c:v>0.86619385342789601</c:v>
                </c:pt>
                <c:pt idx="4668">
                  <c:v>0.86619718309859095</c:v>
                </c:pt>
                <c:pt idx="4669">
                  <c:v>0.86619718309859095</c:v>
                </c:pt>
                <c:pt idx="4670">
                  <c:v>0.86623164763458405</c:v>
                </c:pt>
                <c:pt idx="4671">
                  <c:v>0.86631016042780695</c:v>
                </c:pt>
                <c:pt idx="4672">
                  <c:v>0.86631016042780695</c:v>
                </c:pt>
                <c:pt idx="4673">
                  <c:v>0.86635944700460799</c:v>
                </c:pt>
                <c:pt idx="4674">
                  <c:v>0.86635944700460799</c:v>
                </c:pt>
                <c:pt idx="4675">
                  <c:v>0.86653386454183301</c:v>
                </c:pt>
                <c:pt idx="4676">
                  <c:v>0.86666666666666703</c:v>
                </c:pt>
                <c:pt idx="4677">
                  <c:v>0.86666666666666703</c:v>
                </c:pt>
                <c:pt idx="4678">
                  <c:v>0.86666666666666703</c:v>
                </c:pt>
                <c:pt idx="4679">
                  <c:v>0.86666666666666703</c:v>
                </c:pt>
                <c:pt idx="4680">
                  <c:v>0.86666666666666703</c:v>
                </c:pt>
                <c:pt idx="4681">
                  <c:v>0.86666666666666703</c:v>
                </c:pt>
                <c:pt idx="4682">
                  <c:v>0.86666666666666703</c:v>
                </c:pt>
                <c:pt idx="4683">
                  <c:v>0.86666666666666703</c:v>
                </c:pt>
                <c:pt idx="4684">
                  <c:v>0.86666666666666703</c:v>
                </c:pt>
                <c:pt idx="4685">
                  <c:v>0.86671862821512102</c:v>
                </c:pt>
                <c:pt idx="4686">
                  <c:v>0.86673151750972799</c:v>
                </c:pt>
                <c:pt idx="4687">
                  <c:v>0.86677115987460795</c:v>
                </c:pt>
                <c:pt idx="4688">
                  <c:v>0.86677115987460795</c:v>
                </c:pt>
                <c:pt idx="4689">
                  <c:v>0.86679790026246695</c:v>
                </c:pt>
                <c:pt idx="4690">
                  <c:v>0.866812227074236</c:v>
                </c:pt>
                <c:pt idx="4691">
                  <c:v>0.86685552407931998</c:v>
                </c:pt>
                <c:pt idx="4692">
                  <c:v>0.86690647482014405</c:v>
                </c:pt>
                <c:pt idx="4693">
                  <c:v>0.86694386694386705</c:v>
                </c:pt>
                <c:pt idx="4694">
                  <c:v>0.866995073891626</c:v>
                </c:pt>
                <c:pt idx="4695">
                  <c:v>0.86700767263427103</c:v>
                </c:pt>
                <c:pt idx="4696">
                  <c:v>0.86705202312138696</c:v>
                </c:pt>
                <c:pt idx="4697">
                  <c:v>0.867088607594937</c:v>
                </c:pt>
                <c:pt idx="4698">
                  <c:v>0.867088607594937</c:v>
                </c:pt>
                <c:pt idx="4699">
                  <c:v>0.867088607594937</c:v>
                </c:pt>
                <c:pt idx="4700">
                  <c:v>0.86710963455149503</c:v>
                </c:pt>
                <c:pt idx="4701">
                  <c:v>0.86716657739689296</c:v>
                </c:pt>
                <c:pt idx="4702">
                  <c:v>0.86720867208672103</c:v>
                </c:pt>
                <c:pt idx="4703">
                  <c:v>0.86721991701244805</c:v>
                </c:pt>
                <c:pt idx="4704">
                  <c:v>0.86734693877550995</c:v>
                </c:pt>
                <c:pt idx="4705">
                  <c:v>0.86740331491712697</c:v>
                </c:pt>
                <c:pt idx="4706">
                  <c:v>0.86746987951807197</c:v>
                </c:pt>
                <c:pt idx="4707">
                  <c:v>0.86746987951807197</c:v>
                </c:pt>
                <c:pt idx="4708">
                  <c:v>0.86754966887417195</c:v>
                </c:pt>
                <c:pt idx="4709">
                  <c:v>0.86757038581856105</c:v>
                </c:pt>
                <c:pt idx="4710">
                  <c:v>0.86758620689655197</c:v>
                </c:pt>
                <c:pt idx="4711">
                  <c:v>0.86759581881533099</c:v>
                </c:pt>
                <c:pt idx="4712">
                  <c:v>0.86764705882352899</c:v>
                </c:pt>
                <c:pt idx="4713">
                  <c:v>0.86770186335403698</c:v>
                </c:pt>
                <c:pt idx="4714">
                  <c:v>0.86770428015564205</c:v>
                </c:pt>
                <c:pt idx="4715">
                  <c:v>0.86776859504132198</c:v>
                </c:pt>
                <c:pt idx="4716">
                  <c:v>0.86776859504132198</c:v>
                </c:pt>
                <c:pt idx="4717">
                  <c:v>0.86781609195402298</c:v>
                </c:pt>
                <c:pt idx="4718">
                  <c:v>0.86781609195402298</c:v>
                </c:pt>
                <c:pt idx="4719">
                  <c:v>0.86785714285714299</c:v>
                </c:pt>
                <c:pt idx="4720">
                  <c:v>0.86792452830188704</c:v>
                </c:pt>
                <c:pt idx="4721">
                  <c:v>0.86792452830188704</c:v>
                </c:pt>
                <c:pt idx="4722">
                  <c:v>0.86796246648793596</c:v>
                </c:pt>
                <c:pt idx="4723">
                  <c:v>0.86799999999999999</c:v>
                </c:pt>
                <c:pt idx="4724">
                  <c:v>0.86808510638297898</c:v>
                </c:pt>
                <c:pt idx="4725">
                  <c:v>0.86813186813186805</c:v>
                </c:pt>
                <c:pt idx="4726">
                  <c:v>0.86815920398009905</c:v>
                </c:pt>
                <c:pt idx="4727">
                  <c:v>0.86821705426356599</c:v>
                </c:pt>
                <c:pt idx="4728">
                  <c:v>0.86821705426356599</c:v>
                </c:pt>
                <c:pt idx="4729">
                  <c:v>0.86826347305389195</c:v>
                </c:pt>
                <c:pt idx="4730">
                  <c:v>0.86837606837606796</c:v>
                </c:pt>
                <c:pt idx="4731">
                  <c:v>0.86838868388683899</c:v>
                </c:pt>
                <c:pt idx="4732">
                  <c:v>0.86842105263157898</c:v>
                </c:pt>
                <c:pt idx="4733">
                  <c:v>0.86842105263157898</c:v>
                </c:pt>
                <c:pt idx="4734">
                  <c:v>0.86842105263157898</c:v>
                </c:pt>
                <c:pt idx="4735">
                  <c:v>0.86842105263157898</c:v>
                </c:pt>
                <c:pt idx="4736">
                  <c:v>0.86842105263157898</c:v>
                </c:pt>
                <c:pt idx="4737">
                  <c:v>0.86854460093896702</c:v>
                </c:pt>
                <c:pt idx="4738">
                  <c:v>0.86857142857142799</c:v>
                </c:pt>
                <c:pt idx="4739">
                  <c:v>0.86857142857142799</c:v>
                </c:pt>
                <c:pt idx="4740">
                  <c:v>0.86861313868613099</c:v>
                </c:pt>
                <c:pt idx="4741">
                  <c:v>0.86864406779660996</c:v>
                </c:pt>
                <c:pt idx="4742">
                  <c:v>0.86868686868686895</c:v>
                </c:pt>
                <c:pt idx="4743">
                  <c:v>0.86868686868686895</c:v>
                </c:pt>
                <c:pt idx="4744">
                  <c:v>0.868778280542986</c:v>
                </c:pt>
                <c:pt idx="4745">
                  <c:v>0.86885245901639296</c:v>
                </c:pt>
                <c:pt idx="4746">
                  <c:v>0.86888888888888904</c:v>
                </c:pt>
                <c:pt idx="4747">
                  <c:v>0.86898839137645101</c:v>
                </c:pt>
                <c:pt idx="4748">
                  <c:v>0.86899563318777295</c:v>
                </c:pt>
                <c:pt idx="4749">
                  <c:v>0.86904761904761896</c:v>
                </c:pt>
                <c:pt idx="4750">
                  <c:v>0.86904761904761896</c:v>
                </c:pt>
                <c:pt idx="4751">
                  <c:v>0.86905916585839005</c:v>
                </c:pt>
                <c:pt idx="4752">
                  <c:v>0.86912751677852296</c:v>
                </c:pt>
                <c:pt idx="4753">
                  <c:v>0.869140625</c:v>
                </c:pt>
                <c:pt idx="4754">
                  <c:v>0.86915887850467299</c:v>
                </c:pt>
                <c:pt idx="4755">
                  <c:v>0.86915887850467299</c:v>
                </c:pt>
                <c:pt idx="4756">
                  <c:v>0.86915887850467299</c:v>
                </c:pt>
                <c:pt idx="4757">
                  <c:v>0.86915887850467299</c:v>
                </c:pt>
                <c:pt idx="4758">
                  <c:v>0.86918138041733495</c:v>
                </c:pt>
                <c:pt idx="4759">
                  <c:v>0.86918349429324004</c:v>
                </c:pt>
                <c:pt idx="4760">
                  <c:v>0.86932599724896797</c:v>
                </c:pt>
                <c:pt idx="4761">
                  <c:v>0.86940298507462699</c:v>
                </c:pt>
                <c:pt idx="4762">
                  <c:v>0.86941580756013703</c:v>
                </c:pt>
                <c:pt idx="4763">
                  <c:v>0.869463869463869</c:v>
                </c:pt>
                <c:pt idx="4764">
                  <c:v>0.86948176583493297</c:v>
                </c:pt>
                <c:pt idx="4765">
                  <c:v>0.86956521739130399</c:v>
                </c:pt>
                <c:pt idx="4766">
                  <c:v>0.86956521739130399</c:v>
                </c:pt>
                <c:pt idx="4767">
                  <c:v>0.86956521739130399</c:v>
                </c:pt>
                <c:pt idx="4768">
                  <c:v>0.86956521739130399</c:v>
                </c:pt>
                <c:pt idx="4769">
                  <c:v>0.86956521739130399</c:v>
                </c:pt>
                <c:pt idx="4770">
                  <c:v>0.86964980544747095</c:v>
                </c:pt>
                <c:pt idx="4771">
                  <c:v>0.86965589155370204</c:v>
                </c:pt>
                <c:pt idx="4772">
                  <c:v>0.86972860125260998</c:v>
                </c:pt>
                <c:pt idx="4773">
                  <c:v>0.86976389946687005</c:v>
                </c:pt>
                <c:pt idx="4774">
                  <c:v>0.86978131212723597</c:v>
                </c:pt>
                <c:pt idx="4775">
                  <c:v>0.86982248520710104</c:v>
                </c:pt>
                <c:pt idx="4776">
                  <c:v>0.86986301369862995</c:v>
                </c:pt>
                <c:pt idx="4777">
                  <c:v>0.86988847583643103</c:v>
                </c:pt>
                <c:pt idx="4778">
                  <c:v>0.87</c:v>
                </c:pt>
                <c:pt idx="4779">
                  <c:v>0.87</c:v>
                </c:pt>
                <c:pt idx="4780">
                  <c:v>0.87001733102252998</c:v>
                </c:pt>
                <c:pt idx="4781">
                  <c:v>0.87009063444108803</c:v>
                </c:pt>
                <c:pt idx="4782">
                  <c:v>0.87012987012986998</c:v>
                </c:pt>
                <c:pt idx="4783">
                  <c:v>0.87018701870186999</c:v>
                </c:pt>
                <c:pt idx="4784">
                  <c:v>0.87019230769230804</c:v>
                </c:pt>
                <c:pt idx="4785">
                  <c:v>0.87022016222479703</c:v>
                </c:pt>
                <c:pt idx="4786">
                  <c:v>0.87022900763358801</c:v>
                </c:pt>
                <c:pt idx="4787">
                  <c:v>0.87027027027027004</c:v>
                </c:pt>
                <c:pt idx="4788">
                  <c:v>0.87027427724240203</c:v>
                </c:pt>
                <c:pt idx="4789">
                  <c:v>0.87034482758620701</c:v>
                </c:pt>
                <c:pt idx="4790">
                  <c:v>0.87037037037037002</c:v>
                </c:pt>
                <c:pt idx="4791">
                  <c:v>0.87037037037037002</c:v>
                </c:pt>
                <c:pt idx="4792">
                  <c:v>0.87037037037037002</c:v>
                </c:pt>
                <c:pt idx="4793">
                  <c:v>0.87044534412955499</c:v>
                </c:pt>
                <c:pt idx="4794">
                  <c:v>0.87050359712230196</c:v>
                </c:pt>
                <c:pt idx="4795">
                  <c:v>0.87061994609164395</c:v>
                </c:pt>
                <c:pt idx="4796">
                  <c:v>0.87070151306739996</c:v>
                </c:pt>
                <c:pt idx="4797">
                  <c:v>0.87082204155374898</c:v>
                </c:pt>
                <c:pt idx="4798">
                  <c:v>0.87084870848708495</c:v>
                </c:pt>
                <c:pt idx="4799">
                  <c:v>0.87090558766859305</c:v>
                </c:pt>
                <c:pt idx="4800">
                  <c:v>0.87096774193548399</c:v>
                </c:pt>
                <c:pt idx="4801">
                  <c:v>0.87096774193548399</c:v>
                </c:pt>
                <c:pt idx="4802">
                  <c:v>0.87096774193548399</c:v>
                </c:pt>
                <c:pt idx="4803">
                  <c:v>0.87096774193548399</c:v>
                </c:pt>
                <c:pt idx="4804">
                  <c:v>0.87103594080338298</c:v>
                </c:pt>
                <c:pt idx="4805">
                  <c:v>0.87106756059824597</c:v>
                </c:pt>
                <c:pt idx="4806">
                  <c:v>0.87108013937282203</c:v>
                </c:pt>
                <c:pt idx="4807">
                  <c:v>0.87121212121212099</c:v>
                </c:pt>
                <c:pt idx="4808">
                  <c:v>0.87121212121212099</c:v>
                </c:pt>
                <c:pt idx="4809">
                  <c:v>0.87121212121212099</c:v>
                </c:pt>
                <c:pt idx="4810">
                  <c:v>0.87122416534181202</c:v>
                </c:pt>
                <c:pt idx="4811">
                  <c:v>0.871244635193133</c:v>
                </c:pt>
                <c:pt idx="4812">
                  <c:v>0.87128712871287095</c:v>
                </c:pt>
                <c:pt idx="4813">
                  <c:v>0.87137452711223196</c:v>
                </c:pt>
                <c:pt idx="4814">
                  <c:v>0.871428571428571</c:v>
                </c:pt>
                <c:pt idx="4815">
                  <c:v>0.871428571428571</c:v>
                </c:pt>
                <c:pt idx="4816">
                  <c:v>0.87155963302752304</c:v>
                </c:pt>
                <c:pt idx="4817">
                  <c:v>0.87155963302752304</c:v>
                </c:pt>
                <c:pt idx="4818">
                  <c:v>0.87158145065398296</c:v>
                </c:pt>
                <c:pt idx="4819">
                  <c:v>0.87160820648577098</c:v>
                </c:pt>
                <c:pt idx="4820">
                  <c:v>0.87162162162162204</c:v>
                </c:pt>
                <c:pt idx="4821">
                  <c:v>0.87168141592920401</c:v>
                </c:pt>
                <c:pt idx="4822">
                  <c:v>0.87175043327556301</c:v>
                </c:pt>
                <c:pt idx="4823">
                  <c:v>0.87179487179487203</c:v>
                </c:pt>
                <c:pt idx="4824">
                  <c:v>0.87179487179487203</c:v>
                </c:pt>
                <c:pt idx="4825">
                  <c:v>0.87179487179487203</c:v>
                </c:pt>
                <c:pt idx="4826">
                  <c:v>0.87179487179487203</c:v>
                </c:pt>
                <c:pt idx="4827">
                  <c:v>0.871866295264624</c:v>
                </c:pt>
                <c:pt idx="4828">
                  <c:v>0.87187499999999996</c:v>
                </c:pt>
                <c:pt idx="4829">
                  <c:v>0.87192118226601001</c:v>
                </c:pt>
                <c:pt idx="4830">
                  <c:v>0.871929824561404</c:v>
                </c:pt>
                <c:pt idx="4831">
                  <c:v>0.87195121951219501</c:v>
                </c:pt>
                <c:pt idx="4832">
                  <c:v>0.87195121951219501</c:v>
                </c:pt>
                <c:pt idx="4833">
                  <c:v>0.872</c:v>
                </c:pt>
                <c:pt idx="4834">
                  <c:v>0.872</c:v>
                </c:pt>
                <c:pt idx="4835">
                  <c:v>0.87206572769952995</c:v>
                </c:pt>
                <c:pt idx="4836">
                  <c:v>0.87209302325581395</c:v>
                </c:pt>
                <c:pt idx="4837">
                  <c:v>0.87213740458015299</c:v>
                </c:pt>
                <c:pt idx="4838">
                  <c:v>0.87214611872146097</c:v>
                </c:pt>
                <c:pt idx="4839">
                  <c:v>0.87215601300108303</c:v>
                </c:pt>
                <c:pt idx="4840">
                  <c:v>0.87220447284345004</c:v>
                </c:pt>
                <c:pt idx="4841">
                  <c:v>0.87234042553191504</c:v>
                </c:pt>
                <c:pt idx="4842">
                  <c:v>0.87244897959183698</c:v>
                </c:pt>
                <c:pt idx="4843">
                  <c:v>0.87246376811594195</c:v>
                </c:pt>
                <c:pt idx="4844">
                  <c:v>0.87251655629139102</c:v>
                </c:pt>
                <c:pt idx="4845">
                  <c:v>0.87254901960784303</c:v>
                </c:pt>
                <c:pt idx="4846">
                  <c:v>0.87265135699373697</c:v>
                </c:pt>
                <c:pt idx="4847">
                  <c:v>0.87265306122449005</c:v>
                </c:pt>
                <c:pt idx="4848">
                  <c:v>0.87272727272727302</c:v>
                </c:pt>
                <c:pt idx="4849">
                  <c:v>0.87272727272727302</c:v>
                </c:pt>
                <c:pt idx="4850">
                  <c:v>0.87272727272727302</c:v>
                </c:pt>
                <c:pt idx="4851">
                  <c:v>0.87277701778385797</c:v>
                </c:pt>
                <c:pt idx="4852">
                  <c:v>0.87283236994219604</c:v>
                </c:pt>
                <c:pt idx="4853">
                  <c:v>0.87285223367697595</c:v>
                </c:pt>
                <c:pt idx="4854">
                  <c:v>0.87288135593220295</c:v>
                </c:pt>
                <c:pt idx="4855">
                  <c:v>0.87292817679557999</c:v>
                </c:pt>
                <c:pt idx="4856">
                  <c:v>0.87294727744165901</c:v>
                </c:pt>
                <c:pt idx="4857">
                  <c:v>0.87303370786516798</c:v>
                </c:pt>
                <c:pt idx="4858">
                  <c:v>0.87305699481865295</c:v>
                </c:pt>
                <c:pt idx="4859">
                  <c:v>0.87318087318087301</c:v>
                </c:pt>
                <c:pt idx="4860">
                  <c:v>0.87323943661971803</c:v>
                </c:pt>
                <c:pt idx="4861">
                  <c:v>0.87323943661971803</c:v>
                </c:pt>
                <c:pt idx="4862">
                  <c:v>0.87327823691460105</c:v>
                </c:pt>
                <c:pt idx="4863">
                  <c:v>0.87347931873479301</c:v>
                </c:pt>
                <c:pt idx="4864">
                  <c:v>0.87352625937834905</c:v>
                </c:pt>
                <c:pt idx="4865">
                  <c:v>0.87356321839080497</c:v>
                </c:pt>
                <c:pt idx="4866">
                  <c:v>0.87356321839080497</c:v>
                </c:pt>
                <c:pt idx="4867">
                  <c:v>0.87368421052631595</c:v>
                </c:pt>
                <c:pt idx="4868">
                  <c:v>0.87375415282391999</c:v>
                </c:pt>
                <c:pt idx="4869">
                  <c:v>0.87378640776699001</c:v>
                </c:pt>
                <c:pt idx="4870">
                  <c:v>0.87387387387387405</c:v>
                </c:pt>
                <c:pt idx="4871">
                  <c:v>0.87387387387387405</c:v>
                </c:pt>
                <c:pt idx="4872">
                  <c:v>0.87387387387387405</c:v>
                </c:pt>
                <c:pt idx="4873">
                  <c:v>0.87390029325513197</c:v>
                </c:pt>
                <c:pt idx="4874">
                  <c:v>0.87390029325513197</c:v>
                </c:pt>
                <c:pt idx="4875">
                  <c:v>0.873949579831933</c:v>
                </c:pt>
                <c:pt idx="4876">
                  <c:v>0.87398373983739797</c:v>
                </c:pt>
                <c:pt idx="4877">
                  <c:v>0.87398373983739797</c:v>
                </c:pt>
                <c:pt idx="4878">
                  <c:v>0.87403903015966899</c:v>
                </c:pt>
                <c:pt idx="4879">
                  <c:v>0.874074074074074</c:v>
                </c:pt>
                <c:pt idx="4880">
                  <c:v>0.874074074074074</c:v>
                </c:pt>
                <c:pt idx="4881">
                  <c:v>0.87412587412587395</c:v>
                </c:pt>
                <c:pt idx="4882">
                  <c:v>0.87413194444444398</c:v>
                </c:pt>
                <c:pt idx="4883">
                  <c:v>0.87417218543046404</c:v>
                </c:pt>
                <c:pt idx="4884">
                  <c:v>0.874285714285714</c:v>
                </c:pt>
                <c:pt idx="4885">
                  <c:v>0.874592833876222</c:v>
                </c:pt>
                <c:pt idx="4886">
                  <c:v>0.874651810584958</c:v>
                </c:pt>
                <c:pt idx="4887">
                  <c:v>0.87468030690537102</c:v>
                </c:pt>
                <c:pt idx="4888">
                  <c:v>0.87468671679197996</c:v>
                </c:pt>
                <c:pt idx="4889">
                  <c:v>0.874739039665971</c:v>
                </c:pt>
                <c:pt idx="4890">
                  <c:v>0.87478559176672399</c:v>
                </c:pt>
                <c:pt idx="4891">
                  <c:v>0.87483176312247601</c:v>
                </c:pt>
                <c:pt idx="4892">
                  <c:v>0.875</c:v>
                </c:pt>
                <c:pt idx="4893">
                  <c:v>0.875</c:v>
                </c:pt>
                <c:pt idx="4894">
                  <c:v>0.875</c:v>
                </c:pt>
                <c:pt idx="4895">
                  <c:v>0.875</c:v>
                </c:pt>
                <c:pt idx="4896">
                  <c:v>0.875</c:v>
                </c:pt>
                <c:pt idx="4897">
                  <c:v>0.875</c:v>
                </c:pt>
                <c:pt idx="4898">
                  <c:v>0.875</c:v>
                </c:pt>
                <c:pt idx="4899">
                  <c:v>0.875</c:v>
                </c:pt>
                <c:pt idx="4900">
                  <c:v>0.875</c:v>
                </c:pt>
                <c:pt idx="4901">
                  <c:v>0.875</c:v>
                </c:pt>
                <c:pt idx="4902">
                  <c:v>0.875</c:v>
                </c:pt>
                <c:pt idx="4903">
                  <c:v>0.875</c:v>
                </c:pt>
                <c:pt idx="4904">
                  <c:v>0.875</c:v>
                </c:pt>
                <c:pt idx="4905">
                  <c:v>0.87531806615776098</c:v>
                </c:pt>
                <c:pt idx="4906">
                  <c:v>0.87535898908673204</c:v>
                </c:pt>
                <c:pt idx="4907">
                  <c:v>0.875370919881306</c:v>
                </c:pt>
                <c:pt idx="4908">
                  <c:v>0.87541862022772898</c:v>
                </c:pt>
                <c:pt idx="4909">
                  <c:v>0.87549668874172204</c:v>
                </c:pt>
                <c:pt idx="4910">
                  <c:v>0.87550200803212797</c:v>
                </c:pt>
                <c:pt idx="4911">
                  <c:v>0.87559808612440204</c:v>
                </c:pt>
                <c:pt idx="4912">
                  <c:v>0.87562189054726403</c:v>
                </c:pt>
                <c:pt idx="4913">
                  <c:v>0.87567244471010197</c:v>
                </c:pt>
                <c:pt idx="4914">
                  <c:v>0.87568555758683697</c:v>
                </c:pt>
                <c:pt idx="4915">
                  <c:v>0.87570621468926602</c:v>
                </c:pt>
                <c:pt idx="4916">
                  <c:v>0.87581699346405195</c:v>
                </c:pt>
                <c:pt idx="4917">
                  <c:v>0.87587168758716905</c:v>
                </c:pt>
                <c:pt idx="4918">
                  <c:v>0.87587412587412605</c:v>
                </c:pt>
                <c:pt idx="4919">
                  <c:v>0.87591687041564803</c:v>
                </c:pt>
                <c:pt idx="4920">
                  <c:v>0.87593423019432004</c:v>
                </c:pt>
                <c:pt idx="4921">
                  <c:v>0.87596899224806202</c:v>
                </c:pt>
                <c:pt idx="4922">
                  <c:v>0.876</c:v>
                </c:pt>
                <c:pt idx="4923">
                  <c:v>0.87603305785123997</c:v>
                </c:pt>
                <c:pt idx="4924">
                  <c:v>0.87609329446064099</c:v>
                </c:pt>
                <c:pt idx="4925">
                  <c:v>0.87610619469026496</c:v>
                </c:pt>
                <c:pt idx="4926">
                  <c:v>0.87613941018766806</c:v>
                </c:pt>
                <c:pt idx="4927">
                  <c:v>0.87614678899082599</c:v>
                </c:pt>
                <c:pt idx="4928">
                  <c:v>0.87620578778135005</c:v>
                </c:pt>
                <c:pt idx="4929">
                  <c:v>0.87621178225205099</c:v>
                </c:pt>
                <c:pt idx="4930">
                  <c:v>0.87626774847870204</c:v>
                </c:pt>
                <c:pt idx="4931">
                  <c:v>0.87627811860940696</c:v>
                </c:pt>
                <c:pt idx="4932">
                  <c:v>0.87628865979381398</c:v>
                </c:pt>
                <c:pt idx="4933">
                  <c:v>0.87628865979381398</c:v>
                </c:pt>
                <c:pt idx="4934">
                  <c:v>0.87628865979381398</c:v>
                </c:pt>
                <c:pt idx="4935">
                  <c:v>0.87634408602150504</c:v>
                </c:pt>
                <c:pt idx="4936">
                  <c:v>0.876357560568087</c:v>
                </c:pt>
                <c:pt idx="4937">
                  <c:v>0.87637969094922696</c:v>
                </c:pt>
                <c:pt idx="4938">
                  <c:v>0.87640449438202195</c:v>
                </c:pt>
                <c:pt idx="4939">
                  <c:v>0.87641723356009105</c:v>
                </c:pt>
                <c:pt idx="4940">
                  <c:v>0.87654320987654299</c:v>
                </c:pt>
                <c:pt idx="4941">
                  <c:v>0.87654320987654299</c:v>
                </c:pt>
                <c:pt idx="4942">
                  <c:v>0.87654320987654299</c:v>
                </c:pt>
                <c:pt idx="4943">
                  <c:v>0.87654320987654299</c:v>
                </c:pt>
                <c:pt idx="4944">
                  <c:v>0.87654320987654299</c:v>
                </c:pt>
                <c:pt idx="4945">
                  <c:v>0.87662337662337697</c:v>
                </c:pt>
                <c:pt idx="4946">
                  <c:v>0.87666666666666704</c:v>
                </c:pt>
                <c:pt idx="4947">
                  <c:v>0.87671232876712302</c:v>
                </c:pt>
                <c:pt idx="4948">
                  <c:v>0.87677053824362605</c:v>
                </c:pt>
                <c:pt idx="4949">
                  <c:v>0.87678207739307501</c:v>
                </c:pt>
                <c:pt idx="4950">
                  <c:v>0.87685113016367899</c:v>
                </c:pt>
                <c:pt idx="4951">
                  <c:v>0.87686062246278695</c:v>
                </c:pt>
                <c:pt idx="4952">
                  <c:v>0.87687687687687699</c:v>
                </c:pt>
                <c:pt idx="4953">
                  <c:v>0.87692307692307703</c:v>
                </c:pt>
                <c:pt idx="4954">
                  <c:v>0.87694974003466197</c:v>
                </c:pt>
                <c:pt idx="4955">
                  <c:v>0.87709497206703901</c:v>
                </c:pt>
                <c:pt idx="4956">
                  <c:v>0.87713310580204795</c:v>
                </c:pt>
                <c:pt idx="4957">
                  <c:v>0.87719298245613997</c:v>
                </c:pt>
                <c:pt idx="4958">
                  <c:v>0.87719298245613997</c:v>
                </c:pt>
                <c:pt idx="4959">
                  <c:v>0.87719298245613997</c:v>
                </c:pt>
                <c:pt idx="4960">
                  <c:v>0.87726358148893402</c:v>
                </c:pt>
                <c:pt idx="4961">
                  <c:v>0.877300613496933</c:v>
                </c:pt>
                <c:pt idx="4962">
                  <c:v>0.87732919254658404</c:v>
                </c:pt>
                <c:pt idx="4963">
                  <c:v>0.87741935483871003</c:v>
                </c:pt>
                <c:pt idx="4964">
                  <c:v>0.877437325905292</c:v>
                </c:pt>
                <c:pt idx="4965">
                  <c:v>0.87744034707158303</c:v>
                </c:pt>
                <c:pt idx="4966">
                  <c:v>0.87749287749287697</c:v>
                </c:pt>
                <c:pt idx="4967">
                  <c:v>0.87755102040816302</c:v>
                </c:pt>
                <c:pt idx="4968">
                  <c:v>0.87761194029850698</c:v>
                </c:pt>
                <c:pt idx="4969">
                  <c:v>0.87777777777777799</c:v>
                </c:pt>
                <c:pt idx="4970">
                  <c:v>0.87777777777777799</c:v>
                </c:pt>
                <c:pt idx="4971">
                  <c:v>0.87780269058296001</c:v>
                </c:pt>
                <c:pt idx="4972">
                  <c:v>0.87786259541984701</c:v>
                </c:pt>
                <c:pt idx="4973">
                  <c:v>0.87790697674418605</c:v>
                </c:pt>
                <c:pt idx="4974">
                  <c:v>0.87793427230046905</c:v>
                </c:pt>
                <c:pt idx="4975">
                  <c:v>0.87795144662454305</c:v>
                </c:pt>
                <c:pt idx="4976">
                  <c:v>0.87795275590551203</c:v>
                </c:pt>
                <c:pt idx="4977">
                  <c:v>0.87804878048780499</c:v>
                </c:pt>
                <c:pt idx="4978">
                  <c:v>0.87808564231737996</c:v>
                </c:pt>
                <c:pt idx="4979">
                  <c:v>0.87810945273631802</c:v>
                </c:pt>
                <c:pt idx="4980">
                  <c:v>0.87814313346228201</c:v>
                </c:pt>
                <c:pt idx="4981">
                  <c:v>0.87820512820512797</c:v>
                </c:pt>
                <c:pt idx="4982">
                  <c:v>0.87820983125458496</c:v>
                </c:pt>
                <c:pt idx="4983">
                  <c:v>0.87824831568816197</c:v>
                </c:pt>
                <c:pt idx="4984">
                  <c:v>0.87831325301204799</c:v>
                </c:pt>
                <c:pt idx="4985">
                  <c:v>0.87835926449787805</c:v>
                </c:pt>
                <c:pt idx="4986">
                  <c:v>0.87837837837837796</c:v>
                </c:pt>
                <c:pt idx="4987">
                  <c:v>0.87837837837837796</c:v>
                </c:pt>
                <c:pt idx="4988">
                  <c:v>0.87850467289719603</c:v>
                </c:pt>
                <c:pt idx="4989">
                  <c:v>0.87855579868708999</c:v>
                </c:pt>
                <c:pt idx="4990">
                  <c:v>0.87857961053837297</c:v>
                </c:pt>
                <c:pt idx="4991">
                  <c:v>0.87862137862137901</c:v>
                </c:pt>
                <c:pt idx="4992">
                  <c:v>0.87862796833773105</c:v>
                </c:pt>
                <c:pt idx="4993">
                  <c:v>0.878651685393258</c:v>
                </c:pt>
                <c:pt idx="4994">
                  <c:v>0.87878787878787901</c:v>
                </c:pt>
                <c:pt idx="4995">
                  <c:v>0.87878787878787901</c:v>
                </c:pt>
                <c:pt idx="4996">
                  <c:v>0.87878787878787901</c:v>
                </c:pt>
                <c:pt idx="4997">
                  <c:v>0.87880935506732805</c:v>
                </c:pt>
                <c:pt idx="4998">
                  <c:v>0.87883959044368598</c:v>
                </c:pt>
                <c:pt idx="4999">
                  <c:v>0.878899082568807</c:v>
                </c:pt>
                <c:pt idx="5000">
                  <c:v>0.87891019172552998</c:v>
                </c:pt>
                <c:pt idx="5001">
                  <c:v>0.87894736842105303</c:v>
                </c:pt>
                <c:pt idx="5002">
                  <c:v>0.87894736842105303</c:v>
                </c:pt>
                <c:pt idx="5003">
                  <c:v>0.87896253602305496</c:v>
                </c:pt>
                <c:pt idx="5004">
                  <c:v>0.87904967602591799</c:v>
                </c:pt>
                <c:pt idx="5005">
                  <c:v>0.87905236907730699</c:v>
                </c:pt>
                <c:pt idx="5006">
                  <c:v>0.87906976744186005</c:v>
                </c:pt>
                <c:pt idx="5007">
                  <c:v>0.879120879120879</c:v>
                </c:pt>
                <c:pt idx="5008">
                  <c:v>0.879142300194932</c:v>
                </c:pt>
                <c:pt idx="5009">
                  <c:v>0.87917737789203099</c:v>
                </c:pt>
                <c:pt idx="5010">
                  <c:v>0.87924528301886795</c:v>
                </c:pt>
                <c:pt idx="5011">
                  <c:v>0.87925170068027203</c:v>
                </c:pt>
                <c:pt idx="5012">
                  <c:v>0.879341864716636</c:v>
                </c:pt>
                <c:pt idx="5013">
                  <c:v>0.87934560327198397</c:v>
                </c:pt>
                <c:pt idx="5014">
                  <c:v>0.87934560327198397</c:v>
                </c:pt>
                <c:pt idx="5015">
                  <c:v>0.87939221272554602</c:v>
                </c:pt>
                <c:pt idx="5016">
                  <c:v>0.879432624113475</c:v>
                </c:pt>
                <c:pt idx="5017">
                  <c:v>0.879432624113475</c:v>
                </c:pt>
                <c:pt idx="5018">
                  <c:v>0.87948717948717903</c:v>
                </c:pt>
                <c:pt idx="5019">
                  <c:v>0.87951807228915702</c:v>
                </c:pt>
                <c:pt idx="5020">
                  <c:v>0.87959183673469399</c:v>
                </c:pt>
                <c:pt idx="5021">
                  <c:v>0.87962962962962998</c:v>
                </c:pt>
                <c:pt idx="5022">
                  <c:v>0.87962962962962998</c:v>
                </c:pt>
                <c:pt idx="5023">
                  <c:v>0.87966305655836297</c:v>
                </c:pt>
                <c:pt idx="5024">
                  <c:v>0.87966804979253099</c:v>
                </c:pt>
                <c:pt idx="5025">
                  <c:v>0.87969924812030098</c:v>
                </c:pt>
                <c:pt idx="5026">
                  <c:v>0.87969924812030098</c:v>
                </c:pt>
                <c:pt idx="5027">
                  <c:v>0.879746835443038</c:v>
                </c:pt>
                <c:pt idx="5028">
                  <c:v>0.88017429193899799</c:v>
                </c:pt>
                <c:pt idx="5029">
                  <c:v>0.88018433179723499</c:v>
                </c:pt>
                <c:pt idx="5030">
                  <c:v>0.880222841225627</c:v>
                </c:pt>
                <c:pt idx="5031">
                  <c:v>0.88026607538802704</c:v>
                </c:pt>
                <c:pt idx="5032">
                  <c:v>0.88028169014084501</c:v>
                </c:pt>
                <c:pt idx="5033">
                  <c:v>0.88030888030887999</c:v>
                </c:pt>
                <c:pt idx="5034">
                  <c:v>0.88034188034187999</c:v>
                </c:pt>
                <c:pt idx="5035">
                  <c:v>0.88035450516986702</c:v>
                </c:pt>
                <c:pt idx="5036">
                  <c:v>0.88038277511961704</c:v>
                </c:pt>
                <c:pt idx="5037">
                  <c:v>0.88038277511961704</c:v>
                </c:pt>
                <c:pt idx="5038">
                  <c:v>0.88044692737430197</c:v>
                </c:pt>
                <c:pt idx="5039">
                  <c:v>0.88059701492537301</c:v>
                </c:pt>
                <c:pt idx="5040">
                  <c:v>0.88059701492537301</c:v>
                </c:pt>
                <c:pt idx="5041">
                  <c:v>0.88059701492537301</c:v>
                </c:pt>
                <c:pt idx="5042">
                  <c:v>0.88070175438596499</c:v>
                </c:pt>
                <c:pt idx="5043">
                  <c:v>0.88073394495412805</c:v>
                </c:pt>
                <c:pt idx="5044">
                  <c:v>0.88079470198675502</c:v>
                </c:pt>
                <c:pt idx="5045">
                  <c:v>0.88082901554404103</c:v>
                </c:pt>
                <c:pt idx="5046">
                  <c:v>0.88086642599277998</c:v>
                </c:pt>
                <c:pt idx="5047">
                  <c:v>0.88087774294670795</c:v>
                </c:pt>
                <c:pt idx="5048">
                  <c:v>0.88088235294117601</c:v>
                </c:pt>
                <c:pt idx="5049">
                  <c:v>0.88091603053435097</c:v>
                </c:pt>
                <c:pt idx="5050">
                  <c:v>0.88093183779119899</c:v>
                </c:pt>
                <c:pt idx="5051">
                  <c:v>0.88095238095238104</c:v>
                </c:pt>
                <c:pt idx="5052">
                  <c:v>0.88095238095238104</c:v>
                </c:pt>
                <c:pt idx="5053">
                  <c:v>0.88095238095238104</c:v>
                </c:pt>
                <c:pt idx="5054">
                  <c:v>0.88095238095238104</c:v>
                </c:pt>
                <c:pt idx="5055">
                  <c:v>0.88099173553719001</c:v>
                </c:pt>
                <c:pt idx="5056">
                  <c:v>0.88108108108108096</c:v>
                </c:pt>
                <c:pt idx="5057">
                  <c:v>0.88111888111888104</c:v>
                </c:pt>
                <c:pt idx="5058">
                  <c:v>0.88114754098360704</c:v>
                </c:pt>
                <c:pt idx="5059">
                  <c:v>0.88114754098360704</c:v>
                </c:pt>
                <c:pt idx="5060">
                  <c:v>0.88131313131313105</c:v>
                </c:pt>
                <c:pt idx="5061">
                  <c:v>0.88135593220339004</c:v>
                </c:pt>
                <c:pt idx="5062">
                  <c:v>0.88135593220339004</c:v>
                </c:pt>
                <c:pt idx="5063">
                  <c:v>0.88135593220339004</c:v>
                </c:pt>
                <c:pt idx="5064">
                  <c:v>0.88135593220339004</c:v>
                </c:pt>
                <c:pt idx="5065">
                  <c:v>0.88135593220339004</c:v>
                </c:pt>
                <c:pt idx="5066">
                  <c:v>0.88138385502471195</c:v>
                </c:pt>
                <c:pt idx="5067">
                  <c:v>0.88140161725067401</c:v>
                </c:pt>
                <c:pt idx="5068">
                  <c:v>0.88143828960155501</c:v>
                </c:pt>
                <c:pt idx="5069">
                  <c:v>0.88144329896907203</c:v>
                </c:pt>
                <c:pt idx="5070">
                  <c:v>0.88148148148148098</c:v>
                </c:pt>
                <c:pt idx="5071">
                  <c:v>0.88157894736842102</c:v>
                </c:pt>
                <c:pt idx="5072">
                  <c:v>0.88157894736842102</c:v>
                </c:pt>
                <c:pt idx="5073">
                  <c:v>0.88157894736842102</c:v>
                </c:pt>
                <c:pt idx="5074">
                  <c:v>0.88157894736842102</c:v>
                </c:pt>
                <c:pt idx="5075">
                  <c:v>0.881606765327695</c:v>
                </c:pt>
                <c:pt idx="5076">
                  <c:v>0.88172043010752699</c:v>
                </c:pt>
                <c:pt idx="5077">
                  <c:v>0.88172043010752699</c:v>
                </c:pt>
                <c:pt idx="5078">
                  <c:v>0.88176240936977102</c:v>
                </c:pt>
                <c:pt idx="5079">
                  <c:v>0.88179347826086896</c:v>
                </c:pt>
                <c:pt idx="5080">
                  <c:v>0.88179669030732899</c:v>
                </c:pt>
                <c:pt idx="5081">
                  <c:v>0.88181818181818195</c:v>
                </c:pt>
                <c:pt idx="5082">
                  <c:v>0.88181818181818195</c:v>
                </c:pt>
                <c:pt idx="5083">
                  <c:v>0.88185654008438796</c:v>
                </c:pt>
                <c:pt idx="5084">
                  <c:v>0.88192771084337296</c:v>
                </c:pt>
                <c:pt idx="5085">
                  <c:v>0.88194444444444398</c:v>
                </c:pt>
                <c:pt idx="5086">
                  <c:v>0.881987577639751</c:v>
                </c:pt>
                <c:pt idx="5087">
                  <c:v>0.88200000000000001</c:v>
                </c:pt>
                <c:pt idx="5088">
                  <c:v>0.88202247191011196</c:v>
                </c:pt>
                <c:pt idx="5089">
                  <c:v>0.88203592814371301</c:v>
                </c:pt>
                <c:pt idx="5090">
                  <c:v>0.88204683434518605</c:v>
                </c:pt>
                <c:pt idx="5091">
                  <c:v>0.88210961737331905</c:v>
                </c:pt>
                <c:pt idx="5092">
                  <c:v>0.88212634822804303</c:v>
                </c:pt>
                <c:pt idx="5093">
                  <c:v>0.88213627992633503</c:v>
                </c:pt>
                <c:pt idx="5094">
                  <c:v>0.88215859030836996</c:v>
                </c:pt>
                <c:pt idx="5095">
                  <c:v>0.88219178082191796</c:v>
                </c:pt>
                <c:pt idx="5096">
                  <c:v>0.88235294117647101</c:v>
                </c:pt>
                <c:pt idx="5097">
                  <c:v>0.88235294117647101</c:v>
                </c:pt>
                <c:pt idx="5098">
                  <c:v>0.88235294117647101</c:v>
                </c:pt>
                <c:pt idx="5099">
                  <c:v>0.88235294117647101</c:v>
                </c:pt>
                <c:pt idx="5100">
                  <c:v>0.88235294117647101</c:v>
                </c:pt>
                <c:pt idx="5101">
                  <c:v>0.88235294117647101</c:v>
                </c:pt>
                <c:pt idx="5102">
                  <c:v>0.88235294117647101</c:v>
                </c:pt>
                <c:pt idx="5103">
                  <c:v>0.88241923365890296</c:v>
                </c:pt>
                <c:pt idx="5104">
                  <c:v>0.88245931283905998</c:v>
                </c:pt>
                <c:pt idx="5105">
                  <c:v>0.88251366120218599</c:v>
                </c:pt>
                <c:pt idx="5106">
                  <c:v>0.88252148997134705</c:v>
                </c:pt>
                <c:pt idx="5107">
                  <c:v>0.88253164556962005</c:v>
                </c:pt>
                <c:pt idx="5108">
                  <c:v>0.88255033557047002</c:v>
                </c:pt>
                <c:pt idx="5109">
                  <c:v>0.88255613126079402</c:v>
                </c:pt>
                <c:pt idx="5110">
                  <c:v>0.882562277580071</c:v>
                </c:pt>
                <c:pt idx="5111">
                  <c:v>0.88258064516128998</c:v>
                </c:pt>
                <c:pt idx="5112">
                  <c:v>0.88278931750741796</c:v>
                </c:pt>
                <c:pt idx="5113">
                  <c:v>0.8828125</c:v>
                </c:pt>
                <c:pt idx="5114">
                  <c:v>0.88288288288288297</c:v>
                </c:pt>
                <c:pt idx="5115">
                  <c:v>0.88288288288288297</c:v>
                </c:pt>
                <c:pt idx="5116">
                  <c:v>0.88290398126463698</c:v>
                </c:pt>
                <c:pt idx="5117">
                  <c:v>0.88290840415486305</c:v>
                </c:pt>
                <c:pt idx="5118">
                  <c:v>0.88304093567251496</c:v>
                </c:pt>
                <c:pt idx="5119">
                  <c:v>0.88304093567251496</c:v>
                </c:pt>
                <c:pt idx="5120">
                  <c:v>0.88304392236976503</c:v>
                </c:pt>
                <c:pt idx="5121">
                  <c:v>0.88306451612903203</c:v>
                </c:pt>
                <c:pt idx="5122">
                  <c:v>0.88321167883211704</c:v>
                </c:pt>
                <c:pt idx="5123">
                  <c:v>0.88323998276604898</c:v>
                </c:pt>
                <c:pt idx="5124">
                  <c:v>0.88324258923169996</c:v>
                </c:pt>
                <c:pt idx="5125">
                  <c:v>0.88331627430910897</c:v>
                </c:pt>
                <c:pt idx="5126">
                  <c:v>0.88333333333333297</c:v>
                </c:pt>
                <c:pt idx="5127">
                  <c:v>0.88333333333333297</c:v>
                </c:pt>
                <c:pt idx="5128">
                  <c:v>0.88333333333333297</c:v>
                </c:pt>
                <c:pt idx="5129">
                  <c:v>0.88340807174887903</c:v>
                </c:pt>
                <c:pt idx="5130">
                  <c:v>0.88349514563106801</c:v>
                </c:pt>
                <c:pt idx="5131">
                  <c:v>0.88349514563106801</c:v>
                </c:pt>
                <c:pt idx="5132">
                  <c:v>0.88356164383561597</c:v>
                </c:pt>
                <c:pt idx="5133">
                  <c:v>0.88359788359788405</c:v>
                </c:pt>
                <c:pt idx="5134">
                  <c:v>0.88359788359788405</c:v>
                </c:pt>
                <c:pt idx="5135">
                  <c:v>0.88369920597851503</c:v>
                </c:pt>
                <c:pt idx="5136">
                  <c:v>0.88372093023255804</c:v>
                </c:pt>
                <c:pt idx="5137">
                  <c:v>0.88372093023255804</c:v>
                </c:pt>
                <c:pt idx="5138">
                  <c:v>0.88372093023255804</c:v>
                </c:pt>
                <c:pt idx="5139">
                  <c:v>0.88372093023255804</c:v>
                </c:pt>
                <c:pt idx="5140">
                  <c:v>0.88372093023255804</c:v>
                </c:pt>
                <c:pt idx="5141">
                  <c:v>0.88381742738589197</c:v>
                </c:pt>
                <c:pt idx="5142">
                  <c:v>0.88381742738589197</c:v>
                </c:pt>
                <c:pt idx="5143">
                  <c:v>0.88383588729609497</c:v>
                </c:pt>
                <c:pt idx="5144">
                  <c:v>0.88392857142857095</c:v>
                </c:pt>
                <c:pt idx="5145">
                  <c:v>0.88392857142857095</c:v>
                </c:pt>
                <c:pt idx="5146">
                  <c:v>0.88400488400488397</c:v>
                </c:pt>
                <c:pt idx="5147">
                  <c:v>0.88405797101449302</c:v>
                </c:pt>
                <c:pt idx="5148">
                  <c:v>0.88405797101449302</c:v>
                </c:pt>
                <c:pt idx="5149">
                  <c:v>0.88407821229050298</c:v>
                </c:pt>
                <c:pt idx="5150">
                  <c:v>0.88415672913117505</c:v>
                </c:pt>
                <c:pt idx="5151">
                  <c:v>0.88419319429198695</c:v>
                </c:pt>
                <c:pt idx="5152">
                  <c:v>0.884210526315789</c:v>
                </c:pt>
                <c:pt idx="5153">
                  <c:v>0.88429752066115697</c:v>
                </c:pt>
                <c:pt idx="5154">
                  <c:v>0.88430698739977098</c:v>
                </c:pt>
                <c:pt idx="5155">
                  <c:v>0.88432835820895495</c:v>
                </c:pt>
                <c:pt idx="5156">
                  <c:v>0.88432835820895495</c:v>
                </c:pt>
                <c:pt idx="5157">
                  <c:v>0.88437500000000002</c:v>
                </c:pt>
                <c:pt idx="5158">
                  <c:v>0.884381338742393</c:v>
                </c:pt>
                <c:pt idx="5159">
                  <c:v>0.88442211055276398</c:v>
                </c:pt>
                <c:pt idx="5160">
                  <c:v>0.88445378151260501</c:v>
                </c:pt>
                <c:pt idx="5161">
                  <c:v>0.88445667125171901</c:v>
                </c:pt>
                <c:pt idx="5162">
                  <c:v>0.88449848024316102</c:v>
                </c:pt>
                <c:pt idx="5163">
                  <c:v>0.88452655889145504</c:v>
                </c:pt>
                <c:pt idx="5164">
                  <c:v>0.88455008488964304</c:v>
                </c:pt>
                <c:pt idx="5165">
                  <c:v>0.88455008488964304</c:v>
                </c:pt>
                <c:pt idx="5166">
                  <c:v>0.88455988455988399</c:v>
                </c:pt>
                <c:pt idx="5167">
                  <c:v>0.88459016393442602</c:v>
                </c:pt>
                <c:pt idx="5168">
                  <c:v>0.88461538461538503</c:v>
                </c:pt>
                <c:pt idx="5169">
                  <c:v>0.88461538461538503</c:v>
                </c:pt>
                <c:pt idx="5170">
                  <c:v>0.88461538461538503</c:v>
                </c:pt>
                <c:pt idx="5171">
                  <c:v>0.88461538461538503</c:v>
                </c:pt>
                <c:pt idx="5172">
                  <c:v>0.88471849865951702</c:v>
                </c:pt>
                <c:pt idx="5173">
                  <c:v>0.88473520249221205</c:v>
                </c:pt>
                <c:pt idx="5174">
                  <c:v>0.884745762711864</c:v>
                </c:pt>
                <c:pt idx="5175">
                  <c:v>0.88477366255143997</c:v>
                </c:pt>
                <c:pt idx="5176">
                  <c:v>0.88478260869565195</c:v>
                </c:pt>
                <c:pt idx="5177">
                  <c:v>0.88481675392670101</c:v>
                </c:pt>
                <c:pt idx="5178">
                  <c:v>0.88492417484388897</c:v>
                </c:pt>
                <c:pt idx="5179">
                  <c:v>0.88495575221238898</c:v>
                </c:pt>
                <c:pt idx="5180">
                  <c:v>0.88497409326424903</c:v>
                </c:pt>
                <c:pt idx="5181">
                  <c:v>0.88497652582159603</c:v>
                </c:pt>
                <c:pt idx="5182">
                  <c:v>0.88497652582159603</c:v>
                </c:pt>
                <c:pt idx="5183">
                  <c:v>0.88500000000000001</c:v>
                </c:pt>
                <c:pt idx="5184">
                  <c:v>0.88500000000000001</c:v>
                </c:pt>
                <c:pt idx="5185">
                  <c:v>0.88501742160278696</c:v>
                </c:pt>
                <c:pt idx="5186">
                  <c:v>0.88505747126436796</c:v>
                </c:pt>
                <c:pt idx="5187">
                  <c:v>0.88509874326750404</c:v>
                </c:pt>
                <c:pt idx="5188">
                  <c:v>0.88524590163934402</c:v>
                </c:pt>
                <c:pt idx="5189">
                  <c:v>0.88532110091743099</c:v>
                </c:pt>
                <c:pt idx="5190">
                  <c:v>0.88533834586466198</c:v>
                </c:pt>
                <c:pt idx="5191">
                  <c:v>0.88539741219962997</c:v>
                </c:pt>
                <c:pt idx="5192">
                  <c:v>0.88540734109221098</c:v>
                </c:pt>
                <c:pt idx="5193">
                  <c:v>0.88541666666666696</c:v>
                </c:pt>
                <c:pt idx="5194">
                  <c:v>0.88541666666666696</c:v>
                </c:pt>
                <c:pt idx="5195">
                  <c:v>0.88546255506607896</c:v>
                </c:pt>
                <c:pt idx="5196">
                  <c:v>0.88552188552188504</c:v>
                </c:pt>
                <c:pt idx="5197">
                  <c:v>0.88554216867469904</c:v>
                </c:pt>
                <c:pt idx="5198">
                  <c:v>0.885572139303482</c:v>
                </c:pt>
                <c:pt idx="5199">
                  <c:v>0.885572139303482</c:v>
                </c:pt>
                <c:pt idx="5200">
                  <c:v>0.88560411311053999</c:v>
                </c:pt>
                <c:pt idx="5201">
                  <c:v>0.885630498533724</c:v>
                </c:pt>
                <c:pt idx="5202">
                  <c:v>0.88565022421524697</c:v>
                </c:pt>
                <c:pt idx="5203">
                  <c:v>0.88571428571428601</c:v>
                </c:pt>
                <c:pt idx="5204">
                  <c:v>0.88571428571428601</c:v>
                </c:pt>
                <c:pt idx="5205">
                  <c:v>0.88571428571428601</c:v>
                </c:pt>
                <c:pt idx="5206">
                  <c:v>0.88571428571428601</c:v>
                </c:pt>
                <c:pt idx="5207">
                  <c:v>0.88571428571428601</c:v>
                </c:pt>
                <c:pt idx="5208">
                  <c:v>0.88578088578088598</c:v>
                </c:pt>
                <c:pt idx="5209">
                  <c:v>0.885844748858447</c:v>
                </c:pt>
                <c:pt idx="5210">
                  <c:v>0.88586956521739102</c:v>
                </c:pt>
                <c:pt idx="5211">
                  <c:v>0.88590604026845599</c:v>
                </c:pt>
                <c:pt idx="5212">
                  <c:v>0.88597491448118604</c:v>
                </c:pt>
                <c:pt idx="5213">
                  <c:v>0.88598371195885095</c:v>
                </c:pt>
                <c:pt idx="5214">
                  <c:v>0.8860103626943</c:v>
                </c:pt>
                <c:pt idx="5215">
                  <c:v>0.8860103626943</c:v>
                </c:pt>
                <c:pt idx="5216">
                  <c:v>0.88603988603988604</c:v>
                </c:pt>
                <c:pt idx="5217">
                  <c:v>0.886075949367088</c:v>
                </c:pt>
                <c:pt idx="5218">
                  <c:v>0.88617886178861804</c:v>
                </c:pt>
                <c:pt idx="5219">
                  <c:v>0.88619599578503705</c:v>
                </c:pt>
                <c:pt idx="5220">
                  <c:v>0.88620689655172402</c:v>
                </c:pt>
                <c:pt idx="5221">
                  <c:v>0.88622754491017997</c:v>
                </c:pt>
                <c:pt idx="5222">
                  <c:v>0.88622754491017997</c:v>
                </c:pt>
                <c:pt idx="5223">
                  <c:v>0.88629737609329395</c:v>
                </c:pt>
                <c:pt idx="5224">
                  <c:v>0.88630490956072305</c:v>
                </c:pt>
                <c:pt idx="5225">
                  <c:v>0.88636363636363602</c:v>
                </c:pt>
                <c:pt idx="5226">
                  <c:v>0.88636363636363602</c:v>
                </c:pt>
                <c:pt idx="5227">
                  <c:v>0.88636363636363602</c:v>
                </c:pt>
                <c:pt idx="5228">
                  <c:v>0.88636363636363602</c:v>
                </c:pt>
                <c:pt idx="5229">
                  <c:v>0.88639053254437905</c:v>
                </c:pt>
                <c:pt idx="5230">
                  <c:v>0.88643533123028395</c:v>
                </c:pt>
                <c:pt idx="5231">
                  <c:v>0.88648648648648598</c:v>
                </c:pt>
                <c:pt idx="5232">
                  <c:v>0.88649080735411701</c:v>
                </c:pt>
                <c:pt idx="5233">
                  <c:v>0.88663967611336003</c:v>
                </c:pt>
                <c:pt idx="5234">
                  <c:v>0.88663967611336003</c:v>
                </c:pt>
                <c:pt idx="5235">
                  <c:v>0.88666666666666705</c:v>
                </c:pt>
                <c:pt idx="5236">
                  <c:v>0.88669950738916303</c:v>
                </c:pt>
                <c:pt idx="5237">
                  <c:v>0.88676056338028197</c:v>
                </c:pt>
                <c:pt idx="5238">
                  <c:v>0.88679245283018904</c:v>
                </c:pt>
                <c:pt idx="5239">
                  <c:v>0.88682432432432401</c:v>
                </c:pt>
                <c:pt idx="5240">
                  <c:v>0.886861313868613</c:v>
                </c:pt>
                <c:pt idx="5241">
                  <c:v>0.88691796008869195</c:v>
                </c:pt>
                <c:pt idx="5242">
                  <c:v>0.88693467336683396</c:v>
                </c:pt>
                <c:pt idx="5243">
                  <c:v>0.88695652173912998</c:v>
                </c:pt>
                <c:pt idx="5244">
                  <c:v>0.88700000000000001</c:v>
                </c:pt>
                <c:pt idx="5245">
                  <c:v>0.88705882352941201</c:v>
                </c:pt>
                <c:pt idx="5246">
                  <c:v>0.88712652157875305</c:v>
                </c:pt>
                <c:pt idx="5247">
                  <c:v>0.88723051409618603</c:v>
                </c:pt>
                <c:pt idx="5248">
                  <c:v>0.88723298559364105</c:v>
                </c:pt>
                <c:pt idx="5249">
                  <c:v>0.88732394366197198</c:v>
                </c:pt>
                <c:pt idx="5250">
                  <c:v>0.88739669421487599</c:v>
                </c:pt>
                <c:pt idx="5251">
                  <c:v>0.88749999999999996</c:v>
                </c:pt>
                <c:pt idx="5252">
                  <c:v>0.88757637474541695</c:v>
                </c:pt>
                <c:pt idx="5253">
                  <c:v>0.88764044943820197</c:v>
                </c:pt>
                <c:pt idx="5254">
                  <c:v>0.88764044943820197</c:v>
                </c:pt>
                <c:pt idx="5255">
                  <c:v>0.88772727272727303</c:v>
                </c:pt>
                <c:pt idx="5256">
                  <c:v>0.88775510204081598</c:v>
                </c:pt>
                <c:pt idx="5257">
                  <c:v>0.88777219430485799</c:v>
                </c:pt>
                <c:pt idx="5258">
                  <c:v>0.88779527559055105</c:v>
                </c:pt>
                <c:pt idx="5259">
                  <c:v>0.88783112582781398</c:v>
                </c:pt>
                <c:pt idx="5260">
                  <c:v>0.88785046728971995</c:v>
                </c:pt>
                <c:pt idx="5261">
                  <c:v>0.88793103448275901</c:v>
                </c:pt>
                <c:pt idx="5262">
                  <c:v>0.88800000000000001</c:v>
                </c:pt>
                <c:pt idx="5263">
                  <c:v>0.88800973828362695</c:v>
                </c:pt>
                <c:pt idx="5264">
                  <c:v>0.88803680981595101</c:v>
                </c:pt>
                <c:pt idx="5265">
                  <c:v>0.88812785388127902</c:v>
                </c:pt>
                <c:pt idx="5266">
                  <c:v>0.88813559322033897</c:v>
                </c:pt>
                <c:pt idx="5267">
                  <c:v>0.88816951147734002</c:v>
                </c:pt>
                <c:pt idx="5268">
                  <c:v>0.88823529411764701</c:v>
                </c:pt>
                <c:pt idx="5269">
                  <c:v>0.88837209302325604</c:v>
                </c:pt>
                <c:pt idx="5270">
                  <c:v>0.88837920489296596</c:v>
                </c:pt>
                <c:pt idx="5271">
                  <c:v>0.88843813387423898</c:v>
                </c:pt>
                <c:pt idx="5272">
                  <c:v>0.888501742160279</c:v>
                </c:pt>
                <c:pt idx="5273">
                  <c:v>0.88852813852813795</c:v>
                </c:pt>
                <c:pt idx="5274">
                  <c:v>0.88853629512098398</c:v>
                </c:pt>
                <c:pt idx="5275">
                  <c:v>0.88859649122807005</c:v>
                </c:pt>
                <c:pt idx="5276">
                  <c:v>0.88863287250384004</c:v>
                </c:pt>
                <c:pt idx="5277">
                  <c:v>0.88888888888888895</c:v>
                </c:pt>
                <c:pt idx="5278">
                  <c:v>0.88888888888888895</c:v>
                </c:pt>
                <c:pt idx="5279">
                  <c:v>0.88888888888888895</c:v>
                </c:pt>
                <c:pt idx="5280">
                  <c:v>0.88888888888888895</c:v>
                </c:pt>
                <c:pt idx="5281">
                  <c:v>0.88888888888888895</c:v>
                </c:pt>
                <c:pt idx="5282">
                  <c:v>0.88888888888888895</c:v>
                </c:pt>
                <c:pt idx="5283">
                  <c:v>0.88888888888888895</c:v>
                </c:pt>
                <c:pt idx="5284">
                  <c:v>0.88893709327548798</c:v>
                </c:pt>
                <c:pt idx="5285">
                  <c:v>0.88895315211104697</c:v>
                </c:pt>
                <c:pt idx="5286">
                  <c:v>0.88906168999481605</c:v>
                </c:pt>
                <c:pt idx="5287">
                  <c:v>0.88921282798833801</c:v>
                </c:pt>
                <c:pt idx="5288">
                  <c:v>0.88925541941564601</c:v>
                </c:pt>
                <c:pt idx="5289">
                  <c:v>0.88934850051706305</c:v>
                </c:pt>
                <c:pt idx="5290">
                  <c:v>0.88936781609195403</c:v>
                </c:pt>
                <c:pt idx="5291">
                  <c:v>0.88946459412780599</c:v>
                </c:pt>
                <c:pt idx="5292">
                  <c:v>0.88951442646023904</c:v>
                </c:pt>
                <c:pt idx="5293">
                  <c:v>0.88951987609705696</c:v>
                </c:pt>
                <c:pt idx="5294">
                  <c:v>0.88959660297239895</c:v>
                </c:pt>
                <c:pt idx="5295">
                  <c:v>0.889632107023411</c:v>
                </c:pt>
                <c:pt idx="5296">
                  <c:v>0.88965517241379299</c:v>
                </c:pt>
                <c:pt idx="5297">
                  <c:v>0.88967136150234705</c:v>
                </c:pt>
                <c:pt idx="5298">
                  <c:v>0.88970588235294101</c:v>
                </c:pt>
                <c:pt idx="5299">
                  <c:v>0.88970588235294101</c:v>
                </c:pt>
                <c:pt idx="5300">
                  <c:v>0.88970588235294101</c:v>
                </c:pt>
                <c:pt idx="5301">
                  <c:v>0.88983050847457601</c:v>
                </c:pt>
                <c:pt idx="5302">
                  <c:v>0.88983855650522303</c:v>
                </c:pt>
                <c:pt idx="5303">
                  <c:v>0.8898756660746</c:v>
                </c:pt>
                <c:pt idx="5304">
                  <c:v>0.889880952380952</c:v>
                </c:pt>
                <c:pt idx="5305">
                  <c:v>0.88990825688073405</c:v>
                </c:pt>
                <c:pt idx="5306">
                  <c:v>0.88990825688073405</c:v>
                </c:pt>
                <c:pt idx="5307">
                  <c:v>0.88990825688073405</c:v>
                </c:pt>
                <c:pt idx="5308">
                  <c:v>0.88990825688073405</c:v>
                </c:pt>
                <c:pt idx="5309">
                  <c:v>0.88993710691823902</c:v>
                </c:pt>
                <c:pt idx="5310">
                  <c:v>0.88996138996138996</c:v>
                </c:pt>
                <c:pt idx="5311">
                  <c:v>0.89015151515151503</c:v>
                </c:pt>
                <c:pt idx="5312">
                  <c:v>0.89016236867239695</c:v>
                </c:pt>
                <c:pt idx="5313">
                  <c:v>0.89016897081413204</c:v>
                </c:pt>
                <c:pt idx="5314">
                  <c:v>0.89018087855297101</c:v>
                </c:pt>
                <c:pt idx="5315">
                  <c:v>0.89022435897435903</c:v>
                </c:pt>
                <c:pt idx="5316">
                  <c:v>0.89024390243902396</c:v>
                </c:pt>
                <c:pt idx="5317">
                  <c:v>0.89032258064516101</c:v>
                </c:pt>
                <c:pt idx="5318">
                  <c:v>0.890365448504983</c:v>
                </c:pt>
                <c:pt idx="5319">
                  <c:v>0.890365448504983</c:v>
                </c:pt>
                <c:pt idx="5320">
                  <c:v>0.89041095890411004</c:v>
                </c:pt>
                <c:pt idx="5321">
                  <c:v>0.89041095890411004</c:v>
                </c:pt>
                <c:pt idx="5322">
                  <c:v>0.89051094890510896</c:v>
                </c:pt>
                <c:pt idx="5323">
                  <c:v>0.89051094890510896</c:v>
                </c:pt>
                <c:pt idx="5324">
                  <c:v>0.89051094890510896</c:v>
                </c:pt>
                <c:pt idx="5325">
                  <c:v>0.89052631578947405</c:v>
                </c:pt>
                <c:pt idx="5326">
                  <c:v>0.89054054054053999</c:v>
                </c:pt>
                <c:pt idx="5327">
                  <c:v>0.89054726368159198</c:v>
                </c:pt>
                <c:pt idx="5328">
                  <c:v>0.89057421451787599</c:v>
                </c:pt>
                <c:pt idx="5329">
                  <c:v>0.890625</c:v>
                </c:pt>
                <c:pt idx="5330">
                  <c:v>0.890625</c:v>
                </c:pt>
                <c:pt idx="5331">
                  <c:v>0.89074803149606296</c:v>
                </c:pt>
                <c:pt idx="5332">
                  <c:v>0.89087947882736096</c:v>
                </c:pt>
                <c:pt idx="5333">
                  <c:v>0.89090909090909098</c:v>
                </c:pt>
                <c:pt idx="5334">
                  <c:v>0.89106145251396596</c:v>
                </c:pt>
                <c:pt idx="5335">
                  <c:v>0.89113785557986902</c:v>
                </c:pt>
                <c:pt idx="5336">
                  <c:v>0.89128481581311803</c:v>
                </c:pt>
                <c:pt idx="5337">
                  <c:v>0.89130434782608703</c:v>
                </c:pt>
                <c:pt idx="5338">
                  <c:v>0.89130434782608703</c:v>
                </c:pt>
                <c:pt idx="5339">
                  <c:v>0.89130434782608703</c:v>
                </c:pt>
                <c:pt idx="5340">
                  <c:v>0.89134808853118697</c:v>
                </c:pt>
                <c:pt idx="5341">
                  <c:v>0.89139072847682099</c:v>
                </c:pt>
                <c:pt idx="5342">
                  <c:v>0.89142857142857101</c:v>
                </c:pt>
                <c:pt idx="5343">
                  <c:v>0.89142857142857101</c:v>
                </c:pt>
                <c:pt idx="5344">
                  <c:v>0.89147286821705396</c:v>
                </c:pt>
                <c:pt idx="5345">
                  <c:v>0.89154013015184397</c:v>
                </c:pt>
                <c:pt idx="5346">
                  <c:v>0.89162561576354704</c:v>
                </c:pt>
                <c:pt idx="5347">
                  <c:v>0.89170506912442404</c:v>
                </c:pt>
                <c:pt idx="5348">
                  <c:v>0.89171974522292996</c:v>
                </c:pt>
                <c:pt idx="5349">
                  <c:v>0.891774891774892</c:v>
                </c:pt>
                <c:pt idx="5350">
                  <c:v>0.89178515007898895</c:v>
                </c:pt>
                <c:pt idx="5351">
                  <c:v>0.89180327868852505</c:v>
                </c:pt>
                <c:pt idx="5352">
                  <c:v>0.89182692307692302</c:v>
                </c:pt>
                <c:pt idx="5353">
                  <c:v>0.891891891891892</c:v>
                </c:pt>
                <c:pt idx="5354">
                  <c:v>0.891891891891892</c:v>
                </c:pt>
                <c:pt idx="5355">
                  <c:v>0.891891891891892</c:v>
                </c:pt>
                <c:pt idx="5356">
                  <c:v>0.891891891891892</c:v>
                </c:pt>
                <c:pt idx="5357">
                  <c:v>0.89191820837390401</c:v>
                </c:pt>
                <c:pt idx="5358">
                  <c:v>0.89203539823008804</c:v>
                </c:pt>
                <c:pt idx="5359">
                  <c:v>0.89204545454545503</c:v>
                </c:pt>
                <c:pt idx="5360">
                  <c:v>0.892063492063492</c:v>
                </c:pt>
                <c:pt idx="5361">
                  <c:v>0.89211136890951304</c:v>
                </c:pt>
                <c:pt idx="5362">
                  <c:v>0.89212328767123295</c:v>
                </c:pt>
                <c:pt idx="5363">
                  <c:v>0.89221556886227504</c:v>
                </c:pt>
                <c:pt idx="5364">
                  <c:v>0.89226932668329195</c:v>
                </c:pt>
                <c:pt idx="5365">
                  <c:v>0.89230769230769202</c:v>
                </c:pt>
                <c:pt idx="5366">
                  <c:v>0.89230769230769202</c:v>
                </c:pt>
                <c:pt idx="5367">
                  <c:v>0.89230769230769202</c:v>
                </c:pt>
                <c:pt idx="5368">
                  <c:v>0.89233278955954298</c:v>
                </c:pt>
                <c:pt idx="5369">
                  <c:v>0.89236790606653604</c:v>
                </c:pt>
                <c:pt idx="5370">
                  <c:v>0.89237668161435002</c:v>
                </c:pt>
                <c:pt idx="5371">
                  <c:v>0.892405063291139</c:v>
                </c:pt>
                <c:pt idx="5372">
                  <c:v>0.89242590559824397</c:v>
                </c:pt>
                <c:pt idx="5373">
                  <c:v>0.89247311827956999</c:v>
                </c:pt>
                <c:pt idx="5374">
                  <c:v>0.89252948885976402</c:v>
                </c:pt>
                <c:pt idx="5375">
                  <c:v>0.89259259259259305</c:v>
                </c:pt>
                <c:pt idx="5376">
                  <c:v>0.89271653543307095</c:v>
                </c:pt>
                <c:pt idx="5377">
                  <c:v>0.89273356401384096</c:v>
                </c:pt>
                <c:pt idx="5378">
                  <c:v>0.89275362318840601</c:v>
                </c:pt>
                <c:pt idx="5379">
                  <c:v>0.89280245022970905</c:v>
                </c:pt>
                <c:pt idx="5380">
                  <c:v>0.89281997918834499</c:v>
                </c:pt>
                <c:pt idx="5381">
                  <c:v>0.89285714285714302</c:v>
                </c:pt>
                <c:pt idx="5382">
                  <c:v>0.89285714285714302</c:v>
                </c:pt>
                <c:pt idx="5383">
                  <c:v>0.89285714285714302</c:v>
                </c:pt>
                <c:pt idx="5384">
                  <c:v>0.892912172573189</c:v>
                </c:pt>
                <c:pt idx="5385">
                  <c:v>0.89295774647887305</c:v>
                </c:pt>
                <c:pt idx="5386">
                  <c:v>0.89299719887955198</c:v>
                </c:pt>
                <c:pt idx="5387">
                  <c:v>0.89301310043668103</c:v>
                </c:pt>
                <c:pt idx="5388">
                  <c:v>0.89305816135084404</c:v>
                </c:pt>
                <c:pt idx="5389">
                  <c:v>0.89306358381502904</c:v>
                </c:pt>
                <c:pt idx="5390">
                  <c:v>0.893081761006289</c:v>
                </c:pt>
                <c:pt idx="5391">
                  <c:v>0.89309576837416504</c:v>
                </c:pt>
                <c:pt idx="5392">
                  <c:v>0.89320388349514601</c:v>
                </c:pt>
                <c:pt idx="5393">
                  <c:v>0.89320388349514601</c:v>
                </c:pt>
                <c:pt idx="5394">
                  <c:v>0.89320388349514601</c:v>
                </c:pt>
                <c:pt idx="5395">
                  <c:v>0.89320388349514601</c:v>
                </c:pt>
                <c:pt idx="5396">
                  <c:v>0.89322916666666696</c:v>
                </c:pt>
                <c:pt idx="5397">
                  <c:v>0.89325396825396797</c:v>
                </c:pt>
                <c:pt idx="5398">
                  <c:v>0.89330024813895803</c:v>
                </c:pt>
                <c:pt idx="5399">
                  <c:v>0.89333333333333298</c:v>
                </c:pt>
                <c:pt idx="5400">
                  <c:v>0.89333333333333298</c:v>
                </c:pt>
                <c:pt idx="5401">
                  <c:v>0.89333333333333298</c:v>
                </c:pt>
                <c:pt idx="5402">
                  <c:v>0.89333333333333298</c:v>
                </c:pt>
                <c:pt idx="5403">
                  <c:v>0.89333333333333298</c:v>
                </c:pt>
                <c:pt idx="5404">
                  <c:v>0.89337641357027497</c:v>
                </c:pt>
                <c:pt idx="5405">
                  <c:v>0.89340439706862096</c:v>
                </c:pt>
                <c:pt idx="5406">
                  <c:v>0.89344262295082</c:v>
                </c:pt>
                <c:pt idx="5407">
                  <c:v>0.89346733668341705</c:v>
                </c:pt>
                <c:pt idx="5408">
                  <c:v>0.89351851851851805</c:v>
                </c:pt>
                <c:pt idx="5409">
                  <c:v>0.89354838709677398</c:v>
                </c:pt>
                <c:pt idx="5410">
                  <c:v>0.89361702127659604</c:v>
                </c:pt>
                <c:pt idx="5411">
                  <c:v>0.89361702127659604</c:v>
                </c:pt>
                <c:pt idx="5412">
                  <c:v>0.89361702127659604</c:v>
                </c:pt>
                <c:pt idx="5413">
                  <c:v>0.89364640883977897</c:v>
                </c:pt>
                <c:pt idx="5414">
                  <c:v>0.89370932754880705</c:v>
                </c:pt>
                <c:pt idx="5415">
                  <c:v>0.89375000000000004</c:v>
                </c:pt>
                <c:pt idx="5416">
                  <c:v>0.893805309734513</c:v>
                </c:pt>
                <c:pt idx="5417">
                  <c:v>0.89393939393939403</c:v>
                </c:pt>
                <c:pt idx="5418">
                  <c:v>0.89393939393939403</c:v>
                </c:pt>
                <c:pt idx="5419">
                  <c:v>0.89393939393939403</c:v>
                </c:pt>
                <c:pt idx="5420">
                  <c:v>0.89400921658986199</c:v>
                </c:pt>
                <c:pt idx="5421">
                  <c:v>0.89403973509933798</c:v>
                </c:pt>
                <c:pt idx="5422">
                  <c:v>0.89404934687953497</c:v>
                </c:pt>
                <c:pt idx="5423">
                  <c:v>0.89406175771971497</c:v>
                </c:pt>
                <c:pt idx="5424">
                  <c:v>0.89411764705882402</c:v>
                </c:pt>
                <c:pt idx="5425">
                  <c:v>0.89413447782546496</c:v>
                </c:pt>
                <c:pt idx="5426">
                  <c:v>0.89423076923076905</c:v>
                </c:pt>
                <c:pt idx="5427">
                  <c:v>0.89423076923076905</c:v>
                </c:pt>
                <c:pt idx="5428">
                  <c:v>0.89430894308943099</c:v>
                </c:pt>
                <c:pt idx="5429">
                  <c:v>0.89430894308943099</c:v>
                </c:pt>
                <c:pt idx="5430">
                  <c:v>0.89432989690721598</c:v>
                </c:pt>
                <c:pt idx="5431">
                  <c:v>0.89436619718309895</c:v>
                </c:pt>
                <c:pt idx="5432">
                  <c:v>0.89444444444444404</c:v>
                </c:pt>
                <c:pt idx="5433">
                  <c:v>0.89447236180904499</c:v>
                </c:pt>
                <c:pt idx="5434">
                  <c:v>0.89453860640301297</c:v>
                </c:pt>
                <c:pt idx="5435">
                  <c:v>0.89462365591397797</c:v>
                </c:pt>
                <c:pt idx="5436">
                  <c:v>0.89463220675944299</c:v>
                </c:pt>
                <c:pt idx="5437">
                  <c:v>0.89473684210526305</c:v>
                </c:pt>
                <c:pt idx="5438">
                  <c:v>0.89473684210526305</c:v>
                </c:pt>
                <c:pt idx="5439">
                  <c:v>0.89494163424124495</c:v>
                </c:pt>
                <c:pt idx="5440">
                  <c:v>0.89498432601880895</c:v>
                </c:pt>
                <c:pt idx="5441">
                  <c:v>0.89500000000000002</c:v>
                </c:pt>
                <c:pt idx="5442">
                  <c:v>0.89506172839506204</c:v>
                </c:pt>
                <c:pt idx="5443">
                  <c:v>0.89510489510489499</c:v>
                </c:pt>
                <c:pt idx="5444">
                  <c:v>0.89510489510489499</c:v>
                </c:pt>
                <c:pt idx="5445">
                  <c:v>0.89514563106796097</c:v>
                </c:pt>
                <c:pt idx="5446">
                  <c:v>0.89516129032258096</c:v>
                </c:pt>
                <c:pt idx="5447">
                  <c:v>0.89517470881863603</c:v>
                </c:pt>
                <c:pt idx="5448">
                  <c:v>0.89520426287744204</c:v>
                </c:pt>
                <c:pt idx="5449">
                  <c:v>0.89520958083832303</c:v>
                </c:pt>
                <c:pt idx="5450">
                  <c:v>0.89525139664804498</c:v>
                </c:pt>
                <c:pt idx="5451">
                  <c:v>0.89525368248772497</c:v>
                </c:pt>
                <c:pt idx="5452">
                  <c:v>0.89527027027026995</c:v>
                </c:pt>
                <c:pt idx="5453">
                  <c:v>0.89530685920577602</c:v>
                </c:pt>
                <c:pt idx="5454">
                  <c:v>0.89531079607415498</c:v>
                </c:pt>
                <c:pt idx="5455">
                  <c:v>0.89536082474226797</c:v>
                </c:pt>
                <c:pt idx="5456">
                  <c:v>0.89540816326530603</c:v>
                </c:pt>
                <c:pt idx="5457">
                  <c:v>0.89542483660130701</c:v>
                </c:pt>
                <c:pt idx="5458">
                  <c:v>0.89542483660130701</c:v>
                </c:pt>
                <c:pt idx="5459">
                  <c:v>0.89547581903276097</c:v>
                </c:pt>
                <c:pt idx="5460">
                  <c:v>0.89549033643521803</c:v>
                </c:pt>
                <c:pt idx="5461">
                  <c:v>0.89560439560439598</c:v>
                </c:pt>
                <c:pt idx="5462">
                  <c:v>0.89562289562289599</c:v>
                </c:pt>
                <c:pt idx="5463">
                  <c:v>0.89565217391304297</c:v>
                </c:pt>
                <c:pt idx="5464">
                  <c:v>0.89565217391304297</c:v>
                </c:pt>
                <c:pt idx="5465">
                  <c:v>0.89583333333333304</c:v>
                </c:pt>
                <c:pt idx="5466">
                  <c:v>0.89592760180995501</c:v>
                </c:pt>
                <c:pt idx="5467">
                  <c:v>0.89595375722543402</c:v>
                </c:pt>
                <c:pt idx="5468">
                  <c:v>0.89598108747044902</c:v>
                </c:pt>
                <c:pt idx="5469">
                  <c:v>0.89598108747044902</c:v>
                </c:pt>
                <c:pt idx="5470">
                  <c:v>0.89602446483180398</c:v>
                </c:pt>
                <c:pt idx="5471">
                  <c:v>0.89610389610389596</c:v>
                </c:pt>
                <c:pt idx="5472">
                  <c:v>0.89610389610389596</c:v>
                </c:pt>
                <c:pt idx="5473">
                  <c:v>0.89628349178911004</c:v>
                </c:pt>
                <c:pt idx="5474">
                  <c:v>0.896321070234114</c:v>
                </c:pt>
                <c:pt idx="5475">
                  <c:v>0.89638157894736803</c:v>
                </c:pt>
                <c:pt idx="5476">
                  <c:v>0.89645776566757496</c:v>
                </c:pt>
                <c:pt idx="5477">
                  <c:v>0.89655172413793105</c:v>
                </c:pt>
                <c:pt idx="5478">
                  <c:v>0.89655172413793105</c:v>
                </c:pt>
                <c:pt idx="5479">
                  <c:v>0.89655172413793105</c:v>
                </c:pt>
                <c:pt idx="5480">
                  <c:v>0.89655172413793105</c:v>
                </c:pt>
                <c:pt idx="5481">
                  <c:v>0.89663182346109205</c:v>
                </c:pt>
                <c:pt idx="5482">
                  <c:v>0.896656534954407</c:v>
                </c:pt>
                <c:pt idx="5483">
                  <c:v>0.89666666666666694</c:v>
                </c:pt>
                <c:pt idx="5484">
                  <c:v>0.89668615984405398</c:v>
                </c:pt>
                <c:pt idx="5485">
                  <c:v>0.896729776247848</c:v>
                </c:pt>
                <c:pt idx="5486">
                  <c:v>0.89673913043478304</c:v>
                </c:pt>
                <c:pt idx="5487">
                  <c:v>0.89674952198852798</c:v>
                </c:pt>
                <c:pt idx="5488">
                  <c:v>0.89677419354838706</c:v>
                </c:pt>
                <c:pt idx="5489">
                  <c:v>0.89686098654708502</c:v>
                </c:pt>
                <c:pt idx="5490">
                  <c:v>0.89686098654708502</c:v>
                </c:pt>
                <c:pt idx="5491">
                  <c:v>0.89687499999999998</c:v>
                </c:pt>
                <c:pt idx="5492">
                  <c:v>0.89694224235560605</c:v>
                </c:pt>
                <c:pt idx="5493">
                  <c:v>0.89694656488549596</c:v>
                </c:pt>
                <c:pt idx="5494">
                  <c:v>0.89696969696969697</c:v>
                </c:pt>
                <c:pt idx="5495">
                  <c:v>0.89698890649762297</c:v>
                </c:pt>
                <c:pt idx="5496">
                  <c:v>0.89705882352941202</c:v>
                </c:pt>
                <c:pt idx="5497">
                  <c:v>0.89705882352941202</c:v>
                </c:pt>
                <c:pt idx="5498">
                  <c:v>0.89705882352941202</c:v>
                </c:pt>
                <c:pt idx="5499">
                  <c:v>0.89705882352941202</c:v>
                </c:pt>
                <c:pt idx="5500">
                  <c:v>0.897151898734177</c:v>
                </c:pt>
                <c:pt idx="5501">
                  <c:v>0.89718530101641902</c:v>
                </c:pt>
                <c:pt idx="5502">
                  <c:v>0.897260273972603</c:v>
                </c:pt>
                <c:pt idx="5503">
                  <c:v>0.89736842105263204</c:v>
                </c:pt>
                <c:pt idx="5504">
                  <c:v>0.89743589743589702</c:v>
                </c:pt>
                <c:pt idx="5505">
                  <c:v>0.89743589743589702</c:v>
                </c:pt>
                <c:pt idx="5506">
                  <c:v>0.89743589743589702</c:v>
                </c:pt>
                <c:pt idx="5507">
                  <c:v>0.89749911940824201</c:v>
                </c:pt>
                <c:pt idx="5508">
                  <c:v>0.89763779527558996</c:v>
                </c:pt>
                <c:pt idx="5509">
                  <c:v>0.89765458422174804</c:v>
                </c:pt>
                <c:pt idx="5510">
                  <c:v>0.89766081871345005</c:v>
                </c:pt>
                <c:pt idx="5511">
                  <c:v>0.89766970618034403</c:v>
                </c:pt>
                <c:pt idx="5512">
                  <c:v>0.89772727272727304</c:v>
                </c:pt>
                <c:pt idx="5513">
                  <c:v>0.89772727272727304</c:v>
                </c:pt>
                <c:pt idx="5514">
                  <c:v>0.89779231398201098</c:v>
                </c:pt>
                <c:pt idx="5515">
                  <c:v>0.89781021897810198</c:v>
                </c:pt>
                <c:pt idx="5516">
                  <c:v>0.89781491002570701</c:v>
                </c:pt>
                <c:pt idx="5517">
                  <c:v>0.89783593356819302</c:v>
                </c:pt>
                <c:pt idx="5518">
                  <c:v>0.89784946236559104</c:v>
                </c:pt>
                <c:pt idx="5519">
                  <c:v>0.89784946236559104</c:v>
                </c:pt>
                <c:pt idx="5520">
                  <c:v>0.89788053949903601</c:v>
                </c:pt>
                <c:pt idx="5521">
                  <c:v>0.897887323943662</c:v>
                </c:pt>
                <c:pt idx="5522">
                  <c:v>0.89795918367346905</c:v>
                </c:pt>
                <c:pt idx="5523">
                  <c:v>0.89795918367346905</c:v>
                </c:pt>
                <c:pt idx="5524">
                  <c:v>0.89795918367346905</c:v>
                </c:pt>
                <c:pt idx="5525">
                  <c:v>0.89795918367346905</c:v>
                </c:pt>
                <c:pt idx="5526">
                  <c:v>0.89795918367346905</c:v>
                </c:pt>
                <c:pt idx="5527">
                  <c:v>0.89799635701275005</c:v>
                </c:pt>
                <c:pt idx="5528">
                  <c:v>0.89801084990958402</c:v>
                </c:pt>
                <c:pt idx="5529">
                  <c:v>0.89807333747669404</c:v>
                </c:pt>
                <c:pt idx="5530">
                  <c:v>0.89811320754716994</c:v>
                </c:pt>
                <c:pt idx="5531">
                  <c:v>0.89814814814814803</c:v>
                </c:pt>
                <c:pt idx="5532">
                  <c:v>0.89819004524886903</c:v>
                </c:pt>
                <c:pt idx="5533">
                  <c:v>0.89823008849557495</c:v>
                </c:pt>
                <c:pt idx="5534">
                  <c:v>0.89827586206896504</c:v>
                </c:pt>
                <c:pt idx="5535">
                  <c:v>0.89830508474576298</c:v>
                </c:pt>
                <c:pt idx="5536">
                  <c:v>0.89839572192513395</c:v>
                </c:pt>
                <c:pt idx="5537">
                  <c:v>0.89840637450199201</c:v>
                </c:pt>
                <c:pt idx="5538">
                  <c:v>0.89846153846153798</c:v>
                </c:pt>
                <c:pt idx="5539">
                  <c:v>0.89855072463768104</c:v>
                </c:pt>
                <c:pt idx="5540">
                  <c:v>0.89855072463768104</c:v>
                </c:pt>
                <c:pt idx="5541">
                  <c:v>0.89855072463768104</c:v>
                </c:pt>
                <c:pt idx="5542">
                  <c:v>0.89861751152073699</c:v>
                </c:pt>
                <c:pt idx="5543">
                  <c:v>0.89862327909887396</c:v>
                </c:pt>
                <c:pt idx="5544">
                  <c:v>0.89863547758284601</c:v>
                </c:pt>
                <c:pt idx="5545">
                  <c:v>0.89864864864864902</c:v>
                </c:pt>
                <c:pt idx="5546">
                  <c:v>0.89865996649916202</c:v>
                </c:pt>
                <c:pt idx="5547">
                  <c:v>0.89867841409691596</c:v>
                </c:pt>
                <c:pt idx="5548">
                  <c:v>0.89870435806831594</c:v>
                </c:pt>
                <c:pt idx="5549">
                  <c:v>0.89873417721519</c:v>
                </c:pt>
                <c:pt idx="5550">
                  <c:v>0.89876033057851201</c:v>
                </c:pt>
                <c:pt idx="5551">
                  <c:v>0.89881734559789705</c:v>
                </c:pt>
                <c:pt idx="5552">
                  <c:v>0.898954703832753</c:v>
                </c:pt>
                <c:pt idx="5553">
                  <c:v>0.89903846153846101</c:v>
                </c:pt>
                <c:pt idx="5554">
                  <c:v>0.89906103286384997</c:v>
                </c:pt>
                <c:pt idx="5555">
                  <c:v>0.89906700593723499</c:v>
                </c:pt>
                <c:pt idx="5556">
                  <c:v>0.89908256880733906</c:v>
                </c:pt>
                <c:pt idx="5557">
                  <c:v>0.89918256130790197</c:v>
                </c:pt>
                <c:pt idx="5558">
                  <c:v>0.89920948616600804</c:v>
                </c:pt>
                <c:pt idx="5559">
                  <c:v>0.89922480620154999</c:v>
                </c:pt>
                <c:pt idx="5560">
                  <c:v>0.89924670433145004</c:v>
                </c:pt>
                <c:pt idx="5561">
                  <c:v>0.89928057553956797</c:v>
                </c:pt>
                <c:pt idx="5562">
                  <c:v>0.89928057553956797</c:v>
                </c:pt>
                <c:pt idx="5563">
                  <c:v>0.89929615592853296</c:v>
                </c:pt>
                <c:pt idx="5564">
                  <c:v>0.89932885906040305</c:v>
                </c:pt>
                <c:pt idx="5565">
                  <c:v>0.89940828402366901</c:v>
                </c:pt>
                <c:pt idx="5566">
                  <c:v>0.89947089947089898</c:v>
                </c:pt>
                <c:pt idx="5567">
                  <c:v>0.89949748743718605</c:v>
                </c:pt>
                <c:pt idx="5568">
                  <c:v>0.89952153110047794</c:v>
                </c:pt>
                <c:pt idx="5569">
                  <c:v>0.89954337899543402</c:v>
                </c:pt>
                <c:pt idx="5570">
                  <c:v>0.89957567185289899</c:v>
                </c:pt>
                <c:pt idx="5571">
                  <c:v>0.89959839357429705</c:v>
                </c:pt>
                <c:pt idx="5572">
                  <c:v>0.89961055819991298</c:v>
                </c:pt>
                <c:pt idx="5573">
                  <c:v>0.89964157706093195</c:v>
                </c:pt>
                <c:pt idx="5574">
                  <c:v>0.89968652037617602</c:v>
                </c:pt>
                <c:pt idx="5575">
                  <c:v>0.89976133651551304</c:v>
                </c:pt>
                <c:pt idx="5576">
                  <c:v>0.89979550102249495</c:v>
                </c:pt>
                <c:pt idx="5577">
                  <c:v>0.89984227129337502</c:v>
                </c:pt>
                <c:pt idx="5578">
                  <c:v>0.89988998899890005</c:v>
                </c:pt>
                <c:pt idx="5579">
                  <c:v>0.9</c:v>
                </c:pt>
                <c:pt idx="5580">
                  <c:v>0.9</c:v>
                </c:pt>
                <c:pt idx="5581">
                  <c:v>0.9</c:v>
                </c:pt>
                <c:pt idx="5582">
                  <c:v>0.9</c:v>
                </c:pt>
                <c:pt idx="5583">
                  <c:v>0.9</c:v>
                </c:pt>
                <c:pt idx="5584">
                  <c:v>0.9</c:v>
                </c:pt>
                <c:pt idx="5585">
                  <c:v>0.9</c:v>
                </c:pt>
                <c:pt idx="5586">
                  <c:v>0.9</c:v>
                </c:pt>
                <c:pt idx="5587">
                  <c:v>0.9</c:v>
                </c:pt>
                <c:pt idx="5588">
                  <c:v>0.9</c:v>
                </c:pt>
                <c:pt idx="5589">
                  <c:v>0.9</c:v>
                </c:pt>
                <c:pt idx="5590">
                  <c:v>0.90026246719160097</c:v>
                </c:pt>
                <c:pt idx="5591">
                  <c:v>0.90027700831024904</c:v>
                </c:pt>
                <c:pt idx="5592">
                  <c:v>0.90036900369003703</c:v>
                </c:pt>
                <c:pt idx="5593">
                  <c:v>0.90041493775933601</c:v>
                </c:pt>
                <c:pt idx="5594">
                  <c:v>0.90056818181818199</c:v>
                </c:pt>
                <c:pt idx="5595">
                  <c:v>0.90066225165562896</c:v>
                </c:pt>
                <c:pt idx="5596">
                  <c:v>0.90066225165562896</c:v>
                </c:pt>
                <c:pt idx="5597">
                  <c:v>0.90067340067340096</c:v>
                </c:pt>
                <c:pt idx="5598">
                  <c:v>0.900709219858156</c:v>
                </c:pt>
                <c:pt idx="5599">
                  <c:v>0.90076335877862601</c:v>
                </c:pt>
                <c:pt idx="5600">
                  <c:v>0.90079365079365104</c:v>
                </c:pt>
                <c:pt idx="5601">
                  <c:v>0.90082644628099195</c:v>
                </c:pt>
                <c:pt idx="5602">
                  <c:v>0.90082644628099195</c:v>
                </c:pt>
                <c:pt idx="5603">
                  <c:v>0.90090090090090102</c:v>
                </c:pt>
                <c:pt idx="5604">
                  <c:v>0.90090090090090102</c:v>
                </c:pt>
                <c:pt idx="5605">
                  <c:v>0.90090090090090102</c:v>
                </c:pt>
                <c:pt idx="5606">
                  <c:v>0.90099009900990101</c:v>
                </c:pt>
                <c:pt idx="5607">
                  <c:v>0.90112994350282505</c:v>
                </c:pt>
                <c:pt idx="5608">
                  <c:v>0.90114068441064599</c:v>
                </c:pt>
                <c:pt idx="5609">
                  <c:v>0.90114942528735598</c:v>
                </c:pt>
                <c:pt idx="5610">
                  <c:v>0.90116279069767402</c:v>
                </c:pt>
                <c:pt idx="5611">
                  <c:v>0.90129339686861798</c:v>
                </c:pt>
                <c:pt idx="5612">
                  <c:v>0.90133333333333299</c:v>
                </c:pt>
                <c:pt idx="5613">
                  <c:v>0.90140845070422504</c:v>
                </c:pt>
                <c:pt idx="5614">
                  <c:v>0.90140845070422504</c:v>
                </c:pt>
                <c:pt idx="5615">
                  <c:v>0.90140845070422504</c:v>
                </c:pt>
                <c:pt idx="5616">
                  <c:v>0.90151515151515105</c:v>
                </c:pt>
                <c:pt idx="5617">
                  <c:v>0.90154711673698995</c:v>
                </c:pt>
                <c:pt idx="5618">
                  <c:v>0.90157480314960603</c:v>
                </c:pt>
                <c:pt idx="5619">
                  <c:v>0.90158730158730205</c:v>
                </c:pt>
                <c:pt idx="5620">
                  <c:v>0.90158730158730205</c:v>
                </c:pt>
                <c:pt idx="5621">
                  <c:v>0.901685393258427</c:v>
                </c:pt>
                <c:pt idx="5622">
                  <c:v>0.90173410404624299</c:v>
                </c:pt>
                <c:pt idx="5623">
                  <c:v>0.90178571428571397</c:v>
                </c:pt>
                <c:pt idx="5624">
                  <c:v>0.90179806362379</c:v>
                </c:pt>
                <c:pt idx="5625">
                  <c:v>0.90186335403726703</c:v>
                </c:pt>
                <c:pt idx="5626">
                  <c:v>0.90188679245282999</c:v>
                </c:pt>
                <c:pt idx="5627">
                  <c:v>0.901898734177215</c:v>
                </c:pt>
                <c:pt idx="5628">
                  <c:v>0.901898734177215</c:v>
                </c:pt>
                <c:pt idx="5629">
                  <c:v>0.901898734177215</c:v>
                </c:pt>
                <c:pt idx="5630">
                  <c:v>0.90196078431372495</c:v>
                </c:pt>
                <c:pt idx="5631">
                  <c:v>0.90196078431372495</c:v>
                </c:pt>
                <c:pt idx="5632">
                  <c:v>0.90196078431372495</c:v>
                </c:pt>
                <c:pt idx="5633">
                  <c:v>0.90209790209790197</c:v>
                </c:pt>
                <c:pt idx="5634">
                  <c:v>0.90213723284589398</c:v>
                </c:pt>
                <c:pt idx="5635">
                  <c:v>0.90217391304347805</c:v>
                </c:pt>
                <c:pt idx="5636">
                  <c:v>0.90220048899755501</c:v>
                </c:pt>
                <c:pt idx="5637">
                  <c:v>0.90222222222222204</c:v>
                </c:pt>
                <c:pt idx="5638">
                  <c:v>0.90223463687150796</c:v>
                </c:pt>
                <c:pt idx="5639">
                  <c:v>0.90225563909774398</c:v>
                </c:pt>
                <c:pt idx="5640">
                  <c:v>0.90229885057471304</c:v>
                </c:pt>
                <c:pt idx="5641">
                  <c:v>0.90229885057471304</c:v>
                </c:pt>
                <c:pt idx="5642">
                  <c:v>0.902319902319902</c:v>
                </c:pt>
                <c:pt idx="5643">
                  <c:v>0.90237797246558205</c:v>
                </c:pt>
                <c:pt idx="5644">
                  <c:v>0.90243902439024404</c:v>
                </c:pt>
                <c:pt idx="5645">
                  <c:v>0.90243902439024404</c:v>
                </c:pt>
                <c:pt idx="5646">
                  <c:v>0.90243902439024404</c:v>
                </c:pt>
                <c:pt idx="5647">
                  <c:v>0.90257104194857896</c:v>
                </c:pt>
                <c:pt idx="5648">
                  <c:v>0.90259740259740295</c:v>
                </c:pt>
                <c:pt idx="5649">
                  <c:v>0.90263157894736801</c:v>
                </c:pt>
                <c:pt idx="5650">
                  <c:v>0.90268456375838901</c:v>
                </c:pt>
                <c:pt idx="5651">
                  <c:v>0.90277777777777801</c:v>
                </c:pt>
                <c:pt idx="5652">
                  <c:v>0.90281329923273701</c:v>
                </c:pt>
                <c:pt idx="5653">
                  <c:v>0.90285204991087298</c:v>
                </c:pt>
                <c:pt idx="5654">
                  <c:v>0.90285714285714302</c:v>
                </c:pt>
                <c:pt idx="5655">
                  <c:v>0.90291262135922301</c:v>
                </c:pt>
                <c:pt idx="5656">
                  <c:v>0.90291262135922301</c:v>
                </c:pt>
                <c:pt idx="5657">
                  <c:v>0.90295358649789004</c:v>
                </c:pt>
                <c:pt idx="5658">
                  <c:v>0.902978723404255</c:v>
                </c:pt>
                <c:pt idx="5659">
                  <c:v>0.90298507462686595</c:v>
                </c:pt>
                <c:pt idx="5660">
                  <c:v>0.90301003344481601</c:v>
                </c:pt>
                <c:pt idx="5661">
                  <c:v>0.90304709141274198</c:v>
                </c:pt>
                <c:pt idx="5662">
                  <c:v>0.90309030903090304</c:v>
                </c:pt>
                <c:pt idx="5663">
                  <c:v>0.90311004784688997</c:v>
                </c:pt>
                <c:pt idx="5664">
                  <c:v>0.90314913844325595</c:v>
                </c:pt>
                <c:pt idx="5665">
                  <c:v>0.90322580645161299</c:v>
                </c:pt>
                <c:pt idx="5666">
                  <c:v>0.90322580645161299</c:v>
                </c:pt>
                <c:pt idx="5667">
                  <c:v>0.90322580645161299</c:v>
                </c:pt>
                <c:pt idx="5668">
                  <c:v>0.90322580645161299</c:v>
                </c:pt>
                <c:pt idx="5669">
                  <c:v>0.90322580645161299</c:v>
                </c:pt>
                <c:pt idx="5670">
                  <c:v>0.90324354040681698</c:v>
                </c:pt>
                <c:pt idx="5671">
                  <c:v>0.903269754768392</c:v>
                </c:pt>
                <c:pt idx="5672">
                  <c:v>0.90330682293846798</c:v>
                </c:pt>
                <c:pt idx="5673">
                  <c:v>0.90340909090909105</c:v>
                </c:pt>
                <c:pt idx="5674">
                  <c:v>0.903474903474903</c:v>
                </c:pt>
                <c:pt idx="5675">
                  <c:v>0.903525046382189</c:v>
                </c:pt>
                <c:pt idx="5676">
                  <c:v>0.90354868061874405</c:v>
                </c:pt>
                <c:pt idx="5677">
                  <c:v>0.90355329949238605</c:v>
                </c:pt>
                <c:pt idx="5678">
                  <c:v>0.90359477124182996</c:v>
                </c:pt>
                <c:pt idx="5679">
                  <c:v>0.90361445783132499</c:v>
                </c:pt>
                <c:pt idx="5680">
                  <c:v>0.90364826941066401</c:v>
                </c:pt>
                <c:pt idx="5681">
                  <c:v>0.90367170626349902</c:v>
                </c:pt>
                <c:pt idx="5682">
                  <c:v>0.90372670807453404</c:v>
                </c:pt>
                <c:pt idx="5683">
                  <c:v>0.90374331550802101</c:v>
                </c:pt>
                <c:pt idx="5684">
                  <c:v>0.90378548895899102</c:v>
                </c:pt>
                <c:pt idx="5685">
                  <c:v>0.90384615384615397</c:v>
                </c:pt>
                <c:pt idx="5686">
                  <c:v>0.90390390390390396</c:v>
                </c:pt>
                <c:pt idx="5687">
                  <c:v>0.90393013100436703</c:v>
                </c:pt>
                <c:pt idx="5688">
                  <c:v>0.90406800242865804</c:v>
                </c:pt>
                <c:pt idx="5689">
                  <c:v>0.90410958904109595</c:v>
                </c:pt>
                <c:pt idx="5690">
                  <c:v>0.90410958904109595</c:v>
                </c:pt>
                <c:pt idx="5691">
                  <c:v>0.90410958904109595</c:v>
                </c:pt>
                <c:pt idx="5692">
                  <c:v>0.90412486064660003</c:v>
                </c:pt>
                <c:pt idx="5693">
                  <c:v>0.90415335463258795</c:v>
                </c:pt>
                <c:pt idx="5694">
                  <c:v>0.90419161676646698</c:v>
                </c:pt>
                <c:pt idx="5695">
                  <c:v>0.90427350427350395</c:v>
                </c:pt>
                <c:pt idx="5696">
                  <c:v>0.90429042904290402</c:v>
                </c:pt>
                <c:pt idx="5697">
                  <c:v>0.90432317505315396</c:v>
                </c:pt>
                <c:pt idx="5698">
                  <c:v>0.90434782608695596</c:v>
                </c:pt>
                <c:pt idx="5699">
                  <c:v>0.90434782608695596</c:v>
                </c:pt>
                <c:pt idx="5700">
                  <c:v>0.90437017994858604</c:v>
                </c:pt>
                <c:pt idx="5701">
                  <c:v>0.904382470119522</c:v>
                </c:pt>
                <c:pt idx="5702">
                  <c:v>0.90441176470588203</c:v>
                </c:pt>
                <c:pt idx="5703">
                  <c:v>0.90444444444444405</c:v>
                </c:pt>
                <c:pt idx="5704">
                  <c:v>0.90444654683065295</c:v>
                </c:pt>
                <c:pt idx="5705">
                  <c:v>0.90445026178010501</c:v>
                </c:pt>
                <c:pt idx="5706">
                  <c:v>0.90449438202247201</c:v>
                </c:pt>
                <c:pt idx="5707">
                  <c:v>0.90453834115805898</c:v>
                </c:pt>
                <c:pt idx="5708">
                  <c:v>0.90455341506129605</c:v>
                </c:pt>
                <c:pt idx="5709">
                  <c:v>0.90466101694915302</c:v>
                </c:pt>
                <c:pt idx="5710">
                  <c:v>0.90468227424749204</c:v>
                </c:pt>
                <c:pt idx="5711">
                  <c:v>0.90471204188481702</c:v>
                </c:pt>
                <c:pt idx="5712">
                  <c:v>0.90471785383903802</c:v>
                </c:pt>
                <c:pt idx="5713">
                  <c:v>0.90476190476190499</c:v>
                </c:pt>
                <c:pt idx="5714">
                  <c:v>0.90476190476190499</c:v>
                </c:pt>
                <c:pt idx="5715">
                  <c:v>0.90476190476190499</c:v>
                </c:pt>
                <c:pt idx="5716">
                  <c:v>0.90476190476190499</c:v>
                </c:pt>
                <c:pt idx="5717">
                  <c:v>0.90476190476190499</c:v>
                </c:pt>
                <c:pt idx="5718">
                  <c:v>0.90476190476190499</c:v>
                </c:pt>
                <c:pt idx="5719">
                  <c:v>0.90476190476190499</c:v>
                </c:pt>
                <c:pt idx="5720">
                  <c:v>0.90480132450331097</c:v>
                </c:pt>
                <c:pt idx="5721">
                  <c:v>0.90482456140350898</c:v>
                </c:pt>
                <c:pt idx="5722">
                  <c:v>0.90483619344773802</c:v>
                </c:pt>
                <c:pt idx="5723">
                  <c:v>0.90488721804511296</c:v>
                </c:pt>
                <c:pt idx="5724">
                  <c:v>0.90497737556561098</c:v>
                </c:pt>
                <c:pt idx="5725">
                  <c:v>0.90499390986601702</c:v>
                </c:pt>
                <c:pt idx="5726">
                  <c:v>0.90500000000000003</c:v>
                </c:pt>
                <c:pt idx="5727">
                  <c:v>0.90505050505050499</c:v>
                </c:pt>
                <c:pt idx="5728">
                  <c:v>0.90512430238457597</c:v>
                </c:pt>
                <c:pt idx="5729">
                  <c:v>0.90513833992094905</c:v>
                </c:pt>
                <c:pt idx="5730">
                  <c:v>0.90514905149051506</c:v>
                </c:pt>
                <c:pt idx="5731">
                  <c:v>0.90519877675840998</c:v>
                </c:pt>
                <c:pt idx="5732">
                  <c:v>0.90519877675840998</c:v>
                </c:pt>
                <c:pt idx="5733">
                  <c:v>0.90520446096654295</c:v>
                </c:pt>
                <c:pt idx="5734">
                  <c:v>0.90524534686971203</c:v>
                </c:pt>
                <c:pt idx="5735">
                  <c:v>0.90526315789473699</c:v>
                </c:pt>
                <c:pt idx="5736">
                  <c:v>0.90531299316149405</c:v>
                </c:pt>
                <c:pt idx="5737">
                  <c:v>0.90536277602523696</c:v>
                </c:pt>
                <c:pt idx="5738">
                  <c:v>0.90538336052202295</c:v>
                </c:pt>
                <c:pt idx="5739">
                  <c:v>0.90540540540540504</c:v>
                </c:pt>
                <c:pt idx="5740">
                  <c:v>0.90540540540540504</c:v>
                </c:pt>
                <c:pt idx="5741">
                  <c:v>0.90553745928338802</c:v>
                </c:pt>
                <c:pt idx="5742">
                  <c:v>0.905555555555556</c:v>
                </c:pt>
                <c:pt idx="5743">
                  <c:v>0.90563991323210402</c:v>
                </c:pt>
                <c:pt idx="5744">
                  <c:v>0.90566037735849103</c:v>
                </c:pt>
                <c:pt idx="5745">
                  <c:v>0.90566037735849103</c:v>
                </c:pt>
                <c:pt idx="5746">
                  <c:v>0.90566037735849103</c:v>
                </c:pt>
                <c:pt idx="5747">
                  <c:v>0.90566037735849103</c:v>
                </c:pt>
                <c:pt idx="5748">
                  <c:v>0.90568181818181803</c:v>
                </c:pt>
                <c:pt idx="5749">
                  <c:v>0.90571596935769005</c:v>
                </c:pt>
                <c:pt idx="5750">
                  <c:v>0.90579710144927505</c:v>
                </c:pt>
                <c:pt idx="5751">
                  <c:v>0.90588235294117603</c:v>
                </c:pt>
                <c:pt idx="5752">
                  <c:v>0.90590405904059002</c:v>
                </c:pt>
                <c:pt idx="5753">
                  <c:v>0.90598290598290598</c:v>
                </c:pt>
                <c:pt idx="5754">
                  <c:v>0.90601503759398505</c:v>
                </c:pt>
                <c:pt idx="5755">
                  <c:v>0.90606653620352195</c:v>
                </c:pt>
                <c:pt idx="5756">
                  <c:v>0.90614886731391597</c:v>
                </c:pt>
                <c:pt idx="5757">
                  <c:v>0.90615091946734305</c:v>
                </c:pt>
                <c:pt idx="5758">
                  <c:v>0.906183368869936</c:v>
                </c:pt>
                <c:pt idx="5759">
                  <c:v>0.90625</c:v>
                </c:pt>
                <c:pt idx="5760">
                  <c:v>0.90625</c:v>
                </c:pt>
                <c:pt idx="5761">
                  <c:v>0.90625</c:v>
                </c:pt>
                <c:pt idx="5762">
                  <c:v>0.90625</c:v>
                </c:pt>
                <c:pt idx="5763">
                  <c:v>0.90625</c:v>
                </c:pt>
                <c:pt idx="5764">
                  <c:v>0.90626618332470199</c:v>
                </c:pt>
                <c:pt idx="5765">
                  <c:v>0.90636704119850198</c:v>
                </c:pt>
                <c:pt idx="5766">
                  <c:v>0.90636704119850198</c:v>
                </c:pt>
                <c:pt idx="5767">
                  <c:v>0.90647482014388503</c:v>
                </c:pt>
                <c:pt idx="5768">
                  <c:v>0.90650406504064995</c:v>
                </c:pt>
                <c:pt idx="5769">
                  <c:v>0.90652557319224003</c:v>
                </c:pt>
                <c:pt idx="5770">
                  <c:v>0.90654205607476601</c:v>
                </c:pt>
                <c:pt idx="5771">
                  <c:v>0.90660080826223599</c:v>
                </c:pt>
                <c:pt idx="5772">
                  <c:v>0.90663390663390697</c:v>
                </c:pt>
                <c:pt idx="5773">
                  <c:v>0.90663390663390697</c:v>
                </c:pt>
                <c:pt idx="5774">
                  <c:v>0.90664100096246403</c:v>
                </c:pt>
                <c:pt idx="5775">
                  <c:v>0.90666666666666695</c:v>
                </c:pt>
                <c:pt idx="5776">
                  <c:v>0.90666666666666695</c:v>
                </c:pt>
                <c:pt idx="5777">
                  <c:v>0.90668802563075701</c:v>
                </c:pt>
                <c:pt idx="5778">
                  <c:v>0.90669014084507005</c:v>
                </c:pt>
                <c:pt idx="5779">
                  <c:v>0.90671865626874604</c:v>
                </c:pt>
                <c:pt idx="5780">
                  <c:v>0.90694935217903405</c:v>
                </c:pt>
                <c:pt idx="5781">
                  <c:v>0.90697674418604601</c:v>
                </c:pt>
                <c:pt idx="5782">
                  <c:v>0.90697674418604601</c:v>
                </c:pt>
                <c:pt idx="5783">
                  <c:v>0.90697674418604601</c:v>
                </c:pt>
                <c:pt idx="5784">
                  <c:v>0.907042253521127</c:v>
                </c:pt>
                <c:pt idx="5785">
                  <c:v>0.90706319702602201</c:v>
                </c:pt>
                <c:pt idx="5786">
                  <c:v>0.90710382513661203</c:v>
                </c:pt>
                <c:pt idx="5787">
                  <c:v>0.90711462450592895</c:v>
                </c:pt>
                <c:pt idx="5788">
                  <c:v>0.90712074303405599</c:v>
                </c:pt>
                <c:pt idx="5789">
                  <c:v>0.90712570056044795</c:v>
                </c:pt>
                <c:pt idx="5790">
                  <c:v>0.90713259932982304</c:v>
                </c:pt>
                <c:pt idx="5791">
                  <c:v>0.90721649484536104</c:v>
                </c:pt>
                <c:pt idx="5792">
                  <c:v>0.90725126475548101</c:v>
                </c:pt>
                <c:pt idx="5793">
                  <c:v>0.90728476821191995</c:v>
                </c:pt>
                <c:pt idx="5794">
                  <c:v>0.90728476821191995</c:v>
                </c:pt>
                <c:pt idx="5795">
                  <c:v>0.90730837789661301</c:v>
                </c:pt>
                <c:pt idx="5796">
                  <c:v>0.90733590733590697</c:v>
                </c:pt>
                <c:pt idx="5797">
                  <c:v>0.90736607142857095</c:v>
                </c:pt>
                <c:pt idx="5798">
                  <c:v>0.90751445086705196</c:v>
                </c:pt>
                <c:pt idx="5799">
                  <c:v>0.90758293838862603</c:v>
                </c:pt>
                <c:pt idx="5800">
                  <c:v>0.90760869565217395</c:v>
                </c:pt>
                <c:pt idx="5801">
                  <c:v>0.90771028037383195</c:v>
                </c:pt>
                <c:pt idx="5802">
                  <c:v>0.90778688524590201</c:v>
                </c:pt>
                <c:pt idx="5803">
                  <c:v>0.90779220779220804</c:v>
                </c:pt>
                <c:pt idx="5804">
                  <c:v>0.90800681431005104</c:v>
                </c:pt>
                <c:pt idx="5805">
                  <c:v>0.90807799442896897</c:v>
                </c:pt>
                <c:pt idx="5806">
                  <c:v>0.90809399477806796</c:v>
                </c:pt>
                <c:pt idx="5807">
                  <c:v>0.90825688073394495</c:v>
                </c:pt>
                <c:pt idx="5808">
                  <c:v>0.90825688073394495</c:v>
                </c:pt>
                <c:pt idx="5809">
                  <c:v>0.90825688073394495</c:v>
                </c:pt>
                <c:pt idx="5810">
                  <c:v>0.90825688073394495</c:v>
                </c:pt>
                <c:pt idx="5811">
                  <c:v>0.90827338129496404</c:v>
                </c:pt>
                <c:pt idx="5812">
                  <c:v>0.90831295843520798</c:v>
                </c:pt>
                <c:pt idx="5813">
                  <c:v>0.90833333333333299</c:v>
                </c:pt>
                <c:pt idx="5814">
                  <c:v>0.908385093167702</c:v>
                </c:pt>
                <c:pt idx="5815">
                  <c:v>0.90839694656488501</c:v>
                </c:pt>
                <c:pt idx="5816">
                  <c:v>0.90841320553780602</c:v>
                </c:pt>
                <c:pt idx="5817">
                  <c:v>0.90844183116337696</c:v>
                </c:pt>
                <c:pt idx="5818">
                  <c:v>0.90845070422535201</c:v>
                </c:pt>
                <c:pt idx="5819">
                  <c:v>0.90845070422535201</c:v>
                </c:pt>
                <c:pt idx="5820">
                  <c:v>0.908496732026144</c:v>
                </c:pt>
                <c:pt idx="5821">
                  <c:v>0.90852130325814495</c:v>
                </c:pt>
                <c:pt idx="5822">
                  <c:v>0.90853658536585402</c:v>
                </c:pt>
                <c:pt idx="5823">
                  <c:v>0.90860215053763405</c:v>
                </c:pt>
                <c:pt idx="5824">
                  <c:v>0.90869565217391302</c:v>
                </c:pt>
                <c:pt idx="5825">
                  <c:v>0.90871369294605797</c:v>
                </c:pt>
                <c:pt idx="5826">
                  <c:v>0.90897597977244005</c:v>
                </c:pt>
                <c:pt idx="5827">
                  <c:v>0.90909090909090895</c:v>
                </c:pt>
                <c:pt idx="5828">
                  <c:v>0.90909090909090895</c:v>
                </c:pt>
                <c:pt idx="5829">
                  <c:v>0.90909090909090895</c:v>
                </c:pt>
                <c:pt idx="5830">
                  <c:v>0.90909090909090895</c:v>
                </c:pt>
                <c:pt idx="5831">
                  <c:v>0.90909090909090895</c:v>
                </c:pt>
                <c:pt idx="5832">
                  <c:v>0.90914253265190204</c:v>
                </c:pt>
                <c:pt idx="5833">
                  <c:v>0.90923076923076895</c:v>
                </c:pt>
                <c:pt idx="5834">
                  <c:v>0.90925426774483398</c:v>
                </c:pt>
                <c:pt idx="5835">
                  <c:v>0.90943396226415096</c:v>
                </c:pt>
                <c:pt idx="5836">
                  <c:v>0.90953545232273803</c:v>
                </c:pt>
                <c:pt idx="5837">
                  <c:v>0.90954773869346695</c:v>
                </c:pt>
                <c:pt idx="5838">
                  <c:v>0.90954773869346695</c:v>
                </c:pt>
                <c:pt idx="5839">
                  <c:v>0.90962099125364404</c:v>
                </c:pt>
                <c:pt idx="5840">
                  <c:v>0.90969899665551801</c:v>
                </c:pt>
                <c:pt idx="5841">
                  <c:v>0.90972222222222199</c:v>
                </c:pt>
                <c:pt idx="5842">
                  <c:v>0.90972222222222199</c:v>
                </c:pt>
                <c:pt idx="5843">
                  <c:v>0.90972222222222199</c:v>
                </c:pt>
                <c:pt idx="5844">
                  <c:v>0.90973201692524697</c:v>
                </c:pt>
                <c:pt idx="5845">
                  <c:v>0.90973871733966705</c:v>
                </c:pt>
                <c:pt idx="5846">
                  <c:v>0.90975609756097597</c:v>
                </c:pt>
                <c:pt idx="5847">
                  <c:v>0.90990990990991005</c:v>
                </c:pt>
                <c:pt idx="5848">
                  <c:v>0.90990990990991005</c:v>
                </c:pt>
                <c:pt idx="5849">
                  <c:v>0.90990990990991005</c:v>
                </c:pt>
                <c:pt idx="5850">
                  <c:v>0.90990990990991005</c:v>
                </c:pt>
                <c:pt idx="5851">
                  <c:v>0.90998838559814199</c:v>
                </c:pt>
                <c:pt idx="5852">
                  <c:v>0.91</c:v>
                </c:pt>
                <c:pt idx="5853">
                  <c:v>0.91005291005291</c:v>
                </c:pt>
                <c:pt idx="5854">
                  <c:v>0.91008771929824595</c:v>
                </c:pt>
                <c:pt idx="5855">
                  <c:v>0.91013824884792605</c:v>
                </c:pt>
                <c:pt idx="5856">
                  <c:v>0.91013824884792605</c:v>
                </c:pt>
                <c:pt idx="5857">
                  <c:v>0.91017964071856305</c:v>
                </c:pt>
                <c:pt idx="5858">
                  <c:v>0.91021126760563398</c:v>
                </c:pt>
                <c:pt idx="5859">
                  <c:v>0.91022443890274296</c:v>
                </c:pt>
                <c:pt idx="5860">
                  <c:v>0.91025641025641002</c:v>
                </c:pt>
                <c:pt idx="5861">
                  <c:v>0.91028615622583098</c:v>
                </c:pt>
                <c:pt idx="5862">
                  <c:v>0.91035044824775901</c:v>
                </c:pt>
                <c:pt idx="5863">
                  <c:v>0.910377358490566</c:v>
                </c:pt>
                <c:pt idx="5864">
                  <c:v>0.91038696537678199</c:v>
                </c:pt>
                <c:pt idx="5865">
                  <c:v>0.91044776119403004</c:v>
                </c:pt>
                <c:pt idx="5866">
                  <c:v>0.91044776119403004</c:v>
                </c:pt>
                <c:pt idx="5867">
                  <c:v>0.91048034934497801</c:v>
                </c:pt>
                <c:pt idx="5868">
                  <c:v>0.91051805337519598</c:v>
                </c:pt>
                <c:pt idx="5869">
                  <c:v>0.91061452513966501</c:v>
                </c:pt>
                <c:pt idx="5870">
                  <c:v>0.91071428571428603</c:v>
                </c:pt>
                <c:pt idx="5871">
                  <c:v>0.91089108910891103</c:v>
                </c:pt>
                <c:pt idx="5872">
                  <c:v>0.91089108910891103</c:v>
                </c:pt>
                <c:pt idx="5873">
                  <c:v>0.91096161456272295</c:v>
                </c:pt>
                <c:pt idx="5874">
                  <c:v>0.91097922848664703</c:v>
                </c:pt>
                <c:pt idx="5875">
                  <c:v>0.91105620753551597</c:v>
                </c:pt>
                <c:pt idx="5876">
                  <c:v>0.91107236268526604</c:v>
                </c:pt>
                <c:pt idx="5877">
                  <c:v>0.91108545034641997</c:v>
                </c:pt>
                <c:pt idx="5878">
                  <c:v>0.91114701130856202</c:v>
                </c:pt>
                <c:pt idx="5879">
                  <c:v>0.91118421052631604</c:v>
                </c:pt>
                <c:pt idx="5880">
                  <c:v>0.91125</c:v>
                </c:pt>
                <c:pt idx="5881">
                  <c:v>0.91129032258064502</c:v>
                </c:pt>
                <c:pt idx="5882">
                  <c:v>0.91133557800224496</c:v>
                </c:pt>
                <c:pt idx="5883">
                  <c:v>0.911392405063291</c:v>
                </c:pt>
                <c:pt idx="5884">
                  <c:v>0.91145833333333304</c:v>
                </c:pt>
                <c:pt idx="5885">
                  <c:v>0.91150137741046799</c:v>
                </c:pt>
                <c:pt idx="5886">
                  <c:v>0.91150442477876104</c:v>
                </c:pt>
                <c:pt idx="5887">
                  <c:v>0.91151685393258397</c:v>
                </c:pt>
                <c:pt idx="5888">
                  <c:v>0.91151919866444098</c:v>
                </c:pt>
                <c:pt idx="5889">
                  <c:v>0.91162029459901806</c:v>
                </c:pt>
                <c:pt idx="5890">
                  <c:v>0.91168289290681503</c:v>
                </c:pt>
                <c:pt idx="5891">
                  <c:v>0.91170360110803295</c:v>
                </c:pt>
                <c:pt idx="5892">
                  <c:v>0.91171915332989195</c:v>
                </c:pt>
                <c:pt idx="5893">
                  <c:v>0.91176470588235303</c:v>
                </c:pt>
                <c:pt idx="5894">
                  <c:v>0.91176470588235303</c:v>
                </c:pt>
                <c:pt idx="5895">
                  <c:v>0.91176470588235303</c:v>
                </c:pt>
                <c:pt idx="5896">
                  <c:v>0.91180461329715101</c:v>
                </c:pt>
                <c:pt idx="5897">
                  <c:v>0.91180654338549105</c:v>
                </c:pt>
                <c:pt idx="5898">
                  <c:v>0.91183879093199005</c:v>
                </c:pt>
                <c:pt idx="5899">
                  <c:v>0.91184573002754798</c:v>
                </c:pt>
                <c:pt idx="5900">
                  <c:v>0.91194968553459099</c:v>
                </c:pt>
                <c:pt idx="5901">
                  <c:v>0.91199226305609304</c:v>
                </c:pt>
                <c:pt idx="5902">
                  <c:v>0.91201982651796798</c:v>
                </c:pt>
                <c:pt idx="5903">
                  <c:v>0.91203703703703698</c:v>
                </c:pt>
                <c:pt idx="5904">
                  <c:v>0.91208791208791196</c:v>
                </c:pt>
                <c:pt idx="5905">
                  <c:v>0.91216216216216195</c:v>
                </c:pt>
                <c:pt idx="5906">
                  <c:v>0.91224268689057397</c:v>
                </c:pt>
                <c:pt idx="5907">
                  <c:v>0.91228070175438603</c:v>
                </c:pt>
                <c:pt idx="5908">
                  <c:v>0.91228070175438603</c:v>
                </c:pt>
                <c:pt idx="5909">
                  <c:v>0.91228070175438603</c:v>
                </c:pt>
                <c:pt idx="5910">
                  <c:v>0.91232227488151696</c:v>
                </c:pt>
                <c:pt idx="5911">
                  <c:v>0.91237113402061898</c:v>
                </c:pt>
                <c:pt idx="5912">
                  <c:v>0.91244239631336399</c:v>
                </c:pt>
                <c:pt idx="5913">
                  <c:v>0.91249999999999998</c:v>
                </c:pt>
                <c:pt idx="5914">
                  <c:v>0.91249999999999998</c:v>
                </c:pt>
                <c:pt idx="5915">
                  <c:v>0.91253644314868798</c:v>
                </c:pt>
                <c:pt idx="5916">
                  <c:v>0.91255961844197098</c:v>
                </c:pt>
                <c:pt idx="5917">
                  <c:v>0.91258278145695404</c:v>
                </c:pt>
                <c:pt idx="5918">
                  <c:v>0.91260923845193498</c:v>
                </c:pt>
                <c:pt idx="5919">
                  <c:v>0.91264131551901295</c:v>
                </c:pt>
                <c:pt idx="5920">
                  <c:v>0.91264559068219597</c:v>
                </c:pt>
                <c:pt idx="5921">
                  <c:v>0.91265597147950095</c:v>
                </c:pt>
                <c:pt idx="5922">
                  <c:v>0.91276252019386095</c:v>
                </c:pt>
                <c:pt idx="5923">
                  <c:v>0.912790697674419</c:v>
                </c:pt>
                <c:pt idx="5924">
                  <c:v>0.912790697674419</c:v>
                </c:pt>
                <c:pt idx="5925">
                  <c:v>0.91282051282051302</c:v>
                </c:pt>
                <c:pt idx="5926">
                  <c:v>0.91286863270777496</c:v>
                </c:pt>
                <c:pt idx="5927">
                  <c:v>0.91289198606271804</c:v>
                </c:pt>
                <c:pt idx="5928">
                  <c:v>0.91291291291291299</c:v>
                </c:pt>
                <c:pt idx="5929">
                  <c:v>0.91296625222024896</c:v>
                </c:pt>
                <c:pt idx="5930">
                  <c:v>0.91297935103244798</c:v>
                </c:pt>
                <c:pt idx="5931">
                  <c:v>0.91304347826086896</c:v>
                </c:pt>
                <c:pt idx="5932">
                  <c:v>0.91304347826086896</c:v>
                </c:pt>
                <c:pt idx="5933">
                  <c:v>0.91309130913091296</c:v>
                </c:pt>
                <c:pt idx="5934">
                  <c:v>0.913330400351958</c:v>
                </c:pt>
                <c:pt idx="5935">
                  <c:v>0.913333333333333</c:v>
                </c:pt>
                <c:pt idx="5936">
                  <c:v>0.913333333333333</c:v>
                </c:pt>
                <c:pt idx="5937">
                  <c:v>0.91336898395721899</c:v>
                </c:pt>
                <c:pt idx="5938">
                  <c:v>0.91349480968858099</c:v>
                </c:pt>
                <c:pt idx="5939">
                  <c:v>0.91372549019607796</c:v>
                </c:pt>
                <c:pt idx="5940">
                  <c:v>0.91373801916932895</c:v>
                </c:pt>
                <c:pt idx="5941">
                  <c:v>0.91376146788990797</c:v>
                </c:pt>
                <c:pt idx="5942">
                  <c:v>0.91379310344827602</c:v>
                </c:pt>
                <c:pt idx="5943">
                  <c:v>0.91379310344827602</c:v>
                </c:pt>
                <c:pt idx="5944">
                  <c:v>0.91387559808612395</c:v>
                </c:pt>
                <c:pt idx="5945">
                  <c:v>0.91393442622950805</c:v>
                </c:pt>
                <c:pt idx="5946">
                  <c:v>0.91397849462365599</c:v>
                </c:pt>
                <c:pt idx="5947">
                  <c:v>0.913996627318718</c:v>
                </c:pt>
                <c:pt idx="5948">
                  <c:v>0.91400000000000003</c:v>
                </c:pt>
                <c:pt idx="5949">
                  <c:v>0.91407528641571201</c:v>
                </c:pt>
                <c:pt idx="5950">
                  <c:v>0.91411042944785303</c:v>
                </c:pt>
                <c:pt idx="5951">
                  <c:v>0.91411042944785303</c:v>
                </c:pt>
                <c:pt idx="5952">
                  <c:v>0.91412742382271495</c:v>
                </c:pt>
                <c:pt idx="5953">
                  <c:v>0.914166085136078</c:v>
                </c:pt>
                <c:pt idx="5954">
                  <c:v>0.91421568627451</c:v>
                </c:pt>
                <c:pt idx="5955">
                  <c:v>0.91428571428571404</c:v>
                </c:pt>
                <c:pt idx="5956">
                  <c:v>0.91428571428571404</c:v>
                </c:pt>
                <c:pt idx="5957">
                  <c:v>0.91435406698564603</c:v>
                </c:pt>
                <c:pt idx="5958">
                  <c:v>0.91443167305236295</c:v>
                </c:pt>
                <c:pt idx="5959">
                  <c:v>0.91444444444444395</c:v>
                </c:pt>
                <c:pt idx="5960">
                  <c:v>0.91449814126394002</c:v>
                </c:pt>
                <c:pt idx="5961">
                  <c:v>0.91459074733096102</c:v>
                </c:pt>
                <c:pt idx="5962">
                  <c:v>0.91463414634146301</c:v>
                </c:pt>
                <c:pt idx="5963">
                  <c:v>0.91463414634146301</c:v>
                </c:pt>
                <c:pt idx="5964">
                  <c:v>0.91466771529689295</c:v>
                </c:pt>
                <c:pt idx="5965">
                  <c:v>0.91477272727272696</c:v>
                </c:pt>
                <c:pt idx="5966">
                  <c:v>0.91479820627802699</c:v>
                </c:pt>
                <c:pt idx="5967">
                  <c:v>0.91489361702127703</c:v>
                </c:pt>
                <c:pt idx="5968">
                  <c:v>0.91494252873563198</c:v>
                </c:pt>
                <c:pt idx="5969">
                  <c:v>0.91494845360824695</c:v>
                </c:pt>
                <c:pt idx="5970">
                  <c:v>0.91503267973856195</c:v>
                </c:pt>
                <c:pt idx="5971">
                  <c:v>0.91505791505791501</c:v>
                </c:pt>
                <c:pt idx="5972">
                  <c:v>0.91509433962264197</c:v>
                </c:pt>
                <c:pt idx="5973">
                  <c:v>0.91513982642237202</c:v>
                </c:pt>
                <c:pt idx="5974">
                  <c:v>0.91515151515151505</c:v>
                </c:pt>
                <c:pt idx="5975">
                  <c:v>0.91518098325229602</c:v>
                </c:pt>
                <c:pt idx="5976">
                  <c:v>0.91522062469013399</c:v>
                </c:pt>
                <c:pt idx="5977">
                  <c:v>0.91525423728813604</c:v>
                </c:pt>
                <c:pt idx="5978">
                  <c:v>0.91541609822646597</c:v>
                </c:pt>
                <c:pt idx="5979">
                  <c:v>0.91545574636723903</c:v>
                </c:pt>
                <c:pt idx="5980">
                  <c:v>0.91554959785522805</c:v>
                </c:pt>
                <c:pt idx="5981">
                  <c:v>0.91578947368421004</c:v>
                </c:pt>
                <c:pt idx="5982">
                  <c:v>0.91581632653061196</c:v>
                </c:pt>
                <c:pt idx="5983">
                  <c:v>0.91584852734922895</c:v>
                </c:pt>
                <c:pt idx="5984">
                  <c:v>0.91588785046729004</c:v>
                </c:pt>
                <c:pt idx="5985">
                  <c:v>0.91603053435114501</c:v>
                </c:pt>
                <c:pt idx="5986">
                  <c:v>0.91607142857142898</c:v>
                </c:pt>
                <c:pt idx="5987">
                  <c:v>0.91609589041095896</c:v>
                </c:pt>
                <c:pt idx="5988">
                  <c:v>0.91610738255033497</c:v>
                </c:pt>
                <c:pt idx="5989">
                  <c:v>0.91612903225806397</c:v>
                </c:pt>
                <c:pt idx="5990">
                  <c:v>0.91612903225806397</c:v>
                </c:pt>
                <c:pt idx="5991">
                  <c:v>0.91614255765199204</c:v>
                </c:pt>
                <c:pt idx="5992">
                  <c:v>0.91614255765199204</c:v>
                </c:pt>
                <c:pt idx="5993">
                  <c:v>0.91615289765721297</c:v>
                </c:pt>
                <c:pt idx="5994">
                  <c:v>0.91631291691934502</c:v>
                </c:pt>
                <c:pt idx="5995">
                  <c:v>0.91634980988593095</c:v>
                </c:pt>
                <c:pt idx="5996">
                  <c:v>0.91634980988593095</c:v>
                </c:pt>
                <c:pt idx="5997">
                  <c:v>0.91635687732341997</c:v>
                </c:pt>
                <c:pt idx="5998">
                  <c:v>0.91636363636363605</c:v>
                </c:pt>
                <c:pt idx="5999">
                  <c:v>0.91636363636363605</c:v>
                </c:pt>
                <c:pt idx="6000">
                  <c:v>0.91639344262295097</c:v>
                </c:pt>
                <c:pt idx="6001">
                  <c:v>0.91641182466870497</c:v>
                </c:pt>
                <c:pt idx="6002">
                  <c:v>0.91649694501018297</c:v>
                </c:pt>
                <c:pt idx="6003">
                  <c:v>0.91652754590984997</c:v>
                </c:pt>
                <c:pt idx="6004">
                  <c:v>0.91655629139072803</c:v>
                </c:pt>
                <c:pt idx="6005">
                  <c:v>0.91666666666666696</c:v>
                </c:pt>
                <c:pt idx="6006">
                  <c:v>0.91666666666666696</c:v>
                </c:pt>
                <c:pt idx="6007">
                  <c:v>0.91666666666666696</c:v>
                </c:pt>
                <c:pt idx="6008">
                  <c:v>0.91666666666666696</c:v>
                </c:pt>
                <c:pt idx="6009">
                  <c:v>0.91685393258426995</c:v>
                </c:pt>
                <c:pt idx="6010">
                  <c:v>0.91687763713080195</c:v>
                </c:pt>
                <c:pt idx="6011">
                  <c:v>0.91689008042895404</c:v>
                </c:pt>
                <c:pt idx="6012">
                  <c:v>0.91692307692307695</c:v>
                </c:pt>
                <c:pt idx="6013">
                  <c:v>0.91694352159468395</c:v>
                </c:pt>
                <c:pt idx="6014">
                  <c:v>0.91699604743082996</c:v>
                </c:pt>
                <c:pt idx="6015">
                  <c:v>0.91715976331360904</c:v>
                </c:pt>
                <c:pt idx="6016">
                  <c:v>0.91717171717171697</c:v>
                </c:pt>
                <c:pt idx="6017">
                  <c:v>0.91718750000000004</c:v>
                </c:pt>
                <c:pt idx="6018">
                  <c:v>0.91718750000000004</c:v>
                </c:pt>
                <c:pt idx="6019">
                  <c:v>0.917241379310345</c:v>
                </c:pt>
                <c:pt idx="6020">
                  <c:v>0.91727140783744598</c:v>
                </c:pt>
                <c:pt idx="6021">
                  <c:v>0.91732283464566899</c:v>
                </c:pt>
                <c:pt idx="6022">
                  <c:v>0.91735537190082606</c:v>
                </c:pt>
                <c:pt idx="6023">
                  <c:v>0.91743119266054995</c:v>
                </c:pt>
                <c:pt idx="6024">
                  <c:v>0.91743119266054995</c:v>
                </c:pt>
                <c:pt idx="6025">
                  <c:v>0.91747572815533995</c:v>
                </c:pt>
                <c:pt idx="6026">
                  <c:v>0.91756272401433703</c:v>
                </c:pt>
                <c:pt idx="6027">
                  <c:v>0.91758241758241799</c:v>
                </c:pt>
                <c:pt idx="6028">
                  <c:v>0.91762013729977099</c:v>
                </c:pt>
                <c:pt idx="6029">
                  <c:v>0.91764705882352904</c:v>
                </c:pt>
                <c:pt idx="6030">
                  <c:v>0.917675544794189</c:v>
                </c:pt>
                <c:pt idx="6031">
                  <c:v>0.917721518987342</c:v>
                </c:pt>
                <c:pt idx="6032">
                  <c:v>0.917721518987342</c:v>
                </c:pt>
                <c:pt idx="6033">
                  <c:v>0.91778202676864196</c:v>
                </c:pt>
                <c:pt idx="6034">
                  <c:v>0.91780821917808197</c:v>
                </c:pt>
                <c:pt idx="6035">
                  <c:v>0.91790600832837599</c:v>
                </c:pt>
                <c:pt idx="6036">
                  <c:v>0.91791044776119401</c:v>
                </c:pt>
                <c:pt idx="6037">
                  <c:v>0.917933130699088</c:v>
                </c:pt>
                <c:pt idx="6038">
                  <c:v>0.91808399861159296</c:v>
                </c:pt>
                <c:pt idx="6039">
                  <c:v>0.91818181818181799</c:v>
                </c:pt>
                <c:pt idx="6040">
                  <c:v>0.91819160387513499</c:v>
                </c:pt>
                <c:pt idx="6041">
                  <c:v>0.91819464033850495</c:v>
                </c:pt>
                <c:pt idx="6042">
                  <c:v>0.91826923076923095</c:v>
                </c:pt>
                <c:pt idx="6043">
                  <c:v>0.91836734693877597</c:v>
                </c:pt>
                <c:pt idx="6044">
                  <c:v>0.91836734693877597</c:v>
                </c:pt>
                <c:pt idx="6045">
                  <c:v>0.91845493562231795</c:v>
                </c:pt>
                <c:pt idx="6046">
                  <c:v>0.91845979614949003</c:v>
                </c:pt>
                <c:pt idx="6047">
                  <c:v>0.91856677524429997</c:v>
                </c:pt>
                <c:pt idx="6048">
                  <c:v>0.918604651162791</c:v>
                </c:pt>
                <c:pt idx="6049">
                  <c:v>0.91866028708133995</c:v>
                </c:pt>
                <c:pt idx="6050">
                  <c:v>0.91866028708133995</c:v>
                </c:pt>
                <c:pt idx="6051">
                  <c:v>0.91869918699187003</c:v>
                </c:pt>
                <c:pt idx="6052">
                  <c:v>0.91876854599406499</c:v>
                </c:pt>
                <c:pt idx="6053">
                  <c:v>0.91880341880341898</c:v>
                </c:pt>
                <c:pt idx="6054">
                  <c:v>0.91882223445239397</c:v>
                </c:pt>
                <c:pt idx="6055">
                  <c:v>0.91882352941176504</c:v>
                </c:pt>
                <c:pt idx="6056">
                  <c:v>0.91884816753926701</c:v>
                </c:pt>
                <c:pt idx="6057">
                  <c:v>0.91885295912141496</c:v>
                </c:pt>
                <c:pt idx="6058">
                  <c:v>0.918897637795276</c:v>
                </c:pt>
                <c:pt idx="6059">
                  <c:v>0.91891891891891897</c:v>
                </c:pt>
                <c:pt idx="6060">
                  <c:v>0.91891891891891897</c:v>
                </c:pt>
                <c:pt idx="6061">
                  <c:v>0.91898734177215202</c:v>
                </c:pt>
                <c:pt idx="6062">
                  <c:v>0.91900000000000004</c:v>
                </c:pt>
                <c:pt idx="6063">
                  <c:v>0.91909814323607397</c:v>
                </c:pt>
                <c:pt idx="6064">
                  <c:v>0.91911764705882304</c:v>
                </c:pt>
                <c:pt idx="6065">
                  <c:v>0.91911764705882304</c:v>
                </c:pt>
                <c:pt idx="6066">
                  <c:v>0.91911764705882304</c:v>
                </c:pt>
                <c:pt idx="6067">
                  <c:v>0.91913214990138103</c:v>
                </c:pt>
                <c:pt idx="6068">
                  <c:v>0.91913746630727799</c:v>
                </c:pt>
                <c:pt idx="6069">
                  <c:v>0.91916859122401795</c:v>
                </c:pt>
                <c:pt idx="6070">
                  <c:v>0.91923076923076896</c:v>
                </c:pt>
                <c:pt idx="6071">
                  <c:v>0.91925465838509302</c:v>
                </c:pt>
                <c:pt idx="6072">
                  <c:v>0.91926417986714404</c:v>
                </c:pt>
                <c:pt idx="6073">
                  <c:v>0.91930835734870298</c:v>
                </c:pt>
                <c:pt idx="6074">
                  <c:v>0.91941705957994002</c:v>
                </c:pt>
                <c:pt idx="6075">
                  <c:v>0.91942446043165504</c:v>
                </c:pt>
                <c:pt idx="6076">
                  <c:v>0.91944990176817298</c:v>
                </c:pt>
                <c:pt idx="6077">
                  <c:v>0.91948051948051901</c:v>
                </c:pt>
                <c:pt idx="6078">
                  <c:v>0.91952506596306105</c:v>
                </c:pt>
                <c:pt idx="6079">
                  <c:v>0.91954022988505701</c:v>
                </c:pt>
                <c:pt idx="6080">
                  <c:v>0.91954022988505701</c:v>
                </c:pt>
                <c:pt idx="6081">
                  <c:v>0.91956664478003902</c:v>
                </c:pt>
                <c:pt idx="6082">
                  <c:v>0.91963109354413697</c:v>
                </c:pt>
                <c:pt idx="6083">
                  <c:v>0.91964285714285698</c:v>
                </c:pt>
                <c:pt idx="6084">
                  <c:v>0.91966759002770104</c:v>
                </c:pt>
                <c:pt idx="6085">
                  <c:v>0.91969407265774406</c:v>
                </c:pt>
                <c:pt idx="6086">
                  <c:v>0.91969407265774406</c:v>
                </c:pt>
                <c:pt idx="6087">
                  <c:v>0.91971982758620696</c:v>
                </c:pt>
                <c:pt idx="6088">
                  <c:v>0.91978609625668395</c:v>
                </c:pt>
                <c:pt idx="6089">
                  <c:v>0.91978609625668395</c:v>
                </c:pt>
                <c:pt idx="6090">
                  <c:v>0.91980676328502398</c:v>
                </c:pt>
                <c:pt idx="6091">
                  <c:v>0.91983122362869196</c:v>
                </c:pt>
                <c:pt idx="6092">
                  <c:v>0.91987179487179505</c:v>
                </c:pt>
                <c:pt idx="6093">
                  <c:v>0.91990291262135904</c:v>
                </c:pt>
                <c:pt idx="6094">
                  <c:v>0.91992720655141003</c:v>
                </c:pt>
                <c:pt idx="6095">
                  <c:v>0.92</c:v>
                </c:pt>
                <c:pt idx="6096">
                  <c:v>0.92</c:v>
                </c:pt>
                <c:pt idx="6097">
                  <c:v>0.92</c:v>
                </c:pt>
                <c:pt idx="6098">
                  <c:v>0.92013064133016598</c:v>
                </c:pt>
                <c:pt idx="6099">
                  <c:v>0.92013129102844604</c:v>
                </c:pt>
                <c:pt idx="6100">
                  <c:v>0.92013888888888895</c:v>
                </c:pt>
                <c:pt idx="6101">
                  <c:v>0.92015418502202595</c:v>
                </c:pt>
                <c:pt idx="6102">
                  <c:v>0.92017167381974196</c:v>
                </c:pt>
                <c:pt idx="6103">
                  <c:v>0.920208152645273</c:v>
                </c:pt>
                <c:pt idx="6104">
                  <c:v>0.92027620841180202</c:v>
                </c:pt>
                <c:pt idx="6105">
                  <c:v>0.92028985507246397</c:v>
                </c:pt>
                <c:pt idx="6106">
                  <c:v>0.92035398230088505</c:v>
                </c:pt>
                <c:pt idx="6107">
                  <c:v>0.92035398230088505</c:v>
                </c:pt>
                <c:pt idx="6108">
                  <c:v>0.92039800995024901</c:v>
                </c:pt>
                <c:pt idx="6109">
                  <c:v>0.92041522491349503</c:v>
                </c:pt>
                <c:pt idx="6110">
                  <c:v>0.92042657916324899</c:v>
                </c:pt>
                <c:pt idx="6111">
                  <c:v>0.920600858369099</c:v>
                </c:pt>
                <c:pt idx="6112">
                  <c:v>0.92061538461538495</c:v>
                </c:pt>
                <c:pt idx="6113">
                  <c:v>0.92063492063492103</c:v>
                </c:pt>
                <c:pt idx="6114">
                  <c:v>0.92065106815869802</c:v>
                </c:pt>
                <c:pt idx="6115">
                  <c:v>0.92079207920792105</c:v>
                </c:pt>
                <c:pt idx="6116">
                  <c:v>0.92082111436950098</c:v>
                </c:pt>
                <c:pt idx="6117">
                  <c:v>0.92086330935251803</c:v>
                </c:pt>
                <c:pt idx="6118">
                  <c:v>0.92089552238806005</c:v>
                </c:pt>
                <c:pt idx="6119">
                  <c:v>0.92090395480225995</c:v>
                </c:pt>
                <c:pt idx="6120">
                  <c:v>0.92091571279916695</c:v>
                </c:pt>
                <c:pt idx="6121">
                  <c:v>0.92094861660078997</c:v>
                </c:pt>
                <c:pt idx="6122">
                  <c:v>0.92104062072113202</c:v>
                </c:pt>
                <c:pt idx="6123">
                  <c:v>0.92105263157894701</c:v>
                </c:pt>
                <c:pt idx="6124">
                  <c:v>0.92105263157894701</c:v>
                </c:pt>
                <c:pt idx="6125">
                  <c:v>0.92111111111111099</c:v>
                </c:pt>
                <c:pt idx="6126">
                  <c:v>0.92111959287531797</c:v>
                </c:pt>
                <c:pt idx="6127">
                  <c:v>0.92117465224111295</c:v>
                </c:pt>
                <c:pt idx="6128">
                  <c:v>0.92124814264487398</c:v>
                </c:pt>
                <c:pt idx="6129">
                  <c:v>0.92127303182579601</c:v>
                </c:pt>
                <c:pt idx="6130">
                  <c:v>0.92134831460674205</c:v>
                </c:pt>
                <c:pt idx="6131">
                  <c:v>0.92141176470588204</c:v>
                </c:pt>
                <c:pt idx="6132">
                  <c:v>0.92142857142857104</c:v>
                </c:pt>
                <c:pt idx="6133">
                  <c:v>0.92142857142857104</c:v>
                </c:pt>
                <c:pt idx="6134">
                  <c:v>0.92144236960721204</c:v>
                </c:pt>
                <c:pt idx="6135">
                  <c:v>0.92146596858638696</c:v>
                </c:pt>
                <c:pt idx="6136">
                  <c:v>0.92147239263803704</c:v>
                </c:pt>
                <c:pt idx="6137">
                  <c:v>0.92149532710280402</c:v>
                </c:pt>
                <c:pt idx="6138">
                  <c:v>0.92149758454106301</c:v>
                </c:pt>
                <c:pt idx="6139">
                  <c:v>0.92156862745098</c:v>
                </c:pt>
                <c:pt idx="6140">
                  <c:v>0.92156862745098</c:v>
                </c:pt>
                <c:pt idx="6141">
                  <c:v>0.92156862745098</c:v>
                </c:pt>
                <c:pt idx="6142">
                  <c:v>0.92156862745098</c:v>
                </c:pt>
                <c:pt idx="6143">
                  <c:v>0.92160611854684504</c:v>
                </c:pt>
                <c:pt idx="6144">
                  <c:v>0.92164179104477595</c:v>
                </c:pt>
                <c:pt idx="6145">
                  <c:v>0.92177914110429404</c:v>
                </c:pt>
                <c:pt idx="6146">
                  <c:v>0.921875</c:v>
                </c:pt>
                <c:pt idx="6147">
                  <c:v>0.92199248120300703</c:v>
                </c:pt>
                <c:pt idx="6148">
                  <c:v>0.92202462380300998</c:v>
                </c:pt>
                <c:pt idx="6149">
                  <c:v>0.92203389830508498</c:v>
                </c:pt>
                <c:pt idx="6150">
                  <c:v>0.9221260815822</c:v>
                </c:pt>
                <c:pt idx="6151">
                  <c:v>0.922153510367406</c:v>
                </c:pt>
                <c:pt idx="6152">
                  <c:v>0.92215568862275499</c:v>
                </c:pt>
                <c:pt idx="6153">
                  <c:v>0.92227722772277199</c:v>
                </c:pt>
                <c:pt idx="6154">
                  <c:v>0.92231075697211096</c:v>
                </c:pt>
                <c:pt idx="6155">
                  <c:v>0.92233009708737901</c:v>
                </c:pt>
                <c:pt idx="6156">
                  <c:v>0.92233009708737901</c:v>
                </c:pt>
                <c:pt idx="6157">
                  <c:v>0.92234779438570902</c:v>
                </c:pt>
                <c:pt idx="6158">
                  <c:v>0.92237442922374402</c:v>
                </c:pt>
                <c:pt idx="6159">
                  <c:v>0.92238633072690401</c:v>
                </c:pt>
                <c:pt idx="6160">
                  <c:v>0.922419059254734</c:v>
                </c:pt>
                <c:pt idx="6161">
                  <c:v>0.92242424242424204</c:v>
                </c:pt>
                <c:pt idx="6162">
                  <c:v>0.922444183313749</c:v>
                </c:pt>
                <c:pt idx="6163">
                  <c:v>0.92256637168141598</c:v>
                </c:pt>
                <c:pt idx="6164">
                  <c:v>0.92256846081208699</c:v>
                </c:pt>
                <c:pt idx="6165">
                  <c:v>0.92258064516129001</c:v>
                </c:pt>
                <c:pt idx="6166">
                  <c:v>0.92260061919504599</c:v>
                </c:pt>
                <c:pt idx="6167">
                  <c:v>0.922619047619048</c:v>
                </c:pt>
                <c:pt idx="6168">
                  <c:v>0.92268041237113396</c:v>
                </c:pt>
                <c:pt idx="6169">
                  <c:v>0.92275132275132299</c:v>
                </c:pt>
                <c:pt idx="6170">
                  <c:v>0.92276422764227595</c:v>
                </c:pt>
                <c:pt idx="6171">
                  <c:v>0.92280701754385996</c:v>
                </c:pt>
                <c:pt idx="6172">
                  <c:v>0.92282249173098096</c:v>
                </c:pt>
                <c:pt idx="6173">
                  <c:v>0.922885572139303</c:v>
                </c:pt>
                <c:pt idx="6174">
                  <c:v>0.92289719626168198</c:v>
                </c:pt>
                <c:pt idx="6175">
                  <c:v>0.92292870905587698</c:v>
                </c:pt>
                <c:pt idx="6176">
                  <c:v>0.92297650130548303</c:v>
                </c:pt>
                <c:pt idx="6177">
                  <c:v>0.92298435619735297</c:v>
                </c:pt>
                <c:pt idx="6178">
                  <c:v>0.92301587301587296</c:v>
                </c:pt>
                <c:pt idx="6179">
                  <c:v>0.92307692307692302</c:v>
                </c:pt>
                <c:pt idx="6180">
                  <c:v>0.92307692307692302</c:v>
                </c:pt>
                <c:pt idx="6181">
                  <c:v>0.92307692307692302</c:v>
                </c:pt>
                <c:pt idx="6182">
                  <c:v>0.92307692307692302</c:v>
                </c:pt>
                <c:pt idx="6183">
                  <c:v>0.92307692307692302</c:v>
                </c:pt>
                <c:pt idx="6184">
                  <c:v>0.92307692307692302</c:v>
                </c:pt>
                <c:pt idx="6185">
                  <c:v>0.92307692307692302</c:v>
                </c:pt>
                <c:pt idx="6186">
                  <c:v>0.92307692307692302</c:v>
                </c:pt>
                <c:pt idx="6187">
                  <c:v>0.92323943661971797</c:v>
                </c:pt>
                <c:pt idx="6188">
                  <c:v>0.92325581395348799</c:v>
                </c:pt>
                <c:pt idx="6189">
                  <c:v>0.92338177014530998</c:v>
                </c:pt>
                <c:pt idx="6190">
                  <c:v>0.923472668810289</c:v>
                </c:pt>
                <c:pt idx="6191">
                  <c:v>0.92352941176470604</c:v>
                </c:pt>
                <c:pt idx="6192">
                  <c:v>0.9236276849642</c:v>
                </c:pt>
                <c:pt idx="6193">
                  <c:v>0.923705722070845</c:v>
                </c:pt>
                <c:pt idx="6194">
                  <c:v>0.92372881355932202</c:v>
                </c:pt>
                <c:pt idx="6195">
                  <c:v>0.92372881355932202</c:v>
                </c:pt>
                <c:pt idx="6196">
                  <c:v>0.92385173247381103</c:v>
                </c:pt>
                <c:pt idx="6197">
                  <c:v>0.92391304347826098</c:v>
                </c:pt>
                <c:pt idx="6198">
                  <c:v>0.92393736017897099</c:v>
                </c:pt>
                <c:pt idx="6199">
                  <c:v>0.92394822006472499</c:v>
                </c:pt>
                <c:pt idx="6200">
                  <c:v>0.92397660818713401</c:v>
                </c:pt>
                <c:pt idx="6201">
                  <c:v>0.92400482509046999</c:v>
                </c:pt>
                <c:pt idx="6202">
                  <c:v>0.924050632911392</c:v>
                </c:pt>
                <c:pt idx="6203">
                  <c:v>0.924050632911392</c:v>
                </c:pt>
                <c:pt idx="6204">
                  <c:v>0.92413793103448305</c:v>
                </c:pt>
                <c:pt idx="6205">
                  <c:v>0.92413793103448305</c:v>
                </c:pt>
                <c:pt idx="6206">
                  <c:v>0.92419121197489096</c:v>
                </c:pt>
                <c:pt idx="6207">
                  <c:v>0.92424242424242398</c:v>
                </c:pt>
                <c:pt idx="6208">
                  <c:v>0.92424242424242398</c:v>
                </c:pt>
                <c:pt idx="6209">
                  <c:v>0.92424242424242398</c:v>
                </c:pt>
                <c:pt idx="6210">
                  <c:v>0.92424791591156197</c:v>
                </c:pt>
                <c:pt idx="6211">
                  <c:v>0.92441355343179799</c:v>
                </c:pt>
                <c:pt idx="6212">
                  <c:v>0.92450765864332596</c:v>
                </c:pt>
                <c:pt idx="6213">
                  <c:v>0.92452830188679203</c:v>
                </c:pt>
                <c:pt idx="6214">
                  <c:v>0.92462311557788901</c:v>
                </c:pt>
                <c:pt idx="6215">
                  <c:v>0.92469879518072295</c:v>
                </c:pt>
                <c:pt idx="6216">
                  <c:v>0.92473118279569899</c:v>
                </c:pt>
                <c:pt idx="6217">
                  <c:v>0.92473118279569899</c:v>
                </c:pt>
                <c:pt idx="6218">
                  <c:v>0.92476489028213205</c:v>
                </c:pt>
                <c:pt idx="6219">
                  <c:v>0.92481203007518797</c:v>
                </c:pt>
                <c:pt idx="6220">
                  <c:v>0.92483660130719003</c:v>
                </c:pt>
                <c:pt idx="6221">
                  <c:v>0.92488262910798102</c:v>
                </c:pt>
                <c:pt idx="6222">
                  <c:v>0.92492492492492495</c:v>
                </c:pt>
                <c:pt idx="6223">
                  <c:v>0.92500000000000004</c:v>
                </c:pt>
                <c:pt idx="6224">
                  <c:v>0.92500000000000004</c:v>
                </c:pt>
                <c:pt idx="6225">
                  <c:v>0.92500000000000004</c:v>
                </c:pt>
                <c:pt idx="6226">
                  <c:v>0.92500000000000004</c:v>
                </c:pt>
                <c:pt idx="6227">
                  <c:v>0.92511013215858995</c:v>
                </c:pt>
                <c:pt idx="6228">
                  <c:v>0.92511377741001199</c:v>
                </c:pt>
                <c:pt idx="6229">
                  <c:v>0.925133689839572</c:v>
                </c:pt>
                <c:pt idx="6230">
                  <c:v>0.92516069788797095</c:v>
                </c:pt>
                <c:pt idx="6231">
                  <c:v>0.92518127883981505</c:v>
                </c:pt>
                <c:pt idx="6232">
                  <c:v>0.92518703241895295</c:v>
                </c:pt>
                <c:pt idx="6233">
                  <c:v>0.92521109770808196</c:v>
                </c:pt>
                <c:pt idx="6234">
                  <c:v>0.92522596548890701</c:v>
                </c:pt>
                <c:pt idx="6235">
                  <c:v>0.92523364485981296</c:v>
                </c:pt>
                <c:pt idx="6236">
                  <c:v>0.92532467532467499</c:v>
                </c:pt>
                <c:pt idx="6237">
                  <c:v>0.92533659730722095</c:v>
                </c:pt>
                <c:pt idx="6238">
                  <c:v>0.92537313432835799</c:v>
                </c:pt>
                <c:pt idx="6239">
                  <c:v>0.92546063651591304</c:v>
                </c:pt>
                <c:pt idx="6240">
                  <c:v>0.92553191489361697</c:v>
                </c:pt>
                <c:pt idx="6241">
                  <c:v>0.92554922701383202</c:v>
                </c:pt>
                <c:pt idx="6242">
                  <c:v>0.92555831265508703</c:v>
                </c:pt>
                <c:pt idx="6243">
                  <c:v>0.925561797752809</c:v>
                </c:pt>
                <c:pt idx="6244">
                  <c:v>0.925561797752809</c:v>
                </c:pt>
                <c:pt idx="6245">
                  <c:v>0.92561983471074405</c:v>
                </c:pt>
                <c:pt idx="6246">
                  <c:v>0.92564491654021197</c:v>
                </c:pt>
                <c:pt idx="6247">
                  <c:v>0.92576419213973804</c:v>
                </c:pt>
                <c:pt idx="6248">
                  <c:v>0.92576419213973804</c:v>
                </c:pt>
                <c:pt idx="6249">
                  <c:v>0.92579505300353404</c:v>
                </c:pt>
                <c:pt idx="6250">
                  <c:v>0.92592592592592604</c:v>
                </c:pt>
                <c:pt idx="6251">
                  <c:v>0.92592592592592604</c:v>
                </c:pt>
                <c:pt idx="6252">
                  <c:v>0.92592592592592604</c:v>
                </c:pt>
                <c:pt idx="6253">
                  <c:v>0.92592592592592604</c:v>
                </c:pt>
                <c:pt idx="6254">
                  <c:v>0.92597968069666203</c:v>
                </c:pt>
                <c:pt idx="6255">
                  <c:v>0.926056338028169</c:v>
                </c:pt>
                <c:pt idx="6256">
                  <c:v>0.92616033755274296</c:v>
                </c:pt>
                <c:pt idx="6257">
                  <c:v>0.92619047619047601</c:v>
                </c:pt>
                <c:pt idx="6258">
                  <c:v>0.92622950819672101</c:v>
                </c:pt>
                <c:pt idx="6259">
                  <c:v>0.92625368731563396</c:v>
                </c:pt>
                <c:pt idx="6260">
                  <c:v>0.92627599243856296</c:v>
                </c:pt>
                <c:pt idx="6261">
                  <c:v>0.92631578947368398</c:v>
                </c:pt>
                <c:pt idx="6262">
                  <c:v>0.92631578947368398</c:v>
                </c:pt>
                <c:pt idx="6263">
                  <c:v>0.92638036809815905</c:v>
                </c:pt>
                <c:pt idx="6264">
                  <c:v>0.92639593908629403</c:v>
                </c:pt>
                <c:pt idx="6265">
                  <c:v>0.92642827784628001</c:v>
                </c:pt>
                <c:pt idx="6266">
                  <c:v>0.92643678160919496</c:v>
                </c:pt>
                <c:pt idx="6267">
                  <c:v>0.92651757188498396</c:v>
                </c:pt>
                <c:pt idx="6268">
                  <c:v>0.92660550458715596</c:v>
                </c:pt>
                <c:pt idx="6269">
                  <c:v>0.926621160409556</c:v>
                </c:pt>
                <c:pt idx="6270">
                  <c:v>0.926739926739927</c:v>
                </c:pt>
                <c:pt idx="6271">
                  <c:v>0.92675159235668803</c:v>
                </c:pt>
                <c:pt idx="6272">
                  <c:v>0.92682926829268297</c:v>
                </c:pt>
                <c:pt idx="6273">
                  <c:v>0.926910299003322</c:v>
                </c:pt>
                <c:pt idx="6274">
                  <c:v>0.92694965449160904</c:v>
                </c:pt>
                <c:pt idx="6275">
                  <c:v>0.92696025778732505</c:v>
                </c:pt>
                <c:pt idx="6276">
                  <c:v>0.92700729927007297</c:v>
                </c:pt>
                <c:pt idx="6277">
                  <c:v>0.92701664532650396</c:v>
                </c:pt>
                <c:pt idx="6278">
                  <c:v>0.927027027027027</c:v>
                </c:pt>
                <c:pt idx="6279">
                  <c:v>0.92708333333333304</c:v>
                </c:pt>
                <c:pt idx="6280">
                  <c:v>0.92708333333333304</c:v>
                </c:pt>
                <c:pt idx="6281">
                  <c:v>0.92708333333333304</c:v>
                </c:pt>
                <c:pt idx="6282">
                  <c:v>0.92735042735042705</c:v>
                </c:pt>
                <c:pt idx="6283">
                  <c:v>0.92737430167597801</c:v>
                </c:pt>
                <c:pt idx="6284">
                  <c:v>0.92751981879954704</c:v>
                </c:pt>
                <c:pt idx="6285">
                  <c:v>0.92753623188405798</c:v>
                </c:pt>
                <c:pt idx="6286">
                  <c:v>0.92758430071862896</c:v>
                </c:pt>
                <c:pt idx="6287">
                  <c:v>0.92763157894736803</c:v>
                </c:pt>
                <c:pt idx="6288">
                  <c:v>0.92763157894736803</c:v>
                </c:pt>
                <c:pt idx="6289">
                  <c:v>0.927659574468085</c:v>
                </c:pt>
                <c:pt idx="6290">
                  <c:v>0.92767295597484301</c:v>
                </c:pt>
                <c:pt idx="6291">
                  <c:v>0.92771084337349397</c:v>
                </c:pt>
                <c:pt idx="6292">
                  <c:v>0.92773345847020205</c:v>
                </c:pt>
                <c:pt idx="6293">
                  <c:v>0.92777777777777803</c:v>
                </c:pt>
                <c:pt idx="6294">
                  <c:v>0.92779426310583601</c:v>
                </c:pt>
                <c:pt idx="6295">
                  <c:v>0.92779783393501802</c:v>
                </c:pt>
                <c:pt idx="6296">
                  <c:v>0.92780026990553299</c:v>
                </c:pt>
                <c:pt idx="6297">
                  <c:v>0.92788461538461497</c:v>
                </c:pt>
                <c:pt idx="6298">
                  <c:v>0.92791127541589602</c:v>
                </c:pt>
                <c:pt idx="6299">
                  <c:v>0.927966101694915</c:v>
                </c:pt>
                <c:pt idx="6300">
                  <c:v>0.92797783933517997</c:v>
                </c:pt>
                <c:pt idx="6301">
                  <c:v>0.92803970223325105</c:v>
                </c:pt>
                <c:pt idx="6302">
                  <c:v>0.92805320435308303</c:v>
                </c:pt>
                <c:pt idx="6303">
                  <c:v>0.92809587217043898</c:v>
                </c:pt>
                <c:pt idx="6304">
                  <c:v>0.92810457516339895</c:v>
                </c:pt>
                <c:pt idx="6305">
                  <c:v>0.92810457516339895</c:v>
                </c:pt>
                <c:pt idx="6306">
                  <c:v>0.92811839323467205</c:v>
                </c:pt>
                <c:pt idx="6307">
                  <c:v>0.92814371257484996</c:v>
                </c:pt>
                <c:pt idx="6308">
                  <c:v>0.92822966507176996</c:v>
                </c:pt>
                <c:pt idx="6309">
                  <c:v>0.92834890965732098</c:v>
                </c:pt>
                <c:pt idx="6310">
                  <c:v>0.92842639593908605</c:v>
                </c:pt>
                <c:pt idx="6311">
                  <c:v>0.92844925883694396</c:v>
                </c:pt>
                <c:pt idx="6312">
                  <c:v>0.92847124824684402</c:v>
                </c:pt>
                <c:pt idx="6313">
                  <c:v>0.92857142857142905</c:v>
                </c:pt>
                <c:pt idx="6314">
                  <c:v>0.92857142857142905</c:v>
                </c:pt>
                <c:pt idx="6315">
                  <c:v>0.92857142857142905</c:v>
                </c:pt>
                <c:pt idx="6316">
                  <c:v>0.92857142857142905</c:v>
                </c:pt>
                <c:pt idx="6317">
                  <c:v>0.92857142857142905</c:v>
                </c:pt>
                <c:pt idx="6318">
                  <c:v>0.92857142857142905</c:v>
                </c:pt>
                <c:pt idx="6319">
                  <c:v>0.92857142857142905</c:v>
                </c:pt>
                <c:pt idx="6320">
                  <c:v>0.92857142857142905</c:v>
                </c:pt>
                <c:pt idx="6321">
                  <c:v>0.92857142857142905</c:v>
                </c:pt>
                <c:pt idx="6322">
                  <c:v>0.92857142857142905</c:v>
                </c:pt>
                <c:pt idx="6323">
                  <c:v>0.92857142857142905</c:v>
                </c:pt>
                <c:pt idx="6324">
                  <c:v>0.92861427714457101</c:v>
                </c:pt>
                <c:pt idx="6325">
                  <c:v>0.92869982025164799</c:v>
                </c:pt>
                <c:pt idx="6326">
                  <c:v>0.92871553463348999</c:v>
                </c:pt>
                <c:pt idx="6327">
                  <c:v>0.92872295290623696</c:v>
                </c:pt>
                <c:pt idx="6328">
                  <c:v>0.92874109263658</c:v>
                </c:pt>
                <c:pt idx="6329">
                  <c:v>0.92885375494071099</c:v>
                </c:pt>
                <c:pt idx="6330">
                  <c:v>0.92893835616438403</c:v>
                </c:pt>
                <c:pt idx="6331">
                  <c:v>0.92895254142094896</c:v>
                </c:pt>
                <c:pt idx="6332">
                  <c:v>0.92896174863388004</c:v>
                </c:pt>
                <c:pt idx="6333">
                  <c:v>0.92901878914405001</c:v>
                </c:pt>
                <c:pt idx="6334">
                  <c:v>0.92915531335149903</c:v>
                </c:pt>
                <c:pt idx="6335">
                  <c:v>0.92915531335149903</c:v>
                </c:pt>
                <c:pt idx="6336">
                  <c:v>0.92929292929292895</c:v>
                </c:pt>
                <c:pt idx="6337">
                  <c:v>0.92929292929292895</c:v>
                </c:pt>
                <c:pt idx="6338">
                  <c:v>0.92946058091286299</c:v>
                </c:pt>
                <c:pt idx="6339">
                  <c:v>0.92946530147895301</c:v>
                </c:pt>
                <c:pt idx="6340">
                  <c:v>0.92951541850220298</c:v>
                </c:pt>
                <c:pt idx="6341">
                  <c:v>0.92951541850220298</c:v>
                </c:pt>
                <c:pt idx="6342">
                  <c:v>0.92951541850220298</c:v>
                </c:pt>
                <c:pt idx="6343">
                  <c:v>0.92957746478873204</c:v>
                </c:pt>
                <c:pt idx="6344">
                  <c:v>0.92957746478873204</c:v>
                </c:pt>
                <c:pt idx="6345">
                  <c:v>0.92957746478873204</c:v>
                </c:pt>
                <c:pt idx="6346">
                  <c:v>0.92961876832844603</c:v>
                </c:pt>
                <c:pt idx="6347">
                  <c:v>0.9296875</c:v>
                </c:pt>
                <c:pt idx="6348">
                  <c:v>0.92978056426332301</c:v>
                </c:pt>
                <c:pt idx="6349">
                  <c:v>0.929824561403509</c:v>
                </c:pt>
                <c:pt idx="6350">
                  <c:v>0.929824561403509</c:v>
                </c:pt>
                <c:pt idx="6351">
                  <c:v>0.929851909586906</c:v>
                </c:pt>
                <c:pt idx="6352">
                  <c:v>0.92990239574090505</c:v>
                </c:pt>
                <c:pt idx="6353">
                  <c:v>0.92992700729927003</c:v>
                </c:pt>
                <c:pt idx="6354">
                  <c:v>0.92993630573248398</c:v>
                </c:pt>
                <c:pt idx="6355">
                  <c:v>0.92996108949416301</c:v>
                </c:pt>
                <c:pt idx="6356">
                  <c:v>0.92996108949416301</c:v>
                </c:pt>
                <c:pt idx="6357">
                  <c:v>0.92998477929984802</c:v>
                </c:pt>
                <c:pt idx="6358">
                  <c:v>0.93</c:v>
                </c:pt>
                <c:pt idx="6359">
                  <c:v>0.93</c:v>
                </c:pt>
                <c:pt idx="6360">
                  <c:v>0.93</c:v>
                </c:pt>
                <c:pt idx="6361">
                  <c:v>0.93004115226337403</c:v>
                </c:pt>
                <c:pt idx="6362">
                  <c:v>0.93006993006993</c:v>
                </c:pt>
                <c:pt idx="6363">
                  <c:v>0.93006993006993</c:v>
                </c:pt>
                <c:pt idx="6364">
                  <c:v>0.93006993006993</c:v>
                </c:pt>
                <c:pt idx="6365">
                  <c:v>0.93009478672985801</c:v>
                </c:pt>
                <c:pt idx="6366">
                  <c:v>0.93023255813953498</c:v>
                </c:pt>
                <c:pt idx="6367">
                  <c:v>0.93030303030302997</c:v>
                </c:pt>
                <c:pt idx="6368">
                  <c:v>0.93034825870646798</c:v>
                </c:pt>
                <c:pt idx="6369">
                  <c:v>0.930379746835443</c:v>
                </c:pt>
                <c:pt idx="6370">
                  <c:v>0.93039049235993199</c:v>
                </c:pt>
                <c:pt idx="6371">
                  <c:v>0.93039443155452395</c:v>
                </c:pt>
                <c:pt idx="6372">
                  <c:v>0.93040293040292998</c:v>
                </c:pt>
                <c:pt idx="6373">
                  <c:v>0.93044822256568804</c:v>
                </c:pt>
                <c:pt idx="6374">
                  <c:v>0.93045112781954897</c:v>
                </c:pt>
                <c:pt idx="6375">
                  <c:v>0.93047034764826198</c:v>
                </c:pt>
                <c:pt idx="6376">
                  <c:v>0.93047696038803596</c:v>
                </c:pt>
                <c:pt idx="6377">
                  <c:v>0.93055555555555602</c:v>
                </c:pt>
                <c:pt idx="6378">
                  <c:v>0.93055555555555602</c:v>
                </c:pt>
                <c:pt idx="6379">
                  <c:v>0.93061224489795902</c:v>
                </c:pt>
                <c:pt idx="6380">
                  <c:v>0.93062200956937802</c:v>
                </c:pt>
                <c:pt idx="6381">
                  <c:v>0.93068181818181805</c:v>
                </c:pt>
                <c:pt idx="6382">
                  <c:v>0.93069694596710995</c:v>
                </c:pt>
                <c:pt idx="6383">
                  <c:v>0.930761622156281</c:v>
                </c:pt>
                <c:pt idx="6384">
                  <c:v>0.93083683607183798</c:v>
                </c:pt>
                <c:pt idx="6385">
                  <c:v>0.930851063829787</c:v>
                </c:pt>
                <c:pt idx="6386">
                  <c:v>0.930851063829787</c:v>
                </c:pt>
                <c:pt idx="6387">
                  <c:v>0.93096446700507596</c:v>
                </c:pt>
                <c:pt idx="6388">
                  <c:v>0.93099415204678404</c:v>
                </c:pt>
                <c:pt idx="6389">
                  <c:v>0.931034482758621</c:v>
                </c:pt>
                <c:pt idx="6390">
                  <c:v>0.931034482758621</c:v>
                </c:pt>
                <c:pt idx="6391">
                  <c:v>0.931034482758621</c:v>
                </c:pt>
                <c:pt idx="6392">
                  <c:v>0.931034482758621</c:v>
                </c:pt>
                <c:pt idx="6393">
                  <c:v>0.931034482758621</c:v>
                </c:pt>
                <c:pt idx="6394">
                  <c:v>0.931034482758621</c:v>
                </c:pt>
                <c:pt idx="6395">
                  <c:v>0.931034482758621</c:v>
                </c:pt>
                <c:pt idx="6396">
                  <c:v>0.93105235873509595</c:v>
                </c:pt>
                <c:pt idx="6397">
                  <c:v>0.93108298171589299</c:v>
                </c:pt>
                <c:pt idx="6398">
                  <c:v>0.93111366245694605</c:v>
                </c:pt>
                <c:pt idx="6399">
                  <c:v>0.93114754098360597</c:v>
                </c:pt>
                <c:pt idx="6400">
                  <c:v>0.93117408906882604</c:v>
                </c:pt>
                <c:pt idx="6401">
                  <c:v>0.93125000000000002</c:v>
                </c:pt>
                <c:pt idx="6402">
                  <c:v>0.93129770992366401</c:v>
                </c:pt>
                <c:pt idx="6403">
                  <c:v>0.93133047210300401</c:v>
                </c:pt>
                <c:pt idx="6404">
                  <c:v>0.93133802816901401</c:v>
                </c:pt>
                <c:pt idx="6405">
                  <c:v>0.93135245901639296</c:v>
                </c:pt>
                <c:pt idx="6406">
                  <c:v>0.93137254901960798</c:v>
                </c:pt>
                <c:pt idx="6407">
                  <c:v>0.93144208037825105</c:v>
                </c:pt>
                <c:pt idx="6408">
                  <c:v>0.93146417445482899</c:v>
                </c:pt>
                <c:pt idx="6409">
                  <c:v>0.931506849315068</c:v>
                </c:pt>
                <c:pt idx="6410">
                  <c:v>0.931506849315068</c:v>
                </c:pt>
                <c:pt idx="6411">
                  <c:v>0.931506849315068</c:v>
                </c:pt>
                <c:pt idx="6412">
                  <c:v>0.93154034229828797</c:v>
                </c:pt>
                <c:pt idx="6413">
                  <c:v>0.93157894736842095</c:v>
                </c:pt>
                <c:pt idx="6414">
                  <c:v>0.93157894736842095</c:v>
                </c:pt>
                <c:pt idx="6415">
                  <c:v>0.93170042392840302</c:v>
                </c:pt>
                <c:pt idx="6416">
                  <c:v>0.931707317073171</c:v>
                </c:pt>
                <c:pt idx="6417">
                  <c:v>0.93171188026192697</c:v>
                </c:pt>
                <c:pt idx="6418">
                  <c:v>0.93178973717146396</c:v>
                </c:pt>
                <c:pt idx="6419">
                  <c:v>0.93181818181818199</c:v>
                </c:pt>
                <c:pt idx="6420">
                  <c:v>0.93190554640307499</c:v>
                </c:pt>
                <c:pt idx="6421">
                  <c:v>0.93191489361702096</c:v>
                </c:pt>
                <c:pt idx="6422">
                  <c:v>0.931956257594168</c:v>
                </c:pt>
                <c:pt idx="6423">
                  <c:v>0.93209876543209902</c:v>
                </c:pt>
                <c:pt idx="6424">
                  <c:v>0.93211009174311898</c:v>
                </c:pt>
                <c:pt idx="6425">
                  <c:v>0.93215739484396198</c:v>
                </c:pt>
                <c:pt idx="6426">
                  <c:v>0.93217391304347796</c:v>
                </c:pt>
                <c:pt idx="6427">
                  <c:v>0.93220338983050799</c:v>
                </c:pt>
                <c:pt idx="6428">
                  <c:v>0.93220338983050799</c:v>
                </c:pt>
                <c:pt idx="6429">
                  <c:v>0.93220338983050799</c:v>
                </c:pt>
                <c:pt idx="6430">
                  <c:v>0.93233082706766901</c:v>
                </c:pt>
                <c:pt idx="6431">
                  <c:v>0.93235039028621003</c:v>
                </c:pt>
                <c:pt idx="6432">
                  <c:v>0.93236714975845403</c:v>
                </c:pt>
                <c:pt idx="6433">
                  <c:v>0.93243243243243201</c:v>
                </c:pt>
                <c:pt idx="6434">
                  <c:v>0.93243243243243201</c:v>
                </c:pt>
                <c:pt idx="6435">
                  <c:v>0.93246187363834399</c:v>
                </c:pt>
                <c:pt idx="6436">
                  <c:v>0.93248945147679296</c:v>
                </c:pt>
                <c:pt idx="6437">
                  <c:v>0.93259557344064403</c:v>
                </c:pt>
                <c:pt idx="6438">
                  <c:v>0.93271221532091098</c:v>
                </c:pt>
                <c:pt idx="6439">
                  <c:v>0.93274988484569299</c:v>
                </c:pt>
                <c:pt idx="6440">
                  <c:v>0.932909196067091</c:v>
                </c:pt>
                <c:pt idx="6441">
                  <c:v>0.93296089385474901</c:v>
                </c:pt>
                <c:pt idx="6442">
                  <c:v>0.93296853625170995</c:v>
                </c:pt>
                <c:pt idx="6443">
                  <c:v>0.93298969072164895</c:v>
                </c:pt>
                <c:pt idx="6444">
                  <c:v>0.93309222423146498</c:v>
                </c:pt>
                <c:pt idx="6445">
                  <c:v>0.93311036789297697</c:v>
                </c:pt>
                <c:pt idx="6446">
                  <c:v>0.93333333333333302</c:v>
                </c:pt>
                <c:pt idx="6447">
                  <c:v>0.93333333333333302</c:v>
                </c:pt>
                <c:pt idx="6448">
                  <c:v>0.93333333333333302</c:v>
                </c:pt>
                <c:pt idx="6449">
                  <c:v>0.93333333333333302</c:v>
                </c:pt>
                <c:pt idx="6450">
                  <c:v>0.93333333333333302</c:v>
                </c:pt>
                <c:pt idx="6451">
                  <c:v>0.93333333333333302</c:v>
                </c:pt>
                <c:pt idx="6452">
                  <c:v>0.93333333333333302</c:v>
                </c:pt>
                <c:pt idx="6453">
                  <c:v>0.93333333333333302</c:v>
                </c:pt>
                <c:pt idx="6454">
                  <c:v>0.93333333333333302</c:v>
                </c:pt>
                <c:pt idx="6455">
                  <c:v>0.93344425956738797</c:v>
                </c:pt>
                <c:pt idx="6456">
                  <c:v>0.933447098976109</c:v>
                </c:pt>
                <c:pt idx="6457">
                  <c:v>0.93346007604562697</c:v>
                </c:pt>
                <c:pt idx="6458">
                  <c:v>0.93351800554016595</c:v>
                </c:pt>
                <c:pt idx="6459">
                  <c:v>0.93353474320241703</c:v>
                </c:pt>
                <c:pt idx="6460">
                  <c:v>0.93357015985790404</c:v>
                </c:pt>
                <c:pt idx="6461">
                  <c:v>0.93359375</c:v>
                </c:pt>
                <c:pt idx="6462">
                  <c:v>0.93372216330859004</c:v>
                </c:pt>
                <c:pt idx="6463">
                  <c:v>0.93373493975903599</c:v>
                </c:pt>
                <c:pt idx="6464">
                  <c:v>0.93377483443708598</c:v>
                </c:pt>
                <c:pt idx="6465">
                  <c:v>0.93385214007782102</c:v>
                </c:pt>
                <c:pt idx="6466">
                  <c:v>0.93388429752066104</c:v>
                </c:pt>
                <c:pt idx="6467">
                  <c:v>0.93396226415094297</c:v>
                </c:pt>
                <c:pt idx="6468">
                  <c:v>0.93396226415094297</c:v>
                </c:pt>
                <c:pt idx="6469">
                  <c:v>0.93410852713178305</c:v>
                </c:pt>
                <c:pt idx="6470">
                  <c:v>0.93413173652694603</c:v>
                </c:pt>
                <c:pt idx="6471">
                  <c:v>0.93417721518987296</c:v>
                </c:pt>
                <c:pt idx="6472">
                  <c:v>0.93421052631578905</c:v>
                </c:pt>
                <c:pt idx="6473">
                  <c:v>0.93435340572556802</c:v>
                </c:pt>
                <c:pt idx="6474">
                  <c:v>0.93444730077120797</c:v>
                </c:pt>
                <c:pt idx="6475">
                  <c:v>0.934579439252336</c:v>
                </c:pt>
                <c:pt idx="6476">
                  <c:v>0.934579439252336</c:v>
                </c:pt>
                <c:pt idx="6477">
                  <c:v>0.93459915611814304</c:v>
                </c:pt>
                <c:pt idx="6478">
                  <c:v>0.93466424682395599</c:v>
                </c:pt>
                <c:pt idx="6479">
                  <c:v>0.93473684210526298</c:v>
                </c:pt>
                <c:pt idx="6480">
                  <c:v>0.934782608695652</c:v>
                </c:pt>
                <c:pt idx="6481">
                  <c:v>0.934782608695652</c:v>
                </c:pt>
                <c:pt idx="6482">
                  <c:v>0.934782608695652</c:v>
                </c:pt>
                <c:pt idx="6483">
                  <c:v>0.934782608695652</c:v>
                </c:pt>
                <c:pt idx="6484">
                  <c:v>0.93482142857142903</c:v>
                </c:pt>
                <c:pt idx="6485">
                  <c:v>0.93483709273183002</c:v>
                </c:pt>
                <c:pt idx="6486">
                  <c:v>0.93483709273183002</c:v>
                </c:pt>
                <c:pt idx="6487">
                  <c:v>0.93491124260354996</c:v>
                </c:pt>
                <c:pt idx="6488">
                  <c:v>0.93495934959349603</c:v>
                </c:pt>
                <c:pt idx="6489">
                  <c:v>0.93496801705756905</c:v>
                </c:pt>
                <c:pt idx="6490">
                  <c:v>0.93506493506493504</c:v>
                </c:pt>
                <c:pt idx="6491">
                  <c:v>0.93517534537725799</c:v>
                </c:pt>
                <c:pt idx="6492">
                  <c:v>0.93522267206477705</c:v>
                </c:pt>
                <c:pt idx="6493">
                  <c:v>0.93532684283727396</c:v>
                </c:pt>
                <c:pt idx="6494">
                  <c:v>0.93533902110462497</c:v>
                </c:pt>
                <c:pt idx="6495">
                  <c:v>0.93534482758620696</c:v>
                </c:pt>
                <c:pt idx="6496">
                  <c:v>0.93538301198540896</c:v>
                </c:pt>
                <c:pt idx="6497">
                  <c:v>0.93548387096774199</c:v>
                </c:pt>
                <c:pt idx="6498">
                  <c:v>0.93548387096774199</c:v>
                </c:pt>
                <c:pt idx="6499">
                  <c:v>0.93556701030927802</c:v>
                </c:pt>
                <c:pt idx="6500">
                  <c:v>0.935606060606061</c:v>
                </c:pt>
                <c:pt idx="6501">
                  <c:v>0.935622317596567</c:v>
                </c:pt>
                <c:pt idx="6502">
                  <c:v>0.93571428571428605</c:v>
                </c:pt>
                <c:pt idx="6503">
                  <c:v>0.93572084481175399</c:v>
                </c:pt>
                <c:pt idx="6504">
                  <c:v>0.93574958813838505</c:v>
                </c:pt>
                <c:pt idx="6505">
                  <c:v>0.93577981651376096</c:v>
                </c:pt>
                <c:pt idx="6506">
                  <c:v>0.93589743589743601</c:v>
                </c:pt>
                <c:pt idx="6507">
                  <c:v>0.93589743589743601</c:v>
                </c:pt>
                <c:pt idx="6508">
                  <c:v>0.93595041322314099</c:v>
                </c:pt>
                <c:pt idx="6509">
                  <c:v>0.93604651162790697</c:v>
                </c:pt>
                <c:pt idx="6510">
                  <c:v>0.93604651162790697</c:v>
                </c:pt>
                <c:pt idx="6511">
                  <c:v>0.93609022556390997</c:v>
                </c:pt>
                <c:pt idx="6512">
                  <c:v>0.93617021276595702</c:v>
                </c:pt>
                <c:pt idx="6513">
                  <c:v>0.93617021276595702</c:v>
                </c:pt>
                <c:pt idx="6514">
                  <c:v>0.93617021276595702</c:v>
                </c:pt>
                <c:pt idx="6515">
                  <c:v>0.93617021276595702</c:v>
                </c:pt>
                <c:pt idx="6516">
                  <c:v>0.93619142572283198</c:v>
                </c:pt>
                <c:pt idx="6517">
                  <c:v>0.93619246861924699</c:v>
                </c:pt>
                <c:pt idx="6518">
                  <c:v>0.93631669535284001</c:v>
                </c:pt>
                <c:pt idx="6519">
                  <c:v>0.93635915145535298</c:v>
                </c:pt>
                <c:pt idx="6520">
                  <c:v>0.93637846655791201</c:v>
                </c:pt>
                <c:pt idx="6521">
                  <c:v>0.93640167364016702</c:v>
                </c:pt>
                <c:pt idx="6522">
                  <c:v>0.93641618497109802</c:v>
                </c:pt>
                <c:pt idx="6523">
                  <c:v>0.93644859813084103</c:v>
                </c:pt>
                <c:pt idx="6524">
                  <c:v>0.93650793650793596</c:v>
                </c:pt>
                <c:pt idx="6525">
                  <c:v>0.93650793650793596</c:v>
                </c:pt>
                <c:pt idx="6526">
                  <c:v>0.93653974615898505</c:v>
                </c:pt>
                <c:pt idx="6527">
                  <c:v>0.93653974615898505</c:v>
                </c:pt>
                <c:pt idx="6528">
                  <c:v>0.93654822335025401</c:v>
                </c:pt>
                <c:pt idx="6529">
                  <c:v>0.93657505285412301</c:v>
                </c:pt>
                <c:pt idx="6530">
                  <c:v>0.936594202898551</c:v>
                </c:pt>
                <c:pt idx="6531">
                  <c:v>0.93660531697341498</c:v>
                </c:pt>
                <c:pt idx="6532">
                  <c:v>0.93665158371040702</c:v>
                </c:pt>
                <c:pt idx="6533">
                  <c:v>0.93670033670033703</c:v>
                </c:pt>
                <c:pt idx="6534">
                  <c:v>0.936708860759494</c:v>
                </c:pt>
                <c:pt idx="6535">
                  <c:v>0.936708860759494</c:v>
                </c:pt>
                <c:pt idx="6536">
                  <c:v>0.93678160919540199</c:v>
                </c:pt>
                <c:pt idx="6537">
                  <c:v>0.93679012345679002</c:v>
                </c:pt>
                <c:pt idx="6538">
                  <c:v>0.93681917211329002</c:v>
                </c:pt>
                <c:pt idx="6539">
                  <c:v>0.93693693693693703</c:v>
                </c:pt>
                <c:pt idx="6540">
                  <c:v>0.93694288544074</c:v>
                </c:pt>
                <c:pt idx="6541">
                  <c:v>0.93702497285559205</c:v>
                </c:pt>
                <c:pt idx="6542">
                  <c:v>0.93708293612964699</c:v>
                </c:pt>
                <c:pt idx="6543">
                  <c:v>0.93709327548806898</c:v>
                </c:pt>
                <c:pt idx="6544">
                  <c:v>0.93710691823899395</c:v>
                </c:pt>
                <c:pt idx="6545">
                  <c:v>0.93711180124223603</c:v>
                </c:pt>
                <c:pt idx="6546">
                  <c:v>0.937242798353909</c:v>
                </c:pt>
                <c:pt idx="6547">
                  <c:v>0.93726474278544503</c:v>
                </c:pt>
                <c:pt idx="6548">
                  <c:v>0.93729189789123202</c:v>
                </c:pt>
                <c:pt idx="6549">
                  <c:v>0.93741496598639396</c:v>
                </c:pt>
                <c:pt idx="6550">
                  <c:v>0.9375</c:v>
                </c:pt>
                <c:pt idx="6551">
                  <c:v>0.9375</c:v>
                </c:pt>
                <c:pt idx="6552">
                  <c:v>0.9375</c:v>
                </c:pt>
                <c:pt idx="6553">
                  <c:v>0.9375</c:v>
                </c:pt>
                <c:pt idx="6554">
                  <c:v>0.9375</c:v>
                </c:pt>
                <c:pt idx="6555">
                  <c:v>0.9375</c:v>
                </c:pt>
                <c:pt idx="6556">
                  <c:v>0.93760539629005102</c:v>
                </c:pt>
                <c:pt idx="6557">
                  <c:v>0.93762575452716301</c:v>
                </c:pt>
                <c:pt idx="6558">
                  <c:v>0.93766696349065004</c:v>
                </c:pt>
                <c:pt idx="6559">
                  <c:v>0.93770491803278699</c:v>
                </c:pt>
                <c:pt idx="6560">
                  <c:v>0.93772893772893795</c:v>
                </c:pt>
                <c:pt idx="6561">
                  <c:v>0.93774319066147904</c:v>
                </c:pt>
                <c:pt idx="6562">
                  <c:v>0.93779904306220097</c:v>
                </c:pt>
                <c:pt idx="6563">
                  <c:v>0.93782383419689097</c:v>
                </c:pt>
                <c:pt idx="6564">
                  <c:v>0.93788819875776397</c:v>
                </c:pt>
                <c:pt idx="6565">
                  <c:v>0.93808630393996195</c:v>
                </c:pt>
                <c:pt idx="6566">
                  <c:v>0.93812838360402195</c:v>
                </c:pt>
                <c:pt idx="6567">
                  <c:v>0.93814432989690699</c:v>
                </c:pt>
                <c:pt idx="6568">
                  <c:v>0.93814432989690699</c:v>
                </c:pt>
                <c:pt idx="6569">
                  <c:v>0.93814432989690699</c:v>
                </c:pt>
                <c:pt idx="6570">
                  <c:v>0.93819334389857401</c:v>
                </c:pt>
                <c:pt idx="6571">
                  <c:v>0.93844696969696995</c:v>
                </c:pt>
                <c:pt idx="6572">
                  <c:v>0.93846153846153801</c:v>
                </c:pt>
                <c:pt idx="6573">
                  <c:v>0.93846153846153801</c:v>
                </c:pt>
                <c:pt idx="6574">
                  <c:v>0.93857142857142895</c:v>
                </c:pt>
                <c:pt idx="6575">
                  <c:v>0.93859649122806998</c:v>
                </c:pt>
                <c:pt idx="6576">
                  <c:v>0.93859649122806998</c:v>
                </c:pt>
                <c:pt idx="6577">
                  <c:v>0.93866943866943897</c:v>
                </c:pt>
                <c:pt idx="6578">
                  <c:v>0.93867538838920705</c:v>
                </c:pt>
                <c:pt idx="6579">
                  <c:v>0.93867924528301905</c:v>
                </c:pt>
                <c:pt idx="6580">
                  <c:v>0.93881118881118897</c:v>
                </c:pt>
                <c:pt idx="6581">
                  <c:v>0.93882978723404298</c:v>
                </c:pt>
                <c:pt idx="6582">
                  <c:v>0.93884892086330896</c:v>
                </c:pt>
                <c:pt idx="6583">
                  <c:v>0.938856889676562</c:v>
                </c:pt>
                <c:pt idx="6584">
                  <c:v>0.93887775551102204</c:v>
                </c:pt>
                <c:pt idx="6585">
                  <c:v>0.93888166449934995</c:v>
                </c:pt>
                <c:pt idx="6586">
                  <c:v>0.93908629441624403</c:v>
                </c:pt>
                <c:pt idx="6587">
                  <c:v>0.93915040183696896</c:v>
                </c:pt>
                <c:pt idx="6588">
                  <c:v>0.93915343915343896</c:v>
                </c:pt>
                <c:pt idx="6589">
                  <c:v>0.93924050632911404</c:v>
                </c:pt>
                <c:pt idx="6590">
                  <c:v>0.93925588458618103</c:v>
                </c:pt>
                <c:pt idx="6591">
                  <c:v>0.93928571428571395</c:v>
                </c:pt>
                <c:pt idx="6592">
                  <c:v>0.939393939393939</c:v>
                </c:pt>
                <c:pt idx="6593">
                  <c:v>0.939393939393939</c:v>
                </c:pt>
                <c:pt idx="6594">
                  <c:v>0.939393939393939</c:v>
                </c:pt>
                <c:pt idx="6595">
                  <c:v>0.93941717791410995</c:v>
                </c:pt>
                <c:pt idx="6596">
                  <c:v>0.93944491169049604</c:v>
                </c:pt>
                <c:pt idx="6597">
                  <c:v>0.93945127719962096</c:v>
                </c:pt>
                <c:pt idx="6598">
                  <c:v>0.93948126801152698</c:v>
                </c:pt>
                <c:pt idx="6599">
                  <c:v>0.93954659949622199</c:v>
                </c:pt>
                <c:pt idx="6600">
                  <c:v>0.93955362678239296</c:v>
                </c:pt>
                <c:pt idx="6601">
                  <c:v>0.93957115009746595</c:v>
                </c:pt>
                <c:pt idx="6602">
                  <c:v>0.93957115009746595</c:v>
                </c:pt>
                <c:pt idx="6603">
                  <c:v>0.93965517241379304</c:v>
                </c:pt>
                <c:pt idx="6604">
                  <c:v>0.93965517241379304</c:v>
                </c:pt>
                <c:pt idx="6605">
                  <c:v>0.93966817496229305</c:v>
                </c:pt>
                <c:pt idx="6606">
                  <c:v>0.93975597356380303</c:v>
                </c:pt>
                <c:pt idx="6607">
                  <c:v>0.93984962406015005</c:v>
                </c:pt>
                <c:pt idx="6608">
                  <c:v>0.939866369710468</c:v>
                </c:pt>
                <c:pt idx="6609">
                  <c:v>0.94005847953216404</c:v>
                </c:pt>
                <c:pt idx="6610">
                  <c:v>0.94007490636704105</c:v>
                </c:pt>
                <c:pt idx="6611">
                  <c:v>0.94018691588784997</c:v>
                </c:pt>
                <c:pt idx="6612">
                  <c:v>0.94036061026352302</c:v>
                </c:pt>
                <c:pt idx="6613">
                  <c:v>0.94042163153070601</c:v>
                </c:pt>
                <c:pt idx="6614">
                  <c:v>0.94061650045330902</c:v>
                </c:pt>
                <c:pt idx="6615">
                  <c:v>0.94067796610169496</c:v>
                </c:pt>
                <c:pt idx="6616">
                  <c:v>0.94078398665554597</c:v>
                </c:pt>
                <c:pt idx="6617">
                  <c:v>0.94079794079794099</c:v>
                </c:pt>
                <c:pt idx="6618">
                  <c:v>0.94080068143100504</c:v>
                </c:pt>
                <c:pt idx="6619">
                  <c:v>0.94090909090909103</c:v>
                </c:pt>
                <c:pt idx="6620">
                  <c:v>0.94091580502215699</c:v>
                </c:pt>
                <c:pt idx="6621">
                  <c:v>0.94097222222222199</c:v>
                </c:pt>
                <c:pt idx="6622">
                  <c:v>0.94112967382657098</c:v>
                </c:pt>
                <c:pt idx="6623">
                  <c:v>0.94117647058823495</c:v>
                </c:pt>
                <c:pt idx="6624">
                  <c:v>0.94117647058823495</c:v>
                </c:pt>
                <c:pt idx="6625">
                  <c:v>0.94117647058823495</c:v>
                </c:pt>
                <c:pt idx="6626">
                  <c:v>0.94117647058823495</c:v>
                </c:pt>
                <c:pt idx="6627">
                  <c:v>0.94140625</c:v>
                </c:pt>
                <c:pt idx="6628">
                  <c:v>0.94144838212634796</c:v>
                </c:pt>
                <c:pt idx="6629">
                  <c:v>0.94148244473342002</c:v>
                </c:pt>
                <c:pt idx="6630">
                  <c:v>0.94161398289326903</c:v>
                </c:pt>
                <c:pt idx="6631">
                  <c:v>0.94163048721659404</c:v>
                </c:pt>
                <c:pt idx="6632">
                  <c:v>0.94168842471714498</c:v>
                </c:pt>
                <c:pt idx="6633">
                  <c:v>0.94171779141104295</c:v>
                </c:pt>
                <c:pt idx="6634">
                  <c:v>0.94172932330827097</c:v>
                </c:pt>
                <c:pt idx="6635">
                  <c:v>0.94183445190156601</c:v>
                </c:pt>
                <c:pt idx="6636">
                  <c:v>0.94183445190156601</c:v>
                </c:pt>
                <c:pt idx="6637">
                  <c:v>0.94184720638540498</c:v>
                </c:pt>
                <c:pt idx="6638">
                  <c:v>0.94186046511627897</c:v>
                </c:pt>
                <c:pt idx="6639">
                  <c:v>0.94186046511627897</c:v>
                </c:pt>
                <c:pt idx="6640">
                  <c:v>0.94197952218430003</c:v>
                </c:pt>
                <c:pt idx="6641">
                  <c:v>0.94202898550724601</c:v>
                </c:pt>
                <c:pt idx="6642">
                  <c:v>0.94204685573366198</c:v>
                </c:pt>
                <c:pt idx="6643">
                  <c:v>0.942105263157895</c:v>
                </c:pt>
                <c:pt idx="6644">
                  <c:v>0.942105263157895</c:v>
                </c:pt>
                <c:pt idx="6645">
                  <c:v>0.942105263157895</c:v>
                </c:pt>
                <c:pt idx="6646">
                  <c:v>0.94222222222222196</c:v>
                </c:pt>
                <c:pt idx="6647">
                  <c:v>0.94224598930481296</c:v>
                </c:pt>
                <c:pt idx="6648">
                  <c:v>0.94230769230769196</c:v>
                </c:pt>
                <c:pt idx="6649">
                  <c:v>0.94238683127571998</c:v>
                </c:pt>
                <c:pt idx="6650">
                  <c:v>0.94239130434782603</c:v>
                </c:pt>
                <c:pt idx="6651">
                  <c:v>0.94239631336405505</c:v>
                </c:pt>
                <c:pt idx="6652">
                  <c:v>0.94241842610364701</c:v>
                </c:pt>
                <c:pt idx="6653">
                  <c:v>0.94244604316546798</c:v>
                </c:pt>
                <c:pt idx="6654">
                  <c:v>0.94248884481903805</c:v>
                </c:pt>
                <c:pt idx="6655">
                  <c:v>0.94251012145749002</c:v>
                </c:pt>
                <c:pt idx="6656">
                  <c:v>0.94256756756756799</c:v>
                </c:pt>
                <c:pt idx="6657">
                  <c:v>0.94262295081967196</c:v>
                </c:pt>
                <c:pt idx="6658">
                  <c:v>0.94262295081967196</c:v>
                </c:pt>
                <c:pt idx="6659">
                  <c:v>0.94262295081967196</c:v>
                </c:pt>
                <c:pt idx="6660">
                  <c:v>0.94272076372314995</c:v>
                </c:pt>
                <c:pt idx="6661">
                  <c:v>0.94283995186522296</c:v>
                </c:pt>
                <c:pt idx="6662">
                  <c:v>0.94285714285714295</c:v>
                </c:pt>
                <c:pt idx="6663">
                  <c:v>0.94285714285714295</c:v>
                </c:pt>
                <c:pt idx="6664">
                  <c:v>0.94285714285714295</c:v>
                </c:pt>
                <c:pt idx="6665">
                  <c:v>0.94285714285714295</c:v>
                </c:pt>
                <c:pt idx="6666">
                  <c:v>0.94294605809128595</c:v>
                </c:pt>
                <c:pt idx="6667">
                  <c:v>0.94295692665890596</c:v>
                </c:pt>
                <c:pt idx="6668">
                  <c:v>0.94299287410926402</c:v>
                </c:pt>
                <c:pt idx="6669">
                  <c:v>0.94300518134714995</c:v>
                </c:pt>
                <c:pt idx="6670">
                  <c:v>0.94312306101344401</c:v>
                </c:pt>
                <c:pt idx="6671">
                  <c:v>0.94318181818181801</c:v>
                </c:pt>
                <c:pt idx="6672">
                  <c:v>0.94321766561514198</c:v>
                </c:pt>
                <c:pt idx="6673">
                  <c:v>0.94328517924023503</c:v>
                </c:pt>
                <c:pt idx="6674">
                  <c:v>0.94334650856390001</c:v>
                </c:pt>
                <c:pt idx="6675">
                  <c:v>0.94339622641509402</c:v>
                </c:pt>
                <c:pt idx="6676">
                  <c:v>0.94354838709677402</c:v>
                </c:pt>
                <c:pt idx="6677">
                  <c:v>0.94357976653696496</c:v>
                </c:pt>
                <c:pt idx="6678">
                  <c:v>0.94360902255639101</c:v>
                </c:pt>
                <c:pt idx="6679">
                  <c:v>0.94364754098360704</c:v>
                </c:pt>
                <c:pt idx="6680">
                  <c:v>0.94366197183098599</c:v>
                </c:pt>
                <c:pt idx="6681">
                  <c:v>0.94373401534526902</c:v>
                </c:pt>
                <c:pt idx="6682">
                  <c:v>0.94382022471910099</c:v>
                </c:pt>
                <c:pt idx="6683">
                  <c:v>0.94413407821229001</c:v>
                </c:pt>
                <c:pt idx="6684">
                  <c:v>0.94413750767341897</c:v>
                </c:pt>
                <c:pt idx="6685">
                  <c:v>0.94419642857142905</c:v>
                </c:pt>
                <c:pt idx="6686">
                  <c:v>0.94421052631578894</c:v>
                </c:pt>
                <c:pt idx="6687">
                  <c:v>0.94423511680482297</c:v>
                </c:pt>
                <c:pt idx="6688">
                  <c:v>0.94431903686982699</c:v>
                </c:pt>
                <c:pt idx="6689">
                  <c:v>0.94438264738598399</c:v>
                </c:pt>
                <c:pt idx="6690">
                  <c:v>0.94444444444444398</c:v>
                </c:pt>
                <c:pt idx="6691">
                  <c:v>0.94444444444444398</c:v>
                </c:pt>
                <c:pt idx="6692">
                  <c:v>0.94444444444444398</c:v>
                </c:pt>
                <c:pt idx="6693">
                  <c:v>0.94444444444444398</c:v>
                </c:pt>
                <c:pt idx="6694">
                  <c:v>0.94453781512604995</c:v>
                </c:pt>
                <c:pt idx="6695">
                  <c:v>0.94455066921606101</c:v>
                </c:pt>
                <c:pt idx="6696">
                  <c:v>0.94455852156057496</c:v>
                </c:pt>
                <c:pt idx="6697">
                  <c:v>0.94468085106383004</c:v>
                </c:pt>
                <c:pt idx="6698">
                  <c:v>0.94478527607361995</c:v>
                </c:pt>
                <c:pt idx="6699">
                  <c:v>0.94480519480519498</c:v>
                </c:pt>
                <c:pt idx="6700">
                  <c:v>0.94488188976377896</c:v>
                </c:pt>
                <c:pt idx="6701">
                  <c:v>0.94495412844036697</c:v>
                </c:pt>
                <c:pt idx="6702">
                  <c:v>0.94499017681728903</c:v>
                </c:pt>
                <c:pt idx="6703">
                  <c:v>0.94499294781382204</c:v>
                </c:pt>
                <c:pt idx="6704">
                  <c:v>0.94501718213058405</c:v>
                </c:pt>
                <c:pt idx="6705">
                  <c:v>0.94505981391227301</c:v>
                </c:pt>
                <c:pt idx="6706">
                  <c:v>0.94514767932489396</c:v>
                </c:pt>
                <c:pt idx="6707">
                  <c:v>0.94520547945205502</c:v>
                </c:pt>
                <c:pt idx="6708">
                  <c:v>0.94520547945205502</c:v>
                </c:pt>
                <c:pt idx="6709">
                  <c:v>0.94532947139753798</c:v>
                </c:pt>
                <c:pt idx="6710">
                  <c:v>0.94533762057877802</c:v>
                </c:pt>
                <c:pt idx="6711">
                  <c:v>0.94533762057877802</c:v>
                </c:pt>
                <c:pt idx="6712">
                  <c:v>0.945347119645495</c:v>
                </c:pt>
                <c:pt idx="6713">
                  <c:v>0.94541484716157198</c:v>
                </c:pt>
                <c:pt idx="6714">
                  <c:v>0.94545454545454499</c:v>
                </c:pt>
                <c:pt idx="6715">
                  <c:v>0.94552529182879397</c:v>
                </c:pt>
                <c:pt idx="6716">
                  <c:v>0.94565217391304301</c:v>
                </c:pt>
                <c:pt idx="6717">
                  <c:v>0.94565217391304301</c:v>
                </c:pt>
                <c:pt idx="6718">
                  <c:v>0.94565217391304301</c:v>
                </c:pt>
                <c:pt idx="6719">
                  <c:v>0.94565217391304301</c:v>
                </c:pt>
                <c:pt idx="6720">
                  <c:v>0.94568690095846597</c:v>
                </c:pt>
                <c:pt idx="6721">
                  <c:v>0.94569536423841105</c:v>
                </c:pt>
                <c:pt idx="6722">
                  <c:v>0.94570135746606299</c:v>
                </c:pt>
                <c:pt idx="6723">
                  <c:v>0.94573643410852704</c:v>
                </c:pt>
                <c:pt idx="6724">
                  <c:v>0.94573643410852704</c:v>
                </c:pt>
                <c:pt idx="6725">
                  <c:v>0.94577006507592198</c:v>
                </c:pt>
                <c:pt idx="6726">
                  <c:v>0.94587070832044495</c:v>
                </c:pt>
                <c:pt idx="6727">
                  <c:v>0.945887445887446</c:v>
                </c:pt>
                <c:pt idx="6728">
                  <c:v>0.94599999999999995</c:v>
                </c:pt>
                <c:pt idx="6729">
                  <c:v>0.94609557109557096</c:v>
                </c:pt>
                <c:pt idx="6730">
                  <c:v>0.94610778443113797</c:v>
                </c:pt>
                <c:pt idx="6731">
                  <c:v>0.94611271081859305</c:v>
                </c:pt>
                <c:pt idx="6732">
                  <c:v>0.94627383015597899</c:v>
                </c:pt>
                <c:pt idx="6733">
                  <c:v>0.94632768361581898</c:v>
                </c:pt>
                <c:pt idx="6734">
                  <c:v>0.94636678200692004</c:v>
                </c:pt>
                <c:pt idx="6735">
                  <c:v>0.94642188085425205</c:v>
                </c:pt>
                <c:pt idx="6736">
                  <c:v>0.94642857142857095</c:v>
                </c:pt>
                <c:pt idx="6737">
                  <c:v>0.94648829431438097</c:v>
                </c:pt>
                <c:pt idx="6738">
                  <c:v>0.946532999164578</c:v>
                </c:pt>
                <c:pt idx="6739">
                  <c:v>0.94654654654654702</c:v>
                </c:pt>
                <c:pt idx="6740">
                  <c:v>0.94661458333333304</c:v>
                </c:pt>
                <c:pt idx="6741">
                  <c:v>0.94667913938259995</c:v>
                </c:pt>
                <c:pt idx="6742">
                  <c:v>0.94669117647058798</c:v>
                </c:pt>
                <c:pt idx="6743">
                  <c:v>0.94678492239467804</c:v>
                </c:pt>
                <c:pt idx="6744">
                  <c:v>0.94680851063829796</c:v>
                </c:pt>
                <c:pt idx="6745">
                  <c:v>0.94682675814751305</c:v>
                </c:pt>
                <c:pt idx="6746">
                  <c:v>0.94685990338164205</c:v>
                </c:pt>
                <c:pt idx="6747">
                  <c:v>0.94687500000000002</c:v>
                </c:pt>
                <c:pt idx="6748">
                  <c:v>0.946902654867257</c:v>
                </c:pt>
                <c:pt idx="6749">
                  <c:v>0.94696969696969702</c:v>
                </c:pt>
                <c:pt idx="6750">
                  <c:v>0.94698354661791595</c:v>
                </c:pt>
                <c:pt idx="6751">
                  <c:v>0.94708994708994698</c:v>
                </c:pt>
                <c:pt idx="6752">
                  <c:v>0.94713656387665202</c:v>
                </c:pt>
                <c:pt idx="6753">
                  <c:v>0.94727891156462596</c:v>
                </c:pt>
                <c:pt idx="6754">
                  <c:v>0.94730077120822598</c:v>
                </c:pt>
                <c:pt idx="6755">
                  <c:v>0.94730238393977395</c:v>
                </c:pt>
                <c:pt idx="6756">
                  <c:v>0.94736842105263097</c:v>
                </c:pt>
                <c:pt idx="6757">
                  <c:v>0.94736842105263097</c:v>
                </c:pt>
                <c:pt idx="6758">
                  <c:v>0.94736842105263097</c:v>
                </c:pt>
                <c:pt idx="6759">
                  <c:v>0.94736842105263097</c:v>
                </c:pt>
                <c:pt idx="6760">
                  <c:v>0.94736842105263097</c:v>
                </c:pt>
                <c:pt idx="6761">
                  <c:v>0.94736842105263097</c:v>
                </c:pt>
                <c:pt idx="6762">
                  <c:v>0.94736842105263097</c:v>
                </c:pt>
                <c:pt idx="6763">
                  <c:v>0.94736842105263097</c:v>
                </c:pt>
                <c:pt idx="6764">
                  <c:v>0.94736842105263097</c:v>
                </c:pt>
                <c:pt idx="6765">
                  <c:v>0.947398843930636</c:v>
                </c:pt>
                <c:pt idx="6766">
                  <c:v>0.94746716697936195</c:v>
                </c:pt>
                <c:pt idx="6767">
                  <c:v>0.947483588621444</c:v>
                </c:pt>
                <c:pt idx="6768">
                  <c:v>0.947483588621444</c:v>
                </c:pt>
                <c:pt idx="6769">
                  <c:v>0.94750656167978997</c:v>
                </c:pt>
                <c:pt idx="6770">
                  <c:v>0.94755244755244805</c:v>
                </c:pt>
                <c:pt idx="6771">
                  <c:v>0.94761904761904803</c:v>
                </c:pt>
                <c:pt idx="6772">
                  <c:v>0.94787644787644798</c:v>
                </c:pt>
                <c:pt idx="6773">
                  <c:v>0.94789579158316595</c:v>
                </c:pt>
                <c:pt idx="6774">
                  <c:v>0.94791666666666696</c:v>
                </c:pt>
                <c:pt idx="6775">
                  <c:v>0.94801910649058696</c:v>
                </c:pt>
                <c:pt idx="6776">
                  <c:v>0.94801980198019797</c:v>
                </c:pt>
                <c:pt idx="6777">
                  <c:v>0.94805194805194803</c:v>
                </c:pt>
                <c:pt idx="6778">
                  <c:v>0.94805194805194803</c:v>
                </c:pt>
                <c:pt idx="6779">
                  <c:v>0.94812680115273795</c:v>
                </c:pt>
                <c:pt idx="6780">
                  <c:v>0.94818652849740903</c:v>
                </c:pt>
                <c:pt idx="6781">
                  <c:v>0.94822006472491904</c:v>
                </c:pt>
                <c:pt idx="6782">
                  <c:v>0.94828990228012999</c:v>
                </c:pt>
                <c:pt idx="6783">
                  <c:v>0.94829024186822297</c:v>
                </c:pt>
                <c:pt idx="6784">
                  <c:v>0.94831013916500995</c:v>
                </c:pt>
                <c:pt idx="6785">
                  <c:v>0.94837476099426399</c:v>
                </c:pt>
                <c:pt idx="6786">
                  <c:v>0.94851794071762896</c:v>
                </c:pt>
                <c:pt idx="6787">
                  <c:v>0.94857142857142895</c:v>
                </c:pt>
                <c:pt idx="6788">
                  <c:v>0.94859813084112199</c:v>
                </c:pt>
                <c:pt idx="6789">
                  <c:v>0.94859813084112199</c:v>
                </c:pt>
                <c:pt idx="6790">
                  <c:v>0.94864048338368601</c:v>
                </c:pt>
                <c:pt idx="6791">
                  <c:v>0.94871794871794901</c:v>
                </c:pt>
                <c:pt idx="6792">
                  <c:v>0.94871794871794901</c:v>
                </c:pt>
                <c:pt idx="6793">
                  <c:v>0.94880546075085304</c:v>
                </c:pt>
                <c:pt idx="6794">
                  <c:v>0.94886363636363602</c:v>
                </c:pt>
                <c:pt idx="6795">
                  <c:v>0.94894561598224203</c:v>
                </c:pt>
                <c:pt idx="6796">
                  <c:v>0.94897959183673497</c:v>
                </c:pt>
                <c:pt idx="6797">
                  <c:v>0.94900221729489997</c:v>
                </c:pt>
                <c:pt idx="6798">
                  <c:v>0.94900221729489997</c:v>
                </c:pt>
                <c:pt idx="6799">
                  <c:v>0.94901470128245202</c:v>
                </c:pt>
                <c:pt idx="6800">
                  <c:v>0.94913294797687897</c:v>
                </c:pt>
                <c:pt idx="6801">
                  <c:v>0.94915254237288105</c:v>
                </c:pt>
                <c:pt idx="6802">
                  <c:v>0.94915693904020704</c:v>
                </c:pt>
                <c:pt idx="6803">
                  <c:v>0.94918330308529897</c:v>
                </c:pt>
                <c:pt idx="6804">
                  <c:v>0.94931506849315095</c:v>
                </c:pt>
                <c:pt idx="6805">
                  <c:v>0.94932432432432401</c:v>
                </c:pt>
                <c:pt idx="6806">
                  <c:v>0.949367088607595</c:v>
                </c:pt>
                <c:pt idx="6807">
                  <c:v>0.94945567651633</c:v>
                </c:pt>
                <c:pt idx="6808">
                  <c:v>0.94949494949494895</c:v>
                </c:pt>
                <c:pt idx="6809">
                  <c:v>0.94953350296861705</c:v>
                </c:pt>
                <c:pt idx="6810">
                  <c:v>0.94955863808322805</c:v>
                </c:pt>
                <c:pt idx="6811">
                  <c:v>0.94964028776978404</c:v>
                </c:pt>
                <c:pt idx="6812">
                  <c:v>0.94977168949771695</c:v>
                </c:pt>
                <c:pt idx="6813">
                  <c:v>0.94986807387862804</c:v>
                </c:pt>
                <c:pt idx="6814">
                  <c:v>0.94992175273865398</c:v>
                </c:pt>
                <c:pt idx="6815">
                  <c:v>0.94993742177722096</c:v>
                </c:pt>
                <c:pt idx="6816">
                  <c:v>0.95</c:v>
                </c:pt>
                <c:pt idx="6817">
                  <c:v>0.95</c:v>
                </c:pt>
                <c:pt idx="6818">
                  <c:v>0.95002630194634397</c:v>
                </c:pt>
                <c:pt idx="6819">
                  <c:v>0.95011600928074202</c:v>
                </c:pt>
                <c:pt idx="6820">
                  <c:v>0.95012531328320804</c:v>
                </c:pt>
                <c:pt idx="6821">
                  <c:v>0.95019157088122597</c:v>
                </c:pt>
                <c:pt idx="6822">
                  <c:v>0.95024077046549005</c:v>
                </c:pt>
                <c:pt idx="6823">
                  <c:v>0.95037453183520604</c:v>
                </c:pt>
                <c:pt idx="6824">
                  <c:v>0.95045500505561198</c:v>
                </c:pt>
                <c:pt idx="6825">
                  <c:v>0.95059880239521</c:v>
                </c:pt>
                <c:pt idx="6826">
                  <c:v>0.95061728395061695</c:v>
                </c:pt>
                <c:pt idx="6827">
                  <c:v>0.95070422535211296</c:v>
                </c:pt>
                <c:pt idx="6828">
                  <c:v>0.95076923076923103</c:v>
                </c:pt>
                <c:pt idx="6829">
                  <c:v>0.95076923076923103</c:v>
                </c:pt>
                <c:pt idx="6830">
                  <c:v>0.95081967213114704</c:v>
                </c:pt>
                <c:pt idx="6831">
                  <c:v>0.95083719273245504</c:v>
                </c:pt>
                <c:pt idx="6832">
                  <c:v>0.95092024539877296</c:v>
                </c:pt>
                <c:pt idx="6833">
                  <c:v>0.95100635593220295</c:v>
                </c:pt>
                <c:pt idx="6834">
                  <c:v>0.95102040816326505</c:v>
                </c:pt>
                <c:pt idx="6835">
                  <c:v>0.95110467222021</c:v>
                </c:pt>
                <c:pt idx="6836">
                  <c:v>0.95111847555923801</c:v>
                </c:pt>
                <c:pt idx="6837">
                  <c:v>0.95121951219512202</c:v>
                </c:pt>
                <c:pt idx="6838">
                  <c:v>0.95121951219512202</c:v>
                </c:pt>
                <c:pt idx="6839">
                  <c:v>0.95123062898814903</c:v>
                </c:pt>
                <c:pt idx="6840">
                  <c:v>0.95126353790613705</c:v>
                </c:pt>
                <c:pt idx="6841">
                  <c:v>0.95128939828080195</c:v>
                </c:pt>
                <c:pt idx="6842">
                  <c:v>0.95135135135135096</c:v>
                </c:pt>
                <c:pt idx="6843">
                  <c:v>0.95141700404858298</c:v>
                </c:pt>
                <c:pt idx="6844">
                  <c:v>0.95157068062827199</c:v>
                </c:pt>
                <c:pt idx="6845">
                  <c:v>0.95161290322580605</c:v>
                </c:pt>
                <c:pt idx="6846">
                  <c:v>0.95163170163170197</c:v>
                </c:pt>
                <c:pt idx="6847">
                  <c:v>0.95167080916873803</c:v>
                </c:pt>
                <c:pt idx="6848">
                  <c:v>0.95169082125603899</c:v>
                </c:pt>
                <c:pt idx="6849">
                  <c:v>0.95169082125603899</c:v>
                </c:pt>
                <c:pt idx="6850">
                  <c:v>0.95170789163722003</c:v>
                </c:pt>
                <c:pt idx="6851">
                  <c:v>0.95184997465788102</c:v>
                </c:pt>
                <c:pt idx="6852">
                  <c:v>0.95185185185185195</c:v>
                </c:pt>
                <c:pt idx="6853">
                  <c:v>0.95190562613430096</c:v>
                </c:pt>
                <c:pt idx="6854">
                  <c:v>0.95217255392310096</c:v>
                </c:pt>
                <c:pt idx="6855">
                  <c:v>0.95232120451693802</c:v>
                </c:pt>
                <c:pt idx="6856">
                  <c:v>0.952380952380952</c:v>
                </c:pt>
                <c:pt idx="6857">
                  <c:v>0.95255074053757505</c:v>
                </c:pt>
                <c:pt idx="6858">
                  <c:v>0.95257563368765297</c:v>
                </c:pt>
                <c:pt idx="6859">
                  <c:v>0.95267489711934195</c:v>
                </c:pt>
                <c:pt idx="6860">
                  <c:v>0.95287187039764398</c:v>
                </c:pt>
                <c:pt idx="6861">
                  <c:v>0.95287356321839101</c:v>
                </c:pt>
                <c:pt idx="6862">
                  <c:v>0.95294117647058796</c:v>
                </c:pt>
                <c:pt idx="6863">
                  <c:v>0.95294117647058796</c:v>
                </c:pt>
                <c:pt idx="6864">
                  <c:v>0.95300751879699197</c:v>
                </c:pt>
                <c:pt idx="6865">
                  <c:v>0.95308552869000396</c:v>
                </c:pt>
                <c:pt idx="6866">
                  <c:v>0.95311572700296698</c:v>
                </c:pt>
                <c:pt idx="6867">
                  <c:v>0.953125</c:v>
                </c:pt>
                <c:pt idx="6868">
                  <c:v>0.95325542570951605</c:v>
                </c:pt>
                <c:pt idx="6869">
                  <c:v>0.95333333333333303</c:v>
                </c:pt>
                <c:pt idx="6870">
                  <c:v>0.95348837209302295</c:v>
                </c:pt>
                <c:pt idx="6871">
                  <c:v>0.95348837209302295</c:v>
                </c:pt>
                <c:pt idx="6872">
                  <c:v>0.95350241545893699</c:v>
                </c:pt>
                <c:pt idx="6873">
                  <c:v>0.95352839931153199</c:v>
                </c:pt>
                <c:pt idx="6874">
                  <c:v>0.95359749739311805</c:v>
                </c:pt>
                <c:pt idx="6875">
                  <c:v>0.95364647713226203</c:v>
                </c:pt>
                <c:pt idx="6876">
                  <c:v>0.95370370370370405</c:v>
                </c:pt>
                <c:pt idx="6877">
                  <c:v>0.95380434782608703</c:v>
                </c:pt>
                <c:pt idx="6878">
                  <c:v>0.95381526104417702</c:v>
                </c:pt>
                <c:pt idx="6879">
                  <c:v>0.95387840670859503</c:v>
                </c:pt>
                <c:pt idx="6880">
                  <c:v>0.95396419437340096</c:v>
                </c:pt>
                <c:pt idx="6881">
                  <c:v>0.95400593471810102</c:v>
                </c:pt>
                <c:pt idx="6882">
                  <c:v>0.95408163265306101</c:v>
                </c:pt>
                <c:pt idx="6883">
                  <c:v>0.95409181636726503</c:v>
                </c:pt>
                <c:pt idx="6884">
                  <c:v>0.95417156286721505</c:v>
                </c:pt>
                <c:pt idx="6885">
                  <c:v>0.95423340961098402</c:v>
                </c:pt>
                <c:pt idx="6886">
                  <c:v>0.95431472081218305</c:v>
                </c:pt>
                <c:pt idx="6887">
                  <c:v>0.95444191343963602</c:v>
                </c:pt>
                <c:pt idx="6888">
                  <c:v>0.95444915254237295</c:v>
                </c:pt>
                <c:pt idx="6889">
                  <c:v>0.95447154471544704</c:v>
                </c:pt>
                <c:pt idx="6890">
                  <c:v>0.95447409733124</c:v>
                </c:pt>
                <c:pt idx="6891">
                  <c:v>0.95452392231170102</c:v>
                </c:pt>
                <c:pt idx="6892">
                  <c:v>0.95454545454545503</c:v>
                </c:pt>
                <c:pt idx="6893">
                  <c:v>0.95454545454545503</c:v>
                </c:pt>
                <c:pt idx="6894">
                  <c:v>0.95461095100864601</c:v>
                </c:pt>
                <c:pt idx="6895">
                  <c:v>0.95470383275261295</c:v>
                </c:pt>
                <c:pt idx="6896">
                  <c:v>0.95476892822025605</c:v>
                </c:pt>
                <c:pt idx="6897">
                  <c:v>0.95486111111111105</c:v>
                </c:pt>
                <c:pt idx="6898">
                  <c:v>0.95499999999999996</c:v>
                </c:pt>
                <c:pt idx="6899">
                  <c:v>0.95504587155963305</c:v>
                </c:pt>
                <c:pt idx="6900">
                  <c:v>0.95522388059701502</c:v>
                </c:pt>
                <c:pt idx="6901">
                  <c:v>0.95522388059701502</c:v>
                </c:pt>
                <c:pt idx="6902">
                  <c:v>0.95522388059701502</c:v>
                </c:pt>
                <c:pt idx="6903">
                  <c:v>0.95536663124335797</c:v>
                </c:pt>
                <c:pt idx="6904">
                  <c:v>0.95543175487465204</c:v>
                </c:pt>
                <c:pt idx="6905">
                  <c:v>0.95551257253384903</c:v>
                </c:pt>
                <c:pt idx="6906">
                  <c:v>0.95551257253384903</c:v>
                </c:pt>
                <c:pt idx="6907">
                  <c:v>0.95555555555555605</c:v>
                </c:pt>
                <c:pt idx="6908">
                  <c:v>0.95555555555555605</c:v>
                </c:pt>
                <c:pt idx="6909">
                  <c:v>0.955570291777188</c:v>
                </c:pt>
                <c:pt idx="6910">
                  <c:v>0.95576619273301699</c:v>
                </c:pt>
                <c:pt idx="6911">
                  <c:v>0.95576707726763699</c:v>
                </c:pt>
                <c:pt idx="6912">
                  <c:v>0.95585996955859998</c:v>
                </c:pt>
                <c:pt idx="6913">
                  <c:v>0.95586808923375399</c:v>
                </c:pt>
                <c:pt idx="6914">
                  <c:v>0.95588235294117596</c:v>
                </c:pt>
                <c:pt idx="6915">
                  <c:v>0.95596755504055597</c:v>
                </c:pt>
                <c:pt idx="6916">
                  <c:v>0.95604395604395598</c:v>
                </c:pt>
                <c:pt idx="6917">
                  <c:v>0.956129032258065</c:v>
                </c:pt>
                <c:pt idx="6918">
                  <c:v>0.95614035087719296</c:v>
                </c:pt>
                <c:pt idx="6919">
                  <c:v>0.95615103532277701</c:v>
                </c:pt>
                <c:pt idx="6920">
                  <c:v>0.95617529880478103</c:v>
                </c:pt>
                <c:pt idx="6921">
                  <c:v>0.95617529880478103</c:v>
                </c:pt>
                <c:pt idx="6922">
                  <c:v>0.95642701525054497</c:v>
                </c:pt>
                <c:pt idx="6923">
                  <c:v>0.95643564356435595</c:v>
                </c:pt>
                <c:pt idx="6924">
                  <c:v>0.95644891122277997</c:v>
                </c:pt>
                <c:pt idx="6925">
                  <c:v>0.95652173913043503</c:v>
                </c:pt>
                <c:pt idx="6926">
                  <c:v>0.95652173913043503</c:v>
                </c:pt>
                <c:pt idx="6927">
                  <c:v>0.95670995670995695</c:v>
                </c:pt>
                <c:pt idx="6928">
                  <c:v>0.95677233429394803</c:v>
                </c:pt>
                <c:pt idx="6929">
                  <c:v>0.95679999999999998</c:v>
                </c:pt>
                <c:pt idx="6930">
                  <c:v>0.95681818181818201</c:v>
                </c:pt>
                <c:pt idx="6931">
                  <c:v>0.95683453237410099</c:v>
                </c:pt>
                <c:pt idx="6932">
                  <c:v>0.95698166431593801</c:v>
                </c:pt>
                <c:pt idx="6933">
                  <c:v>0.95700934579439301</c:v>
                </c:pt>
                <c:pt idx="6934">
                  <c:v>0.95705521472392596</c:v>
                </c:pt>
                <c:pt idx="6935">
                  <c:v>0.95714285714285696</c:v>
                </c:pt>
                <c:pt idx="6936">
                  <c:v>0.95714285714285696</c:v>
                </c:pt>
                <c:pt idx="6937">
                  <c:v>0.95716945996275604</c:v>
                </c:pt>
                <c:pt idx="6938">
                  <c:v>0.95731056563500505</c:v>
                </c:pt>
                <c:pt idx="6939">
                  <c:v>0.95744680851063801</c:v>
                </c:pt>
                <c:pt idx="6940">
                  <c:v>0.95744680851063801</c:v>
                </c:pt>
                <c:pt idx="6941">
                  <c:v>0.95744680851063801</c:v>
                </c:pt>
                <c:pt idx="6942">
                  <c:v>0.95744680851063801</c:v>
                </c:pt>
                <c:pt idx="6943">
                  <c:v>0.95753715498938397</c:v>
                </c:pt>
                <c:pt idx="6944">
                  <c:v>0.95758928571428603</c:v>
                </c:pt>
                <c:pt idx="6945">
                  <c:v>0.95764854614412098</c:v>
                </c:pt>
                <c:pt idx="6946">
                  <c:v>0.95765472312703603</c:v>
                </c:pt>
                <c:pt idx="6947">
                  <c:v>0.95765973826020001</c:v>
                </c:pt>
                <c:pt idx="6948">
                  <c:v>0.95771878072762995</c:v>
                </c:pt>
                <c:pt idx="6949">
                  <c:v>0.95783132530120496</c:v>
                </c:pt>
                <c:pt idx="6950">
                  <c:v>0.95784543325526905</c:v>
                </c:pt>
                <c:pt idx="6951">
                  <c:v>0.95797413793103403</c:v>
                </c:pt>
                <c:pt idx="6952">
                  <c:v>0.95812395309882703</c:v>
                </c:pt>
                <c:pt idx="6953">
                  <c:v>0.95833333333333304</c:v>
                </c:pt>
                <c:pt idx="6954">
                  <c:v>0.95833333333333304</c:v>
                </c:pt>
                <c:pt idx="6955">
                  <c:v>0.95833333333333304</c:v>
                </c:pt>
                <c:pt idx="6956">
                  <c:v>0.95833333333333304</c:v>
                </c:pt>
                <c:pt idx="6957">
                  <c:v>0.95833333333333304</c:v>
                </c:pt>
                <c:pt idx="6958">
                  <c:v>0.95833333333333304</c:v>
                </c:pt>
                <c:pt idx="6959">
                  <c:v>0.95841392649903301</c:v>
                </c:pt>
                <c:pt idx="6960">
                  <c:v>0.95857988165680497</c:v>
                </c:pt>
                <c:pt idx="6961">
                  <c:v>0.958620689655172</c:v>
                </c:pt>
                <c:pt idx="6962">
                  <c:v>0.95876288659793796</c:v>
                </c:pt>
                <c:pt idx="6963">
                  <c:v>0.95880535530380995</c:v>
                </c:pt>
                <c:pt idx="6964">
                  <c:v>0.95884599066610099</c:v>
                </c:pt>
                <c:pt idx="6965">
                  <c:v>0.959008097165992</c:v>
                </c:pt>
                <c:pt idx="6966">
                  <c:v>0.95903614457831299</c:v>
                </c:pt>
                <c:pt idx="6967">
                  <c:v>0.95909090909090899</c:v>
                </c:pt>
                <c:pt idx="6968">
                  <c:v>0.95911949685534603</c:v>
                </c:pt>
                <c:pt idx="6969">
                  <c:v>0.95918367346938804</c:v>
                </c:pt>
                <c:pt idx="6970">
                  <c:v>0.95918367346938804</c:v>
                </c:pt>
                <c:pt idx="6971">
                  <c:v>0.95921924015336402</c:v>
                </c:pt>
                <c:pt idx="6972">
                  <c:v>0.95931232091690499</c:v>
                </c:pt>
                <c:pt idx="6973">
                  <c:v>0.95941686367218304</c:v>
                </c:pt>
                <c:pt idx="6974">
                  <c:v>0.95941921072226399</c:v>
                </c:pt>
                <c:pt idx="6975">
                  <c:v>0.95962199312714802</c:v>
                </c:pt>
                <c:pt idx="6976">
                  <c:v>0.95962441314554003</c:v>
                </c:pt>
                <c:pt idx="6977">
                  <c:v>0.959808612440191</c:v>
                </c:pt>
                <c:pt idx="6978">
                  <c:v>0.95985155195681504</c:v>
                </c:pt>
                <c:pt idx="6979">
                  <c:v>0.95986622073578598</c:v>
                </c:pt>
                <c:pt idx="6980">
                  <c:v>0.95989304812834197</c:v>
                </c:pt>
                <c:pt idx="6981">
                  <c:v>0.95993589743589702</c:v>
                </c:pt>
                <c:pt idx="6982">
                  <c:v>0.96</c:v>
                </c:pt>
                <c:pt idx="6983">
                  <c:v>0.96</c:v>
                </c:pt>
                <c:pt idx="6984">
                  <c:v>0.96</c:v>
                </c:pt>
                <c:pt idx="6985">
                  <c:v>0.96016448213826799</c:v>
                </c:pt>
                <c:pt idx="6986">
                  <c:v>0.96018735362997698</c:v>
                </c:pt>
                <c:pt idx="6987">
                  <c:v>0.96026490066225201</c:v>
                </c:pt>
                <c:pt idx="6988">
                  <c:v>0.96039984621299501</c:v>
                </c:pt>
                <c:pt idx="6989">
                  <c:v>0.96045918367346905</c:v>
                </c:pt>
                <c:pt idx="6990">
                  <c:v>0.96047430830039504</c:v>
                </c:pt>
                <c:pt idx="6991">
                  <c:v>0.96055684454756396</c:v>
                </c:pt>
                <c:pt idx="6992">
                  <c:v>0.96062536189924697</c:v>
                </c:pt>
                <c:pt idx="6993">
                  <c:v>0.96065573770491797</c:v>
                </c:pt>
                <c:pt idx="6994">
                  <c:v>0.96068376068376105</c:v>
                </c:pt>
                <c:pt idx="6995">
                  <c:v>0.96075581395348797</c:v>
                </c:pt>
                <c:pt idx="6996">
                  <c:v>0.96089790007241105</c:v>
                </c:pt>
                <c:pt idx="6997">
                  <c:v>0.96097560975609697</c:v>
                </c:pt>
                <c:pt idx="6998">
                  <c:v>0.96103896103896103</c:v>
                </c:pt>
                <c:pt idx="6999">
                  <c:v>0.96123417721519</c:v>
                </c:pt>
                <c:pt idx="7000">
                  <c:v>0.96129032258064495</c:v>
                </c:pt>
                <c:pt idx="7001">
                  <c:v>0.96137339055794002</c:v>
                </c:pt>
                <c:pt idx="7002">
                  <c:v>0.96138211382113803</c:v>
                </c:pt>
                <c:pt idx="7003">
                  <c:v>0.96144578313253004</c:v>
                </c:pt>
                <c:pt idx="7004">
                  <c:v>0.96146217058656802</c:v>
                </c:pt>
                <c:pt idx="7005">
                  <c:v>0.96153846153846201</c:v>
                </c:pt>
                <c:pt idx="7006">
                  <c:v>0.96158068057080104</c:v>
                </c:pt>
                <c:pt idx="7007">
                  <c:v>0.96168582375478895</c:v>
                </c:pt>
                <c:pt idx="7008">
                  <c:v>0.96177062374245503</c:v>
                </c:pt>
                <c:pt idx="7009">
                  <c:v>0.96178343949044598</c:v>
                </c:pt>
                <c:pt idx="7010">
                  <c:v>0.96190476190476204</c:v>
                </c:pt>
                <c:pt idx="7011">
                  <c:v>0.961928934010152</c:v>
                </c:pt>
                <c:pt idx="7012">
                  <c:v>0.962025316455696</c:v>
                </c:pt>
                <c:pt idx="7013">
                  <c:v>0.96206896551724097</c:v>
                </c:pt>
                <c:pt idx="7014">
                  <c:v>0.96212121212121204</c:v>
                </c:pt>
                <c:pt idx="7015">
                  <c:v>0.96212549462973396</c:v>
                </c:pt>
                <c:pt idx="7016">
                  <c:v>0.96216216216216199</c:v>
                </c:pt>
                <c:pt idx="7017">
                  <c:v>0.96231884057970996</c:v>
                </c:pt>
                <c:pt idx="7018">
                  <c:v>0.96236559139784905</c:v>
                </c:pt>
                <c:pt idx="7019">
                  <c:v>0.96240601503759404</c:v>
                </c:pt>
                <c:pt idx="7020">
                  <c:v>0.96242774566473999</c:v>
                </c:pt>
                <c:pt idx="7021">
                  <c:v>0.96244825547013602</c:v>
                </c:pt>
                <c:pt idx="7022">
                  <c:v>0.96254681647940099</c:v>
                </c:pt>
                <c:pt idx="7023">
                  <c:v>0.96259842519685002</c:v>
                </c:pt>
                <c:pt idx="7024">
                  <c:v>0.96273291925465798</c:v>
                </c:pt>
                <c:pt idx="7025">
                  <c:v>0.96275530636764095</c:v>
                </c:pt>
                <c:pt idx="7026">
                  <c:v>0.96277915632754296</c:v>
                </c:pt>
                <c:pt idx="7027">
                  <c:v>0.96281800391389405</c:v>
                </c:pt>
                <c:pt idx="7028">
                  <c:v>0.96296296296296302</c:v>
                </c:pt>
                <c:pt idx="7029">
                  <c:v>0.96296296296296302</c:v>
                </c:pt>
                <c:pt idx="7030">
                  <c:v>0.96299483648881201</c:v>
                </c:pt>
                <c:pt idx="7031">
                  <c:v>0.96303142329020297</c:v>
                </c:pt>
                <c:pt idx="7032">
                  <c:v>0.96305125148986903</c:v>
                </c:pt>
                <c:pt idx="7033">
                  <c:v>0.96307023895727695</c:v>
                </c:pt>
                <c:pt idx="7034">
                  <c:v>0.96308016877637104</c:v>
                </c:pt>
                <c:pt idx="7035">
                  <c:v>0.96315120711562896</c:v>
                </c:pt>
                <c:pt idx="7036">
                  <c:v>0.96350364963503699</c:v>
                </c:pt>
                <c:pt idx="7037">
                  <c:v>0.96359676415681395</c:v>
                </c:pt>
                <c:pt idx="7038">
                  <c:v>0.96363636363636396</c:v>
                </c:pt>
                <c:pt idx="7039">
                  <c:v>0.96363636363636396</c:v>
                </c:pt>
                <c:pt idx="7040">
                  <c:v>0.96368038740920103</c:v>
                </c:pt>
                <c:pt idx="7041">
                  <c:v>0.96369137670196703</c:v>
                </c:pt>
                <c:pt idx="7042">
                  <c:v>0.96378737541528203</c:v>
                </c:pt>
                <c:pt idx="7043">
                  <c:v>0.96381578947368396</c:v>
                </c:pt>
                <c:pt idx="7044">
                  <c:v>0.96385542168674698</c:v>
                </c:pt>
                <c:pt idx="7045">
                  <c:v>0.96399999999999997</c:v>
                </c:pt>
                <c:pt idx="7046">
                  <c:v>0.96403872752420505</c:v>
                </c:pt>
                <c:pt idx="7047">
                  <c:v>0.96412459720730403</c:v>
                </c:pt>
                <c:pt idx="7048">
                  <c:v>0.96428571428571397</c:v>
                </c:pt>
                <c:pt idx="7049">
                  <c:v>0.96428571428571397</c:v>
                </c:pt>
                <c:pt idx="7050">
                  <c:v>0.96428571428571397</c:v>
                </c:pt>
                <c:pt idx="7051">
                  <c:v>0.96435643564356399</c:v>
                </c:pt>
                <c:pt idx="7052">
                  <c:v>0.96441808747220203</c:v>
                </c:pt>
                <c:pt idx="7053">
                  <c:v>0.96445880452342503</c:v>
                </c:pt>
                <c:pt idx="7054">
                  <c:v>0.96449704142011805</c:v>
                </c:pt>
                <c:pt idx="7055">
                  <c:v>0.96450809464508103</c:v>
                </c:pt>
                <c:pt idx="7056">
                  <c:v>0.96463022508038598</c:v>
                </c:pt>
                <c:pt idx="7057">
                  <c:v>0.96465116279069796</c:v>
                </c:pt>
                <c:pt idx="7058">
                  <c:v>0.96466431095406402</c:v>
                </c:pt>
                <c:pt idx="7059">
                  <c:v>0.96470588235294097</c:v>
                </c:pt>
                <c:pt idx="7060">
                  <c:v>0.964710395090142</c:v>
                </c:pt>
                <c:pt idx="7061">
                  <c:v>0.96483516483516496</c:v>
                </c:pt>
                <c:pt idx="7062">
                  <c:v>0.96491228070175405</c:v>
                </c:pt>
                <c:pt idx="7063">
                  <c:v>0.96499999999999997</c:v>
                </c:pt>
                <c:pt idx="7064">
                  <c:v>0.96511627906976705</c:v>
                </c:pt>
                <c:pt idx="7065">
                  <c:v>0.96517412935323399</c:v>
                </c:pt>
                <c:pt idx="7066">
                  <c:v>0.96521739130434803</c:v>
                </c:pt>
                <c:pt idx="7067">
                  <c:v>0.96527777777777801</c:v>
                </c:pt>
                <c:pt idx="7068">
                  <c:v>0.96541786743515801</c:v>
                </c:pt>
                <c:pt idx="7069">
                  <c:v>0.96544715447154505</c:v>
                </c:pt>
                <c:pt idx="7070">
                  <c:v>0.96551724137931005</c:v>
                </c:pt>
                <c:pt idx="7071">
                  <c:v>0.96551724137931005</c:v>
                </c:pt>
                <c:pt idx="7072">
                  <c:v>0.96551724137931005</c:v>
                </c:pt>
                <c:pt idx="7073">
                  <c:v>0.96551724137931005</c:v>
                </c:pt>
                <c:pt idx="7074">
                  <c:v>0.965722801788376</c:v>
                </c:pt>
                <c:pt idx="7075">
                  <c:v>0.96581196581196604</c:v>
                </c:pt>
                <c:pt idx="7076">
                  <c:v>0.96588486140724905</c:v>
                </c:pt>
                <c:pt idx="7077">
                  <c:v>0.96594427244582004</c:v>
                </c:pt>
                <c:pt idx="7078">
                  <c:v>0.96597510373443995</c:v>
                </c:pt>
                <c:pt idx="7079">
                  <c:v>0.96598639455782298</c:v>
                </c:pt>
                <c:pt idx="7080">
                  <c:v>0.96618357487922701</c:v>
                </c:pt>
                <c:pt idx="7081">
                  <c:v>0.96627565982404695</c:v>
                </c:pt>
                <c:pt idx="7082">
                  <c:v>0.96640826873385</c:v>
                </c:pt>
                <c:pt idx="7083">
                  <c:v>0.96643850739677595</c:v>
                </c:pt>
                <c:pt idx="7084">
                  <c:v>0.966480446927374</c:v>
                </c:pt>
                <c:pt idx="7085">
                  <c:v>0.96650246305418697</c:v>
                </c:pt>
                <c:pt idx="7086">
                  <c:v>0.96657381615598903</c:v>
                </c:pt>
                <c:pt idx="7087">
                  <c:v>0.96659707724425903</c:v>
                </c:pt>
                <c:pt idx="7088">
                  <c:v>0.96666666666666701</c:v>
                </c:pt>
                <c:pt idx="7089">
                  <c:v>0.966796875</c:v>
                </c:pt>
                <c:pt idx="7090">
                  <c:v>0.96682464454976302</c:v>
                </c:pt>
                <c:pt idx="7091">
                  <c:v>0.96685082872928196</c:v>
                </c:pt>
                <c:pt idx="7092">
                  <c:v>0.96688500727801996</c:v>
                </c:pt>
                <c:pt idx="7093">
                  <c:v>0.96688741721854299</c:v>
                </c:pt>
                <c:pt idx="7094">
                  <c:v>0.96699174793698395</c:v>
                </c:pt>
                <c:pt idx="7095">
                  <c:v>0.96703296703296704</c:v>
                </c:pt>
                <c:pt idx="7096">
                  <c:v>0.96712018140589595</c:v>
                </c:pt>
                <c:pt idx="7097">
                  <c:v>0.96713615023474198</c:v>
                </c:pt>
                <c:pt idx="7098">
                  <c:v>0.96714743589743601</c:v>
                </c:pt>
                <c:pt idx="7099">
                  <c:v>0.96721311475409799</c:v>
                </c:pt>
                <c:pt idx="7100">
                  <c:v>0.96744186046511604</c:v>
                </c:pt>
                <c:pt idx="7101">
                  <c:v>0.96750369276218595</c:v>
                </c:pt>
                <c:pt idx="7102">
                  <c:v>0.96755162241887904</c:v>
                </c:pt>
                <c:pt idx="7103">
                  <c:v>0.96766743648960696</c:v>
                </c:pt>
                <c:pt idx="7104">
                  <c:v>0.96795131845841798</c:v>
                </c:pt>
                <c:pt idx="7105">
                  <c:v>0.96804511278195504</c:v>
                </c:pt>
                <c:pt idx="7106">
                  <c:v>0.96805993690851699</c:v>
                </c:pt>
                <c:pt idx="7107">
                  <c:v>0.96812278630460402</c:v>
                </c:pt>
                <c:pt idx="7108">
                  <c:v>0.96821515892420495</c:v>
                </c:pt>
                <c:pt idx="7109">
                  <c:v>0.968277945619335</c:v>
                </c:pt>
                <c:pt idx="7110">
                  <c:v>0.96836483155299902</c:v>
                </c:pt>
                <c:pt idx="7111">
                  <c:v>0.96842105263157896</c:v>
                </c:pt>
                <c:pt idx="7112">
                  <c:v>0.96846846846846801</c:v>
                </c:pt>
                <c:pt idx="7113">
                  <c:v>0.96855345911949697</c:v>
                </c:pt>
                <c:pt idx="7114">
                  <c:v>0.96858638743455505</c:v>
                </c:pt>
                <c:pt idx="7115">
                  <c:v>0.96859903381642498</c:v>
                </c:pt>
                <c:pt idx="7116">
                  <c:v>0.96875</c:v>
                </c:pt>
                <c:pt idx="7117">
                  <c:v>0.96875</c:v>
                </c:pt>
                <c:pt idx="7118">
                  <c:v>0.96881959910913096</c:v>
                </c:pt>
                <c:pt idx="7119">
                  <c:v>0.968992248062015</c:v>
                </c:pt>
                <c:pt idx="7120">
                  <c:v>0.969135802469136</c:v>
                </c:pt>
                <c:pt idx="7121">
                  <c:v>0.96915662650602397</c:v>
                </c:pt>
                <c:pt idx="7122">
                  <c:v>0.96922428330522803</c:v>
                </c:pt>
                <c:pt idx="7123">
                  <c:v>0.96932515337423297</c:v>
                </c:pt>
                <c:pt idx="7124">
                  <c:v>0.969465648854962</c:v>
                </c:pt>
                <c:pt idx="7125">
                  <c:v>0.969465648854962</c:v>
                </c:pt>
                <c:pt idx="7126">
                  <c:v>0.96984924623115598</c:v>
                </c:pt>
                <c:pt idx="7127">
                  <c:v>0.97004608294930905</c:v>
                </c:pt>
                <c:pt idx="7128">
                  <c:v>0.97014925373134298</c:v>
                </c:pt>
                <c:pt idx="7129">
                  <c:v>0.97023809523809501</c:v>
                </c:pt>
                <c:pt idx="7130">
                  <c:v>0.97024952015355104</c:v>
                </c:pt>
                <c:pt idx="7131">
                  <c:v>0.97037037037036999</c:v>
                </c:pt>
                <c:pt idx="7132">
                  <c:v>0.97058823529411797</c:v>
                </c:pt>
                <c:pt idx="7133">
                  <c:v>0.97062579821200501</c:v>
                </c:pt>
                <c:pt idx="7134">
                  <c:v>0.97065462753950305</c:v>
                </c:pt>
                <c:pt idx="7135">
                  <c:v>0.97086720867208698</c:v>
                </c:pt>
                <c:pt idx="7136">
                  <c:v>0.97101449275362295</c:v>
                </c:pt>
                <c:pt idx="7137">
                  <c:v>0.97108066971080698</c:v>
                </c:pt>
                <c:pt idx="7138">
                  <c:v>0.97117117117117102</c:v>
                </c:pt>
                <c:pt idx="7139">
                  <c:v>0.97136752136752103</c:v>
                </c:pt>
                <c:pt idx="7140">
                  <c:v>0.97137280416395599</c:v>
                </c:pt>
                <c:pt idx="7141">
                  <c:v>0.97148288973384</c:v>
                </c:pt>
                <c:pt idx="7142">
                  <c:v>0.97148676171079396</c:v>
                </c:pt>
                <c:pt idx="7143">
                  <c:v>0.97150997150997198</c:v>
                </c:pt>
                <c:pt idx="7144">
                  <c:v>0.97159090909090895</c:v>
                </c:pt>
                <c:pt idx="7145">
                  <c:v>0.97187500000000004</c:v>
                </c:pt>
                <c:pt idx="7146">
                  <c:v>0.97191011235955105</c:v>
                </c:pt>
                <c:pt idx="7147">
                  <c:v>0.97210599721059998</c:v>
                </c:pt>
                <c:pt idx="7148">
                  <c:v>0.97214593958415096</c:v>
                </c:pt>
                <c:pt idx="7149">
                  <c:v>0.97222222222222199</c:v>
                </c:pt>
                <c:pt idx="7150">
                  <c:v>0.97224306076519096</c:v>
                </c:pt>
                <c:pt idx="7151">
                  <c:v>0.97227802330253099</c:v>
                </c:pt>
                <c:pt idx="7152">
                  <c:v>0.97228637413394903</c:v>
                </c:pt>
                <c:pt idx="7153">
                  <c:v>0.972413793103448</c:v>
                </c:pt>
                <c:pt idx="7154">
                  <c:v>0.97262952101661804</c:v>
                </c:pt>
                <c:pt idx="7155">
                  <c:v>0.97277676950998204</c:v>
                </c:pt>
                <c:pt idx="7156">
                  <c:v>0.97283085013146398</c:v>
                </c:pt>
                <c:pt idx="7157">
                  <c:v>0.97283856159143101</c:v>
                </c:pt>
                <c:pt idx="7158">
                  <c:v>0.97286821705426296</c:v>
                </c:pt>
                <c:pt idx="7159">
                  <c:v>0.97297297297297303</c:v>
                </c:pt>
                <c:pt idx="7160">
                  <c:v>0.97323704333050098</c:v>
                </c:pt>
                <c:pt idx="7161">
                  <c:v>0.97338403041825095</c:v>
                </c:pt>
                <c:pt idx="7162">
                  <c:v>0.97351694915254205</c:v>
                </c:pt>
                <c:pt idx="7163">
                  <c:v>0.97354308187343597</c:v>
                </c:pt>
                <c:pt idx="7164">
                  <c:v>0.97354497354497305</c:v>
                </c:pt>
                <c:pt idx="7165">
                  <c:v>0.97368421052631604</c:v>
                </c:pt>
                <c:pt idx="7166">
                  <c:v>0.97370727432077098</c:v>
                </c:pt>
                <c:pt idx="7167">
                  <c:v>0.97371343946686395</c:v>
                </c:pt>
                <c:pt idx="7168">
                  <c:v>0.97390272835112701</c:v>
                </c:pt>
                <c:pt idx="7169">
                  <c:v>0.97402597402597402</c:v>
                </c:pt>
                <c:pt idx="7170">
                  <c:v>0.97402597402597402</c:v>
                </c:pt>
                <c:pt idx="7171">
                  <c:v>0.974076983503535</c:v>
                </c:pt>
                <c:pt idx="7172">
                  <c:v>0.97415627850410502</c:v>
                </c:pt>
                <c:pt idx="7173">
                  <c:v>0.97431781701444597</c:v>
                </c:pt>
                <c:pt idx="7174">
                  <c:v>0.97435897435897401</c:v>
                </c:pt>
                <c:pt idx="7175">
                  <c:v>0.97446808510638305</c:v>
                </c:pt>
                <c:pt idx="7176">
                  <c:v>0.974566900110579</c:v>
                </c:pt>
                <c:pt idx="7177">
                  <c:v>0.97457627118644097</c:v>
                </c:pt>
                <c:pt idx="7178">
                  <c:v>0.974619289340102</c:v>
                </c:pt>
                <c:pt idx="7179">
                  <c:v>0.97464788732394403</c:v>
                </c:pt>
                <c:pt idx="7180">
                  <c:v>0.974658869395711</c:v>
                </c:pt>
                <c:pt idx="7181">
                  <c:v>0.97466960352422904</c:v>
                </c:pt>
                <c:pt idx="7182">
                  <c:v>0.974683544303797</c:v>
                </c:pt>
                <c:pt idx="7183">
                  <c:v>0.97472924187725596</c:v>
                </c:pt>
                <c:pt idx="7184">
                  <c:v>0.97484276729559705</c:v>
                </c:pt>
                <c:pt idx="7185">
                  <c:v>0.97488789237668205</c:v>
                </c:pt>
                <c:pt idx="7186">
                  <c:v>0.97491349480968903</c:v>
                </c:pt>
                <c:pt idx="7187">
                  <c:v>0.97494780793319402</c:v>
                </c:pt>
                <c:pt idx="7188">
                  <c:v>0.97525309336332999</c:v>
                </c:pt>
                <c:pt idx="7189">
                  <c:v>0.97526041666666696</c:v>
                </c:pt>
                <c:pt idx="7190">
                  <c:v>0.97528089887640401</c:v>
                </c:pt>
                <c:pt idx="7191">
                  <c:v>0.97535667963683503</c:v>
                </c:pt>
                <c:pt idx="7192">
                  <c:v>0.97536945812807896</c:v>
                </c:pt>
                <c:pt idx="7193">
                  <c:v>0.97538461538461496</c:v>
                </c:pt>
                <c:pt idx="7194">
                  <c:v>0.97540983606557397</c:v>
                </c:pt>
                <c:pt idx="7195">
                  <c:v>0.97560975609756095</c:v>
                </c:pt>
                <c:pt idx="7196">
                  <c:v>0.97568389057750804</c:v>
                </c:pt>
                <c:pt idx="7197">
                  <c:v>0.97588545591559905</c:v>
                </c:pt>
                <c:pt idx="7198">
                  <c:v>0.97590361445783103</c:v>
                </c:pt>
                <c:pt idx="7199">
                  <c:v>0.97604790419161702</c:v>
                </c:pt>
                <c:pt idx="7200">
                  <c:v>0.97639544570952497</c:v>
                </c:pt>
                <c:pt idx="7201">
                  <c:v>0.97647058823529398</c:v>
                </c:pt>
                <c:pt idx="7202">
                  <c:v>0.97674418604651203</c:v>
                </c:pt>
                <c:pt idx="7203">
                  <c:v>0.97674418604651203</c:v>
                </c:pt>
                <c:pt idx="7204">
                  <c:v>0.97680412371133996</c:v>
                </c:pt>
                <c:pt idx="7205">
                  <c:v>0.97684515195369004</c:v>
                </c:pt>
                <c:pt idx="7206">
                  <c:v>0.97689768976897695</c:v>
                </c:pt>
                <c:pt idx="7207">
                  <c:v>0.976966796290757</c:v>
                </c:pt>
                <c:pt idx="7208">
                  <c:v>0.97718631178707205</c:v>
                </c:pt>
                <c:pt idx="7209">
                  <c:v>0.97720797720797703</c:v>
                </c:pt>
                <c:pt idx="7210">
                  <c:v>0.97727272727272696</c:v>
                </c:pt>
                <c:pt idx="7211">
                  <c:v>0.97733990147783301</c:v>
                </c:pt>
                <c:pt idx="7212">
                  <c:v>0.97740112994350303</c:v>
                </c:pt>
                <c:pt idx="7213">
                  <c:v>0.97745901639344301</c:v>
                </c:pt>
                <c:pt idx="7214">
                  <c:v>0.97761194029850695</c:v>
                </c:pt>
                <c:pt idx="7215">
                  <c:v>0.97766551449082695</c:v>
                </c:pt>
                <c:pt idx="7216">
                  <c:v>0.97772567409144195</c:v>
                </c:pt>
                <c:pt idx="7217">
                  <c:v>0.97777777777777797</c:v>
                </c:pt>
                <c:pt idx="7218">
                  <c:v>0.97777777777777797</c:v>
                </c:pt>
                <c:pt idx="7219">
                  <c:v>0.97826086956521696</c:v>
                </c:pt>
                <c:pt idx="7220">
                  <c:v>0.97840172786177104</c:v>
                </c:pt>
                <c:pt idx="7221">
                  <c:v>0.978494623655914</c:v>
                </c:pt>
                <c:pt idx="7222">
                  <c:v>0.97872340425531901</c:v>
                </c:pt>
                <c:pt idx="7223">
                  <c:v>0.97927461139896399</c:v>
                </c:pt>
                <c:pt idx="7224">
                  <c:v>0.97931034482758605</c:v>
                </c:pt>
                <c:pt idx="7225">
                  <c:v>0.97946009389671396</c:v>
                </c:pt>
                <c:pt idx="7226">
                  <c:v>0.97959183673469397</c:v>
                </c:pt>
                <c:pt idx="7227">
                  <c:v>0.97972972972973005</c:v>
                </c:pt>
                <c:pt idx="7228">
                  <c:v>0.97973568281938295</c:v>
                </c:pt>
                <c:pt idx="7229">
                  <c:v>0.98002853067047102</c:v>
                </c:pt>
                <c:pt idx="7230">
                  <c:v>0.98011545862732496</c:v>
                </c:pt>
                <c:pt idx="7231">
                  <c:v>0.98056994818652898</c:v>
                </c:pt>
                <c:pt idx="7232">
                  <c:v>0.98076923076923095</c:v>
                </c:pt>
                <c:pt idx="7233">
                  <c:v>0.98080708661417304</c:v>
                </c:pt>
                <c:pt idx="7234">
                  <c:v>0.98109243697478998</c:v>
                </c:pt>
                <c:pt idx="7235">
                  <c:v>0.98113207547169801</c:v>
                </c:pt>
                <c:pt idx="7236">
                  <c:v>0.98122065727699503</c:v>
                </c:pt>
                <c:pt idx="7237">
                  <c:v>0.98130841121495305</c:v>
                </c:pt>
                <c:pt idx="7238">
                  <c:v>0.98140495867768596</c:v>
                </c:pt>
                <c:pt idx="7239">
                  <c:v>0.98142857142857098</c:v>
                </c:pt>
                <c:pt idx="7240">
                  <c:v>0.98144104803493404</c:v>
                </c:pt>
                <c:pt idx="7241">
                  <c:v>0.98149316508938</c:v>
                </c:pt>
                <c:pt idx="7242">
                  <c:v>0.98165137614678899</c:v>
                </c:pt>
                <c:pt idx="7243">
                  <c:v>0.98181818181818203</c:v>
                </c:pt>
                <c:pt idx="7244">
                  <c:v>0.981958762886598</c:v>
                </c:pt>
                <c:pt idx="7245">
                  <c:v>0.98207885304659504</c:v>
                </c:pt>
                <c:pt idx="7246">
                  <c:v>0.98208955223880601</c:v>
                </c:pt>
                <c:pt idx="7247">
                  <c:v>0.98213146139119301</c:v>
                </c:pt>
                <c:pt idx="7248">
                  <c:v>0.98238747553815997</c:v>
                </c:pt>
                <c:pt idx="7249">
                  <c:v>0.98286090969017803</c:v>
                </c:pt>
                <c:pt idx="7250">
                  <c:v>0.98290598290598297</c:v>
                </c:pt>
                <c:pt idx="7251">
                  <c:v>0.98307291666666696</c:v>
                </c:pt>
                <c:pt idx="7252">
                  <c:v>0.98317307692307698</c:v>
                </c:pt>
                <c:pt idx="7253">
                  <c:v>0.98333333333333295</c:v>
                </c:pt>
                <c:pt idx="7254">
                  <c:v>0.98347107438016501</c:v>
                </c:pt>
                <c:pt idx="7255">
                  <c:v>0.98373626373626399</c:v>
                </c:pt>
                <c:pt idx="7256">
                  <c:v>0.98373983739837401</c:v>
                </c:pt>
                <c:pt idx="7257">
                  <c:v>0.98379970544919004</c:v>
                </c:pt>
                <c:pt idx="7258">
                  <c:v>0.98410978692668805</c:v>
                </c:pt>
                <c:pt idx="7259">
                  <c:v>0.98421052631578898</c:v>
                </c:pt>
                <c:pt idx="7260">
                  <c:v>0.984375</c:v>
                </c:pt>
                <c:pt idx="7261">
                  <c:v>0.984615384615385</c:v>
                </c:pt>
                <c:pt idx="7262">
                  <c:v>0.98475046210720896</c:v>
                </c:pt>
                <c:pt idx="7263">
                  <c:v>0.98496240601503804</c:v>
                </c:pt>
                <c:pt idx="7264">
                  <c:v>0.984978540772532</c:v>
                </c:pt>
                <c:pt idx="7265">
                  <c:v>0.98507462686567204</c:v>
                </c:pt>
                <c:pt idx="7266">
                  <c:v>0.98514851485148502</c:v>
                </c:pt>
                <c:pt idx="7267">
                  <c:v>0.98526863084922001</c:v>
                </c:pt>
                <c:pt idx="7268">
                  <c:v>0.98529411764705899</c:v>
                </c:pt>
                <c:pt idx="7269">
                  <c:v>0.98536585365853702</c:v>
                </c:pt>
                <c:pt idx="7270">
                  <c:v>0.98540145985401495</c:v>
                </c:pt>
                <c:pt idx="7271">
                  <c:v>0.98562874251497001</c:v>
                </c:pt>
                <c:pt idx="7272">
                  <c:v>0.98564593301435399</c:v>
                </c:pt>
                <c:pt idx="7273">
                  <c:v>0.98571428571428599</c:v>
                </c:pt>
                <c:pt idx="7274">
                  <c:v>0.98571428571428599</c:v>
                </c:pt>
                <c:pt idx="7275">
                  <c:v>0.98571428571428599</c:v>
                </c:pt>
                <c:pt idx="7276">
                  <c:v>0.98591549295774605</c:v>
                </c:pt>
                <c:pt idx="7277">
                  <c:v>0.98614958448753498</c:v>
                </c:pt>
                <c:pt idx="7278">
                  <c:v>0.98621745788667703</c:v>
                </c:pt>
                <c:pt idx="7279">
                  <c:v>0.98657718120805404</c:v>
                </c:pt>
                <c:pt idx="7280">
                  <c:v>0.98684210526315796</c:v>
                </c:pt>
                <c:pt idx="7281">
                  <c:v>0.98700243704305402</c:v>
                </c:pt>
                <c:pt idx="7282">
                  <c:v>0.98726114649681496</c:v>
                </c:pt>
                <c:pt idx="7283">
                  <c:v>0.987341772151899</c:v>
                </c:pt>
                <c:pt idx="7284">
                  <c:v>0.98752598752598697</c:v>
                </c:pt>
                <c:pt idx="7285">
                  <c:v>0.98809523809523803</c:v>
                </c:pt>
                <c:pt idx="7286">
                  <c:v>0.98821989528795795</c:v>
                </c:pt>
                <c:pt idx="7287">
                  <c:v>0.98827292110874199</c:v>
                </c:pt>
                <c:pt idx="7288">
                  <c:v>0.98833138856476099</c:v>
                </c:pt>
                <c:pt idx="7289">
                  <c:v>0.98836708315381305</c:v>
                </c:pt>
                <c:pt idx="7290">
                  <c:v>0.98837209302325602</c:v>
                </c:pt>
                <c:pt idx="7291">
                  <c:v>0.98865784499054798</c:v>
                </c:pt>
                <c:pt idx="7292">
                  <c:v>0.98866727107887598</c:v>
                </c:pt>
                <c:pt idx="7293">
                  <c:v>0.98888888888888904</c:v>
                </c:pt>
                <c:pt idx="7294">
                  <c:v>0.989247311827957</c:v>
                </c:pt>
                <c:pt idx="7295">
                  <c:v>0.98961794019933602</c:v>
                </c:pt>
                <c:pt idx="7296">
                  <c:v>0.98969072164948502</c:v>
                </c:pt>
                <c:pt idx="7297">
                  <c:v>0.99</c:v>
                </c:pt>
                <c:pt idx="7298">
                  <c:v>0.99013157894736803</c:v>
                </c:pt>
                <c:pt idx="7299">
                  <c:v>0.99108734402851995</c:v>
                </c:pt>
                <c:pt idx="7300">
                  <c:v>0.99130434782608701</c:v>
                </c:pt>
                <c:pt idx="7301">
                  <c:v>0.99135446685879003</c:v>
                </c:pt>
                <c:pt idx="7302">
                  <c:v>0.99137931034482796</c:v>
                </c:pt>
                <c:pt idx="7303">
                  <c:v>0.99152542372881403</c:v>
                </c:pt>
                <c:pt idx="7304">
                  <c:v>0.99173553719008301</c:v>
                </c:pt>
                <c:pt idx="7305">
                  <c:v>0.99264705882352899</c:v>
                </c:pt>
                <c:pt idx="7306">
                  <c:v>0.99291784702549601</c:v>
                </c:pt>
                <c:pt idx="7307">
                  <c:v>0.99324324324324298</c:v>
                </c:pt>
                <c:pt idx="7308">
                  <c:v>0.99333333333333296</c:v>
                </c:pt>
                <c:pt idx="7309">
                  <c:v>0.99333333333333296</c:v>
                </c:pt>
                <c:pt idx="7310">
                  <c:v>0.99337748344370902</c:v>
                </c:pt>
                <c:pt idx="7311">
                  <c:v>0.99363057324840798</c:v>
                </c:pt>
                <c:pt idx="7312">
                  <c:v>0.99381188118811903</c:v>
                </c:pt>
                <c:pt idx="7313">
                  <c:v>0.99386503067484699</c:v>
                </c:pt>
                <c:pt idx="7314">
                  <c:v>0.99401197604790403</c:v>
                </c:pt>
                <c:pt idx="7315">
                  <c:v>0.99411764705882399</c:v>
                </c:pt>
                <c:pt idx="7316">
                  <c:v>0.99489051094890502</c:v>
                </c:pt>
                <c:pt idx="7317">
                  <c:v>0.99557522123893805</c:v>
                </c:pt>
                <c:pt idx="7318">
                  <c:v>0.99568965517241403</c:v>
                </c:pt>
                <c:pt idx="7319">
                  <c:v>0.99612403100775204</c:v>
                </c:pt>
                <c:pt idx="7320">
                  <c:v>0.99819494584837498</c:v>
                </c:pt>
                <c:pt idx="7321">
                  <c:v>0.998493975903614</c:v>
                </c:pt>
                <c:pt idx="7322">
                  <c:v>0.99856938483547897</c:v>
                </c:pt>
                <c:pt idx="7323">
                  <c:v>1</c:v>
                </c:pt>
                <c:pt idx="7324">
                  <c:v>1</c:v>
                </c:pt>
                <c:pt idx="7325">
                  <c:v>1</c:v>
                </c:pt>
                <c:pt idx="7326">
                  <c:v>1</c:v>
                </c:pt>
                <c:pt idx="7327">
                  <c:v>1</c:v>
                </c:pt>
                <c:pt idx="7328">
                  <c:v>1</c:v>
                </c:pt>
                <c:pt idx="7329">
                  <c:v>1</c:v>
                </c:pt>
                <c:pt idx="7330">
                  <c:v>1</c:v>
                </c:pt>
                <c:pt idx="7331">
                  <c:v>1</c:v>
                </c:pt>
                <c:pt idx="7332">
                  <c:v>1</c:v>
                </c:pt>
                <c:pt idx="7333">
                  <c:v>1</c:v>
                </c:pt>
                <c:pt idx="7334">
                  <c:v>1</c:v>
                </c:pt>
                <c:pt idx="7335">
                  <c:v>1</c:v>
                </c:pt>
                <c:pt idx="7336">
                  <c:v>1</c:v>
                </c:pt>
                <c:pt idx="7337">
                  <c:v>1</c:v>
                </c:pt>
                <c:pt idx="7338">
                  <c:v>1</c:v>
                </c:pt>
                <c:pt idx="7339">
                  <c:v>1</c:v>
                </c:pt>
                <c:pt idx="7340">
                  <c:v>1</c:v>
                </c:pt>
                <c:pt idx="7341">
                  <c:v>1</c:v>
                </c:pt>
                <c:pt idx="7342">
                  <c:v>1</c:v>
                </c:pt>
                <c:pt idx="7343">
                  <c:v>1</c:v>
                </c:pt>
                <c:pt idx="7344">
                  <c:v>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2416016"/>
        <c:axId val="172747768"/>
      </c:scatterChart>
      <c:valAx>
        <c:axId val="172416016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1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i="0" baseline="0" dirty="0" smtClean="0">
                    <a:effectLst/>
                  </a:rPr>
                  <a:t>% of Campus That Is Econ. Disadvantaged</a:t>
                </a:r>
                <a:endParaRPr lang="en-US" sz="1100" dirty="0">
                  <a:effectLst/>
                </a:endParaRPr>
              </a:p>
            </c:rich>
          </c:tx>
          <c:layout/>
          <c:overlay val="0"/>
        </c:title>
        <c:numFmt formatCode="0%" sourceLinked="1"/>
        <c:majorTickMark val="none"/>
        <c:minorTickMark val="none"/>
        <c:tickLblPos val="nextTo"/>
        <c:crossAx val="172747768"/>
        <c:crosses val="autoZero"/>
        <c:crossBetween val="midCat"/>
      </c:valAx>
      <c:valAx>
        <c:axId val="172747768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% of NON </a:t>
                </a:r>
                <a:r>
                  <a:rPr lang="en-US" sz="1000" b="1" i="0" baseline="0" dirty="0" err="1" smtClean="0">
                    <a:effectLst/>
                  </a:rPr>
                  <a:t>EcoDis</a:t>
                </a:r>
                <a:r>
                  <a:rPr lang="en-US" sz="1000" b="1" i="0" baseline="0" dirty="0" smtClean="0">
                    <a:effectLst/>
                  </a:rPr>
                  <a:t> Students Meeting</a:t>
                </a:r>
                <a:endParaRPr lang="en-US" sz="1000" dirty="0" smtClean="0">
                  <a:effectLst/>
                </a:endParaRPr>
              </a:p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 Phase-In Passing Standard</a:t>
                </a:r>
                <a:endParaRPr lang="en-US" sz="1000" dirty="0" smtClean="0">
                  <a:effectLst/>
                </a:endParaRPr>
              </a:p>
            </c:rich>
          </c:tx>
          <c:layout/>
          <c:overlay val="0"/>
        </c:title>
        <c:numFmt formatCode="0%" sourceLinked="1"/>
        <c:majorTickMark val="none"/>
        <c:minorTickMark val="none"/>
        <c:tickLblPos val="nextTo"/>
        <c:crossAx val="172416016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 dirty="0" smtClean="0"/>
              <a:t>Student Achievement</a:t>
            </a:r>
            <a:r>
              <a:rPr lang="en-US" sz="1200" baseline="0" dirty="0" smtClean="0"/>
              <a:t> (Min. Passing Std.) for Economically Disadvantaged Students</a:t>
            </a:r>
          </a:p>
          <a:p>
            <a:pPr>
              <a:defRPr sz="1200"/>
            </a:pPr>
            <a:r>
              <a:rPr lang="en-US" sz="1200" baseline="0" dirty="0" smtClean="0"/>
              <a:t>Across All Campuses in Texas</a:t>
            </a:r>
            <a:endParaRPr lang="en-US" sz="1200" dirty="0"/>
          </a:p>
        </c:rich>
      </c:tx>
      <c:layout>
        <c:manualLayout>
          <c:xMode val="edge"/>
          <c:yMode val="edge"/>
          <c:x val="0.116109143930125"/>
          <c:y val="2.4137392317771199E-3"/>
        </c:manualLayout>
      </c:layout>
      <c:overlay val="0"/>
    </c:title>
    <c:autoTitleDeleted val="0"/>
    <c:plotArea>
      <c:layout/>
      <c:scatterChart>
        <c:scatterStyle val="lineMarker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axId val="204515936"/>
        <c:axId val="204516320"/>
      </c:scatterChart>
      <c:valAx>
        <c:axId val="204515936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Campus</a:t>
                </a:r>
                <a:r>
                  <a:rPr lang="en-US" baseline="0" dirty="0" smtClean="0"/>
                  <a:t> %</a:t>
                </a:r>
                <a:r>
                  <a:rPr lang="en-US" dirty="0" smtClean="0"/>
                  <a:t> of Econ.</a:t>
                </a:r>
                <a:r>
                  <a:rPr lang="en-US" baseline="0" dirty="0" smtClean="0"/>
                  <a:t> Disadvantaged Students</a:t>
                </a:r>
                <a:endParaRPr lang="en-US" dirty="0"/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204516320"/>
        <c:crosses val="autoZero"/>
        <c:crossBetween val="midCat"/>
      </c:valAx>
      <c:valAx>
        <c:axId val="204516320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P% of </a:t>
                </a:r>
                <a:r>
                  <a:rPr lang="en-US" dirty="0" err="1" smtClean="0"/>
                  <a:t>EcoDis</a:t>
                </a:r>
                <a:r>
                  <a:rPr lang="en-US" dirty="0" smtClean="0"/>
                  <a:t> Students Meeting </a:t>
                </a:r>
              </a:p>
              <a:p>
                <a:pPr>
                  <a:defRPr/>
                </a:pPr>
                <a:r>
                  <a:rPr lang="en-US" dirty="0" smtClean="0"/>
                  <a:t>Phase-In</a:t>
                </a:r>
                <a:r>
                  <a:rPr lang="en-US" baseline="0" dirty="0" smtClean="0"/>
                  <a:t> Passing Standard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4.0324493026608899E-2"/>
              <c:y val="0.26391824760251098"/>
            </c:manualLayout>
          </c:layout>
          <c:overlay val="0"/>
        </c:title>
        <c:numFmt formatCode="0%" sourceLinked="1"/>
        <c:majorTickMark val="none"/>
        <c:minorTickMark val="none"/>
        <c:tickLblPos val="nextTo"/>
        <c:crossAx val="204515936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3663"/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 dirty="0" smtClean="0">
                <a:effectLst/>
              </a:rPr>
              <a:t>Student Achievement (Min. Passing Std.) for NON Econ. Disadvantaged Students Across All Campuses in Texas</a:t>
            </a:r>
            <a:endParaRPr lang="en-US" sz="1200" dirty="0" smtClean="0">
              <a:effectLst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srgbClr val="003663"/>
                </a:solidFill>
                <a:latin typeface="+mn-lt"/>
                <a:ea typeface="+mn-ea"/>
                <a:cs typeface="+mn-cs"/>
              </a:defRPr>
            </a:pPr>
            <a:endParaRPr lang="en-US" sz="1200" dirty="0"/>
          </a:p>
        </c:rich>
      </c:tx>
      <c:layout>
        <c:manualLayout>
          <c:xMode val="edge"/>
          <c:yMode val="edge"/>
          <c:x val="0.15811833568254399"/>
          <c:y val="2.5839191079800702E-2"/>
        </c:manualLayout>
      </c:layout>
      <c:overlay val="0"/>
    </c:title>
    <c:autoTitleDeleted val="0"/>
    <c:plotArea>
      <c:layout/>
      <c:scatterChart>
        <c:scatterStyle val="lineMarker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axId val="170499248"/>
        <c:axId val="170498856"/>
      </c:scatterChart>
      <c:valAx>
        <c:axId val="170499248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Campus % of Econ. Disadvantaged Students</a:t>
                </a:r>
                <a:endParaRPr lang="en-US" dirty="0"/>
              </a:p>
            </c:rich>
          </c:tx>
          <c:layout/>
          <c:overlay val="0"/>
        </c:title>
        <c:numFmt formatCode="0%" sourceLinked="1"/>
        <c:majorTickMark val="none"/>
        <c:minorTickMark val="none"/>
        <c:tickLblPos val="nextTo"/>
        <c:crossAx val="170498856"/>
        <c:crosses val="autoZero"/>
        <c:crossBetween val="midCat"/>
      </c:valAx>
      <c:valAx>
        <c:axId val="170498856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 dirty="0" smtClean="0">
                    <a:effectLst/>
                  </a:rPr>
                  <a:t>% of NON </a:t>
                </a:r>
                <a:r>
                  <a:rPr lang="en-US" sz="1000" b="1" i="0" baseline="0" dirty="0" err="1" smtClean="0">
                    <a:effectLst/>
                  </a:rPr>
                  <a:t>EcoDis</a:t>
                </a:r>
                <a:r>
                  <a:rPr lang="en-US" sz="1000" b="1" i="0" baseline="0" dirty="0" smtClean="0">
                    <a:effectLst/>
                  </a:rPr>
                  <a:t> Students Meeting</a:t>
                </a:r>
              </a:p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 dirty="0" smtClean="0">
                    <a:effectLst/>
                  </a:rPr>
                  <a:t> Phase-In Passing Standard</a:t>
                </a:r>
                <a:endParaRPr lang="en-US" sz="1000" dirty="0" smtClean="0">
                  <a:effectLst/>
                </a:endParaRPr>
              </a:p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endParaRPr lang="en-US" sz="1000" dirty="0"/>
              </a:p>
            </c:rich>
          </c:tx>
          <c:layout>
            <c:manualLayout>
              <c:xMode val="edge"/>
              <c:yMode val="edge"/>
              <c:x val="7.6622787127313699E-2"/>
              <c:y val="0.27183778303943401"/>
            </c:manualLayout>
          </c:layout>
          <c:overlay val="0"/>
        </c:title>
        <c:numFmt formatCode="0%" sourceLinked="1"/>
        <c:majorTickMark val="none"/>
        <c:minorTickMark val="none"/>
        <c:tickLblPos val="nextTo"/>
        <c:crossAx val="170499248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b="1" i="0" baseline="0" dirty="0" smtClean="0">
                <a:effectLst/>
              </a:rPr>
              <a:t>Student Achievement (Post. Secondary Std.) for Econ. Disadvantaged Students</a:t>
            </a:r>
            <a:endParaRPr lang="en-US" sz="1200" dirty="0" smtClean="0">
              <a:effectLst/>
            </a:endParaRPr>
          </a:p>
          <a:p>
            <a:pPr>
              <a:defRPr/>
            </a:pPr>
            <a:r>
              <a:rPr lang="en-US" sz="1200" b="1" i="0" baseline="0" dirty="0" smtClean="0">
                <a:effectLst/>
              </a:rPr>
              <a:t>Across All Campuses in Texas</a:t>
            </a:r>
            <a:endParaRPr lang="en-US" sz="1200" dirty="0" smtClean="0"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Dis PS'!$C$1:$C$2</c:f>
              <c:strCache>
                <c:ptCount val="2"/>
                <c:pt idx="1">
                  <c:v>PS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EcoDis PS'!$B$3:$B$7759</c:f>
              <c:numCache>
                <c:formatCode>0%</c:formatCode>
                <c:ptCount val="7757"/>
                <c:pt idx="0">
                  <c:v>0.92500000000000004</c:v>
                </c:pt>
                <c:pt idx="1">
                  <c:v>0.53300000000000003</c:v>
                </c:pt>
                <c:pt idx="2">
                  <c:v>0.85299999999999998</c:v>
                </c:pt>
                <c:pt idx="3">
                  <c:v>0.77400000000000002</c:v>
                </c:pt>
                <c:pt idx="4">
                  <c:v>0.58599999999999997</c:v>
                </c:pt>
                <c:pt idx="5">
                  <c:v>0.97</c:v>
                </c:pt>
                <c:pt idx="6">
                  <c:v>1</c:v>
                </c:pt>
                <c:pt idx="7">
                  <c:v>0.69299999999999995</c:v>
                </c:pt>
                <c:pt idx="8">
                  <c:v>0.95799999999999996</c:v>
                </c:pt>
                <c:pt idx="9">
                  <c:v>1</c:v>
                </c:pt>
                <c:pt idx="10">
                  <c:v>0.98099999999999998</c:v>
                </c:pt>
                <c:pt idx="11">
                  <c:v>0.73299999999999998</c:v>
                </c:pt>
                <c:pt idx="12">
                  <c:v>0.89600000000000002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0.55700000000000005</c:v>
                </c:pt>
                <c:pt idx="17">
                  <c:v>0.23100000000000001</c:v>
                </c:pt>
                <c:pt idx="18">
                  <c:v>0.35099999999999998</c:v>
                </c:pt>
                <c:pt idx="19">
                  <c:v>0.23200000000000001</c:v>
                </c:pt>
                <c:pt idx="20">
                  <c:v>0.79500000000000004</c:v>
                </c:pt>
                <c:pt idx="21">
                  <c:v>0.79400000000000004</c:v>
                </c:pt>
                <c:pt idx="22">
                  <c:v>1</c:v>
                </c:pt>
                <c:pt idx="23">
                  <c:v>0.30499999999999999</c:v>
                </c:pt>
                <c:pt idx="24">
                  <c:v>0.86699999999999999</c:v>
                </c:pt>
                <c:pt idx="25">
                  <c:v>1</c:v>
                </c:pt>
                <c:pt idx="26">
                  <c:v>0.52800000000000002</c:v>
                </c:pt>
                <c:pt idx="27">
                  <c:v>0.94799999999999995</c:v>
                </c:pt>
                <c:pt idx="28">
                  <c:v>0.80500000000000005</c:v>
                </c:pt>
                <c:pt idx="29">
                  <c:v>1</c:v>
                </c:pt>
                <c:pt idx="30">
                  <c:v>0.64300000000000002</c:v>
                </c:pt>
                <c:pt idx="31">
                  <c:v>0.85799999999999998</c:v>
                </c:pt>
                <c:pt idx="32">
                  <c:v>0.51500000000000001</c:v>
                </c:pt>
                <c:pt idx="33">
                  <c:v>0.80700000000000005</c:v>
                </c:pt>
                <c:pt idx="34">
                  <c:v>0.52900000000000003</c:v>
                </c:pt>
                <c:pt idx="35">
                  <c:v>0.96499999999999997</c:v>
                </c:pt>
                <c:pt idx="36">
                  <c:v>7.6999999999999999E-2</c:v>
                </c:pt>
                <c:pt idx="37">
                  <c:v>0.85699999999999998</c:v>
                </c:pt>
                <c:pt idx="38">
                  <c:v>0.98299999999999998</c:v>
                </c:pt>
                <c:pt idx="39">
                  <c:v>0.92100000000000004</c:v>
                </c:pt>
                <c:pt idx="40">
                  <c:v>1</c:v>
                </c:pt>
                <c:pt idx="41">
                  <c:v>0.57299999999999995</c:v>
                </c:pt>
                <c:pt idx="42">
                  <c:v>0.71199999999999997</c:v>
                </c:pt>
                <c:pt idx="43">
                  <c:v>1</c:v>
                </c:pt>
                <c:pt idx="44">
                  <c:v>1</c:v>
                </c:pt>
                <c:pt idx="45">
                  <c:v>0.77200000000000002</c:v>
                </c:pt>
                <c:pt idx="46">
                  <c:v>0.55200000000000005</c:v>
                </c:pt>
                <c:pt idx="47">
                  <c:v>0.52700000000000002</c:v>
                </c:pt>
                <c:pt idx="48">
                  <c:v>0.51100000000000001</c:v>
                </c:pt>
                <c:pt idx="49">
                  <c:v>0.89700000000000002</c:v>
                </c:pt>
                <c:pt idx="50">
                  <c:v>0.7</c:v>
                </c:pt>
                <c:pt idx="51">
                  <c:v>0.14000000000000001</c:v>
                </c:pt>
                <c:pt idx="52">
                  <c:v>0.57899999999999996</c:v>
                </c:pt>
                <c:pt idx="53">
                  <c:v>0.47399999999999998</c:v>
                </c:pt>
                <c:pt idx="54">
                  <c:v>6.3E-2</c:v>
                </c:pt>
                <c:pt idx="55">
                  <c:v>1</c:v>
                </c:pt>
                <c:pt idx="56">
                  <c:v>0.58699999999999997</c:v>
                </c:pt>
                <c:pt idx="57">
                  <c:v>1</c:v>
                </c:pt>
                <c:pt idx="58">
                  <c:v>0.38500000000000001</c:v>
                </c:pt>
                <c:pt idx="59">
                  <c:v>0.71099999999999997</c:v>
                </c:pt>
                <c:pt idx="60">
                  <c:v>0.52200000000000002</c:v>
                </c:pt>
                <c:pt idx="61">
                  <c:v>0.54200000000000004</c:v>
                </c:pt>
                <c:pt idx="62">
                  <c:v>1</c:v>
                </c:pt>
                <c:pt idx="63">
                  <c:v>0.70499999999999996</c:v>
                </c:pt>
                <c:pt idx="64">
                  <c:v>0.93899999999999995</c:v>
                </c:pt>
                <c:pt idx="65">
                  <c:v>0.91300000000000003</c:v>
                </c:pt>
                <c:pt idx="66">
                  <c:v>0.80400000000000005</c:v>
                </c:pt>
                <c:pt idx="67">
                  <c:v>0.88</c:v>
                </c:pt>
                <c:pt idx="68">
                  <c:v>0.76900000000000002</c:v>
                </c:pt>
                <c:pt idx="69">
                  <c:v>0.9</c:v>
                </c:pt>
                <c:pt idx="70">
                  <c:v>1</c:v>
                </c:pt>
                <c:pt idx="71">
                  <c:v>0.876</c:v>
                </c:pt>
                <c:pt idx="72">
                  <c:v>0.95299999999999996</c:v>
                </c:pt>
                <c:pt idx="73">
                  <c:v>0.54700000000000004</c:v>
                </c:pt>
                <c:pt idx="74">
                  <c:v>0.83299999999999996</c:v>
                </c:pt>
                <c:pt idx="75">
                  <c:v>1</c:v>
                </c:pt>
                <c:pt idx="76">
                  <c:v>0.41599999999999998</c:v>
                </c:pt>
                <c:pt idx="77">
                  <c:v>0.96299999999999997</c:v>
                </c:pt>
                <c:pt idx="78">
                  <c:v>0.96599999999999997</c:v>
                </c:pt>
                <c:pt idx="79">
                  <c:v>0.99099999999999999</c:v>
                </c:pt>
                <c:pt idx="80">
                  <c:v>0.54500000000000004</c:v>
                </c:pt>
                <c:pt idx="81">
                  <c:v>0.67900000000000005</c:v>
                </c:pt>
                <c:pt idx="82">
                  <c:v>0.91100000000000003</c:v>
                </c:pt>
                <c:pt idx="83">
                  <c:v>0.92600000000000005</c:v>
                </c:pt>
                <c:pt idx="84">
                  <c:v>0.33800000000000002</c:v>
                </c:pt>
                <c:pt idx="85">
                  <c:v>1</c:v>
                </c:pt>
                <c:pt idx="86">
                  <c:v>0.71699999999999997</c:v>
                </c:pt>
                <c:pt idx="87">
                  <c:v>0.13500000000000001</c:v>
                </c:pt>
                <c:pt idx="88">
                  <c:v>0.88900000000000001</c:v>
                </c:pt>
                <c:pt idx="89">
                  <c:v>1</c:v>
                </c:pt>
                <c:pt idx="90">
                  <c:v>0.65500000000000003</c:v>
                </c:pt>
                <c:pt idx="91">
                  <c:v>0.86299999999999999</c:v>
                </c:pt>
                <c:pt idx="92">
                  <c:v>0.433</c:v>
                </c:pt>
                <c:pt idx="93">
                  <c:v>0.82899999999999996</c:v>
                </c:pt>
                <c:pt idx="94">
                  <c:v>0.49299999999999999</c:v>
                </c:pt>
                <c:pt idx="95">
                  <c:v>0.73099999999999998</c:v>
                </c:pt>
                <c:pt idx="96">
                  <c:v>0.75600000000000001</c:v>
                </c:pt>
                <c:pt idx="97">
                  <c:v>0.85299999999999998</c:v>
                </c:pt>
                <c:pt idx="98">
                  <c:v>0.71699999999999997</c:v>
                </c:pt>
                <c:pt idx="99">
                  <c:v>0.73799999999999999</c:v>
                </c:pt>
                <c:pt idx="100">
                  <c:v>0.69199999999999995</c:v>
                </c:pt>
                <c:pt idx="101">
                  <c:v>0.95</c:v>
                </c:pt>
                <c:pt idx="102">
                  <c:v>0.90900000000000003</c:v>
                </c:pt>
                <c:pt idx="103">
                  <c:v>0.58799999999999997</c:v>
                </c:pt>
                <c:pt idx="104">
                  <c:v>0.75</c:v>
                </c:pt>
                <c:pt idx="105">
                  <c:v>0.86699999999999999</c:v>
                </c:pt>
                <c:pt idx="106">
                  <c:v>0.874</c:v>
                </c:pt>
                <c:pt idx="107">
                  <c:v>0.48599999999999999</c:v>
                </c:pt>
                <c:pt idx="108">
                  <c:v>0.24099999999999999</c:v>
                </c:pt>
                <c:pt idx="109">
                  <c:v>0.89200000000000002</c:v>
                </c:pt>
                <c:pt idx="110">
                  <c:v>0.65600000000000003</c:v>
                </c:pt>
                <c:pt idx="111">
                  <c:v>0.95099999999999996</c:v>
                </c:pt>
                <c:pt idx="112">
                  <c:v>0.313</c:v>
                </c:pt>
                <c:pt idx="113">
                  <c:v>1</c:v>
                </c:pt>
                <c:pt idx="114">
                  <c:v>0.44</c:v>
                </c:pt>
                <c:pt idx="115">
                  <c:v>0.215</c:v>
                </c:pt>
                <c:pt idx="116">
                  <c:v>0.89800000000000002</c:v>
                </c:pt>
                <c:pt idx="117">
                  <c:v>1</c:v>
                </c:pt>
                <c:pt idx="118">
                  <c:v>0.88800000000000001</c:v>
                </c:pt>
                <c:pt idx="119">
                  <c:v>0.65</c:v>
                </c:pt>
                <c:pt idx="120">
                  <c:v>0.81499999999999995</c:v>
                </c:pt>
                <c:pt idx="121">
                  <c:v>0.94199999999999995</c:v>
                </c:pt>
                <c:pt idx="122">
                  <c:v>0.99</c:v>
                </c:pt>
                <c:pt idx="123">
                  <c:v>0.49099999999999999</c:v>
                </c:pt>
                <c:pt idx="124">
                  <c:v>0.92800000000000005</c:v>
                </c:pt>
                <c:pt idx="125">
                  <c:v>0.79600000000000004</c:v>
                </c:pt>
                <c:pt idx="126">
                  <c:v>1</c:v>
                </c:pt>
                <c:pt idx="127">
                  <c:v>0.78200000000000003</c:v>
                </c:pt>
                <c:pt idx="128">
                  <c:v>0.84799999999999998</c:v>
                </c:pt>
                <c:pt idx="129">
                  <c:v>0.95699999999999996</c:v>
                </c:pt>
                <c:pt idx="130">
                  <c:v>0.94099999999999995</c:v>
                </c:pt>
                <c:pt idx="131">
                  <c:v>0.17100000000000001</c:v>
                </c:pt>
                <c:pt idx="132">
                  <c:v>0.68600000000000005</c:v>
                </c:pt>
                <c:pt idx="133">
                  <c:v>0.15</c:v>
                </c:pt>
                <c:pt idx="134">
                  <c:v>0.83699999999999997</c:v>
                </c:pt>
                <c:pt idx="135">
                  <c:v>0.95299999999999996</c:v>
                </c:pt>
                <c:pt idx="136">
                  <c:v>1</c:v>
                </c:pt>
                <c:pt idx="137">
                  <c:v>0.68799999999999994</c:v>
                </c:pt>
                <c:pt idx="138">
                  <c:v>0.76600000000000001</c:v>
                </c:pt>
                <c:pt idx="139">
                  <c:v>0.92300000000000004</c:v>
                </c:pt>
                <c:pt idx="140">
                  <c:v>0.751</c:v>
                </c:pt>
                <c:pt idx="141">
                  <c:v>0.88300000000000001</c:v>
                </c:pt>
                <c:pt idx="142">
                  <c:v>0.41699999999999998</c:v>
                </c:pt>
                <c:pt idx="143">
                  <c:v>0.624</c:v>
                </c:pt>
                <c:pt idx="144">
                  <c:v>0.55600000000000005</c:v>
                </c:pt>
                <c:pt idx="145">
                  <c:v>0.78800000000000003</c:v>
                </c:pt>
                <c:pt idx="146">
                  <c:v>0.91</c:v>
                </c:pt>
                <c:pt idx="147">
                  <c:v>0.52300000000000002</c:v>
                </c:pt>
                <c:pt idx="148">
                  <c:v>0.76900000000000002</c:v>
                </c:pt>
                <c:pt idx="149">
                  <c:v>0.51600000000000001</c:v>
                </c:pt>
                <c:pt idx="150">
                  <c:v>0.91700000000000004</c:v>
                </c:pt>
                <c:pt idx="151">
                  <c:v>0.95399999999999996</c:v>
                </c:pt>
                <c:pt idx="152">
                  <c:v>0.64</c:v>
                </c:pt>
                <c:pt idx="153">
                  <c:v>0.77</c:v>
                </c:pt>
                <c:pt idx="154">
                  <c:v>0.21199999999999999</c:v>
                </c:pt>
                <c:pt idx="155">
                  <c:v>0.98499999999999999</c:v>
                </c:pt>
                <c:pt idx="156">
                  <c:v>0.34200000000000003</c:v>
                </c:pt>
                <c:pt idx="157">
                  <c:v>0.04</c:v>
                </c:pt>
                <c:pt idx="158">
                  <c:v>0.96499999999999997</c:v>
                </c:pt>
                <c:pt idx="159">
                  <c:v>0.69099999999999995</c:v>
                </c:pt>
                <c:pt idx="160">
                  <c:v>0.63900000000000001</c:v>
                </c:pt>
                <c:pt idx="161">
                  <c:v>0.36799999999999999</c:v>
                </c:pt>
                <c:pt idx="162">
                  <c:v>0.93</c:v>
                </c:pt>
                <c:pt idx="163">
                  <c:v>0.97399999999999998</c:v>
                </c:pt>
                <c:pt idx="164">
                  <c:v>0.89900000000000002</c:v>
                </c:pt>
                <c:pt idx="165">
                  <c:v>0.83099999999999996</c:v>
                </c:pt>
                <c:pt idx="166">
                  <c:v>0.91900000000000004</c:v>
                </c:pt>
                <c:pt idx="167">
                  <c:v>0.26900000000000002</c:v>
                </c:pt>
                <c:pt idx="168">
                  <c:v>0.61799999999999999</c:v>
                </c:pt>
                <c:pt idx="169">
                  <c:v>0.84</c:v>
                </c:pt>
                <c:pt idx="170">
                  <c:v>0.66700000000000004</c:v>
                </c:pt>
                <c:pt idx="171">
                  <c:v>0.94499999999999995</c:v>
                </c:pt>
                <c:pt idx="172">
                  <c:v>0.70599999999999996</c:v>
                </c:pt>
                <c:pt idx="173">
                  <c:v>0.44400000000000001</c:v>
                </c:pt>
                <c:pt idx="174">
                  <c:v>0.40799999999999997</c:v>
                </c:pt>
                <c:pt idx="175">
                  <c:v>0.93400000000000005</c:v>
                </c:pt>
                <c:pt idx="176">
                  <c:v>0.9</c:v>
                </c:pt>
                <c:pt idx="177">
                  <c:v>0.81899999999999995</c:v>
                </c:pt>
                <c:pt idx="178">
                  <c:v>0.92300000000000004</c:v>
                </c:pt>
                <c:pt idx="179">
                  <c:v>1</c:v>
                </c:pt>
                <c:pt idx="180">
                  <c:v>0.94299999999999995</c:v>
                </c:pt>
                <c:pt idx="181">
                  <c:v>0.97099999999999997</c:v>
                </c:pt>
                <c:pt idx="182">
                  <c:v>0.91400000000000003</c:v>
                </c:pt>
                <c:pt idx="183">
                  <c:v>1</c:v>
                </c:pt>
                <c:pt idx="184">
                  <c:v>0.625</c:v>
                </c:pt>
                <c:pt idx="185">
                  <c:v>1</c:v>
                </c:pt>
                <c:pt idx="186">
                  <c:v>0.89200000000000002</c:v>
                </c:pt>
                <c:pt idx="187">
                  <c:v>0.64700000000000002</c:v>
                </c:pt>
                <c:pt idx="188">
                  <c:v>0.83899999999999997</c:v>
                </c:pt>
                <c:pt idx="189">
                  <c:v>0.66500000000000004</c:v>
                </c:pt>
                <c:pt idx="190">
                  <c:v>0.52200000000000002</c:v>
                </c:pt>
                <c:pt idx="191">
                  <c:v>0.88500000000000001</c:v>
                </c:pt>
                <c:pt idx="192">
                  <c:v>0.63200000000000001</c:v>
                </c:pt>
                <c:pt idx="193">
                  <c:v>0.65700000000000003</c:v>
                </c:pt>
                <c:pt idx="194">
                  <c:v>0.29799999999999999</c:v>
                </c:pt>
                <c:pt idx="195">
                  <c:v>0.61799999999999999</c:v>
                </c:pt>
                <c:pt idx="196">
                  <c:v>0.57899999999999996</c:v>
                </c:pt>
                <c:pt idx="197">
                  <c:v>0.50900000000000001</c:v>
                </c:pt>
                <c:pt idx="198">
                  <c:v>0.68200000000000005</c:v>
                </c:pt>
                <c:pt idx="199">
                  <c:v>0.89300000000000002</c:v>
                </c:pt>
                <c:pt idx="200">
                  <c:v>0.94199999999999995</c:v>
                </c:pt>
                <c:pt idx="201">
                  <c:v>1</c:v>
                </c:pt>
                <c:pt idx="202">
                  <c:v>0.61799999999999999</c:v>
                </c:pt>
                <c:pt idx="203">
                  <c:v>0.68100000000000005</c:v>
                </c:pt>
                <c:pt idx="204">
                  <c:v>1</c:v>
                </c:pt>
                <c:pt idx="205">
                  <c:v>0.90200000000000002</c:v>
                </c:pt>
                <c:pt idx="206">
                  <c:v>0.68200000000000005</c:v>
                </c:pt>
                <c:pt idx="207">
                  <c:v>0.56499999999999995</c:v>
                </c:pt>
                <c:pt idx="208">
                  <c:v>0.74</c:v>
                </c:pt>
                <c:pt idx="209">
                  <c:v>0.93600000000000005</c:v>
                </c:pt>
                <c:pt idx="210">
                  <c:v>1</c:v>
                </c:pt>
                <c:pt idx="211">
                  <c:v>0.70599999999999996</c:v>
                </c:pt>
                <c:pt idx="212">
                  <c:v>0.73899999999999999</c:v>
                </c:pt>
                <c:pt idx="213">
                  <c:v>0.60399999999999998</c:v>
                </c:pt>
                <c:pt idx="214">
                  <c:v>0.629</c:v>
                </c:pt>
                <c:pt idx="215">
                  <c:v>0.98899999999999999</c:v>
                </c:pt>
                <c:pt idx="216">
                  <c:v>0.39500000000000002</c:v>
                </c:pt>
                <c:pt idx="217">
                  <c:v>0.54</c:v>
                </c:pt>
                <c:pt idx="218">
                  <c:v>0.55200000000000005</c:v>
                </c:pt>
                <c:pt idx="219">
                  <c:v>0.38400000000000001</c:v>
                </c:pt>
                <c:pt idx="220">
                  <c:v>0.53100000000000003</c:v>
                </c:pt>
                <c:pt idx="221">
                  <c:v>0.503</c:v>
                </c:pt>
                <c:pt idx="222">
                  <c:v>0.59799999999999998</c:v>
                </c:pt>
                <c:pt idx="223">
                  <c:v>0.92400000000000004</c:v>
                </c:pt>
                <c:pt idx="224">
                  <c:v>0.93</c:v>
                </c:pt>
                <c:pt idx="225">
                  <c:v>0.84899999999999998</c:v>
                </c:pt>
                <c:pt idx="226">
                  <c:v>0.54900000000000004</c:v>
                </c:pt>
                <c:pt idx="227">
                  <c:v>0.52200000000000002</c:v>
                </c:pt>
                <c:pt idx="228">
                  <c:v>3.6999999999999998E-2</c:v>
                </c:pt>
                <c:pt idx="229">
                  <c:v>0.78700000000000003</c:v>
                </c:pt>
                <c:pt idx="230">
                  <c:v>0.625</c:v>
                </c:pt>
                <c:pt idx="231">
                  <c:v>0.63600000000000001</c:v>
                </c:pt>
                <c:pt idx="232">
                  <c:v>0.05</c:v>
                </c:pt>
                <c:pt idx="233">
                  <c:v>0.75600000000000001</c:v>
                </c:pt>
                <c:pt idx="234">
                  <c:v>0.84499999999999997</c:v>
                </c:pt>
                <c:pt idx="235">
                  <c:v>0.70699999999999996</c:v>
                </c:pt>
                <c:pt idx="236">
                  <c:v>0.97699999999999998</c:v>
                </c:pt>
                <c:pt idx="237">
                  <c:v>0.313</c:v>
                </c:pt>
                <c:pt idx="238">
                  <c:v>0.89400000000000002</c:v>
                </c:pt>
                <c:pt idx="239">
                  <c:v>0.81299999999999994</c:v>
                </c:pt>
                <c:pt idx="240">
                  <c:v>0.83299999999999996</c:v>
                </c:pt>
                <c:pt idx="241">
                  <c:v>7.4999999999999997E-2</c:v>
                </c:pt>
                <c:pt idx="242">
                  <c:v>1</c:v>
                </c:pt>
                <c:pt idx="243">
                  <c:v>0.65600000000000003</c:v>
                </c:pt>
                <c:pt idx="244">
                  <c:v>0.54</c:v>
                </c:pt>
                <c:pt idx="245">
                  <c:v>0.94399999999999995</c:v>
                </c:pt>
                <c:pt idx="246">
                  <c:v>0.47399999999999998</c:v>
                </c:pt>
                <c:pt idx="247">
                  <c:v>0.97799999999999998</c:v>
                </c:pt>
                <c:pt idx="248">
                  <c:v>0.93100000000000005</c:v>
                </c:pt>
                <c:pt idx="249">
                  <c:v>0.94099999999999995</c:v>
                </c:pt>
                <c:pt idx="250">
                  <c:v>0.79</c:v>
                </c:pt>
                <c:pt idx="251">
                  <c:v>0.84899999999999998</c:v>
                </c:pt>
                <c:pt idx="252">
                  <c:v>0.03</c:v>
                </c:pt>
                <c:pt idx="253">
                  <c:v>0.47699999999999998</c:v>
                </c:pt>
                <c:pt idx="254">
                  <c:v>0.75700000000000001</c:v>
                </c:pt>
                <c:pt idx="255">
                  <c:v>0.751</c:v>
                </c:pt>
                <c:pt idx="256">
                  <c:v>0.96299999999999997</c:v>
                </c:pt>
                <c:pt idx="257">
                  <c:v>0.84499999999999997</c:v>
                </c:pt>
                <c:pt idx="258">
                  <c:v>0.88600000000000001</c:v>
                </c:pt>
                <c:pt idx="259">
                  <c:v>0.91500000000000004</c:v>
                </c:pt>
                <c:pt idx="260">
                  <c:v>0.36299999999999999</c:v>
                </c:pt>
                <c:pt idx="261">
                  <c:v>0.66200000000000003</c:v>
                </c:pt>
                <c:pt idx="262">
                  <c:v>0.437</c:v>
                </c:pt>
                <c:pt idx="263">
                  <c:v>0.26500000000000001</c:v>
                </c:pt>
                <c:pt idx="264">
                  <c:v>0.94</c:v>
                </c:pt>
                <c:pt idx="265">
                  <c:v>0.78600000000000003</c:v>
                </c:pt>
                <c:pt idx="266">
                  <c:v>0.311</c:v>
                </c:pt>
                <c:pt idx="267">
                  <c:v>0.45</c:v>
                </c:pt>
                <c:pt idx="268">
                  <c:v>1</c:v>
                </c:pt>
                <c:pt idx="269">
                  <c:v>0.78800000000000003</c:v>
                </c:pt>
                <c:pt idx="270">
                  <c:v>0.46300000000000002</c:v>
                </c:pt>
                <c:pt idx="271">
                  <c:v>0.82899999999999996</c:v>
                </c:pt>
                <c:pt idx="272">
                  <c:v>0.56000000000000005</c:v>
                </c:pt>
                <c:pt idx="273">
                  <c:v>0.86</c:v>
                </c:pt>
                <c:pt idx="274">
                  <c:v>0.61499999999999999</c:v>
                </c:pt>
                <c:pt idx="275">
                  <c:v>0.42499999999999999</c:v>
                </c:pt>
                <c:pt idx="276">
                  <c:v>0.40400000000000003</c:v>
                </c:pt>
                <c:pt idx="277">
                  <c:v>0.93100000000000005</c:v>
                </c:pt>
                <c:pt idx="278">
                  <c:v>0.59599999999999997</c:v>
                </c:pt>
                <c:pt idx="279">
                  <c:v>0.90100000000000002</c:v>
                </c:pt>
                <c:pt idx="280">
                  <c:v>0.81299999999999994</c:v>
                </c:pt>
                <c:pt idx="281">
                  <c:v>0.59699999999999998</c:v>
                </c:pt>
                <c:pt idx="282">
                  <c:v>0.84099999999999997</c:v>
                </c:pt>
                <c:pt idx="283">
                  <c:v>0.85699999999999998</c:v>
                </c:pt>
                <c:pt idx="284">
                  <c:v>0.97399999999999998</c:v>
                </c:pt>
                <c:pt idx="285">
                  <c:v>0.91700000000000004</c:v>
                </c:pt>
                <c:pt idx="286">
                  <c:v>0.47</c:v>
                </c:pt>
                <c:pt idx="287">
                  <c:v>1</c:v>
                </c:pt>
                <c:pt idx="288">
                  <c:v>0.85599999999999998</c:v>
                </c:pt>
                <c:pt idx="289">
                  <c:v>0.91500000000000004</c:v>
                </c:pt>
                <c:pt idx="290">
                  <c:v>0.84299999999999997</c:v>
                </c:pt>
                <c:pt idx="291">
                  <c:v>0.91800000000000004</c:v>
                </c:pt>
                <c:pt idx="292">
                  <c:v>0.95499999999999996</c:v>
                </c:pt>
                <c:pt idx="293">
                  <c:v>0.83499999999999996</c:v>
                </c:pt>
                <c:pt idx="294">
                  <c:v>0.60599999999999998</c:v>
                </c:pt>
                <c:pt idx="295">
                  <c:v>0.48299999999999998</c:v>
                </c:pt>
                <c:pt idx="296">
                  <c:v>0.79</c:v>
                </c:pt>
                <c:pt idx="297">
                  <c:v>0.8</c:v>
                </c:pt>
                <c:pt idx="298">
                  <c:v>0.90900000000000003</c:v>
                </c:pt>
                <c:pt idx="299">
                  <c:v>0.61599999999999999</c:v>
                </c:pt>
                <c:pt idx="300">
                  <c:v>0.71</c:v>
                </c:pt>
                <c:pt idx="301">
                  <c:v>0.94399999999999995</c:v>
                </c:pt>
                <c:pt idx="302">
                  <c:v>0.84599999999999997</c:v>
                </c:pt>
                <c:pt idx="303">
                  <c:v>0.65700000000000003</c:v>
                </c:pt>
                <c:pt idx="304">
                  <c:v>0.90800000000000003</c:v>
                </c:pt>
                <c:pt idx="305">
                  <c:v>0.65300000000000002</c:v>
                </c:pt>
                <c:pt idx="306">
                  <c:v>0.97599999999999998</c:v>
                </c:pt>
                <c:pt idx="307">
                  <c:v>0.45600000000000002</c:v>
                </c:pt>
                <c:pt idx="308">
                  <c:v>0.88200000000000001</c:v>
                </c:pt>
                <c:pt idx="309">
                  <c:v>0.66700000000000004</c:v>
                </c:pt>
                <c:pt idx="310">
                  <c:v>0.95599999999999996</c:v>
                </c:pt>
                <c:pt idx="311">
                  <c:v>0.81</c:v>
                </c:pt>
                <c:pt idx="312">
                  <c:v>0.86</c:v>
                </c:pt>
                <c:pt idx="313">
                  <c:v>1</c:v>
                </c:pt>
                <c:pt idx="314">
                  <c:v>0.94299999999999995</c:v>
                </c:pt>
                <c:pt idx="315">
                  <c:v>0.71199999999999997</c:v>
                </c:pt>
                <c:pt idx="316">
                  <c:v>0.879</c:v>
                </c:pt>
                <c:pt idx="317">
                  <c:v>0.90300000000000002</c:v>
                </c:pt>
                <c:pt idx="318">
                  <c:v>0.58599999999999997</c:v>
                </c:pt>
                <c:pt idx="319">
                  <c:v>0.73399999999999999</c:v>
                </c:pt>
                <c:pt idx="320">
                  <c:v>0.79400000000000004</c:v>
                </c:pt>
                <c:pt idx="321">
                  <c:v>0.75900000000000001</c:v>
                </c:pt>
                <c:pt idx="322">
                  <c:v>0.875</c:v>
                </c:pt>
                <c:pt idx="323">
                  <c:v>0.98399999999999999</c:v>
                </c:pt>
                <c:pt idx="324">
                  <c:v>0.223</c:v>
                </c:pt>
                <c:pt idx="325">
                  <c:v>0.58099999999999996</c:v>
                </c:pt>
                <c:pt idx="326">
                  <c:v>0.96399999999999997</c:v>
                </c:pt>
                <c:pt idx="327">
                  <c:v>0.71299999999999997</c:v>
                </c:pt>
                <c:pt idx="328">
                  <c:v>0.98199999999999998</c:v>
                </c:pt>
                <c:pt idx="329">
                  <c:v>0.73399999999999999</c:v>
                </c:pt>
                <c:pt idx="330">
                  <c:v>0.69099999999999995</c:v>
                </c:pt>
                <c:pt idx="331">
                  <c:v>0.76900000000000002</c:v>
                </c:pt>
                <c:pt idx="332">
                  <c:v>0.90100000000000002</c:v>
                </c:pt>
                <c:pt idx="333">
                  <c:v>0.45700000000000002</c:v>
                </c:pt>
                <c:pt idx="334">
                  <c:v>0.58299999999999996</c:v>
                </c:pt>
                <c:pt idx="335">
                  <c:v>0.94</c:v>
                </c:pt>
                <c:pt idx="336">
                  <c:v>0.94099999999999995</c:v>
                </c:pt>
                <c:pt idx="337">
                  <c:v>0.64500000000000002</c:v>
                </c:pt>
                <c:pt idx="338">
                  <c:v>0.95599999999999996</c:v>
                </c:pt>
                <c:pt idx="339">
                  <c:v>0.93500000000000005</c:v>
                </c:pt>
                <c:pt idx="340">
                  <c:v>0.79600000000000004</c:v>
                </c:pt>
                <c:pt idx="341">
                  <c:v>0.97099999999999997</c:v>
                </c:pt>
                <c:pt idx="342">
                  <c:v>0.71799999999999997</c:v>
                </c:pt>
                <c:pt idx="343">
                  <c:v>0.85599999999999998</c:v>
                </c:pt>
                <c:pt idx="344">
                  <c:v>0.88</c:v>
                </c:pt>
                <c:pt idx="345">
                  <c:v>0.625</c:v>
                </c:pt>
                <c:pt idx="346">
                  <c:v>6.7000000000000004E-2</c:v>
                </c:pt>
                <c:pt idx="347">
                  <c:v>0.60799999999999998</c:v>
                </c:pt>
                <c:pt idx="348">
                  <c:v>1</c:v>
                </c:pt>
                <c:pt idx="349">
                  <c:v>0.375</c:v>
                </c:pt>
                <c:pt idx="350">
                  <c:v>0.88800000000000001</c:v>
                </c:pt>
                <c:pt idx="351">
                  <c:v>0.85</c:v>
                </c:pt>
                <c:pt idx="352">
                  <c:v>0.54900000000000004</c:v>
                </c:pt>
                <c:pt idx="353">
                  <c:v>0.84899999999999998</c:v>
                </c:pt>
                <c:pt idx="354">
                  <c:v>0.80400000000000005</c:v>
                </c:pt>
                <c:pt idx="355">
                  <c:v>0.94399999999999995</c:v>
                </c:pt>
                <c:pt idx="356">
                  <c:v>0.90900000000000003</c:v>
                </c:pt>
                <c:pt idx="357">
                  <c:v>0.68300000000000005</c:v>
                </c:pt>
                <c:pt idx="358">
                  <c:v>0.96799999999999997</c:v>
                </c:pt>
                <c:pt idx="359">
                  <c:v>0.88</c:v>
                </c:pt>
                <c:pt idx="360">
                  <c:v>0.56399999999999995</c:v>
                </c:pt>
                <c:pt idx="361">
                  <c:v>0.875</c:v>
                </c:pt>
                <c:pt idx="362">
                  <c:v>0.66700000000000004</c:v>
                </c:pt>
                <c:pt idx="363">
                  <c:v>0.78900000000000003</c:v>
                </c:pt>
                <c:pt idx="364">
                  <c:v>0.42299999999999999</c:v>
                </c:pt>
                <c:pt idx="365">
                  <c:v>0.51800000000000002</c:v>
                </c:pt>
                <c:pt idx="366">
                  <c:v>0.61499999999999999</c:v>
                </c:pt>
                <c:pt idx="367">
                  <c:v>0.70099999999999996</c:v>
                </c:pt>
                <c:pt idx="368">
                  <c:v>0.77700000000000002</c:v>
                </c:pt>
                <c:pt idx="369">
                  <c:v>0.82899999999999996</c:v>
                </c:pt>
                <c:pt idx="370">
                  <c:v>0.7</c:v>
                </c:pt>
                <c:pt idx="371">
                  <c:v>1.6E-2</c:v>
                </c:pt>
                <c:pt idx="372">
                  <c:v>0.29799999999999999</c:v>
                </c:pt>
                <c:pt idx="373">
                  <c:v>0.85599999999999998</c:v>
                </c:pt>
                <c:pt idx="374">
                  <c:v>0.80600000000000005</c:v>
                </c:pt>
                <c:pt idx="375">
                  <c:v>0.60199999999999998</c:v>
                </c:pt>
                <c:pt idx="376">
                  <c:v>0.67400000000000004</c:v>
                </c:pt>
                <c:pt idx="377">
                  <c:v>0.91</c:v>
                </c:pt>
                <c:pt idx="378">
                  <c:v>0.86299999999999999</c:v>
                </c:pt>
                <c:pt idx="379">
                  <c:v>0.65</c:v>
                </c:pt>
                <c:pt idx="380">
                  <c:v>0.875</c:v>
                </c:pt>
                <c:pt idx="381">
                  <c:v>0.95299999999999996</c:v>
                </c:pt>
                <c:pt idx="382">
                  <c:v>0.76300000000000001</c:v>
                </c:pt>
                <c:pt idx="383">
                  <c:v>0.67300000000000004</c:v>
                </c:pt>
                <c:pt idx="384">
                  <c:v>0.32400000000000001</c:v>
                </c:pt>
                <c:pt idx="385">
                  <c:v>0.92100000000000004</c:v>
                </c:pt>
                <c:pt idx="386">
                  <c:v>0.74</c:v>
                </c:pt>
                <c:pt idx="387">
                  <c:v>0.80600000000000005</c:v>
                </c:pt>
                <c:pt idx="388">
                  <c:v>0.72399999999999998</c:v>
                </c:pt>
                <c:pt idx="389">
                  <c:v>0.96599999999999997</c:v>
                </c:pt>
                <c:pt idx="390">
                  <c:v>0.59699999999999998</c:v>
                </c:pt>
                <c:pt idx="391">
                  <c:v>0.96799999999999997</c:v>
                </c:pt>
                <c:pt idx="392">
                  <c:v>0.91600000000000004</c:v>
                </c:pt>
                <c:pt idx="393">
                  <c:v>0.98899999999999999</c:v>
                </c:pt>
                <c:pt idx="394">
                  <c:v>0.995</c:v>
                </c:pt>
                <c:pt idx="395">
                  <c:v>0.48899999999999999</c:v>
                </c:pt>
                <c:pt idx="396">
                  <c:v>0.64500000000000002</c:v>
                </c:pt>
                <c:pt idx="397">
                  <c:v>0.72499999999999998</c:v>
                </c:pt>
                <c:pt idx="398">
                  <c:v>0.81399999999999995</c:v>
                </c:pt>
                <c:pt idx="399">
                  <c:v>0.76600000000000001</c:v>
                </c:pt>
                <c:pt idx="400">
                  <c:v>0.85499999999999998</c:v>
                </c:pt>
                <c:pt idx="401">
                  <c:v>0.92300000000000004</c:v>
                </c:pt>
                <c:pt idx="402">
                  <c:v>0.96</c:v>
                </c:pt>
                <c:pt idx="403">
                  <c:v>0.6</c:v>
                </c:pt>
                <c:pt idx="404">
                  <c:v>0.86299999999999999</c:v>
                </c:pt>
                <c:pt idx="405">
                  <c:v>0.95399999999999996</c:v>
                </c:pt>
                <c:pt idx="406">
                  <c:v>0.747</c:v>
                </c:pt>
                <c:pt idx="407">
                  <c:v>0.82599999999999996</c:v>
                </c:pt>
                <c:pt idx="408">
                  <c:v>0.84799999999999998</c:v>
                </c:pt>
                <c:pt idx="409">
                  <c:v>0.68100000000000005</c:v>
                </c:pt>
                <c:pt idx="410">
                  <c:v>0.54100000000000004</c:v>
                </c:pt>
                <c:pt idx="411">
                  <c:v>0.86099999999999999</c:v>
                </c:pt>
                <c:pt idx="412">
                  <c:v>0.92600000000000005</c:v>
                </c:pt>
                <c:pt idx="413">
                  <c:v>0.52600000000000002</c:v>
                </c:pt>
                <c:pt idx="414">
                  <c:v>0.96299999999999997</c:v>
                </c:pt>
                <c:pt idx="415">
                  <c:v>0.89900000000000002</c:v>
                </c:pt>
                <c:pt idx="416">
                  <c:v>0.88900000000000001</c:v>
                </c:pt>
                <c:pt idx="417">
                  <c:v>0.94599999999999995</c:v>
                </c:pt>
                <c:pt idx="418">
                  <c:v>0.94599999999999995</c:v>
                </c:pt>
                <c:pt idx="419">
                  <c:v>0.88200000000000001</c:v>
                </c:pt>
                <c:pt idx="420">
                  <c:v>0.47899999999999998</c:v>
                </c:pt>
                <c:pt idx="421">
                  <c:v>0.84099999999999997</c:v>
                </c:pt>
                <c:pt idx="422">
                  <c:v>0.71399999999999997</c:v>
                </c:pt>
                <c:pt idx="423">
                  <c:v>0.93500000000000005</c:v>
                </c:pt>
                <c:pt idx="424">
                  <c:v>0.89700000000000002</c:v>
                </c:pt>
                <c:pt idx="425">
                  <c:v>0.68400000000000005</c:v>
                </c:pt>
                <c:pt idx="426">
                  <c:v>0.82599999999999996</c:v>
                </c:pt>
                <c:pt idx="427">
                  <c:v>0.85299999999999998</c:v>
                </c:pt>
                <c:pt idx="428">
                  <c:v>0.89300000000000002</c:v>
                </c:pt>
                <c:pt idx="429">
                  <c:v>0.371</c:v>
                </c:pt>
                <c:pt idx="430">
                  <c:v>0.78200000000000003</c:v>
                </c:pt>
                <c:pt idx="431">
                  <c:v>0.61199999999999999</c:v>
                </c:pt>
                <c:pt idx="432">
                  <c:v>0.71399999999999997</c:v>
                </c:pt>
                <c:pt idx="433">
                  <c:v>0.75800000000000001</c:v>
                </c:pt>
                <c:pt idx="434">
                  <c:v>0.77900000000000003</c:v>
                </c:pt>
                <c:pt idx="435">
                  <c:v>0.72599999999999998</c:v>
                </c:pt>
                <c:pt idx="436">
                  <c:v>0.97699999999999998</c:v>
                </c:pt>
                <c:pt idx="437">
                  <c:v>0.98</c:v>
                </c:pt>
                <c:pt idx="438">
                  <c:v>0.95299999999999996</c:v>
                </c:pt>
                <c:pt idx="439">
                  <c:v>0.70899999999999996</c:v>
                </c:pt>
                <c:pt idx="440">
                  <c:v>0.75600000000000001</c:v>
                </c:pt>
                <c:pt idx="441">
                  <c:v>0.48599999999999999</c:v>
                </c:pt>
                <c:pt idx="442">
                  <c:v>0.56399999999999995</c:v>
                </c:pt>
                <c:pt idx="443">
                  <c:v>0.92800000000000005</c:v>
                </c:pt>
                <c:pt idx="444">
                  <c:v>0.94</c:v>
                </c:pt>
                <c:pt idx="445">
                  <c:v>0.61199999999999999</c:v>
                </c:pt>
                <c:pt idx="446">
                  <c:v>0.92</c:v>
                </c:pt>
                <c:pt idx="447">
                  <c:v>0.81599999999999995</c:v>
                </c:pt>
                <c:pt idx="448">
                  <c:v>0.83299999999999996</c:v>
                </c:pt>
                <c:pt idx="449">
                  <c:v>0.86399999999999999</c:v>
                </c:pt>
                <c:pt idx="450">
                  <c:v>0.76300000000000001</c:v>
                </c:pt>
                <c:pt idx="451">
                  <c:v>0.81399999999999995</c:v>
                </c:pt>
                <c:pt idx="452">
                  <c:v>0.69399999999999995</c:v>
                </c:pt>
                <c:pt idx="453">
                  <c:v>0.73499999999999999</c:v>
                </c:pt>
                <c:pt idx="454">
                  <c:v>0.68700000000000006</c:v>
                </c:pt>
                <c:pt idx="455">
                  <c:v>0.77500000000000002</c:v>
                </c:pt>
                <c:pt idx="456">
                  <c:v>0.81</c:v>
                </c:pt>
                <c:pt idx="457">
                  <c:v>0.77100000000000002</c:v>
                </c:pt>
                <c:pt idx="458">
                  <c:v>0.8</c:v>
                </c:pt>
                <c:pt idx="459">
                  <c:v>0.61099999999999999</c:v>
                </c:pt>
                <c:pt idx="460">
                  <c:v>0.67800000000000005</c:v>
                </c:pt>
                <c:pt idx="461">
                  <c:v>0.61199999999999999</c:v>
                </c:pt>
                <c:pt idx="462">
                  <c:v>0.73799999999999999</c:v>
                </c:pt>
                <c:pt idx="463">
                  <c:v>0.93300000000000005</c:v>
                </c:pt>
                <c:pt idx="464">
                  <c:v>0.96299999999999997</c:v>
                </c:pt>
                <c:pt idx="465">
                  <c:v>0.64</c:v>
                </c:pt>
                <c:pt idx="466">
                  <c:v>0.55900000000000005</c:v>
                </c:pt>
                <c:pt idx="467">
                  <c:v>0.81299999999999994</c:v>
                </c:pt>
                <c:pt idx="468">
                  <c:v>0.98699999999999999</c:v>
                </c:pt>
                <c:pt idx="469">
                  <c:v>0.77400000000000002</c:v>
                </c:pt>
                <c:pt idx="470">
                  <c:v>0.64800000000000002</c:v>
                </c:pt>
                <c:pt idx="471">
                  <c:v>0.80200000000000005</c:v>
                </c:pt>
                <c:pt idx="472">
                  <c:v>0.316</c:v>
                </c:pt>
                <c:pt idx="473">
                  <c:v>0.82099999999999995</c:v>
                </c:pt>
                <c:pt idx="474">
                  <c:v>0.73799999999999999</c:v>
                </c:pt>
                <c:pt idx="475">
                  <c:v>0.39300000000000002</c:v>
                </c:pt>
                <c:pt idx="476">
                  <c:v>0.67300000000000004</c:v>
                </c:pt>
                <c:pt idx="477">
                  <c:v>0.93899999999999995</c:v>
                </c:pt>
                <c:pt idx="478">
                  <c:v>0.88700000000000001</c:v>
                </c:pt>
                <c:pt idx="479">
                  <c:v>0.81399999999999995</c:v>
                </c:pt>
                <c:pt idx="480">
                  <c:v>0.80100000000000005</c:v>
                </c:pt>
                <c:pt idx="481">
                  <c:v>0.66700000000000004</c:v>
                </c:pt>
                <c:pt idx="482">
                  <c:v>0.92200000000000004</c:v>
                </c:pt>
                <c:pt idx="483">
                  <c:v>0.53800000000000003</c:v>
                </c:pt>
                <c:pt idx="484">
                  <c:v>0.73299999999999998</c:v>
                </c:pt>
                <c:pt idx="485">
                  <c:v>0.90100000000000002</c:v>
                </c:pt>
                <c:pt idx="486">
                  <c:v>0.92</c:v>
                </c:pt>
                <c:pt idx="487">
                  <c:v>0.98799999999999999</c:v>
                </c:pt>
                <c:pt idx="488">
                  <c:v>0.627</c:v>
                </c:pt>
                <c:pt idx="489">
                  <c:v>0.79500000000000004</c:v>
                </c:pt>
                <c:pt idx="490">
                  <c:v>0.91100000000000003</c:v>
                </c:pt>
                <c:pt idx="491">
                  <c:v>0.77900000000000003</c:v>
                </c:pt>
                <c:pt idx="492">
                  <c:v>0.93100000000000005</c:v>
                </c:pt>
                <c:pt idx="493">
                  <c:v>0.372</c:v>
                </c:pt>
                <c:pt idx="494">
                  <c:v>0.92500000000000004</c:v>
                </c:pt>
                <c:pt idx="495">
                  <c:v>0.91700000000000004</c:v>
                </c:pt>
                <c:pt idx="496">
                  <c:v>0.78</c:v>
                </c:pt>
                <c:pt idx="497">
                  <c:v>0.872</c:v>
                </c:pt>
                <c:pt idx="498">
                  <c:v>0.90700000000000003</c:v>
                </c:pt>
                <c:pt idx="499">
                  <c:v>0.88</c:v>
                </c:pt>
                <c:pt idx="500">
                  <c:v>0.88200000000000001</c:v>
                </c:pt>
                <c:pt idx="501">
                  <c:v>0.95399999999999996</c:v>
                </c:pt>
                <c:pt idx="502">
                  <c:v>0.72499999999999998</c:v>
                </c:pt>
                <c:pt idx="503">
                  <c:v>0.49</c:v>
                </c:pt>
                <c:pt idx="504">
                  <c:v>1</c:v>
                </c:pt>
                <c:pt idx="505">
                  <c:v>0.4</c:v>
                </c:pt>
                <c:pt idx="506">
                  <c:v>0.35299999999999998</c:v>
                </c:pt>
                <c:pt idx="507">
                  <c:v>0.76800000000000002</c:v>
                </c:pt>
                <c:pt idx="508">
                  <c:v>0.89700000000000002</c:v>
                </c:pt>
                <c:pt idx="509">
                  <c:v>0.93300000000000005</c:v>
                </c:pt>
                <c:pt idx="510">
                  <c:v>0.77600000000000002</c:v>
                </c:pt>
                <c:pt idx="511">
                  <c:v>0.69</c:v>
                </c:pt>
                <c:pt idx="512">
                  <c:v>0.61499999999999999</c:v>
                </c:pt>
                <c:pt idx="513">
                  <c:v>0.81899999999999995</c:v>
                </c:pt>
                <c:pt idx="514">
                  <c:v>0.77700000000000002</c:v>
                </c:pt>
                <c:pt idx="515">
                  <c:v>0.70199999999999996</c:v>
                </c:pt>
                <c:pt idx="516">
                  <c:v>0.91900000000000004</c:v>
                </c:pt>
                <c:pt idx="517">
                  <c:v>4.9000000000000002E-2</c:v>
                </c:pt>
                <c:pt idx="518">
                  <c:v>0.93400000000000005</c:v>
                </c:pt>
                <c:pt idx="519">
                  <c:v>0.76100000000000001</c:v>
                </c:pt>
                <c:pt idx="520">
                  <c:v>0.88900000000000001</c:v>
                </c:pt>
                <c:pt idx="521">
                  <c:v>0.95099999999999996</c:v>
                </c:pt>
                <c:pt idx="522">
                  <c:v>0.48099999999999998</c:v>
                </c:pt>
                <c:pt idx="523">
                  <c:v>0.90700000000000003</c:v>
                </c:pt>
                <c:pt idx="524">
                  <c:v>0.68200000000000005</c:v>
                </c:pt>
                <c:pt idx="525">
                  <c:v>0.42899999999999999</c:v>
                </c:pt>
                <c:pt idx="526">
                  <c:v>0.96199999999999997</c:v>
                </c:pt>
                <c:pt idx="527">
                  <c:v>0.68799999999999994</c:v>
                </c:pt>
                <c:pt idx="528">
                  <c:v>0.65800000000000003</c:v>
                </c:pt>
                <c:pt idx="529">
                  <c:v>0.95699999999999996</c:v>
                </c:pt>
                <c:pt idx="530">
                  <c:v>0.97799999999999998</c:v>
                </c:pt>
                <c:pt idx="531">
                  <c:v>0.46</c:v>
                </c:pt>
                <c:pt idx="532">
                  <c:v>0.47</c:v>
                </c:pt>
                <c:pt idx="533">
                  <c:v>0.92</c:v>
                </c:pt>
                <c:pt idx="534">
                  <c:v>0.39700000000000002</c:v>
                </c:pt>
                <c:pt idx="535">
                  <c:v>0.56899999999999995</c:v>
                </c:pt>
                <c:pt idx="536">
                  <c:v>0.88400000000000001</c:v>
                </c:pt>
                <c:pt idx="537">
                  <c:v>0.875</c:v>
                </c:pt>
                <c:pt idx="538">
                  <c:v>0.54800000000000004</c:v>
                </c:pt>
                <c:pt idx="539">
                  <c:v>0.88400000000000001</c:v>
                </c:pt>
                <c:pt idx="540">
                  <c:v>0.80800000000000005</c:v>
                </c:pt>
                <c:pt idx="541">
                  <c:v>0.877</c:v>
                </c:pt>
                <c:pt idx="542">
                  <c:v>0.876</c:v>
                </c:pt>
                <c:pt idx="543">
                  <c:v>0.96</c:v>
                </c:pt>
                <c:pt idx="544">
                  <c:v>0.67500000000000004</c:v>
                </c:pt>
                <c:pt idx="545">
                  <c:v>1</c:v>
                </c:pt>
                <c:pt idx="546">
                  <c:v>0.91600000000000004</c:v>
                </c:pt>
                <c:pt idx="547">
                  <c:v>0.80500000000000005</c:v>
                </c:pt>
                <c:pt idx="548">
                  <c:v>1</c:v>
                </c:pt>
                <c:pt idx="549">
                  <c:v>0.83299999999999996</c:v>
                </c:pt>
                <c:pt idx="550">
                  <c:v>0.85399999999999998</c:v>
                </c:pt>
                <c:pt idx="551">
                  <c:v>0.94799999999999995</c:v>
                </c:pt>
                <c:pt idx="552">
                  <c:v>0.83799999999999997</c:v>
                </c:pt>
                <c:pt idx="553">
                  <c:v>0.75700000000000001</c:v>
                </c:pt>
                <c:pt idx="554">
                  <c:v>0.57199999999999995</c:v>
                </c:pt>
                <c:pt idx="555">
                  <c:v>0.85899999999999999</c:v>
                </c:pt>
                <c:pt idx="556">
                  <c:v>0.88</c:v>
                </c:pt>
                <c:pt idx="557">
                  <c:v>0.91700000000000004</c:v>
                </c:pt>
                <c:pt idx="558">
                  <c:v>0.84599999999999997</c:v>
                </c:pt>
                <c:pt idx="559">
                  <c:v>0.66400000000000003</c:v>
                </c:pt>
                <c:pt idx="560">
                  <c:v>3.2000000000000001E-2</c:v>
                </c:pt>
                <c:pt idx="561">
                  <c:v>0.33700000000000002</c:v>
                </c:pt>
                <c:pt idx="562">
                  <c:v>0.33800000000000002</c:v>
                </c:pt>
                <c:pt idx="563">
                  <c:v>0.64600000000000002</c:v>
                </c:pt>
                <c:pt idx="564">
                  <c:v>0.85</c:v>
                </c:pt>
                <c:pt idx="565">
                  <c:v>0.98399999999999999</c:v>
                </c:pt>
                <c:pt idx="566">
                  <c:v>0.97</c:v>
                </c:pt>
                <c:pt idx="567">
                  <c:v>0.96299999999999997</c:v>
                </c:pt>
                <c:pt idx="568">
                  <c:v>0.48199999999999998</c:v>
                </c:pt>
                <c:pt idx="569">
                  <c:v>0.78700000000000003</c:v>
                </c:pt>
                <c:pt idx="570">
                  <c:v>0.998</c:v>
                </c:pt>
                <c:pt idx="571">
                  <c:v>0.874</c:v>
                </c:pt>
                <c:pt idx="572">
                  <c:v>0.75900000000000001</c:v>
                </c:pt>
                <c:pt idx="573">
                  <c:v>0.79900000000000004</c:v>
                </c:pt>
                <c:pt idx="574">
                  <c:v>0.61599999999999999</c:v>
                </c:pt>
                <c:pt idx="575">
                  <c:v>0.68500000000000005</c:v>
                </c:pt>
                <c:pt idx="576">
                  <c:v>0.52900000000000003</c:v>
                </c:pt>
                <c:pt idx="577">
                  <c:v>0.88800000000000001</c:v>
                </c:pt>
                <c:pt idx="578">
                  <c:v>0.81899999999999995</c:v>
                </c:pt>
                <c:pt idx="579">
                  <c:v>0.52300000000000002</c:v>
                </c:pt>
                <c:pt idx="580">
                  <c:v>0.82199999999999995</c:v>
                </c:pt>
                <c:pt idx="581">
                  <c:v>0.76</c:v>
                </c:pt>
                <c:pt idx="582">
                  <c:v>0.71799999999999997</c:v>
                </c:pt>
                <c:pt idx="583">
                  <c:v>0.51600000000000001</c:v>
                </c:pt>
                <c:pt idx="584">
                  <c:v>0.97</c:v>
                </c:pt>
                <c:pt idx="585">
                  <c:v>0.67300000000000004</c:v>
                </c:pt>
                <c:pt idx="586">
                  <c:v>0.86299999999999999</c:v>
                </c:pt>
                <c:pt idx="587">
                  <c:v>0.86599999999999999</c:v>
                </c:pt>
                <c:pt idx="588">
                  <c:v>0.50900000000000001</c:v>
                </c:pt>
                <c:pt idx="589">
                  <c:v>0.74299999999999999</c:v>
                </c:pt>
                <c:pt idx="590">
                  <c:v>0.90400000000000003</c:v>
                </c:pt>
                <c:pt idx="591">
                  <c:v>1</c:v>
                </c:pt>
                <c:pt idx="592">
                  <c:v>0.71899999999999997</c:v>
                </c:pt>
                <c:pt idx="593">
                  <c:v>0.79700000000000004</c:v>
                </c:pt>
                <c:pt idx="594">
                  <c:v>0.42199999999999999</c:v>
                </c:pt>
                <c:pt idx="595">
                  <c:v>0.89</c:v>
                </c:pt>
                <c:pt idx="596">
                  <c:v>0.96099999999999997</c:v>
                </c:pt>
                <c:pt idx="597">
                  <c:v>0.79200000000000004</c:v>
                </c:pt>
                <c:pt idx="598">
                  <c:v>0.78800000000000003</c:v>
                </c:pt>
                <c:pt idx="599">
                  <c:v>0.84099999999999997</c:v>
                </c:pt>
                <c:pt idx="600">
                  <c:v>0.44500000000000001</c:v>
                </c:pt>
                <c:pt idx="601">
                  <c:v>0.92</c:v>
                </c:pt>
                <c:pt idx="602">
                  <c:v>0.95099999999999996</c:v>
                </c:pt>
                <c:pt idx="603">
                  <c:v>0.188</c:v>
                </c:pt>
                <c:pt idx="604">
                  <c:v>0.95099999999999996</c:v>
                </c:pt>
                <c:pt idx="605">
                  <c:v>0.96299999999999997</c:v>
                </c:pt>
                <c:pt idx="606">
                  <c:v>0.83899999999999997</c:v>
                </c:pt>
                <c:pt idx="607">
                  <c:v>0.81599999999999995</c:v>
                </c:pt>
                <c:pt idx="608">
                  <c:v>0.755</c:v>
                </c:pt>
                <c:pt idx="609">
                  <c:v>0.89800000000000002</c:v>
                </c:pt>
                <c:pt idx="610">
                  <c:v>0.57399999999999995</c:v>
                </c:pt>
                <c:pt idx="611">
                  <c:v>0.71399999999999997</c:v>
                </c:pt>
                <c:pt idx="612">
                  <c:v>0.52600000000000002</c:v>
                </c:pt>
                <c:pt idx="613">
                  <c:v>0.83799999999999997</c:v>
                </c:pt>
                <c:pt idx="614">
                  <c:v>0.73</c:v>
                </c:pt>
                <c:pt idx="615">
                  <c:v>0.66100000000000003</c:v>
                </c:pt>
                <c:pt idx="616">
                  <c:v>0.94399999999999995</c:v>
                </c:pt>
                <c:pt idx="617">
                  <c:v>0.86</c:v>
                </c:pt>
                <c:pt idx="618">
                  <c:v>0.89500000000000002</c:v>
                </c:pt>
                <c:pt idx="619">
                  <c:v>0.83899999999999997</c:v>
                </c:pt>
                <c:pt idx="620">
                  <c:v>0.66600000000000004</c:v>
                </c:pt>
                <c:pt idx="621">
                  <c:v>0.86299999999999999</c:v>
                </c:pt>
                <c:pt idx="622">
                  <c:v>0.57899999999999996</c:v>
                </c:pt>
                <c:pt idx="623">
                  <c:v>0.85</c:v>
                </c:pt>
                <c:pt idx="624">
                  <c:v>0.89300000000000002</c:v>
                </c:pt>
                <c:pt idx="625">
                  <c:v>0.92900000000000005</c:v>
                </c:pt>
                <c:pt idx="626">
                  <c:v>0.95499999999999996</c:v>
                </c:pt>
                <c:pt idx="627">
                  <c:v>0.92100000000000004</c:v>
                </c:pt>
                <c:pt idx="628">
                  <c:v>0.85099999999999998</c:v>
                </c:pt>
                <c:pt idx="629">
                  <c:v>0.77500000000000002</c:v>
                </c:pt>
                <c:pt idx="630">
                  <c:v>0.88200000000000001</c:v>
                </c:pt>
                <c:pt idx="631">
                  <c:v>0.82899999999999996</c:v>
                </c:pt>
                <c:pt idx="632">
                  <c:v>0.72099999999999997</c:v>
                </c:pt>
                <c:pt idx="633">
                  <c:v>0.16</c:v>
                </c:pt>
                <c:pt idx="634">
                  <c:v>0.92200000000000004</c:v>
                </c:pt>
                <c:pt idx="635">
                  <c:v>0.87</c:v>
                </c:pt>
                <c:pt idx="636">
                  <c:v>0.67400000000000004</c:v>
                </c:pt>
                <c:pt idx="637">
                  <c:v>0.90400000000000003</c:v>
                </c:pt>
                <c:pt idx="638">
                  <c:v>0.98599999999999999</c:v>
                </c:pt>
                <c:pt idx="639">
                  <c:v>0.41099999999999998</c:v>
                </c:pt>
                <c:pt idx="640">
                  <c:v>0.86399999999999999</c:v>
                </c:pt>
                <c:pt idx="641">
                  <c:v>0.93</c:v>
                </c:pt>
                <c:pt idx="642">
                  <c:v>0.107</c:v>
                </c:pt>
                <c:pt idx="643">
                  <c:v>5.0999999999999997E-2</c:v>
                </c:pt>
                <c:pt idx="644">
                  <c:v>0.67500000000000004</c:v>
                </c:pt>
                <c:pt idx="645">
                  <c:v>0.91100000000000003</c:v>
                </c:pt>
                <c:pt idx="646">
                  <c:v>0.68500000000000005</c:v>
                </c:pt>
                <c:pt idx="647">
                  <c:v>0.91400000000000003</c:v>
                </c:pt>
                <c:pt idx="648">
                  <c:v>0.65400000000000003</c:v>
                </c:pt>
                <c:pt idx="649">
                  <c:v>0.70099999999999996</c:v>
                </c:pt>
                <c:pt idx="650">
                  <c:v>0.73899999999999999</c:v>
                </c:pt>
                <c:pt idx="651">
                  <c:v>0.88500000000000001</c:v>
                </c:pt>
                <c:pt idx="652">
                  <c:v>0.93</c:v>
                </c:pt>
                <c:pt idx="653">
                  <c:v>0.68</c:v>
                </c:pt>
                <c:pt idx="654">
                  <c:v>0.82199999999999995</c:v>
                </c:pt>
                <c:pt idx="655">
                  <c:v>0.80100000000000005</c:v>
                </c:pt>
                <c:pt idx="656">
                  <c:v>0.95699999999999996</c:v>
                </c:pt>
                <c:pt idx="657">
                  <c:v>0.97599999999999998</c:v>
                </c:pt>
                <c:pt idx="658">
                  <c:v>0.83299999999999996</c:v>
                </c:pt>
                <c:pt idx="659">
                  <c:v>0.77</c:v>
                </c:pt>
                <c:pt idx="660">
                  <c:v>0.63500000000000001</c:v>
                </c:pt>
                <c:pt idx="661">
                  <c:v>0.36299999999999999</c:v>
                </c:pt>
                <c:pt idx="662">
                  <c:v>0.75800000000000001</c:v>
                </c:pt>
                <c:pt idx="663">
                  <c:v>0.79100000000000004</c:v>
                </c:pt>
                <c:pt idx="664">
                  <c:v>0.91600000000000004</c:v>
                </c:pt>
                <c:pt idx="665">
                  <c:v>0.79400000000000004</c:v>
                </c:pt>
                <c:pt idx="666">
                  <c:v>0.42899999999999999</c:v>
                </c:pt>
                <c:pt idx="667">
                  <c:v>0.48499999999999999</c:v>
                </c:pt>
                <c:pt idx="668">
                  <c:v>0.31900000000000001</c:v>
                </c:pt>
                <c:pt idx="669">
                  <c:v>0.82199999999999995</c:v>
                </c:pt>
                <c:pt idx="670">
                  <c:v>0.84299999999999997</c:v>
                </c:pt>
                <c:pt idx="671">
                  <c:v>0.75800000000000001</c:v>
                </c:pt>
                <c:pt idx="672">
                  <c:v>0.86499999999999999</c:v>
                </c:pt>
                <c:pt idx="673">
                  <c:v>0.86099999999999999</c:v>
                </c:pt>
                <c:pt idx="674">
                  <c:v>0.94199999999999995</c:v>
                </c:pt>
                <c:pt idx="675">
                  <c:v>0.36699999999999999</c:v>
                </c:pt>
                <c:pt idx="676">
                  <c:v>0.56299999999999994</c:v>
                </c:pt>
                <c:pt idx="677">
                  <c:v>0.78700000000000003</c:v>
                </c:pt>
                <c:pt idx="678">
                  <c:v>0.70099999999999996</c:v>
                </c:pt>
                <c:pt idx="679">
                  <c:v>0.76600000000000001</c:v>
                </c:pt>
                <c:pt idx="680">
                  <c:v>0.97899999999999998</c:v>
                </c:pt>
                <c:pt idx="681">
                  <c:v>0.86699999999999999</c:v>
                </c:pt>
                <c:pt idx="682">
                  <c:v>0.85699999999999998</c:v>
                </c:pt>
                <c:pt idx="683">
                  <c:v>0.91600000000000004</c:v>
                </c:pt>
                <c:pt idx="684">
                  <c:v>0.91800000000000004</c:v>
                </c:pt>
                <c:pt idx="685">
                  <c:v>0.83299999999999996</c:v>
                </c:pt>
                <c:pt idx="686">
                  <c:v>0.88700000000000001</c:v>
                </c:pt>
                <c:pt idx="687">
                  <c:v>0.71499999999999997</c:v>
                </c:pt>
                <c:pt idx="688">
                  <c:v>0.746</c:v>
                </c:pt>
                <c:pt idx="689">
                  <c:v>0.73299999999999998</c:v>
                </c:pt>
                <c:pt idx="690">
                  <c:v>0.69499999999999995</c:v>
                </c:pt>
                <c:pt idx="691">
                  <c:v>0.55600000000000005</c:v>
                </c:pt>
                <c:pt idx="692">
                  <c:v>0.28899999999999998</c:v>
                </c:pt>
                <c:pt idx="693">
                  <c:v>0.85599999999999998</c:v>
                </c:pt>
                <c:pt idx="694">
                  <c:v>0.61099999999999999</c:v>
                </c:pt>
                <c:pt idx="695">
                  <c:v>0.88</c:v>
                </c:pt>
                <c:pt idx="696">
                  <c:v>0.875</c:v>
                </c:pt>
                <c:pt idx="697">
                  <c:v>0.61099999999999999</c:v>
                </c:pt>
                <c:pt idx="698">
                  <c:v>0.35</c:v>
                </c:pt>
                <c:pt idx="699">
                  <c:v>4.4999999999999998E-2</c:v>
                </c:pt>
                <c:pt idx="700">
                  <c:v>0.78400000000000003</c:v>
                </c:pt>
                <c:pt idx="701">
                  <c:v>0.86199999999999999</c:v>
                </c:pt>
                <c:pt idx="702">
                  <c:v>0.93200000000000005</c:v>
                </c:pt>
                <c:pt idx="703">
                  <c:v>0.92800000000000005</c:v>
                </c:pt>
                <c:pt idx="704">
                  <c:v>0.93899999999999995</c:v>
                </c:pt>
                <c:pt idx="705">
                  <c:v>0.872</c:v>
                </c:pt>
                <c:pt idx="706">
                  <c:v>0.97599999999999998</c:v>
                </c:pt>
                <c:pt idx="707">
                  <c:v>0.88300000000000001</c:v>
                </c:pt>
                <c:pt idx="708">
                  <c:v>0.94099999999999995</c:v>
                </c:pt>
                <c:pt idx="709">
                  <c:v>0.505</c:v>
                </c:pt>
                <c:pt idx="710">
                  <c:v>0.85299999999999998</c:v>
                </c:pt>
                <c:pt idx="711">
                  <c:v>0.93</c:v>
                </c:pt>
                <c:pt idx="712">
                  <c:v>0.26900000000000002</c:v>
                </c:pt>
                <c:pt idx="713">
                  <c:v>0.64800000000000002</c:v>
                </c:pt>
                <c:pt idx="714">
                  <c:v>0.39400000000000002</c:v>
                </c:pt>
                <c:pt idx="715">
                  <c:v>0.63300000000000001</c:v>
                </c:pt>
                <c:pt idx="716">
                  <c:v>0.36399999999999999</c:v>
                </c:pt>
                <c:pt idx="717">
                  <c:v>0.77200000000000002</c:v>
                </c:pt>
                <c:pt idx="718">
                  <c:v>0.53</c:v>
                </c:pt>
                <c:pt idx="719">
                  <c:v>0.56000000000000005</c:v>
                </c:pt>
                <c:pt idx="720">
                  <c:v>0.73299999999999998</c:v>
                </c:pt>
                <c:pt idx="721">
                  <c:v>0.69699999999999995</c:v>
                </c:pt>
                <c:pt idx="722">
                  <c:v>0.68899999999999995</c:v>
                </c:pt>
                <c:pt idx="723">
                  <c:v>0.90700000000000003</c:v>
                </c:pt>
                <c:pt idx="724">
                  <c:v>0.76</c:v>
                </c:pt>
                <c:pt idx="725">
                  <c:v>0.45300000000000001</c:v>
                </c:pt>
                <c:pt idx="726">
                  <c:v>0.79300000000000004</c:v>
                </c:pt>
                <c:pt idx="727">
                  <c:v>0.83</c:v>
                </c:pt>
                <c:pt idx="728">
                  <c:v>0.51</c:v>
                </c:pt>
                <c:pt idx="729">
                  <c:v>0.92700000000000005</c:v>
                </c:pt>
                <c:pt idx="730">
                  <c:v>0.65500000000000003</c:v>
                </c:pt>
                <c:pt idx="731">
                  <c:v>0.70799999999999996</c:v>
                </c:pt>
                <c:pt idx="732">
                  <c:v>0.77800000000000002</c:v>
                </c:pt>
                <c:pt idx="733">
                  <c:v>0.54700000000000004</c:v>
                </c:pt>
                <c:pt idx="734">
                  <c:v>0.73699999999999999</c:v>
                </c:pt>
                <c:pt idx="735">
                  <c:v>0.80100000000000005</c:v>
                </c:pt>
                <c:pt idx="736">
                  <c:v>0.871</c:v>
                </c:pt>
                <c:pt idx="737">
                  <c:v>0.60699999999999998</c:v>
                </c:pt>
                <c:pt idx="738">
                  <c:v>0.56200000000000006</c:v>
                </c:pt>
                <c:pt idx="739">
                  <c:v>0.89200000000000002</c:v>
                </c:pt>
                <c:pt idx="740">
                  <c:v>0.86599999999999999</c:v>
                </c:pt>
                <c:pt idx="741">
                  <c:v>0.83</c:v>
                </c:pt>
                <c:pt idx="742">
                  <c:v>0.90800000000000003</c:v>
                </c:pt>
                <c:pt idx="743">
                  <c:v>0.61799999999999999</c:v>
                </c:pt>
                <c:pt idx="744">
                  <c:v>0.89900000000000002</c:v>
                </c:pt>
                <c:pt idx="745">
                  <c:v>0.74099999999999999</c:v>
                </c:pt>
                <c:pt idx="746">
                  <c:v>0.626</c:v>
                </c:pt>
                <c:pt idx="747">
                  <c:v>0.86199999999999999</c:v>
                </c:pt>
                <c:pt idx="748">
                  <c:v>0.59599999999999997</c:v>
                </c:pt>
                <c:pt idx="749">
                  <c:v>0.93899999999999995</c:v>
                </c:pt>
                <c:pt idx="750">
                  <c:v>0.77700000000000002</c:v>
                </c:pt>
                <c:pt idx="751">
                  <c:v>0.872</c:v>
                </c:pt>
                <c:pt idx="752">
                  <c:v>0.59599999999999997</c:v>
                </c:pt>
                <c:pt idx="753">
                  <c:v>0.68200000000000005</c:v>
                </c:pt>
                <c:pt idx="754">
                  <c:v>0.67600000000000005</c:v>
                </c:pt>
                <c:pt idx="755">
                  <c:v>0.626</c:v>
                </c:pt>
                <c:pt idx="756">
                  <c:v>0.68700000000000006</c:v>
                </c:pt>
                <c:pt idx="757">
                  <c:v>0.505</c:v>
                </c:pt>
                <c:pt idx="758">
                  <c:v>0.85499999999999998</c:v>
                </c:pt>
                <c:pt idx="759">
                  <c:v>0.84</c:v>
                </c:pt>
                <c:pt idx="760">
                  <c:v>0.72299999999999998</c:v>
                </c:pt>
                <c:pt idx="761">
                  <c:v>0.81399999999999995</c:v>
                </c:pt>
                <c:pt idx="762">
                  <c:v>0.97399999999999998</c:v>
                </c:pt>
                <c:pt idx="763">
                  <c:v>0.95499999999999996</c:v>
                </c:pt>
                <c:pt idx="764">
                  <c:v>0.89800000000000002</c:v>
                </c:pt>
                <c:pt idx="765">
                  <c:v>0.874</c:v>
                </c:pt>
                <c:pt idx="766">
                  <c:v>0.60899999999999999</c:v>
                </c:pt>
                <c:pt idx="767">
                  <c:v>0.89900000000000002</c:v>
                </c:pt>
                <c:pt idx="768">
                  <c:v>0.66300000000000003</c:v>
                </c:pt>
                <c:pt idx="769">
                  <c:v>0.32700000000000001</c:v>
                </c:pt>
                <c:pt idx="770">
                  <c:v>0.16</c:v>
                </c:pt>
                <c:pt idx="771">
                  <c:v>0.84499999999999997</c:v>
                </c:pt>
                <c:pt idx="772">
                  <c:v>0.80100000000000005</c:v>
                </c:pt>
                <c:pt idx="773">
                  <c:v>0.71699999999999997</c:v>
                </c:pt>
                <c:pt idx="774">
                  <c:v>0.93400000000000005</c:v>
                </c:pt>
                <c:pt idx="775">
                  <c:v>0.63300000000000001</c:v>
                </c:pt>
                <c:pt idx="776">
                  <c:v>0.92</c:v>
                </c:pt>
                <c:pt idx="777">
                  <c:v>0.379</c:v>
                </c:pt>
                <c:pt idx="778">
                  <c:v>0.623</c:v>
                </c:pt>
                <c:pt idx="779">
                  <c:v>0.57099999999999995</c:v>
                </c:pt>
                <c:pt idx="780">
                  <c:v>0.73199999999999998</c:v>
                </c:pt>
                <c:pt idx="781">
                  <c:v>0.90800000000000003</c:v>
                </c:pt>
                <c:pt idx="782">
                  <c:v>0.84</c:v>
                </c:pt>
                <c:pt idx="783">
                  <c:v>0.84099999999999997</c:v>
                </c:pt>
                <c:pt idx="784">
                  <c:v>0.22600000000000001</c:v>
                </c:pt>
                <c:pt idx="785">
                  <c:v>0.92700000000000005</c:v>
                </c:pt>
                <c:pt idx="786">
                  <c:v>0.95699999999999996</c:v>
                </c:pt>
                <c:pt idx="787">
                  <c:v>0.73199999999999998</c:v>
                </c:pt>
                <c:pt idx="788">
                  <c:v>0.96199999999999997</c:v>
                </c:pt>
                <c:pt idx="789">
                  <c:v>0.75800000000000001</c:v>
                </c:pt>
                <c:pt idx="790">
                  <c:v>0.78800000000000003</c:v>
                </c:pt>
                <c:pt idx="791">
                  <c:v>0.74399999999999999</c:v>
                </c:pt>
                <c:pt idx="792">
                  <c:v>0.80600000000000005</c:v>
                </c:pt>
                <c:pt idx="793">
                  <c:v>0.71499999999999997</c:v>
                </c:pt>
                <c:pt idx="794">
                  <c:v>0.93600000000000005</c:v>
                </c:pt>
                <c:pt idx="795">
                  <c:v>0.69799999999999995</c:v>
                </c:pt>
                <c:pt idx="796">
                  <c:v>0.72099999999999997</c:v>
                </c:pt>
                <c:pt idx="797">
                  <c:v>0.72</c:v>
                </c:pt>
                <c:pt idx="798">
                  <c:v>0.59699999999999998</c:v>
                </c:pt>
                <c:pt idx="799">
                  <c:v>0.95599999999999996</c:v>
                </c:pt>
                <c:pt idx="800">
                  <c:v>0.82799999999999996</c:v>
                </c:pt>
                <c:pt idx="801">
                  <c:v>0.66700000000000004</c:v>
                </c:pt>
                <c:pt idx="802">
                  <c:v>0.441</c:v>
                </c:pt>
                <c:pt idx="803">
                  <c:v>0.51400000000000001</c:v>
                </c:pt>
                <c:pt idx="804">
                  <c:v>0.81100000000000005</c:v>
                </c:pt>
                <c:pt idx="805">
                  <c:v>0.57199999999999995</c:v>
                </c:pt>
                <c:pt idx="806">
                  <c:v>0.68700000000000006</c:v>
                </c:pt>
                <c:pt idx="807">
                  <c:v>0.626</c:v>
                </c:pt>
                <c:pt idx="808">
                  <c:v>0.39300000000000002</c:v>
                </c:pt>
                <c:pt idx="809">
                  <c:v>0.66300000000000003</c:v>
                </c:pt>
                <c:pt idx="810">
                  <c:v>0.78700000000000003</c:v>
                </c:pt>
                <c:pt idx="811">
                  <c:v>0.34899999999999998</c:v>
                </c:pt>
                <c:pt idx="812">
                  <c:v>0.49099999999999999</c:v>
                </c:pt>
                <c:pt idx="813">
                  <c:v>0.60699999999999998</c:v>
                </c:pt>
                <c:pt idx="814">
                  <c:v>0.91100000000000003</c:v>
                </c:pt>
                <c:pt idx="815">
                  <c:v>0.92100000000000004</c:v>
                </c:pt>
                <c:pt idx="816">
                  <c:v>0.88900000000000001</c:v>
                </c:pt>
                <c:pt idx="817">
                  <c:v>0.97</c:v>
                </c:pt>
                <c:pt idx="818">
                  <c:v>0.63200000000000001</c:v>
                </c:pt>
                <c:pt idx="819">
                  <c:v>0.65600000000000003</c:v>
                </c:pt>
                <c:pt idx="820">
                  <c:v>0.68700000000000006</c:v>
                </c:pt>
                <c:pt idx="821">
                  <c:v>0.71499999999999997</c:v>
                </c:pt>
                <c:pt idx="822">
                  <c:v>0.83899999999999997</c:v>
                </c:pt>
                <c:pt idx="823">
                  <c:v>0.84599999999999997</c:v>
                </c:pt>
                <c:pt idx="824">
                  <c:v>0.89</c:v>
                </c:pt>
                <c:pt idx="825">
                  <c:v>0.88400000000000001</c:v>
                </c:pt>
                <c:pt idx="826">
                  <c:v>0.72199999999999998</c:v>
                </c:pt>
                <c:pt idx="827">
                  <c:v>0.92300000000000004</c:v>
                </c:pt>
                <c:pt idx="828">
                  <c:v>0.81799999999999995</c:v>
                </c:pt>
                <c:pt idx="829">
                  <c:v>0.53500000000000003</c:v>
                </c:pt>
                <c:pt idx="830">
                  <c:v>0.88100000000000001</c:v>
                </c:pt>
                <c:pt idx="831">
                  <c:v>0.78</c:v>
                </c:pt>
                <c:pt idx="832">
                  <c:v>0.871</c:v>
                </c:pt>
                <c:pt idx="833">
                  <c:v>0.55200000000000005</c:v>
                </c:pt>
                <c:pt idx="834">
                  <c:v>0.78700000000000003</c:v>
                </c:pt>
                <c:pt idx="835">
                  <c:v>0.877</c:v>
                </c:pt>
                <c:pt idx="836">
                  <c:v>0.82</c:v>
                </c:pt>
                <c:pt idx="837">
                  <c:v>0.41799999999999998</c:v>
                </c:pt>
                <c:pt idx="838">
                  <c:v>0.52500000000000002</c:v>
                </c:pt>
                <c:pt idx="839">
                  <c:v>0.754</c:v>
                </c:pt>
                <c:pt idx="840">
                  <c:v>0.92800000000000005</c:v>
                </c:pt>
                <c:pt idx="841">
                  <c:v>0.51800000000000002</c:v>
                </c:pt>
                <c:pt idx="842">
                  <c:v>0.312</c:v>
                </c:pt>
                <c:pt idx="843">
                  <c:v>0.60399999999999998</c:v>
                </c:pt>
                <c:pt idx="844">
                  <c:v>0.46600000000000003</c:v>
                </c:pt>
                <c:pt idx="845">
                  <c:v>0.55200000000000005</c:v>
                </c:pt>
                <c:pt idx="846">
                  <c:v>0.82199999999999995</c:v>
                </c:pt>
                <c:pt idx="847">
                  <c:v>0.72299999999999998</c:v>
                </c:pt>
                <c:pt idx="848">
                  <c:v>0.68</c:v>
                </c:pt>
                <c:pt idx="849">
                  <c:v>0.16700000000000001</c:v>
                </c:pt>
                <c:pt idx="850">
                  <c:v>0.75700000000000001</c:v>
                </c:pt>
                <c:pt idx="851">
                  <c:v>0.495</c:v>
                </c:pt>
                <c:pt idx="852">
                  <c:v>0.78300000000000003</c:v>
                </c:pt>
                <c:pt idx="853">
                  <c:v>0.89200000000000002</c:v>
                </c:pt>
                <c:pt idx="854">
                  <c:v>0.73299999999999998</c:v>
                </c:pt>
                <c:pt idx="855">
                  <c:v>0.59799999999999998</c:v>
                </c:pt>
                <c:pt idx="856">
                  <c:v>0.68600000000000005</c:v>
                </c:pt>
                <c:pt idx="857">
                  <c:v>0.84</c:v>
                </c:pt>
                <c:pt idx="858">
                  <c:v>0.97599999999999998</c:v>
                </c:pt>
                <c:pt idx="859">
                  <c:v>0.58399999999999996</c:v>
                </c:pt>
                <c:pt idx="860">
                  <c:v>0.66700000000000004</c:v>
                </c:pt>
                <c:pt idx="861">
                  <c:v>0.317</c:v>
                </c:pt>
                <c:pt idx="862">
                  <c:v>0.51900000000000002</c:v>
                </c:pt>
                <c:pt idx="863">
                  <c:v>0.94599999999999995</c:v>
                </c:pt>
                <c:pt idx="864">
                  <c:v>0.92900000000000005</c:v>
                </c:pt>
                <c:pt idx="865">
                  <c:v>0.51300000000000001</c:v>
                </c:pt>
                <c:pt idx="866">
                  <c:v>0.67900000000000005</c:v>
                </c:pt>
                <c:pt idx="867">
                  <c:v>0.96599999999999997</c:v>
                </c:pt>
                <c:pt idx="868">
                  <c:v>0.52600000000000002</c:v>
                </c:pt>
                <c:pt idx="869">
                  <c:v>0.56999999999999995</c:v>
                </c:pt>
                <c:pt idx="870">
                  <c:v>0.68500000000000005</c:v>
                </c:pt>
                <c:pt idx="871">
                  <c:v>0.93500000000000005</c:v>
                </c:pt>
                <c:pt idx="872">
                  <c:v>0.65</c:v>
                </c:pt>
                <c:pt idx="873">
                  <c:v>0.69699999999999995</c:v>
                </c:pt>
                <c:pt idx="874">
                  <c:v>0.876</c:v>
                </c:pt>
                <c:pt idx="875">
                  <c:v>0.83899999999999997</c:v>
                </c:pt>
                <c:pt idx="876">
                  <c:v>0.72899999999999998</c:v>
                </c:pt>
                <c:pt idx="877">
                  <c:v>0.111</c:v>
                </c:pt>
                <c:pt idx="878">
                  <c:v>0.79200000000000004</c:v>
                </c:pt>
                <c:pt idx="879">
                  <c:v>0.94</c:v>
                </c:pt>
                <c:pt idx="880">
                  <c:v>0.996</c:v>
                </c:pt>
                <c:pt idx="881">
                  <c:v>0.88800000000000001</c:v>
                </c:pt>
                <c:pt idx="882">
                  <c:v>0.73899999999999999</c:v>
                </c:pt>
                <c:pt idx="883">
                  <c:v>0.316</c:v>
                </c:pt>
                <c:pt idx="884">
                  <c:v>0.95099999999999996</c:v>
                </c:pt>
                <c:pt idx="885">
                  <c:v>0.78800000000000003</c:v>
                </c:pt>
                <c:pt idx="886">
                  <c:v>0.80800000000000005</c:v>
                </c:pt>
                <c:pt idx="887">
                  <c:v>0.11600000000000001</c:v>
                </c:pt>
                <c:pt idx="888">
                  <c:v>0.73199999999999998</c:v>
                </c:pt>
                <c:pt idx="889">
                  <c:v>0.66200000000000003</c:v>
                </c:pt>
                <c:pt idx="890">
                  <c:v>0.9</c:v>
                </c:pt>
                <c:pt idx="891">
                  <c:v>0.91800000000000004</c:v>
                </c:pt>
                <c:pt idx="892">
                  <c:v>0.92</c:v>
                </c:pt>
                <c:pt idx="893">
                  <c:v>0.74199999999999999</c:v>
                </c:pt>
                <c:pt idx="894">
                  <c:v>0.60899999999999999</c:v>
                </c:pt>
                <c:pt idx="895">
                  <c:v>0.93300000000000005</c:v>
                </c:pt>
                <c:pt idx="896">
                  <c:v>0.79100000000000004</c:v>
                </c:pt>
                <c:pt idx="897">
                  <c:v>0.83499999999999996</c:v>
                </c:pt>
                <c:pt idx="898">
                  <c:v>0.84499999999999997</c:v>
                </c:pt>
                <c:pt idx="899">
                  <c:v>0.32400000000000001</c:v>
                </c:pt>
                <c:pt idx="900">
                  <c:v>0.88900000000000001</c:v>
                </c:pt>
                <c:pt idx="901">
                  <c:v>0.92800000000000005</c:v>
                </c:pt>
                <c:pt idx="902">
                  <c:v>0.96199999999999997</c:v>
                </c:pt>
                <c:pt idx="903">
                  <c:v>0.157</c:v>
                </c:pt>
                <c:pt idx="904">
                  <c:v>0.76500000000000001</c:v>
                </c:pt>
                <c:pt idx="905">
                  <c:v>0.35799999999999998</c:v>
                </c:pt>
                <c:pt idx="906">
                  <c:v>0.878</c:v>
                </c:pt>
                <c:pt idx="907">
                  <c:v>0.77500000000000002</c:v>
                </c:pt>
                <c:pt idx="908">
                  <c:v>0.624</c:v>
                </c:pt>
                <c:pt idx="909">
                  <c:v>0.95699999999999996</c:v>
                </c:pt>
                <c:pt idx="910">
                  <c:v>0.89900000000000002</c:v>
                </c:pt>
                <c:pt idx="911">
                  <c:v>0.622</c:v>
                </c:pt>
                <c:pt idx="912">
                  <c:v>0.80300000000000005</c:v>
                </c:pt>
                <c:pt idx="913">
                  <c:v>0.89900000000000002</c:v>
                </c:pt>
                <c:pt idx="914">
                  <c:v>0.47499999999999998</c:v>
                </c:pt>
                <c:pt idx="915">
                  <c:v>0.376</c:v>
                </c:pt>
                <c:pt idx="916">
                  <c:v>0.73699999999999999</c:v>
                </c:pt>
                <c:pt idx="917">
                  <c:v>0.71399999999999997</c:v>
                </c:pt>
                <c:pt idx="918">
                  <c:v>0.36399999999999999</c:v>
                </c:pt>
                <c:pt idx="919">
                  <c:v>0.60099999999999998</c:v>
                </c:pt>
                <c:pt idx="920">
                  <c:v>0.78200000000000003</c:v>
                </c:pt>
                <c:pt idx="921">
                  <c:v>0.93500000000000005</c:v>
                </c:pt>
                <c:pt idx="922">
                  <c:v>0.77600000000000002</c:v>
                </c:pt>
                <c:pt idx="923">
                  <c:v>0.58499999999999996</c:v>
                </c:pt>
                <c:pt idx="924">
                  <c:v>0.73799999999999999</c:v>
                </c:pt>
                <c:pt idx="925">
                  <c:v>0.93500000000000005</c:v>
                </c:pt>
                <c:pt idx="926">
                  <c:v>0.755</c:v>
                </c:pt>
                <c:pt idx="927">
                  <c:v>0.81100000000000005</c:v>
                </c:pt>
                <c:pt idx="928">
                  <c:v>0.65400000000000003</c:v>
                </c:pt>
                <c:pt idx="929">
                  <c:v>0.94599999999999995</c:v>
                </c:pt>
                <c:pt idx="930">
                  <c:v>0.57599999999999996</c:v>
                </c:pt>
                <c:pt idx="931">
                  <c:v>0.73299999999999998</c:v>
                </c:pt>
                <c:pt idx="932">
                  <c:v>0.876</c:v>
                </c:pt>
                <c:pt idx="933">
                  <c:v>0.84299999999999997</c:v>
                </c:pt>
                <c:pt idx="934">
                  <c:v>0.75600000000000001</c:v>
                </c:pt>
                <c:pt idx="935">
                  <c:v>0.875</c:v>
                </c:pt>
                <c:pt idx="936">
                  <c:v>0.433</c:v>
                </c:pt>
                <c:pt idx="937">
                  <c:v>0.80500000000000005</c:v>
                </c:pt>
                <c:pt idx="938">
                  <c:v>0.88500000000000001</c:v>
                </c:pt>
                <c:pt idx="939">
                  <c:v>0.88900000000000001</c:v>
                </c:pt>
                <c:pt idx="940">
                  <c:v>0.81399999999999995</c:v>
                </c:pt>
                <c:pt idx="941">
                  <c:v>0.92100000000000004</c:v>
                </c:pt>
                <c:pt idx="942">
                  <c:v>0.755</c:v>
                </c:pt>
                <c:pt idx="943">
                  <c:v>0.78</c:v>
                </c:pt>
                <c:pt idx="944">
                  <c:v>0.63600000000000001</c:v>
                </c:pt>
                <c:pt idx="945">
                  <c:v>0.874</c:v>
                </c:pt>
                <c:pt idx="946">
                  <c:v>0.114</c:v>
                </c:pt>
                <c:pt idx="947">
                  <c:v>0.77200000000000002</c:v>
                </c:pt>
                <c:pt idx="948">
                  <c:v>0.4</c:v>
                </c:pt>
                <c:pt idx="949">
                  <c:v>0.435</c:v>
                </c:pt>
                <c:pt idx="950">
                  <c:v>0.73799999999999999</c:v>
                </c:pt>
                <c:pt idx="951">
                  <c:v>0.247</c:v>
                </c:pt>
                <c:pt idx="952">
                  <c:v>0.504</c:v>
                </c:pt>
                <c:pt idx="953">
                  <c:v>0.6</c:v>
                </c:pt>
                <c:pt idx="954">
                  <c:v>0.45600000000000002</c:v>
                </c:pt>
                <c:pt idx="955">
                  <c:v>0.75700000000000001</c:v>
                </c:pt>
                <c:pt idx="956">
                  <c:v>0.76800000000000002</c:v>
                </c:pt>
                <c:pt idx="957">
                  <c:v>0.71199999999999997</c:v>
                </c:pt>
                <c:pt idx="958">
                  <c:v>0.91100000000000003</c:v>
                </c:pt>
                <c:pt idx="959">
                  <c:v>0.89</c:v>
                </c:pt>
                <c:pt idx="960">
                  <c:v>0.81599999999999995</c:v>
                </c:pt>
                <c:pt idx="961">
                  <c:v>0.64400000000000002</c:v>
                </c:pt>
                <c:pt idx="962">
                  <c:v>0.70199999999999996</c:v>
                </c:pt>
                <c:pt idx="963">
                  <c:v>0.93300000000000005</c:v>
                </c:pt>
                <c:pt idx="964">
                  <c:v>0.92100000000000004</c:v>
                </c:pt>
                <c:pt idx="965">
                  <c:v>0.76</c:v>
                </c:pt>
                <c:pt idx="966">
                  <c:v>0.30299999999999999</c:v>
                </c:pt>
                <c:pt idx="967">
                  <c:v>0.84299999999999997</c:v>
                </c:pt>
                <c:pt idx="968">
                  <c:v>0.67800000000000005</c:v>
                </c:pt>
                <c:pt idx="969">
                  <c:v>0.81599999999999995</c:v>
                </c:pt>
                <c:pt idx="970">
                  <c:v>0.58099999999999996</c:v>
                </c:pt>
                <c:pt idx="971">
                  <c:v>0.58399999999999996</c:v>
                </c:pt>
                <c:pt idx="972">
                  <c:v>0.94399999999999995</c:v>
                </c:pt>
                <c:pt idx="973">
                  <c:v>0.99</c:v>
                </c:pt>
                <c:pt idx="974">
                  <c:v>0.63900000000000001</c:v>
                </c:pt>
                <c:pt idx="975">
                  <c:v>0.44800000000000001</c:v>
                </c:pt>
                <c:pt idx="976">
                  <c:v>0.91900000000000004</c:v>
                </c:pt>
                <c:pt idx="977">
                  <c:v>0.96599999999999997</c:v>
                </c:pt>
                <c:pt idx="978">
                  <c:v>0.41599999999999998</c:v>
                </c:pt>
                <c:pt idx="979">
                  <c:v>0.91</c:v>
                </c:pt>
                <c:pt idx="980">
                  <c:v>0.69599999999999995</c:v>
                </c:pt>
                <c:pt idx="981">
                  <c:v>0.91100000000000003</c:v>
                </c:pt>
                <c:pt idx="982">
                  <c:v>0.151</c:v>
                </c:pt>
                <c:pt idx="983">
                  <c:v>0.67</c:v>
                </c:pt>
                <c:pt idx="984">
                  <c:v>0.89800000000000002</c:v>
                </c:pt>
                <c:pt idx="985">
                  <c:v>0.55700000000000005</c:v>
                </c:pt>
                <c:pt idx="986">
                  <c:v>0.80200000000000005</c:v>
                </c:pt>
                <c:pt idx="987">
                  <c:v>0.70699999999999996</c:v>
                </c:pt>
                <c:pt idx="988">
                  <c:v>0.35599999999999998</c:v>
                </c:pt>
                <c:pt idx="989">
                  <c:v>0.78900000000000003</c:v>
                </c:pt>
                <c:pt idx="990">
                  <c:v>0.81799999999999995</c:v>
                </c:pt>
                <c:pt idx="991">
                  <c:v>0.92200000000000004</c:v>
                </c:pt>
                <c:pt idx="992">
                  <c:v>0.66700000000000004</c:v>
                </c:pt>
                <c:pt idx="993">
                  <c:v>0.71599999999999997</c:v>
                </c:pt>
                <c:pt idx="994">
                  <c:v>0.84599999999999997</c:v>
                </c:pt>
                <c:pt idx="995">
                  <c:v>0.75600000000000001</c:v>
                </c:pt>
                <c:pt idx="996">
                  <c:v>0.74</c:v>
                </c:pt>
                <c:pt idx="997">
                  <c:v>0.84299999999999997</c:v>
                </c:pt>
                <c:pt idx="998">
                  <c:v>0.89700000000000002</c:v>
                </c:pt>
                <c:pt idx="999">
                  <c:v>0.86699999999999999</c:v>
                </c:pt>
                <c:pt idx="1000">
                  <c:v>0.92600000000000005</c:v>
                </c:pt>
                <c:pt idx="1001">
                  <c:v>0.73299999999999998</c:v>
                </c:pt>
                <c:pt idx="1002">
                  <c:v>0.82699999999999996</c:v>
                </c:pt>
                <c:pt idx="1003">
                  <c:v>0.77</c:v>
                </c:pt>
                <c:pt idx="1004">
                  <c:v>0.83299999999999996</c:v>
                </c:pt>
                <c:pt idx="1005">
                  <c:v>0.72699999999999998</c:v>
                </c:pt>
                <c:pt idx="1006">
                  <c:v>0.16200000000000001</c:v>
                </c:pt>
                <c:pt idx="1007">
                  <c:v>0.74399999999999999</c:v>
                </c:pt>
                <c:pt idx="1008">
                  <c:v>0.80200000000000005</c:v>
                </c:pt>
                <c:pt idx="1009">
                  <c:v>0.55200000000000005</c:v>
                </c:pt>
                <c:pt idx="1010">
                  <c:v>0.24199999999999999</c:v>
                </c:pt>
                <c:pt idx="1011">
                  <c:v>0.90500000000000003</c:v>
                </c:pt>
                <c:pt idx="1012">
                  <c:v>0.84199999999999997</c:v>
                </c:pt>
                <c:pt idx="1013">
                  <c:v>0.71399999999999997</c:v>
                </c:pt>
                <c:pt idx="1014">
                  <c:v>0.60699999999999998</c:v>
                </c:pt>
                <c:pt idx="1015">
                  <c:v>0.96199999999999997</c:v>
                </c:pt>
                <c:pt idx="1016">
                  <c:v>0.93799999999999994</c:v>
                </c:pt>
                <c:pt idx="1017">
                  <c:v>0.89700000000000002</c:v>
                </c:pt>
                <c:pt idx="1018">
                  <c:v>1</c:v>
                </c:pt>
                <c:pt idx="1019">
                  <c:v>0.82299999999999995</c:v>
                </c:pt>
                <c:pt idx="1020">
                  <c:v>0.878</c:v>
                </c:pt>
                <c:pt idx="1021">
                  <c:v>0.79800000000000004</c:v>
                </c:pt>
                <c:pt idx="1022">
                  <c:v>0.88</c:v>
                </c:pt>
                <c:pt idx="1023">
                  <c:v>0.83799999999999997</c:v>
                </c:pt>
                <c:pt idx="1024">
                  <c:v>0.875</c:v>
                </c:pt>
                <c:pt idx="1025">
                  <c:v>0.90700000000000003</c:v>
                </c:pt>
                <c:pt idx="1026">
                  <c:v>0.70799999999999996</c:v>
                </c:pt>
                <c:pt idx="1027">
                  <c:v>0.70799999999999996</c:v>
                </c:pt>
                <c:pt idx="1028">
                  <c:v>0.93400000000000005</c:v>
                </c:pt>
                <c:pt idx="1029">
                  <c:v>0.88600000000000001</c:v>
                </c:pt>
                <c:pt idx="1030">
                  <c:v>0.90100000000000002</c:v>
                </c:pt>
                <c:pt idx="1031">
                  <c:v>0.877</c:v>
                </c:pt>
                <c:pt idx="1032">
                  <c:v>0.69199999999999995</c:v>
                </c:pt>
                <c:pt idx="1033">
                  <c:v>0.93700000000000006</c:v>
                </c:pt>
                <c:pt idx="1034">
                  <c:v>0.874</c:v>
                </c:pt>
                <c:pt idx="1035">
                  <c:v>0.752</c:v>
                </c:pt>
                <c:pt idx="1036">
                  <c:v>0.60199999999999998</c:v>
                </c:pt>
                <c:pt idx="1037">
                  <c:v>0.80800000000000005</c:v>
                </c:pt>
                <c:pt idx="1038">
                  <c:v>0.44900000000000001</c:v>
                </c:pt>
                <c:pt idx="1039">
                  <c:v>0.67300000000000004</c:v>
                </c:pt>
                <c:pt idx="1040">
                  <c:v>0.73599999999999999</c:v>
                </c:pt>
                <c:pt idx="1041">
                  <c:v>0.83499999999999996</c:v>
                </c:pt>
                <c:pt idx="1042">
                  <c:v>0.87</c:v>
                </c:pt>
                <c:pt idx="1043">
                  <c:v>0.36499999999999999</c:v>
                </c:pt>
                <c:pt idx="1044">
                  <c:v>0.95599999999999996</c:v>
                </c:pt>
                <c:pt idx="1045">
                  <c:v>0.93899999999999995</c:v>
                </c:pt>
                <c:pt idx="1046">
                  <c:v>0.92100000000000004</c:v>
                </c:pt>
                <c:pt idx="1047">
                  <c:v>0.624</c:v>
                </c:pt>
                <c:pt idx="1048">
                  <c:v>0.73399999999999999</c:v>
                </c:pt>
                <c:pt idx="1049">
                  <c:v>0.81699999999999995</c:v>
                </c:pt>
                <c:pt idx="1050">
                  <c:v>0.34399999999999997</c:v>
                </c:pt>
                <c:pt idx="1051">
                  <c:v>0.93899999999999995</c:v>
                </c:pt>
                <c:pt idx="1052">
                  <c:v>0.64200000000000002</c:v>
                </c:pt>
                <c:pt idx="1053">
                  <c:v>0.80900000000000005</c:v>
                </c:pt>
                <c:pt idx="1054">
                  <c:v>0.85</c:v>
                </c:pt>
                <c:pt idx="1055">
                  <c:v>0.47599999999999998</c:v>
                </c:pt>
                <c:pt idx="1056">
                  <c:v>0.91</c:v>
                </c:pt>
                <c:pt idx="1057">
                  <c:v>0.55900000000000005</c:v>
                </c:pt>
                <c:pt idx="1058">
                  <c:v>0.83599999999999997</c:v>
                </c:pt>
                <c:pt idx="1059">
                  <c:v>0.97099999999999997</c:v>
                </c:pt>
                <c:pt idx="1060">
                  <c:v>0.505</c:v>
                </c:pt>
                <c:pt idx="1061">
                  <c:v>0.96399999999999997</c:v>
                </c:pt>
                <c:pt idx="1062">
                  <c:v>0.76600000000000001</c:v>
                </c:pt>
                <c:pt idx="1063">
                  <c:v>0.114</c:v>
                </c:pt>
                <c:pt idx="1064">
                  <c:v>0.84</c:v>
                </c:pt>
                <c:pt idx="1065">
                  <c:v>0.54100000000000004</c:v>
                </c:pt>
                <c:pt idx="1066">
                  <c:v>0.60299999999999998</c:v>
                </c:pt>
                <c:pt idx="1067">
                  <c:v>0.91800000000000004</c:v>
                </c:pt>
                <c:pt idx="1068">
                  <c:v>0.63600000000000001</c:v>
                </c:pt>
                <c:pt idx="1069">
                  <c:v>0.85399999999999998</c:v>
                </c:pt>
                <c:pt idx="1070">
                  <c:v>0.86</c:v>
                </c:pt>
                <c:pt idx="1071">
                  <c:v>0.755</c:v>
                </c:pt>
                <c:pt idx="1072">
                  <c:v>0.83099999999999996</c:v>
                </c:pt>
                <c:pt idx="1073">
                  <c:v>0.73399999999999999</c:v>
                </c:pt>
                <c:pt idx="1074">
                  <c:v>0.76400000000000001</c:v>
                </c:pt>
                <c:pt idx="1075">
                  <c:v>0.93799999999999994</c:v>
                </c:pt>
                <c:pt idx="1076">
                  <c:v>0.97</c:v>
                </c:pt>
                <c:pt idx="1077">
                  <c:v>0.70799999999999996</c:v>
                </c:pt>
                <c:pt idx="1078">
                  <c:v>0.376</c:v>
                </c:pt>
                <c:pt idx="1079">
                  <c:v>0.81299999999999994</c:v>
                </c:pt>
                <c:pt idx="1080">
                  <c:v>0.78300000000000003</c:v>
                </c:pt>
                <c:pt idx="1081">
                  <c:v>0.54400000000000004</c:v>
                </c:pt>
                <c:pt idx="1082">
                  <c:v>0.64800000000000002</c:v>
                </c:pt>
                <c:pt idx="1083">
                  <c:v>0.91800000000000004</c:v>
                </c:pt>
                <c:pt idx="1084">
                  <c:v>0.89</c:v>
                </c:pt>
                <c:pt idx="1085">
                  <c:v>0.32800000000000001</c:v>
                </c:pt>
                <c:pt idx="1086">
                  <c:v>0.79100000000000004</c:v>
                </c:pt>
                <c:pt idx="1087">
                  <c:v>0.95899999999999996</c:v>
                </c:pt>
                <c:pt idx="1088">
                  <c:v>0.80600000000000005</c:v>
                </c:pt>
                <c:pt idx="1089">
                  <c:v>0.70899999999999996</c:v>
                </c:pt>
                <c:pt idx="1090">
                  <c:v>0.71099999999999997</c:v>
                </c:pt>
                <c:pt idx="1091">
                  <c:v>0.77600000000000002</c:v>
                </c:pt>
                <c:pt idx="1092">
                  <c:v>0.90400000000000003</c:v>
                </c:pt>
                <c:pt idx="1093">
                  <c:v>0.86299999999999999</c:v>
                </c:pt>
                <c:pt idx="1094">
                  <c:v>0.95</c:v>
                </c:pt>
                <c:pt idx="1095">
                  <c:v>0.98699999999999999</c:v>
                </c:pt>
                <c:pt idx="1096">
                  <c:v>0.81699999999999995</c:v>
                </c:pt>
                <c:pt idx="1097">
                  <c:v>0.95</c:v>
                </c:pt>
                <c:pt idx="1098">
                  <c:v>0.80100000000000005</c:v>
                </c:pt>
                <c:pt idx="1099">
                  <c:v>0.63800000000000001</c:v>
                </c:pt>
                <c:pt idx="1100">
                  <c:v>0.81699999999999995</c:v>
                </c:pt>
                <c:pt idx="1101">
                  <c:v>0.92900000000000005</c:v>
                </c:pt>
                <c:pt idx="1102">
                  <c:v>0.78600000000000003</c:v>
                </c:pt>
                <c:pt idx="1103">
                  <c:v>0.81499999999999995</c:v>
                </c:pt>
                <c:pt idx="1104">
                  <c:v>0.84499999999999997</c:v>
                </c:pt>
                <c:pt idx="1105">
                  <c:v>0.35299999999999998</c:v>
                </c:pt>
                <c:pt idx="1106">
                  <c:v>0.86799999999999999</c:v>
                </c:pt>
                <c:pt idx="1107">
                  <c:v>0.61499999999999999</c:v>
                </c:pt>
                <c:pt idx="1108">
                  <c:v>0.59899999999999998</c:v>
                </c:pt>
                <c:pt idx="1109">
                  <c:v>0.55200000000000005</c:v>
                </c:pt>
                <c:pt idx="1110">
                  <c:v>0.68700000000000006</c:v>
                </c:pt>
                <c:pt idx="1111">
                  <c:v>0.94699999999999995</c:v>
                </c:pt>
                <c:pt idx="1112">
                  <c:v>0.76400000000000001</c:v>
                </c:pt>
                <c:pt idx="1113">
                  <c:v>0.70799999999999996</c:v>
                </c:pt>
                <c:pt idx="1114">
                  <c:v>0.504</c:v>
                </c:pt>
                <c:pt idx="1115">
                  <c:v>0.75800000000000001</c:v>
                </c:pt>
                <c:pt idx="1116">
                  <c:v>0.79300000000000004</c:v>
                </c:pt>
                <c:pt idx="1117">
                  <c:v>0.36699999999999999</c:v>
                </c:pt>
                <c:pt idx="1118">
                  <c:v>0.91900000000000004</c:v>
                </c:pt>
                <c:pt idx="1119">
                  <c:v>0.79400000000000004</c:v>
                </c:pt>
                <c:pt idx="1120">
                  <c:v>0.91500000000000004</c:v>
                </c:pt>
                <c:pt idx="1121">
                  <c:v>0.83199999999999996</c:v>
                </c:pt>
                <c:pt idx="1122">
                  <c:v>0.83</c:v>
                </c:pt>
                <c:pt idx="1123">
                  <c:v>0.48199999999999998</c:v>
                </c:pt>
                <c:pt idx="1124">
                  <c:v>0.82299999999999995</c:v>
                </c:pt>
                <c:pt idx="1125">
                  <c:v>0.79600000000000004</c:v>
                </c:pt>
                <c:pt idx="1126">
                  <c:v>0.70099999999999996</c:v>
                </c:pt>
                <c:pt idx="1127">
                  <c:v>0.8</c:v>
                </c:pt>
                <c:pt idx="1128">
                  <c:v>0.80400000000000005</c:v>
                </c:pt>
                <c:pt idx="1129">
                  <c:v>0.78</c:v>
                </c:pt>
                <c:pt idx="1130">
                  <c:v>0.82499999999999996</c:v>
                </c:pt>
                <c:pt idx="1131">
                  <c:v>0.89600000000000002</c:v>
                </c:pt>
                <c:pt idx="1132">
                  <c:v>0.92200000000000004</c:v>
                </c:pt>
                <c:pt idx="1133">
                  <c:v>0.48499999999999999</c:v>
                </c:pt>
                <c:pt idx="1134">
                  <c:v>0.79900000000000004</c:v>
                </c:pt>
                <c:pt idx="1135">
                  <c:v>0.78500000000000003</c:v>
                </c:pt>
                <c:pt idx="1136">
                  <c:v>0.879</c:v>
                </c:pt>
                <c:pt idx="1137">
                  <c:v>0.78900000000000003</c:v>
                </c:pt>
                <c:pt idx="1138">
                  <c:v>0.80300000000000005</c:v>
                </c:pt>
                <c:pt idx="1139">
                  <c:v>0.89100000000000001</c:v>
                </c:pt>
                <c:pt idx="1140">
                  <c:v>0.54700000000000004</c:v>
                </c:pt>
                <c:pt idx="1141">
                  <c:v>0.78800000000000003</c:v>
                </c:pt>
                <c:pt idx="1142">
                  <c:v>0.97299999999999998</c:v>
                </c:pt>
                <c:pt idx="1143">
                  <c:v>0.79700000000000004</c:v>
                </c:pt>
                <c:pt idx="1144">
                  <c:v>0.69899999999999995</c:v>
                </c:pt>
                <c:pt idx="1145">
                  <c:v>0.32200000000000001</c:v>
                </c:pt>
                <c:pt idx="1146">
                  <c:v>0.97399999999999998</c:v>
                </c:pt>
                <c:pt idx="1147">
                  <c:v>0.90300000000000002</c:v>
                </c:pt>
                <c:pt idx="1148">
                  <c:v>0.93500000000000005</c:v>
                </c:pt>
                <c:pt idx="1149">
                  <c:v>0.96</c:v>
                </c:pt>
                <c:pt idx="1150">
                  <c:v>0.92600000000000005</c:v>
                </c:pt>
                <c:pt idx="1151">
                  <c:v>0.79</c:v>
                </c:pt>
                <c:pt idx="1152">
                  <c:v>0.71199999999999997</c:v>
                </c:pt>
                <c:pt idx="1153">
                  <c:v>0.56499999999999995</c:v>
                </c:pt>
                <c:pt idx="1154">
                  <c:v>0.47199999999999998</c:v>
                </c:pt>
                <c:pt idx="1155">
                  <c:v>0.77300000000000002</c:v>
                </c:pt>
                <c:pt idx="1156">
                  <c:v>0.98</c:v>
                </c:pt>
                <c:pt idx="1157">
                  <c:v>0.89500000000000002</c:v>
                </c:pt>
                <c:pt idx="1158">
                  <c:v>0.70299999999999996</c:v>
                </c:pt>
                <c:pt idx="1159">
                  <c:v>0.50900000000000001</c:v>
                </c:pt>
                <c:pt idx="1160">
                  <c:v>0.875</c:v>
                </c:pt>
                <c:pt idx="1161">
                  <c:v>0.61699999999999999</c:v>
                </c:pt>
                <c:pt idx="1162">
                  <c:v>0.56399999999999995</c:v>
                </c:pt>
                <c:pt idx="1163">
                  <c:v>0.98399999999999999</c:v>
                </c:pt>
                <c:pt idx="1164">
                  <c:v>0.94399999999999995</c:v>
                </c:pt>
                <c:pt idx="1165">
                  <c:v>0.92100000000000004</c:v>
                </c:pt>
                <c:pt idx="1166">
                  <c:v>0.76500000000000001</c:v>
                </c:pt>
                <c:pt idx="1167">
                  <c:v>0.65400000000000003</c:v>
                </c:pt>
                <c:pt idx="1168">
                  <c:v>0.46500000000000002</c:v>
                </c:pt>
                <c:pt idx="1169">
                  <c:v>0.42599999999999999</c:v>
                </c:pt>
                <c:pt idx="1170">
                  <c:v>0.97699999999999998</c:v>
                </c:pt>
                <c:pt idx="1171">
                  <c:v>0.95499999999999996</c:v>
                </c:pt>
                <c:pt idx="1172">
                  <c:v>0.61</c:v>
                </c:pt>
                <c:pt idx="1173">
                  <c:v>0.59499999999999997</c:v>
                </c:pt>
                <c:pt idx="1174">
                  <c:v>0.86499999999999999</c:v>
                </c:pt>
                <c:pt idx="1175">
                  <c:v>0.41599999999999998</c:v>
                </c:pt>
                <c:pt idx="1176">
                  <c:v>0.29799999999999999</c:v>
                </c:pt>
                <c:pt idx="1177">
                  <c:v>0.59599999999999997</c:v>
                </c:pt>
                <c:pt idx="1178">
                  <c:v>0.76500000000000001</c:v>
                </c:pt>
                <c:pt idx="1179">
                  <c:v>0.99</c:v>
                </c:pt>
                <c:pt idx="1180">
                  <c:v>0.93500000000000005</c:v>
                </c:pt>
                <c:pt idx="1181">
                  <c:v>0.57099999999999995</c:v>
                </c:pt>
                <c:pt idx="1182">
                  <c:v>0.59699999999999998</c:v>
                </c:pt>
                <c:pt idx="1183">
                  <c:v>0.89300000000000002</c:v>
                </c:pt>
                <c:pt idx="1184">
                  <c:v>0.94299999999999995</c:v>
                </c:pt>
                <c:pt idx="1185">
                  <c:v>0.78400000000000003</c:v>
                </c:pt>
                <c:pt idx="1186">
                  <c:v>0.40600000000000003</c:v>
                </c:pt>
                <c:pt idx="1187">
                  <c:v>0.88400000000000001</c:v>
                </c:pt>
                <c:pt idx="1188">
                  <c:v>0.89600000000000002</c:v>
                </c:pt>
                <c:pt idx="1189">
                  <c:v>1</c:v>
                </c:pt>
                <c:pt idx="1190">
                  <c:v>0.874</c:v>
                </c:pt>
                <c:pt idx="1191">
                  <c:v>2.5000000000000001E-2</c:v>
                </c:pt>
                <c:pt idx="1192">
                  <c:v>0.04</c:v>
                </c:pt>
                <c:pt idx="1193">
                  <c:v>0.74199999999999999</c:v>
                </c:pt>
                <c:pt idx="1194">
                  <c:v>0.24399999999999999</c:v>
                </c:pt>
                <c:pt idx="1195">
                  <c:v>0.58399999999999996</c:v>
                </c:pt>
                <c:pt idx="1196">
                  <c:v>0.80300000000000005</c:v>
                </c:pt>
                <c:pt idx="1197">
                  <c:v>0.86799999999999999</c:v>
                </c:pt>
                <c:pt idx="1198">
                  <c:v>0.52900000000000003</c:v>
                </c:pt>
                <c:pt idx="1199">
                  <c:v>0.70399999999999996</c:v>
                </c:pt>
                <c:pt idx="1200">
                  <c:v>0.86599999999999999</c:v>
                </c:pt>
                <c:pt idx="1201">
                  <c:v>0.93300000000000005</c:v>
                </c:pt>
                <c:pt idx="1202">
                  <c:v>0.61499999999999999</c:v>
                </c:pt>
                <c:pt idx="1203">
                  <c:v>0.83499999999999996</c:v>
                </c:pt>
                <c:pt idx="1204">
                  <c:v>0.746</c:v>
                </c:pt>
                <c:pt idx="1205">
                  <c:v>0.69699999999999995</c:v>
                </c:pt>
                <c:pt idx="1206">
                  <c:v>0.79300000000000004</c:v>
                </c:pt>
                <c:pt idx="1207">
                  <c:v>0.48</c:v>
                </c:pt>
                <c:pt idx="1208">
                  <c:v>0.31</c:v>
                </c:pt>
                <c:pt idx="1209">
                  <c:v>0.72599999999999998</c:v>
                </c:pt>
                <c:pt idx="1210">
                  <c:v>0.55600000000000005</c:v>
                </c:pt>
                <c:pt idx="1211">
                  <c:v>0.44700000000000001</c:v>
                </c:pt>
                <c:pt idx="1212">
                  <c:v>0.89500000000000002</c:v>
                </c:pt>
                <c:pt idx="1213">
                  <c:v>0.78900000000000003</c:v>
                </c:pt>
                <c:pt idx="1214">
                  <c:v>0.63300000000000001</c:v>
                </c:pt>
                <c:pt idx="1215">
                  <c:v>0.84199999999999997</c:v>
                </c:pt>
                <c:pt idx="1216">
                  <c:v>0.95</c:v>
                </c:pt>
                <c:pt idx="1217">
                  <c:v>0.68400000000000005</c:v>
                </c:pt>
                <c:pt idx="1218">
                  <c:v>0.83399999999999996</c:v>
                </c:pt>
                <c:pt idx="1219">
                  <c:v>0.65300000000000002</c:v>
                </c:pt>
                <c:pt idx="1220">
                  <c:v>0.83899999999999997</c:v>
                </c:pt>
                <c:pt idx="1221">
                  <c:v>0.54500000000000004</c:v>
                </c:pt>
                <c:pt idx="1222">
                  <c:v>0.71899999999999997</c:v>
                </c:pt>
                <c:pt idx="1223">
                  <c:v>0.73199999999999998</c:v>
                </c:pt>
                <c:pt idx="1224">
                  <c:v>0.92600000000000005</c:v>
                </c:pt>
                <c:pt idx="1225">
                  <c:v>0.77100000000000002</c:v>
                </c:pt>
                <c:pt idx="1226">
                  <c:v>0.52200000000000002</c:v>
                </c:pt>
                <c:pt idx="1227">
                  <c:v>0.52800000000000002</c:v>
                </c:pt>
                <c:pt idx="1228">
                  <c:v>0.83</c:v>
                </c:pt>
                <c:pt idx="1229">
                  <c:v>0.86199999999999999</c:v>
                </c:pt>
                <c:pt idx="1230">
                  <c:v>0.64</c:v>
                </c:pt>
                <c:pt idx="1231">
                  <c:v>0.82</c:v>
                </c:pt>
                <c:pt idx="1232">
                  <c:v>0.61799999999999999</c:v>
                </c:pt>
                <c:pt idx="1233">
                  <c:v>0.73199999999999998</c:v>
                </c:pt>
                <c:pt idx="1234">
                  <c:v>0.48899999999999999</c:v>
                </c:pt>
                <c:pt idx="1235">
                  <c:v>0.47399999999999998</c:v>
                </c:pt>
                <c:pt idx="1236">
                  <c:v>5.8000000000000003E-2</c:v>
                </c:pt>
                <c:pt idx="1237">
                  <c:v>0.79700000000000004</c:v>
                </c:pt>
                <c:pt idx="1238">
                  <c:v>0.70599999999999996</c:v>
                </c:pt>
                <c:pt idx="1239">
                  <c:v>0.91800000000000004</c:v>
                </c:pt>
                <c:pt idx="1240">
                  <c:v>0.38700000000000001</c:v>
                </c:pt>
                <c:pt idx="1241">
                  <c:v>0.65900000000000003</c:v>
                </c:pt>
                <c:pt idx="1242">
                  <c:v>0.57399999999999995</c:v>
                </c:pt>
                <c:pt idx="1243">
                  <c:v>0.89300000000000002</c:v>
                </c:pt>
                <c:pt idx="1244">
                  <c:v>0.82799999999999996</c:v>
                </c:pt>
                <c:pt idx="1245">
                  <c:v>0.91200000000000003</c:v>
                </c:pt>
                <c:pt idx="1246">
                  <c:v>0.83</c:v>
                </c:pt>
                <c:pt idx="1247">
                  <c:v>0.97</c:v>
                </c:pt>
                <c:pt idx="1248">
                  <c:v>0.85799999999999998</c:v>
                </c:pt>
                <c:pt idx="1249">
                  <c:v>0.45</c:v>
                </c:pt>
                <c:pt idx="1250">
                  <c:v>0.83599999999999997</c:v>
                </c:pt>
                <c:pt idx="1251">
                  <c:v>0.76900000000000002</c:v>
                </c:pt>
                <c:pt idx="1252">
                  <c:v>0.56100000000000005</c:v>
                </c:pt>
                <c:pt idx="1253">
                  <c:v>0.82899999999999996</c:v>
                </c:pt>
                <c:pt idx="1254">
                  <c:v>0.747</c:v>
                </c:pt>
                <c:pt idx="1255">
                  <c:v>0.71199999999999997</c:v>
                </c:pt>
                <c:pt idx="1256">
                  <c:v>0.996</c:v>
                </c:pt>
                <c:pt idx="1257">
                  <c:v>0.60699999999999998</c:v>
                </c:pt>
                <c:pt idx="1258">
                  <c:v>0.96299999999999997</c:v>
                </c:pt>
                <c:pt idx="1259">
                  <c:v>0.748</c:v>
                </c:pt>
                <c:pt idx="1260">
                  <c:v>0.72799999999999998</c:v>
                </c:pt>
                <c:pt idx="1261">
                  <c:v>0.60599999999999998</c:v>
                </c:pt>
                <c:pt idx="1262">
                  <c:v>0.20799999999999999</c:v>
                </c:pt>
                <c:pt idx="1263">
                  <c:v>0.75</c:v>
                </c:pt>
                <c:pt idx="1264">
                  <c:v>0.88100000000000001</c:v>
                </c:pt>
                <c:pt idx="1265">
                  <c:v>0.96599999999999997</c:v>
                </c:pt>
                <c:pt idx="1266">
                  <c:v>0.94099999999999995</c:v>
                </c:pt>
                <c:pt idx="1267">
                  <c:v>0.80200000000000005</c:v>
                </c:pt>
                <c:pt idx="1268">
                  <c:v>0.59299999999999997</c:v>
                </c:pt>
                <c:pt idx="1269">
                  <c:v>0.61899999999999999</c:v>
                </c:pt>
                <c:pt idx="1270">
                  <c:v>0.83499999999999996</c:v>
                </c:pt>
                <c:pt idx="1271">
                  <c:v>0.89400000000000002</c:v>
                </c:pt>
                <c:pt idx="1272">
                  <c:v>0.93600000000000005</c:v>
                </c:pt>
                <c:pt idx="1273">
                  <c:v>0.90800000000000003</c:v>
                </c:pt>
                <c:pt idx="1274">
                  <c:v>0.73699999999999999</c:v>
                </c:pt>
                <c:pt idx="1275">
                  <c:v>0.54800000000000004</c:v>
                </c:pt>
                <c:pt idx="1276">
                  <c:v>0.16700000000000001</c:v>
                </c:pt>
                <c:pt idx="1277">
                  <c:v>0.96899999999999997</c:v>
                </c:pt>
                <c:pt idx="1278">
                  <c:v>0.879</c:v>
                </c:pt>
                <c:pt idx="1279">
                  <c:v>0.92600000000000005</c:v>
                </c:pt>
                <c:pt idx="1280">
                  <c:v>0.75800000000000001</c:v>
                </c:pt>
                <c:pt idx="1281">
                  <c:v>0.74099999999999999</c:v>
                </c:pt>
                <c:pt idx="1282">
                  <c:v>1</c:v>
                </c:pt>
                <c:pt idx="1283">
                  <c:v>0.55500000000000005</c:v>
                </c:pt>
                <c:pt idx="1284">
                  <c:v>0.84099999999999997</c:v>
                </c:pt>
                <c:pt idx="1285">
                  <c:v>0.65900000000000003</c:v>
                </c:pt>
                <c:pt idx="1286">
                  <c:v>0.93899999999999995</c:v>
                </c:pt>
                <c:pt idx="1287">
                  <c:v>0.51500000000000001</c:v>
                </c:pt>
                <c:pt idx="1288">
                  <c:v>0.54300000000000004</c:v>
                </c:pt>
                <c:pt idx="1289">
                  <c:v>0.92300000000000004</c:v>
                </c:pt>
                <c:pt idx="1290">
                  <c:v>0.91</c:v>
                </c:pt>
                <c:pt idx="1291">
                  <c:v>0.94799999999999995</c:v>
                </c:pt>
                <c:pt idx="1292">
                  <c:v>1</c:v>
                </c:pt>
                <c:pt idx="1293">
                  <c:v>0.93100000000000005</c:v>
                </c:pt>
                <c:pt idx="1294">
                  <c:v>0.33200000000000002</c:v>
                </c:pt>
                <c:pt idx="1295">
                  <c:v>0.73399999999999999</c:v>
                </c:pt>
                <c:pt idx="1296">
                  <c:v>0.106</c:v>
                </c:pt>
                <c:pt idx="1297">
                  <c:v>0.65800000000000003</c:v>
                </c:pt>
                <c:pt idx="1298">
                  <c:v>2.5000000000000001E-2</c:v>
                </c:pt>
                <c:pt idx="1299">
                  <c:v>0.83</c:v>
                </c:pt>
                <c:pt idx="1300">
                  <c:v>0.95599999999999996</c:v>
                </c:pt>
                <c:pt idx="1301">
                  <c:v>0.74199999999999999</c:v>
                </c:pt>
                <c:pt idx="1302">
                  <c:v>0.68700000000000006</c:v>
                </c:pt>
                <c:pt idx="1303">
                  <c:v>0.67</c:v>
                </c:pt>
                <c:pt idx="1304">
                  <c:v>0.91200000000000003</c:v>
                </c:pt>
                <c:pt idx="1305">
                  <c:v>0.71099999999999997</c:v>
                </c:pt>
                <c:pt idx="1306">
                  <c:v>0.61699999999999999</c:v>
                </c:pt>
                <c:pt idx="1307">
                  <c:v>0.92800000000000005</c:v>
                </c:pt>
                <c:pt idx="1308">
                  <c:v>0.65800000000000003</c:v>
                </c:pt>
                <c:pt idx="1309">
                  <c:v>0.97799999999999998</c:v>
                </c:pt>
                <c:pt idx="1310">
                  <c:v>0.26400000000000001</c:v>
                </c:pt>
                <c:pt idx="1311">
                  <c:v>0.755</c:v>
                </c:pt>
                <c:pt idx="1312">
                  <c:v>0.88800000000000001</c:v>
                </c:pt>
                <c:pt idx="1313">
                  <c:v>0.34499999999999997</c:v>
                </c:pt>
                <c:pt idx="1314">
                  <c:v>0.97399999999999998</c:v>
                </c:pt>
                <c:pt idx="1315">
                  <c:v>0.83599999999999997</c:v>
                </c:pt>
                <c:pt idx="1316">
                  <c:v>0.96099999999999997</c:v>
                </c:pt>
                <c:pt idx="1317">
                  <c:v>0.622</c:v>
                </c:pt>
                <c:pt idx="1318">
                  <c:v>0.58299999999999996</c:v>
                </c:pt>
                <c:pt idx="1319">
                  <c:v>0.98499999999999999</c:v>
                </c:pt>
                <c:pt idx="1320">
                  <c:v>0.5</c:v>
                </c:pt>
                <c:pt idx="1321">
                  <c:v>0.43</c:v>
                </c:pt>
                <c:pt idx="1322">
                  <c:v>0.83099999999999996</c:v>
                </c:pt>
                <c:pt idx="1323">
                  <c:v>0.94799999999999995</c:v>
                </c:pt>
                <c:pt idx="1324">
                  <c:v>0.626</c:v>
                </c:pt>
                <c:pt idx="1325">
                  <c:v>0.75800000000000001</c:v>
                </c:pt>
                <c:pt idx="1326">
                  <c:v>0.70399999999999996</c:v>
                </c:pt>
                <c:pt idx="1327">
                  <c:v>0.68899999999999995</c:v>
                </c:pt>
                <c:pt idx="1328">
                  <c:v>0.61899999999999999</c:v>
                </c:pt>
                <c:pt idx="1329">
                  <c:v>0.625</c:v>
                </c:pt>
                <c:pt idx="1330">
                  <c:v>0.97599999999999998</c:v>
                </c:pt>
                <c:pt idx="1331">
                  <c:v>0.68899999999999995</c:v>
                </c:pt>
                <c:pt idx="1332">
                  <c:v>0.86299999999999999</c:v>
                </c:pt>
                <c:pt idx="1333">
                  <c:v>1</c:v>
                </c:pt>
                <c:pt idx="1334">
                  <c:v>0.91700000000000004</c:v>
                </c:pt>
                <c:pt idx="1335">
                  <c:v>0.44400000000000001</c:v>
                </c:pt>
                <c:pt idx="1336">
                  <c:v>0.39</c:v>
                </c:pt>
                <c:pt idx="1337">
                  <c:v>0.93400000000000005</c:v>
                </c:pt>
                <c:pt idx="1338">
                  <c:v>0.86599999999999999</c:v>
                </c:pt>
                <c:pt idx="1339">
                  <c:v>0.56200000000000006</c:v>
                </c:pt>
                <c:pt idx="1340">
                  <c:v>0.74299999999999999</c:v>
                </c:pt>
                <c:pt idx="1341">
                  <c:v>0.86699999999999999</c:v>
                </c:pt>
                <c:pt idx="1342">
                  <c:v>0.47499999999999998</c:v>
                </c:pt>
                <c:pt idx="1343">
                  <c:v>0.49</c:v>
                </c:pt>
                <c:pt idx="1344">
                  <c:v>0.93300000000000005</c:v>
                </c:pt>
                <c:pt idx="1345">
                  <c:v>0.25600000000000001</c:v>
                </c:pt>
                <c:pt idx="1346">
                  <c:v>0.67900000000000005</c:v>
                </c:pt>
                <c:pt idx="1347">
                  <c:v>0.73499999999999999</c:v>
                </c:pt>
                <c:pt idx="1348">
                  <c:v>0.92800000000000005</c:v>
                </c:pt>
                <c:pt idx="1349">
                  <c:v>0.96699999999999997</c:v>
                </c:pt>
                <c:pt idx="1350">
                  <c:v>0.81799999999999995</c:v>
                </c:pt>
                <c:pt idx="1351">
                  <c:v>0.82799999999999996</c:v>
                </c:pt>
                <c:pt idx="1352">
                  <c:v>0.6</c:v>
                </c:pt>
                <c:pt idx="1353">
                  <c:v>0.65100000000000002</c:v>
                </c:pt>
                <c:pt idx="1354">
                  <c:v>0.70599999999999996</c:v>
                </c:pt>
                <c:pt idx="1355">
                  <c:v>0.90700000000000003</c:v>
                </c:pt>
                <c:pt idx="1356">
                  <c:v>0.78700000000000003</c:v>
                </c:pt>
                <c:pt idx="1357">
                  <c:v>0.65900000000000003</c:v>
                </c:pt>
                <c:pt idx="1358">
                  <c:v>0.81499999999999995</c:v>
                </c:pt>
                <c:pt idx="1359">
                  <c:v>0.88400000000000001</c:v>
                </c:pt>
                <c:pt idx="1360">
                  <c:v>0.96099999999999997</c:v>
                </c:pt>
                <c:pt idx="1361">
                  <c:v>0.69899999999999995</c:v>
                </c:pt>
                <c:pt idx="1362">
                  <c:v>0.86499999999999999</c:v>
                </c:pt>
                <c:pt idx="1363">
                  <c:v>0.92400000000000004</c:v>
                </c:pt>
                <c:pt idx="1364">
                  <c:v>0.74399999999999999</c:v>
                </c:pt>
                <c:pt idx="1365">
                  <c:v>0.86799999999999999</c:v>
                </c:pt>
                <c:pt idx="1366">
                  <c:v>7.0000000000000007E-2</c:v>
                </c:pt>
                <c:pt idx="1367">
                  <c:v>0.625</c:v>
                </c:pt>
                <c:pt idx="1368">
                  <c:v>0.93700000000000006</c:v>
                </c:pt>
                <c:pt idx="1369">
                  <c:v>0.69199999999999995</c:v>
                </c:pt>
                <c:pt idx="1370">
                  <c:v>0.78900000000000003</c:v>
                </c:pt>
                <c:pt idx="1371">
                  <c:v>0.53100000000000003</c:v>
                </c:pt>
                <c:pt idx="1372">
                  <c:v>0.89500000000000002</c:v>
                </c:pt>
                <c:pt idx="1373">
                  <c:v>0.95799999999999996</c:v>
                </c:pt>
                <c:pt idx="1374">
                  <c:v>0.85399999999999998</c:v>
                </c:pt>
                <c:pt idx="1375">
                  <c:v>0.71299999999999997</c:v>
                </c:pt>
                <c:pt idx="1376">
                  <c:v>0.98299999999999998</c:v>
                </c:pt>
                <c:pt idx="1377">
                  <c:v>0.86499999999999999</c:v>
                </c:pt>
                <c:pt idx="1378">
                  <c:v>0.38500000000000001</c:v>
                </c:pt>
                <c:pt idx="1379">
                  <c:v>0.48699999999999999</c:v>
                </c:pt>
                <c:pt idx="1380">
                  <c:v>0.44800000000000001</c:v>
                </c:pt>
                <c:pt idx="1381">
                  <c:v>0.79400000000000004</c:v>
                </c:pt>
                <c:pt idx="1382">
                  <c:v>0.92</c:v>
                </c:pt>
                <c:pt idx="1383">
                  <c:v>0.72199999999999998</c:v>
                </c:pt>
                <c:pt idx="1384">
                  <c:v>0.84099999999999997</c:v>
                </c:pt>
                <c:pt idx="1385">
                  <c:v>0.90600000000000003</c:v>
                </c:pt>
                <c:pt idx="1386">
                  <c:v>0.83299999999999996</c:v>
                </c:pt>
                <c:pt idx="1387">
                  <c:v>0.55900000000000005</c:v>
                </c:pt>
                <c:pt idx="1388">
                  <c:v>0.68100000000000005</c:v>
                </c:pt>
                <c:pt idx="1389">
                  <c:v>0.48899999999999999</c:v>
                </c:pt>
                <c:pt idx="1390">
                  <c:v>0.88400000000000001</c:v>
                </c:pt>
                <c:pt idx="1391">
                  <c:v>0.83899999999999997</c:v>
                </c:pt>
                <c:pt idx="1392">
                  <c:v>0.88</c:v>
                </c:pt>
                <c:pt idx="1393">
                  <c:v>0.84199999999999997</c:v>
                </c:pt>
                <c:pt idx="1394">
                  <c:v>0.72</c:v>
                </c:pt>
                <c:pt idx="1395">
                  <c:v>0.871</c:v>
                </c:pt>
                <c:pt idx="1396">
                  <c:v>0.77900000000000003</c:v>
                </c:pt>
                <c:pt idx="1397">
                  <c:v>0.74399999999999999</c:v>
                </c:pt>
                <c:pt idx="1398">
                  <c:v>0.92300000000000004</c:v>
                </c:pt>
                <c:pt idx="1399">
                  <c:v>0.91700000000000004</c:v>
                </c:pt>
                <c:pt idx="1400">
                  <c:v>0.58099999999999996</c:v>
                </c:pt>
                <c:pt idx="1401">
                  <c:v>0.55000000000000004</c:v>
                </c:pt>
                <c:pt idx="1402">
                  <c:v>0.129</c:v>
                </c:pt>
                <c:pt idx="1403">
                  <c:v>0.86599999999999999</c:v>
                </c:pt>
                <c:pt idx="1404">
                  <c:v>0.9</c:v>
                </c:pt>
                <c:pt idx="1405">
                  <c:v>0.90200000000000002</c:v>
                </c:pt>
                <c:pt idx="1406">
                  <c:v>0.71899999999999997</c:v>
                </c:pt>
                <c:pt idx="1407">
                  <c:v>0.60299999999999998</c:v>
                </c:pt>
                <c:pt idx="1408">
                  <c:v>0.81200000000000006</c:v>
                </c:pt>
                <c:pt idx="1409">
                  <c:v>0.91300000000000003</c:v>
                </c:pt>
                <c:pt idx="1410">
                  <c:v>0.66</c:v>
                </c:pt>
                <c:pt idx="1411">
                  <c:v>0.57699999999999996</c:v>
                </c:pt>
                <c:pt idx="1412">
                  <c:v>0.78400000000000003</c:v>
                </c:pt>
                <c:pt idx="1413">
                  <c:v>0.51900000000000002</c:v>
                </c:pt>
                <c:pt idx="1414">
                  <c:v>0.96899999999999997</c:v>
                </c:pt>
                <c:pt idx="1415">
                  <c:v>0.85899999999999999</c:v>
                </c:pt>
                <c:pt idx="1416">
                  <c:v>0.76800000000000002</c:v>
                </c:pt>
                <c:pt idx="1417">
                  <c:v>0.78400000000000003</c:v>
                </c:pt>
                <c:pt idx="1418">
                  <c:v>0.88800000000000001</c:v>
                </c:pt>
                <c:pt idx="1419">
                  <c:v>0.70099999999999996</c:v>
                </c:pt>
                <c:pt idx="1420">
                  <c:v>0.95899999999999996</c:v>
                </c:pt>
                <c:pt idx="1421">
                  <c:v>0.81499999999999995</c:v>
                </c:pt>
                <c:pt idx="1422">
                  <c:v>0.877</c:v>
                </c:pt>
                <c:pt idx="1423">
                  <c:v>0.59399999999999997</c:v>
                </c:pt>
                <c:pt idx="1424">
                  <c:v>0.73699999999999999</c:v>
                </c:pt>
                <c:pt idx="1425">
                  <c:v>0.628</c:v>
                </c:pt>
                <c:pt idx="1426">
                  <c:v>0.94</c:v>
                </c:pt>
                <c:pt idx="1427">
                  <c:v>0.22800000000000001</c:v>
                </c:pt>
                <c:pt idx="1428">
                  <c:v>0.56200000000000006</c:v>
                </c:pt>
                <c:pt idx="1429">
                  <c:v>0.85699999999999998</c:v>
                </c:pt>
                <c:pt idx="1430">
                  <c:v>0.84899999999999998</c:v>
                </c:pt>
                <c:pt idx="1431">
                  <c:v>0.60599999999999998</c:v>
                </c:pt>
                <c:pt idx="1432">
                  <c:v>0.68799999999999994</c:v>
                </c:pt>
                <c:pt idx="1433">
                  <c:v>0.88900000000000001</c:v>
                </c:pt>
                <c:pt idx="1434">
                  <c:v>0.44900000000000001</c:v>
                </c:pt>
                <c:pt idx="1435">
                  <c:v>0.315</c:v>
                </c:pt>
                <c:pt idx="1436">
                  <c:v>0.70499999999999996</c:v>
                </c:pt>
                <c:pt idx="1437">
                  <c:v>0.54700000000000004</c:v>
                </c:pt>
                <c:pt idx="1438">
                  <c:v>0.72</c:v>
                </c:pt>
                <c:pt idx="1439">
                  <c:v>0.57999999999999996</c:v>
                </c:pt>
                <c:pt idx="1440">
                  <c:v>0.92200000000000004</c:v>
                </c:pt>
                <c:pt idx="1441">
                  <c:v>5.3999999999999999E-2</c:v>
                </c:pt>
                <c:pt idx="1442">
                  <c:v>0.81</c:v>
                </c:pt>
                <c:pt idx="1443">
                  <c:v>0.56499999999999995</c:v>
                </c:pt>
                <c:pt idx="1444">
                  <c:v>0.97299999999999998</c:v>
                </c:pt>
                <c:pt idx="1445">
                  <c:v>0.88700000000000001</c:v>
                </c:pt>
                <c:pt idx="1446">
                  <c:v>0.52</c:v>
                </c:pt>
                <c:pt idx="1447">
                  <c:v>0.85899999999999999</c:v>
                </c:pt>
                <c:pt idx="1448">
                  <c:v>0.73799999999999999</c:v>
                </c:pt>
                <c:pt idx="1449">
                  <c:v>0.75700000000000001</c:v>
                </c:pt>
                <c:pt idx="1450">
                  <c:v>0.503</c:v>
                </c:pt>
                <c:pt idx="1451">
                  <c:v>0.61799999999999999</c:v>
                </c:pt>
                <c:pt idx="1452">
                  <c:v>0.91</c:v>
                </c:pt>
                <c:pt idx="1453">
                  <c:v>0.86199999999999999</c:v>
                </c:pt>
                <c:pt idx="1454">
                  <c:v>0.67500000000000004</c:v>
                </c:pt>
                <c:pt idx="1455">
                  <c:v>0.76900000000000002</c:v>
                </c:pt>
                <c:pt idx="1456">
                  <c:v>0.50800000000000001</c:v>
                </c:pt>
                <c:pt idx="1457">
                  <c:v>0.623</c:v>
                </c:pt>
                <c:pt idx="1458">
                  <c:v>0.91600000000000004</c:v>
                </c:pt>
                <c:pt idx="1459">
                  <c:v>0.53300000000000003</c:v>
                </c:pt>
                <c:pt idx="1460">
                  <c:v>0.67200000000000004</c:v>
                </c:pt>
                <c:pt idx="1461">
                  <c:v>0.70799999999999996</c:v>
                </c:pt>
                <c:pt idx="1462">
                  <c:v>0.93500000000000005</c:v>
                </c:pt>
                <c:pt idx="1463">
                  <c:v>0.58899999999999997</c:v>
                </c:pt>
                <c:pt idx="1464">
                  <c:v>0.89700000000000002</c:v>
                </c:pt>
                <c:pt idx="1465">
                  <c:v>0.78500000000000003</c:v>
                </c:pt>
                <c:pt idx="1466">
                  <c:v>0.307</c:v>
                </c:pt>
                <c:pt idx="1467">
                  <c:v>0.93799999999999994</c:v>
                </c:pt>
                <c:pt idx="1468">
                  <c:v>0.96499999999999997</c:v>
                </c:pt>
                <c:pt idx="1469">
                  <c:v>0.57099999999999995</c:v>
                </c:pt>
                <c:pt idx="1470">
                  <c:v>0.75700000000000001</c:v>
                </c:pt>
                <c:pt idx="1471">
                  <c:v>0.97499999999999998</c:v>
                </c:pt>
                <c:pt idx="1472">
                  <c:v>0.61499999999999999</c:v>
                </c:pt>
                <c:pt idx="1473">
                  <c:v>0.91</c:v>
                </c:pt>
                <c:pt idx="1474">
                  <c:v>0.84099999999999997</c:v>
                </c:pt>
                <c:pt idx="1475">
                  <c:v>6.3E-2</c:v>
                </c:pt>
                <c:pt idx="1476">
                  <c:v>0.85199999999999998</c:v>
                </c:pt>
                <c:pt idx="1477">
                  <c:v>0.86099999999999999</c:v>
                </c:pt>
                <c:pt idx="1478">
                  <c:v>0.63800000000000001</c:v>
                </c:pt>
                <c:pt idx="1479">
                  <c:v>0.74</c:v>
                </c:pt>
                <c:pt idx="1480">
                  <c:v>0.63</c:v>
                </c:pt>
                <c:pt idx="1481">
                  <c:v>0.92100000000000004</c:v>
                </c:pt>
                <c:pt idx="1482">
                  <c:v>0.69</c:v>
                </c:pt>
                <c:pt idx="1483">
                  <c:v>0.86899999999999999</c:v>
                </c:pt>
                <c:pt idx="1484">
                  <c:v>0.82899999999999996</c:v>
                </c:pt>
                <c:pt idx="1485">
                  <c:v>0.83699999999999997</c:v>
                </c:pt>
                <c:pt idx="1486">
                  <c:v>0.17399999999999999</c:v>
                </c:pt>
                <c:pt idx="1487">
                  <c:v>0.51200000000000001</c:v>
                </c:pt>
                <c:pt idx="1488">
                  <c:v>0.66900000000000004</c:v>
                </c:pt>
                <c:pt idx="1489">
                  <c:v>0.77700000000000002</c:v>
                </c:pt>
                <c:pt idx="1490">
                  <c:v>0.83599999999999997</c:v>
                </c:pt>
                <c:pt idx="1491">
                  <c:v>0.629</c:v>
                </c:pt>
                <c:pt idx="1492">
                  <c:v>0.79800000000000004</c:v>
                </c:pt>
                <c:pt idx="1493">
                  <c:v>0.51500000000000001</c:v>
                </c:pt>
                <c:pt idx="1494">
                  <c:v>0.85699999999999998</c:v>
                </c:pt>
                <c:pt idx="1495">
                  <c:v>0.82499999999999996</c:v>
                </c:pt>
                <c:pt idx="1496">
                  <c:v>0.88600000000000001</c:v>
                </c:pt>
                <c:pt idx="1497">
                  <c:v>0.88</c:v>
                </c:pt>
                <c:pt idx="1498">
                  <c:v>0.59799999999999998</c:v>
                </c:pt>
                <c:pt idx="1499">
                  <c:v>0.86599999999999999</c:v>
                </c:pt>
                <c:pt idx="1500">
                  <c:v>0.67800000000000005</c:v>
                </c:pt>
                <c:pt idx="1501">
                  <c:v>0.71699999999999997</c:v>
                </c:pt>
                <c:pt idx="1502">
                  <c:v>0.82899999999999996</c:v>
                </c:pt>
                <c:pt idx="1503">
                  <c:v>0.85799999999999998</c:v>
                </c:pt>
                <c:pt idx="1504">
                  <c:v>0.59899999999999998</c:v>
                </c:pt>
                <c:pt idx="1505">
                  <c:v>0.433</c:v>
                </c:pt>
                <c:pt idx="1506">
                  <c:v>0.90600000000000003</c:v>
                </c:pt>
                <c:pt idx="1507">
                  <c:v>0.68300000000000005</c:v>
                </c:pt>
                <c:pt idx="1508">
                  <c:v>0.92</c:v>
                </c:pt>
                <c:pt idx="1509">
                  <c:v>0.34</c:v>
                </c:pt>
                <c:pt idx="1510">
                  <c:v>0.31900000000000001</c:v>
                </c:pt>
                <c:pt idx="1511">
                  <c:v>0.92600000000000005</c:v>
                </c:pt>
                <c:pt idx="1512">
                  <c:v>0.216</c:v>
                </c:pt>
                <c:pt idx="1513">
                  <c:v>0.83499999999999996</c:v>
                </c:pt>
                <c:pt idx="1514">
                  <c:v>0.68100000000000005</c:v>
                </c:pt>
                <c:pt idx="1515">
                  <c:v>0.221</c:v>
                </c:pt>
                <c:pt idx="1516">
                  <c:v>0.748</c:v>
                </c:pt>
                <c:pt idx="1517">
                  <c:v>0.89800000000000002</c:v>
                </c:pt>
                <c:pt idx="1518">
                  <c:v>0.82299999999999995</c:v>
                </c:pt>
                <c:pt idx="1519">
                  <c:v>0.75</c:v>
                </c:pt>
                <c:pt idx="1520">
                  <c:v>0.88600000000000001</c:v>
                </c:pt>
                <c:pt idx="1521">
                  <c:v>0.92800000000000005</c:v>
                </c:pt>
                <c:pt idx="1522">
                  <c:v>0.91800000000000004</c:v>
                </c:pt>
                <c:pt idx="1523">
                  <c:v>0.75600000000000001</c:v>
                </c:pt>
                <c:pt idx="1524">
                  <c:v>0.65</c:v>
                </c:pt>
                <c:pt idx="1525">
                  <c:v>1</c:v>
                </c:pt>
                <c:pt idx="1526">
                  <c:v>0.25700000000000001</c:v>
                </c:pt>
                <c:pt idx="1527">
                  <c:v>0.81399999999999995</c:v>
                </c:pt>
                <c:pt idx="1528">
                  <c:v>0.46899999999999997</c:v>
                </c:pt>
                <c:pt idx="1529">
                  <c:v>0.52600000000000002</c:v>
                </c:pt>
                <c:pt idx="1530">
                  <c:v>0.61599999999999999</c:v>
                </c:pt>
                <c:pt idx="1531">
                  <c:v>0.497</c:v>
                </c:pt>
                <c:pt idx="1532">
                  <c:v>0.92800000000000005</c:v>
                </c:pt>
                <c:pt idx="1533">
                  <c:v>0.65500000000000003</c:v>
                </c:pt>
                <c:pt idx="1534">
                  <c:v>0.75900000000000001</c:v>
                </c:pt>
                <c:pt idx="1535">
                  <c:v>0.627</c:v>
                </c:pt>
                <c:pt idx="1536">
                  <c:v>0.94</c:v>
                </c:pt>
                <c:pt idx="1537">
                  <c:v>0.84499999999999997</c:v>
                </c:pt>
                <c:pt idx="1538">
                  <c:v>0.57199999999999995</c:v>
                </c:pt>
                <c:pt idx="1539">
                  <c:v>0.86399999999999999</c:v>
                </c:pt>
                <c:pt idx="1540">
                  <c:v>0.59699999999999998</c:v>
                </c:pt>
                <c:pt idx="1541">
                  <c:v>0.86</c:v>
                </c:pt>
                <c:pt idx="1542">
                  <c:v>0.92</c:v>
                </c:pt>
                <c:pt idx="1543">
                  <c:v>0.746</c:v>
                </c:pt>
                <c:pt idx="1544">
                  <c:v>0.80100000000000005</c:v>
                </c:pt>
                <c:pt idx="1545">
                  <c:v>0.749</c:v>
                </c:pt>
                <c:pt idx="1546">
                  <c:v>0.84699999999999998</c:v>
                </c:pt>
                <c:pt idx="1547">
                  <c:v>0.621</c:v>
                </c:pt>
                <c:pt idx="1548">
                  <c:v>0.77</c:v>
                </c:pt>
                <c:pt idx="1549">
                  <c:v>0.56000000000000005</c:v>
                </c:pt>
                <c:pt idx="1550">
                  <c:v>0.64100000000000001</c:v>
                </c:pt>
                <c:pt idx="1551">
                  <c:v>0.83899999999999997</c:v>
                </c:pt>
                <c:pt idx="1552">
                  <c:v>0.55300000000000005</c:v>
                </c:pt>
                <c:pt idx="1553">
                  <c:v>0.90800000000000003</c:v>
                </c:pt>
                <c:pt idx="1554">
                  <c:v>0.52600000000000002</c:v>
                </c:pt>
                <c:pt idx="1555">
                  <c:v>0.51200000000000001</c:v>
                </c:pt>
                <c:pt idx="1556">
                  <c:v>0.65500000000000003</c:v>
                </c:pt>
                <c:pt idx="1557">
                  <c:v>0.64100000000000001</c:v>
                </c:pt>
                <c:pt idx="1558">
                  <c:v>0.81200000000000006</c:v>
                </c:pt>
                <c:pt idx="1559">
                  <c:v>0.81499999999999995</c:v>
                </c:pt>
                <c:pt idx="1560">
                  <c:v>0.81399999999999995</c:v>
                </c:pt>
                <c:pt idx="1561">
                  <c:v>0.83399999999999996</c:v>
                </c:pt>
                <c:pt idx="1562">
                  <c:v>0.185</c:v>
                </c:pt>
                <c:pt idx="1563">
                  <c:v>0.59499999999999997</c:v>
                </c:pt>
                <c:pt idx="1564">
                  <c:v>0.77600000000000002</c:v>
                </c:pt>
                <c:pt idx="1565">
                  <c:v>0.85299999999999998</c:v>
                </c:pt>
                <c:pt idx="1566">
                  <c:v>0.77100000000000002</c:v>
                </c:pt>
                <c:pt idx="1567">
                  <c:v>0.94699999999999995</c:v>
                </c:pt>
                <c:pt idx="1568">
                  <c:v>0.69699999999999995</c:v>
                </c:pt>
                <c:pt idx="1569">
                  <c:v>0.89800000000000002</c:v>
                </c:pt>
                <c:pt idx="1570">
                  <c:v>0.499</c:v>
                </c:pt>
                <c:pt idx="1571">
                  <c:v>0.90400000000000003</c:v>
                </c:pt>
                <c:pt idx="1572">
                  <c:v>0.79500000000000004</c:v>
                </c:pt>
                <c:pt idx="1573">
                  <c:v>0.61599999999999999</c:v>
                </c:pt>
                <c:pt idx="1574">
                  <c:v>0.93700000000000006</c:v>
                </c:pt>
                <c:pt idx="1575">
                  <c:v>0.65</c:v>
                </c:pt>
                <c:pt idx="1576">
                  <c:v>0.93400000000000005</c:v>
                </c:pt>
                <c:pt idx="1577">
                  <c:v>0.155</c:v>
                </c:pt>
                <c:pt idx="1578">
                  <c:v>0.68100000000000005</c:v>
                </c:pt>
                <c:pt idx="1579">
                  <c:v>0.88100000000000001</c:v>
                </c:pt>
                <c:pt idx="1580">
                  <c:v>0.93500000000000005</c:v>
                </c:pt>
                <c:pt idx="1581">
                  <c:v>0.63400000000000001</c:v>
                </c:pt>
                <c:pt idx="1582">
                  <c:v>0.98499999999999999</c:v>
                </c:pt>
                <c:pt idx="1583">
                  <c:v>0.29899999999999999</c:v>
                </c:pt>
                <c:pt idx="1584">
                  <c:v>0.69</c:v>
                </c:pt>
                <c:pt idx="1585">
                  <c:v>0.89500000000000002</c:v>
                </c:pt>
                <c:pt idx="1586">
                  <c:v>0.89300000000000002</c:v>
                </c:pt>
                <c:pt idx="1587">
                  <c:v>0.876</c:v>
                </c:pt>
                <c:pt idx="1588">
                  <c:v>0.78</c:v>
                </c:pt>
                <c:pt idx="1589">
                  <c:v>0.623</c:v>
                </c:pt>
                <c:pt idx="1590">
                  <c:v>0.59499999999999997</c:v>
                </c:pt>
                <c:pt idx="1591">
                  <c:v>0.81799999999999995</c:v>
                </c:pt>
                <c:pt idx="1592">
                  <c:v>0.95599999999999996</c:v>
                </c:pt>
                <c:pt idx="1593">
                  <c:v>0.94899999999999995</c:v>
                </c:pt>
                <c:pt idx="1594">
                  <c:v>0.23499999999999999</c:v>
                </c:pt>
                <c:pt idx="1595">
                  <c:v>0.84399999999999997</c:v>
                </c:pt>
                <c:pt idx="1596">
                  <c:v>0.83299999999999996</c:v>
                </c:pt>
                <c:pt idx="1597">
                  <c:v>0.44800000000000001</c:v>
                </c:pt>
                <c:pt idx="1598">
                  <c:v>0.28399999999999997</c:v>
                </c:pt>
                <c:pt idx="1599">
                  <c:v>0.748</c:v>
                </c:pt>
                <c:pt idx="1600">
                  <c:v>0.91100000000000003</c:v>
                </c:pt>
                <c:pt idx="1601">
                  <c:v>0.57999999999999996</c:v>
                </c:pt>
                <c:pt idx="1602">
                  <c:v>0.32100000000000001</c:v>
                </c:pt>
                <c:pt idx="1603">
                  <c:v>0.34300000000000003</c:v>
                </c:pt>
                <c:pt idx="1604">
                  <c:v>0.84799999999999998</c:v>
                </c:pt>
                <c:pt idx="1605">
                  <c:v>0.32600000000000001</c:v>
                </c:pt>
                <c:pt idx="1606">
                  <c:v>0.94499999999999995</c:v>
                </c:pt>
                <c:pt idx="1607">
                  <c:v>0.60099999999999998</c:v>
                </c:pt>
                <c:pt idx="1608">
                  <c:v>0.64800000000000002</c:v>
                </c:pt>
                <c:pt idx="1609">
                  <c:v>0.78800000000000003</c:v>
                </c:pt>
                <c:pt idx="1610">
                  <c:v>0.95199999999999996</c:v>
                </c:pt>
                <c:pt idx="1611">
                  <c:v>0.96199999999999997</c:v>
                </c:pt>
                <c:pt idx="1612">
                  <c:v>0.78600000000000003</c:v>
                </c:pt>
                <c:pt idx="1613">
                  <c:v>0.78700000000000003</c:v>
                </c:pt>
                <c:pt idx="1614">
                  <c:v>0.97099999999999997</c:v>
                </c:pt>
                <c:pt idx="1615">
                  <c:v>0.72899999999999998</c:v>
                </c:pt>
                <c:pt idx="1616">
                  <c:v>0.59899999999999998</c:v>
                </c:pt>
                <c:pt idx="1617">
                  <c:v>0.74099999999999999</c:v>
                </c:pt>
                <c:pt idx="1618">
                  <c:v>0.82099999999999995</c:v>
                </c:pt>
                <c:pt idx="1619">
                  <c:v>0.98</c:v>
                </c:pt>
                <c:pt idx="1620">
                  <c:v>0.47399999999999998</c:v>
                </c:pt>
                <c:pt idx="1621">
                  <c:v>0.89900000000000002</c:v>
                </c:pt>
                <c:pt idx="1622">
                  <c:v>0.72199999999999998</c:v>
                </c:pt>
                <c:pt idx="1623">
                  <c:v>4.2000000000000003E-2</c:v>
                </c:pt>
                <c:pt idx="1624">
                  <c:v>0.94099999999999995</c:v>
                </c:pt>
                <c:pt idx="1625">
                  <c:v>0.66700000000000004</c:v>
                </c:pt>
                <c:pt idx="1626">
                  <c:v>0.503</c:v>
                </c:pt>
                <c:pt idx="1627">
                  <c:v>0.56799999999999995</c:v>
                </c:pt>
                <c:pt idx="1628">
                  <c:v>0.91800000000000004</c:v>
                </c:pt>
                <c:pt idx="1629">
                  <c:v>0.74099999999999999</c:v>
                </c:pt>
                <c:pt idx="1630">
                  <c:v>0.28000000000000003</c:v>
                </c:pt>
                <c:pt idx="1631">
                  <c:v>0.81599999999999995</c:v>
                </c:pt>
                <c:pt idx="1632">
                  <c:v>0.63600000000000001</c:v>
                </c:pt>
                <c:pt idx="1633">
                  <c:v>0.36399999999999999</c:v>
                </c:pt>
                <c:pt idx="1634">
                  <c:v>0.89</c:v>
                </c:pt>
                <c:pt idx="1635">
                  <c:v>0.23899999999999999</c:v>
                </c:pt>
                <c:pt idx="1636">
                  <c:v>0.79300000000000004</c:v>
                </c:pt>
                <c:pt idx="1637">
                  <c:v>0.95899999999999996</c:v>
                </c:pt>
                <c:pt idx="1638">
                  <c:v>0.77600000000000002</c:v>
                </c:pt>
                <c:pt idx="1639">
                  <c:v>0.95899999999999996</c:v>
                </c:pt>
                <c:pt idx="1640">
                  <c:v>0.83199999999999996</c:v>
                </c:pt>
                <c:pt idx="1641">
                  <c:v>0.88600000000000001</c:v>
                </c:pt>
                <c:pt idx="1642">
                  <c:v>0.56100000000000005</c:v>
                </c:pt>
                <c:pt idx="1643">
                  <c:v>0.55900000000000005</c:v>
                </c:pt>
                <c:pt idx="1644">
                  <c:v>0.73199999999999998</c:v>
                </c:pt>
                <c:pt idx="1645">
                  <c:v>0.96199999999999997</c:v>
                </c:pt>
                <c:pt idx="1646">
                  <c:v>0.93899999999999995</c:v>
                </c:pt>
                <c:pt idx="1647">
                  <c:v>0.94799999999999995</c:v>
                </c:pt>
                <c:pt idx="1648">
                  <c:v>0.97099999999999997</c:v>
                </c:pt>
                <c:pt idx="1649">
                  <c:v>0.91900000000000004</c:v>
                </c:pt>
                <c:pt idx="1650">
                  <c:v>0.75900000000000001</c:v>
                </c:pt>
                <c:pt idx="1651">
                  <c:v>0.96</c:v>
                </c:pt>
                <c:pt idx="1652">
                  <c:v>0.67800000000000005</c:v>
                </c:pt>
                <c:pt idx="1653">
                  <c:v>0.92800000000000005</c:v>
                </c:pt>
                <c:pt idx="1654">
                  <c:v>0.93100000000000005</c:v>
                </c:pt>
                <c:pt idx="1655">
                  <c:v>0.95399999999999996</c:v>
                </c:pt>
                <c:pt idx="1656">
                  <c:v>0.57799999999999996</c:v>
                </c:pt>
                <c:pt idx="1657">
                  <c:v>0.41899999999999998</c:v>
                </c:pt>
                <c:pt idx="1658">
                  <c:v>0.63800000000000001</c:v>
                </c:pt>
                <c:pt idx="1659">
                  <c:v>0.88400000000000001</c:v>
                </c:pt>
                <c:pt idx="1660">
                  <c:v>0.86399999999999999</c:v>
                </c:pt>
                <c:pt idx="1661">
                  <c:v>0.86</c:v>
                </c:pt>
                <c:pt idx="1662">
                  <c:v>0.95199999999999996</c:v>
                </c:pt>
                <c:pt idx="1663">
                  <c:v>0.71499999999999997</c:v>
                </c:pt>
                <c:pt idx="1664">
                  <c:v>0.94899999999999995</c:v>
                </c:pt>
                <c:pt idx="1665">
                  <c:v>0.995</c:v>
                </c:pt>
                <c:pt idx="1666">
                  <c:v>0.97499999999999998</c:v>
                </c:pt>
                <c:pt idx="1667">
                  <c:v>0.64100000000000001</c:v>
                </c:pt>
                <c:pt idx="1668">
                  <c:v>0.36</c:v>
                </c:pt>
                <c:pt idx="1669">
                  <c:v>0.89200000000000002</c:v>
                </c:pt>
                <c:pt idx="1670">
                  <c:v>0.78200000000000003</c:v>
                </c:pt>
                <c:pt idx="1671">
                  <c:v>0.67400000000000004</c:v>
                </c:pt>
                <c:pt idx="1672">
                  <c:v>0.84799999999999998</c:v>
                </c:pt>
                <c:pt idx="1673">
                  <c:v>0.89100000000000001</c:v>
                </c:pt>
                <c:pt idx="1674">
                  <c:v>0.27100000000000002</c:v>
                </c:pt>
                <c:pt idx="1675">
                  <c:v>0.68600000000000005</c:v>
                </c:pt>
                <c:pt idx="1676">
                  <c:v>0.94399999999999995</c:v>
                </c:pt>
                <c:pt idx="1677">
                  <c:v>0.67800000000000005</c:v>
                </c:pt>
                <c:pt idx="1678">
                  <c:v>0.76200000000000001</c:v>
                </c:pt>
                <c:pt idx="1679">
                  <c:v>0.28000000000000003</c:v>
                </c:pt>
                <c:pt idx="1680">
                  <c:v>0.42699999999999999</c:v>
                </c:pt>
                <c:pt idx="1681">
                  <c:v>0.84699999999999998</c:v>
                </c:pt>
                <c:pt idx="1682">
                  <c:v>0.69899999999999995</c:v>
                </c:pt>
                <c:pt idx="1683">
                  <c:v>0.73099999999999998</c:v>
                </c:pt>
                <c:pt idx="1684">
                  <c:v>0.56699999999999995</c:v>
                </c:pt>
                <c:pt idx="1685">
                  <c:v>0.51800000000000002</c:v>
                </c:pt>
                <c:pt idx="1686">
                  <c:v>0.90800000000000003</c:v>
                </c:pt>
                <c:pt idx="1687">
                  <c:v>0.72399999999999998</c:v>
                </c:pt>
                <c:pt idx="1688">
                  <c:v>0.97299999999999998</c:v>
                </c:pt>
                <c:pt idx="1689">
                  <c:v>0.75600000000000001</c:v>
                </c:pt>
                <c:pt idx="1690">
                  <c:v>0.85299999999999998</c:v>
                </c:pt>
                <c:pt idx="1691">
                  <c:v>0.80300000000000005</c:v>
                </c:pt>
                <c:pt idx="1692">
                  <c:v>0.84499999999999997</c:v>
                </c:pt>
                <c:pt idx="1693">
                  <c:v>0.28599999999999998</c:v>
                </c:pt>
                <c:pt idx="1694">
                  <c:v>0.77</c:v>
                </c:pt>
                <c:pt idx="1695">
                  <c:v>0.30499999999999999</c:v>
                </c:pt>
                <c:pt idx="1696">
                  <c:v>0.78900000000000003</c:v>
                </c:pt>
                <c:pt idx="1697">
                  <c:v>0.46700000000000003</c:v>
                </c:pt>
                <c:pt idx="1698">
                  <c:v>0.92800000000000005</c:v>
                </c:pt>
                <c:pt idx="1699">
                  <c:v>0.76</c:v>
                </c:pt>
                <c:pt idx="1700">
                  <c:v>0.82099999999999995</c:v>
                </c:pt>
                <c:pt idx="1701">
                  <c:v>0.93400000000000005</c:v>
                </c:pt>
                <c:pt idx="1702">
                  <c:v>0.28499999999999998</c:v>
                </c:pt>
                <c:pt idx="1703">
                  <c:v>0.9</c:v>
                </c:pt>
                <c:pt idx="1704">
                  <c:v>0.56399999999999995</c:v>
                </c:pt>
                <c:pt idx="1705">
                  <c:v>0.93100000000000005</c:v>
                </c:pt>
                <c:pt idx="1706">
                  <c:v>0.96299999999999997</c:v>
                </c:pt>
                <c:pt idx="1707">
                  <c:v>0.58299999999999996</c:v>
                </c:pt>
                <c:pt idx="1708">
                  <c:v>0.755</c:v>
                </c:pt>
                <c:pt idx="1709">
                  <c:v>0.63700000000000001</c:v>
                </c:pt>
                <c:pt idx="1710">
                  <c:v>0.25900000000000001</c:v>
                </c:pt>
                <c:pt idx="1711">
                  <c:v>0.86699999999999999</c:v>
                </c:pt>
                <c:pt idx="1712">
                  <c:v>0.72699999999999998</c:v>
                </c:pt>
                <c:pt idx="1713">
                  <c:v>0.52200000000000002</c:v>
                </c:pt>
                <c:pt idx="1714">
                  <c:v>0.65</c:v>
                </c:pt>
                <c:pt idx="1715">
                  <c:v>0.83299999999999996</c:v>
                </c:pt>
                <c:pt idx="1716">
                  <c:v>0.44900000000000001</c:v>
                </c:pt>
                <c:pt idx="1717">
                  <c:v>0.73499999999999999</c:v>
                </c:pt>
                <c:pt idx="1718">
                  <c:v>0.439</c:v>
                </c:pt>
                <c:pt idx="1719">
                  <c:v>0.83299999999999996</c:v>
                </c:pt>
                <c:pt idx="1720">
                  <c:v>0.48699999999999999</c:v>
                </c:pt>
                <c:pt idx="1721">
                  <c:v>0.84399999999999997</c:v>
                </c:pt>
                <c:pt idx="1722">
                  <c:v>0.86799999999999999</c:v>
                </c:pt>
                <c:pt idx="1723">
                  <c:v>0.77100000000000002</c:v>
                </c:pt>
                <c:pt idx="1724">
                  <c:v>0.85199999999999998</c:v>
                </c:pt>
                <c:pt idx="1725">
                  <c:v>0.29699999999999999</c:v>
                </c:pt>
                <c:pt idx="1726">
                  <c:v>0.81299999999999994</c:v>
                </c:pt>
                <c:pt idx="1727">
                  <c:v>0.63500000000000001</c:v>
                </c:pt>
                <c:pt idx="1728">
                  <c:v>0.91800000000000004</c:v>
                </c:pt>
                <c:pt idx="1729">
                  <c:v>0.629</c:v>
                </c:pt>
                <c:pt idx="1730">
                  <c:v>0.33700000000000002</c:v>
                </c:pt>
                <c:pt idx="1731">
                  <c:v>0.36399999999999999</c:v>
                </c:pt>
                <c:pt idx="1732">
                  <c:v>0.85299999999999998</c:v>
                </c:pt>
                <c:pt idx="1733">
                  <c:v>0.84299999999999997</c:v>
                </c:pt>
                <c:pt idx="1734">
                  <c:v>0.45800000000000002</c:v>
                </c:pt>
                <c:pt idx="1735">
                  <c:v>0.79300000000000004</c:v>
                </c:pt>
                <c:pt idx="1736">
                  <c:v>0.93899999999999995</c:v>
                </c:pt>
                <c:pt idx="1737">
                  <c:v>0.75900000000000001</c:v>
                </c:pt>
                <c:pt idx="1738">
                  <c:v>0.83</c:v>
                </c:pt>
                <c:pt idx="1739">
                  <c:v>0.56299999999999994</c:v>
                </c:pt>
                <c:pt idx="1740">
                  <c:v>0.79</c:v>
                </c:pt>
                <c:pt idx="1741">
                  <c:v>0.65300000000000002</c:v>
                </c:pt>
                <c:pt idx="1742">
                  <c:v>0.36499999999999999</c:v>
                </c:pt>
                <c:pt idx="1743">
                  <c:v>0.80900000000000005</c:v>
                </c:pt>
                <c:pt idx="1744">
                  <c:v>0.85699999999999998</c:v>
                </c:pt>
                <c:pt idx="1745">
                  <c:v>0.78800000000000003</c:v>
                </c:pt>
                <c:pt idx="1746">
                  <c:v>0.81399999999999995</c:v>
                </c:pt>
                <c:pt idx="1747">
                  <c:v>0.77100000000000002</c:v>
                </c:pt>
                <c:pt idx="1748">
                  <c:v>0.96499999999999997</c:v>
                </c:pt>
                <c:pt idx="1749">
                  <c:v>0.86299999999999999</c:v>
                </c:pt>
                <c:pt idx="1750">
                  <c:v>0.95799999999999996</c:v>
                </c:pt>
                <c:pt idx="1751">
                  <c:v>0.84599999999999997</c:v>
                </c:pt>
                <c:pt idx="1752">
                  <c:v>0.91800000000000004</c:v>
                </c:pt>
                <c:pt idx="1753">
                  <c:v>0.99399999999999999</c:v>
                </c:pt>
                <c:pt idx="1754">
                  <c:v>0.74</c:v>
                </c:pt>
                <c:pt idx="1755">
                  <c:v>0.93300000000000005</c:v>
                </c:pt>
                <c:pt idx="1756">
                  <c:v>0.433</c:v>
                </c:pt>
                <c:pt idx="1757">
                  <c:v>0.73299999999999998</c:v>
                </c:pt>
                <c:pt idx="1758">
                  <c:v>0.64500000000000002</c:v>
                </c:pt>
                <c:pt idx="1759">
                  <c:v>0.50600000000000001</c:v>
                </c:pt>
                <c:pt idx="1760">
                  <c:v>0.97299999999999998</c:v>
                </c:pt>
                <c:pt idx="1761">
                  <c:v>0.85799999999999998</c:v>
                </c:pt>
                <c:pt idx="1762">
                  <c:v>0.68500000000000005</c:v>
                </c:pt>
                <c:pt idx="1763">
                  <c:v>0.93500000000000005</c:v>
                </c:pt>
                <c:pt idx="1764">
                  <c:v>0.97499999999999998</c:v>
                </c:pt>
                <c:pt idx="1765">
                  <c:v>0.88</c:v>
                </c:pt>
                <c:pt idx="1766">
                  <c:v>0.83199999999999996</c:v>
                </c:pt>
                <c:pt idx="1767">
                  <c:v>0.77200000000000002</c:v>
                </c:pt>
                <c:pt idx="1768">
                  <c:v>0.03</c:v>
                </c:pt>
                <c:pt idx="1769">
                  <c:v>0.73399999999999999</c:v>
                </c:pt>
                <c:pt idx="1770">
                  <c:v>0.93300000000000005</c:v>
                </c:pt>
                <c:pt idx="1771">
                  <c:v>0.873</c:v>
                </c:pt>
                <c:pt idx="1772">
                  <c:v>0.86599999999999999</c:v>
                </c:pt>
                <c:pt idx="1773">
                  <c:v>0.79100000000000004</c:v>
                </c:pt>
                <c:pt idx="1774">
                  <c:v>0.91200000000000003</c:v>
                </c:pt>
                <c:pt idx="1775">
                  <c:v>0.38600000000000001</c:v>
                </c:pt>
                <c:pt idx="1776">
                  <c:v>0.83699999999999997</c:v>
                </c:pt>
                <c:pt idx="1777">
                  <c:v>0.74</c:v>
                </c:pt>
                <c:pt idx="1778">
                  <c:v>0.35099999999999998</c:v>
                </c:pt>
                <c:pt idx="1779">
                  <c:v>0.36599999999999999</c:v>
                </c:pt>
                <c:pt idx="1780">
                  <c:v>0.83099999999999996</c:v>
                </c:pt>
                <c:pt idx="1781">
                  <c:v>0.71699999999999997</c:v>
                </c:pt>
                <c:pt idx="1782">
                  <c:v>0.53300000000000003</c:v>
                </c:pt>
                <c:pt idx="1783">
                  <c:v>0.91400000000000003</c:v>
                </c:pt>
                <c:pt idx="1784">
                  <c:v>0.65300000000000002</c:v>
                </c:pt>
                <c:pt idx="1785">
                  <c:v>0.318</c:v>
                </c:pt>
                <c:pt idx="1786">
                  <c:v>0.81</c:v>
                </c:pt>
                <c:pt idx="1787">
                  <c:v>0.78900000000000003</c:v>
                </c:pt>
                <c:pt idx="1788">
                  <c:v>0.158</c:v>
                </c:pt>
                <c:pt idx="1789">
                  <c:v>0.84799999999999998</c:v>
                </c:pt>
                <c:pt idx="1790">
                  <c:v>0.63400000000000001</c:v>
                </c:pt>
                <c:pt idx="1791">
                  <c:v>0.94299999999999995</c:v>
                </c:pt>
                <c:pt idx="1792">
                  <c:v>0.59499999999999997</c:v>
                </c:pt>
                <c:pt idx="1793">
                  <c:v>0.67300000000000004</c:v>
                </c:pt>
                <c:pt idx="1794">
                  <c:v>0.51500000000000001</c:v>
                </c:pt>
                <c:pt idx="1795">
                  <c:v>0.53700000000000003</c:v>
                </c:pt>
                <c:pt idx="1796">
                  <c:v>0.64</c:v>
                </c:pt>
                <c:pt idx="1797">
                  <c:v>0.86</c:v>
                </c:pt>
                <c:pt idx="1798">
                  <c:v>0.68200000000000005</c:v>
                </c:pt>
                <c:pt idx="1799">
                  <c:v>0.86699999999999999</c:v>
                </c:pt>
                <c:pt idx="1800">
                  <c:v>0.77200000000000002</c:v>
                </c:pt>
                <c:pt idx="1801">
                  <c:v>0.65300000000000002</c:v>
                </c:pt>
                <c:pt idx="1802">
                  <c:v>0.84499999999999997</c:v>
                </c:pt>
                <c:pt idx="1803">
                  <c:v>0.82499999999999996</c:v>
                </c:pt>
                <c:pt idx="1804">
                  <c:v>0.78500000000000003</c:v>
                </c:pt>
                <c:pt idx="1805">
                  <c:v>0.72199999999999998</c:v>
                </c:pt>
                <c:pt idx="1806">
                  <c:v>0.99299999999999999</c:v>
                </c:pt>
                <c:pt idx="1807">
                  <c:v>0.70799999999999996</c:v>
                </c:pt>
                <c:pt idx="1808">
                  <c:v>0.85099999999999998</c:v>
                </c:pt>
                <c:pt idx="1809">
                  <c:v>0.94599999999999995</c:v>
                </c:pt>
                <c:pt idx="1810">
                  <c:v>0.70299999999999996</c:v>
                </c:pt>
                <c:pt idx="1811">
                  <c:v>0.90800000000000003</c:v>
                </c:pt>
                <c:pt idx="1812">
                  <c:v>0.56299999999999994</c:v>
                </c:pt>
                <c:pt idx="1813">
                  <c:v>0.79500000000000004</c:v>
                </c:pt>
                <c:pt idx="1814">
                  <c:v>0.93500000000000005</c:v>
                </c:pt>
                <c:pt idx="1815">
                  <c:v>0.76200000000000001</c:v>
                </c:pt>
                <c:pt idx="1816">
                  <c:v>0.85</c:v>
                </c:pt>
                <c:pt idx="1817">
                  <c:v>0.29799999999999999</c:v>
                </c:pt>
                <c:pt idx="1818">
                  <c:v>1</c:v>
                </c:pt>
                <c:pt idx="1819">
                  <c:v>0.77500000000000002</c:v>
                </c:pt>
                <c:pt idx="1820">
                  <c:v>0.96699999999999997</c:v>
                </c:pt>
                <c:pt idx="1821">
                  <c:v>0.94399999999999995</c:v>
                </c:pt>
                <c:pt idx="1822">
                  <c:v>0.874</c:v>
                </c:pt>
                <c:pt idx="1823">
                  <c:v>0.77600000000000002</c:v>
                </c:pt>
                <c:pt idx="1824">
                  <c:v>0.60599999999999998</c:v>
                </c:pt>
                <c:pt idx="1825">
                  <c:v>0.46800000000000003</c:v>
                </c:pt>
                <c:pt idx="1826">
                  <c:v>0.71899999999999997</c:v>
                </c:pt>
                <c:pt idx="1827">
                  <c:v>0.92700000000000005</c:v>
                </c:pt>
                <c:pt idx="1828">
                  <c:v>0.73899999999999999</c:v>
                </c:pt>
                <c:pt idx="1829">
                  <c:v>0.78300000000000003</c:v>
                </c:pt>
                <c:pt idx="1830">
                  <c:v>0.92200000000000004</c:v>
                </c:pt>
                <c:pt idx="1831">
                  <c:v>0.49299999999999999</c:v>
                </c:pt>
                <c:pt idx="1832">
                  <c:v>0.82699999999999996</c:v>
                </c:pt>
                <c:pt idx="1833">
                  <c:v>0.76200000000000001</c:v>
                </c:pt>
                <c:pt idx="1834">
                  <c:v>0.93100000000000005</c:v>
                </c:pt>
                <c:pt idx="1835">
                  <c:v>0.77300000000000002</c:v>
                </c:pt>
                <c:pt idx="1836">
                  <c:v>0.503</c:v>
                </c:pt>
                <c:pt idx="1837">
                  <c:v>0.92100000000000004</c:v>
                </c:pt>
                <c:pt idx="1838">
                  <c:v>0.70299999999999996</c:v>
                </c:pt>
                <c:pt idx="1839">
                  <c:v>0.39200000000000002</c:v>
                </c:pt>
                <c:pt idx="1840">
                  <c:v>0.157</c:v>
                </c:pt>
                <c:pt idx="1841">
                  <c:v>0.72099999999999997</c:v>
                </c:pt>
                <c:pt idx="1842">
                  <c:v>0.46899999999999997</c:v>
                </c:pt>
                <c:pt idx="1843">
                  <c:v>0.72599999999999998</c:v>
                </c:pt>
                <c:pt idx="1844">
                  <c:v>0.85199999999999998</c:v>
                </c:pt>
                <c:pt idx="1845">
                  <c:v>0.877</c:v>
                </c:pt>
                <c:pt idx="1846">
                  <c:v>0.88200000000000001</c:v>
                </c:pt>
                <c:pt idx="1847">
                  <c:v>0.89200000000000002</c:v>
                </c:pt>
                <c:pt idx="1848">
                  <c:v>0.78600000000000003</c:v>
                </c:pt>
                <c:pt idx="1849">
                  <c:v>0.78200000000000003</c:v>
                </c:pt>
                <c:pt idx="1850">
                  <c:v>0.70099999999999996</c:v>
                </c:pt>
                <c:pt idx="1851">
                  <c:v>0.83399999999999996</c:v>
                </c:pt>
                <c:pt idx="1852">
                  <c:v>0.88800000000000001</c:v>
                </c:pt>
                <c:pt idx="1853">
                  <c:v>0.495</c:v>
                </c:pt>
                <c:pt idx="1854">
                  <c:v>0.95499999999999996</c:v>
                </c:pt>
                <c:pt idx="1855">
                  <c:v>0.69</c:v>
                </c:pt>
                <c:pt idx="1856">
                  <c:v>0.68</c:v>
                </c:pt>
                <c:pt idx="1857">
                  <c:v>0.96299999999999997</c:v>
                </c:pt>
                <c:pt idx="1858">
                  <c:v>0.66400000000000003</c:v>
                </c:pt>
                <c:pt idx="1859">
                  <c:v>0.70299999999999996</c:v>
                </c:pt>
                <c:pt idx="1860">
                  <c:v>0.9</c:v>
                </c:pt>
                <c:pt idx="1861">
                  <c:v>0.68</c:v>
                </c:pt>
                <c:pt idx="1862">
                  <c:v>0.60599999999999998</c:v>
                </c:pt>
                <c:pt idx="1863">
                  <c:v>0.89400000000000002</c:v>
                </c:pt>
                <c:pt idx="1864">
                  <c:v>0.33600000000000002</c:v>
                </c:pt>
                <c:pt idx="1865">
                  <c:v>0.68200000000000005</c:v>
                </c:pt>
                <c:pt idx="1866">
                  <c:v>0.54400000000000004</c:v>
                </c:pt>
                <c:pt idx="1867">
                  <c:v>0.309</c:v>
                </c:pt>
                <c:pt idx="1868">
                  <c:v>0.91500000000000004</c:v>
                </c:pt>
                <c:pt idx="1869">
                  <c:v>0.90900000000000003</c:v>
                </c:pt>
                <c:pt idx="1870">
                  <c:v>0.79200000000000004</c:v>
                </c:pt>
                <c:pt idx="1871">
                  <c:v>0.71699999999999997</c:v>
                </c:pt>
                <c:pt idx="1872">
                  <c:v>0.95799999999999996</c:v>
                </c:pt>
                <c:pt idx="1873">
                  <c:v>0.97899999999999998</c:v>
                </c:pt>
                <c:pt idx="1874">
                  <c:v>0.90900000000000003</c:v>
                </c:pt>
                <c:pt idx="1875">
                  <c:v>0.83499999999999996</c:v>
                </c:pt>
                <c:pt idx="1876">
                  <c:v>0.38600000000000001</c:v>
                </c:pt>
                <c:pt idx="1877">
                  <c:v>0.90600000000000003</c:v>
                </c:pt>
                <c:pt idx="1878">
                  <c:v>0.66800000000000004</c:v>
                </c:pt>
                <c:pt idx="1879">
                  <c:v>0.89600000000000002</c:v>
                </c:pt>
                <c:pt idx="1880">
                  <c:v>0.82899999999999996</c:v>
                </c:pt>
                <c:pt idx="1881">
                  <c:v>0.433</c:v>
                </c:pt>
                <c:pt idx="1882">
                  <c:v>0.49199999999999999</c:v>
                </c:pt>
                <c:pt idx="1883">
                  <c:v>0.86699999999999999</c:v>
                </c:pt>
                <c:pt idx="1884">
                  <c:v>0.82899999999999996</c:v>
                </c:pt>
                <c:pt idx="1885">
                  <c:v>0.373</c:v>
                </c:pt>
                <c:pt idx="1886">
                  <c:v>0.77300000000000002</c:v>
                </c:pt>
                <c:pt idx="1887">
                  <c:v>0.80600000000000005</c:v>
                </c:pt>
                <c:pt idx="1888">
                  <c:v>0.92300000000000004</c:v>
                </c:pt>
                <c:pt idx="1889">
                  <c:v>0.76700000000000002</c:v>
                </c:pt>
                <c:pt idx="1890">
                  <c:v>0.46200000000000002</c:v>
                </c:pt>
                <c:pt idx="1891">
                  <c:v>0.88200000000000001</c:v>
                </c:pt>
                <c:pt idx="1892">
                  <c:v>0.95499999999999996</c:v>
                </c:pt>
                <c:pt idx="1893">
                  <c:v>0.89400000000000002</c:v>
                </c:pt>
                <c:pt idx="1894">
                  <c:v>0.76500000000000001</c:v>
                </c:pt>
                <c:pt idx="1895">
                  <c:v>0.95299999999999996</c:v>
                </c:pt>
                <c:pt idx="1896">
                  <c:v>0.70199999999999996</c:v>
                </c:pt>
                <c:pt idx="1897">
                  <c:v>0.69899999999999995</c:v>
                </c:pt>
                <c:pt idx="1898">
                  <c:v>0.86099999999999999</c:v>
                </c:pt>
                <c:pt idx="1899">
                  <c:v>0.46899999999999997</c:v>
                </c:pt>
                <c:pt idx="1900">
                  <c:v>0.79600000000000004</c:v>
                </c:pt>
                <c:pt idx="1901">
                  <c:v>0.875</c:v>
                </c:pt>
                <c:pt idx="1902">
                  <c:v>0.66400000000000003</c:v>
                </c:pt>
                <c:pt idx="1903">
                  <c:v>0.64200000000000002</c:v>
                </c:pt>
                <c:pt idx="1904">
                  <c:v>0.56499999999999995</c:v>
                </c:pt>
                <c:pt idx="1905">
                  <c:v>0.70799999999999996</c:v>
                </c:pt>
                <c:pt idx="1906">
                  <c:v>0.60399999999999998</c:v>
                </c:pt>
                <c:pt idx="1907">
                  <c:v>0.81499999999999995</c:v>
                </c:pt>
                <c:pt idx="1908">
                  <c:v>0.502</c:v>
                </c:pt>
                <c:pt idx="1909">
                  <c:v>0.94399999999999995</c:v>
                </c:pt>
                <c:pt idx="1910">
                  <c:v>0.83299999999999996</c:v>
                </c:pt>
                <c:pt idx="1911">
                  <c:v>0.996</c:v>
                </c:pt>
                <c:pt idx="1912">
                  <c:v>0.83899999999999997</c:v>
                </c:pt>
                <c:pt idx="1913">
                  <c:v>0.71699999999999997</c:v>
                </c:pt>
                <c:pt idx="1914">
                  <c:v>0.27400000000000002</c:v>
                </c:pt>
                <c:pt idx="1915">
                  <c:v>0.47299999999999998</c:v>
                </c:pt>
                <c:pt idx="1916">
                  <c:v>0.44400000000000001</c:v>
                </c:pt>
                <c:pt idx="1917">
                  <c:v>0.91</c:v>
                </c:pt>
                <c:pt idx="1918">
                  <c:v>0.40600000000000003</c:v>
                </c:pt>
                <c:pt idx="1919">
                  <c:v>0.83899999999999997</c:v>
                </c:pt>
                <c:pt idx="1920">
                  <c:v>0.24199999999999999</c:v>
                </c:pt>
                <c:pt idx="1921">
                  <c:v>0.58599999999999997</c:v>
                </c:pt>
                <c:pt idx="1922">
                  <c:v>0.88700000000000001</c:v>
                </c:pt>
                <c:pt idx="1923">
                  <c:v>0.64100000000000001</c:v>
                </c:pt>
                <c:pt idx="1924">
                  <c:v>0.69099999999999995</c:v>
                </c:pt>
                <c:pt idx="1925">
                  <c:v>0.90400000000000003</c:v>
                </c:pt>
                <c:pt idx="1926">
                  <c:v>0.73599999999999999</c:v>
                </c:pt>
                <c:pt idx="1927">
                  <c:v>0.90900000000000003</c:v>
                </c:pt>
                <c:pt idx="1928">
                  <c:v>0.56999999999999995</c:v>
                </c:pt>
                <c:pt idx="1929">
                  <c:v>0.94199999999999995</c:v>
                </c:pt>
                <c:pt idx="1930">
                  <c:v>0.42</c:v>
                </c:pt>
                <c:pt idx="1931">
                  <c:v>0.32600000000000001</c:v>
                </c:pt>
                <c:pt idx="1932">
                  <c:v>0.51500000000000001</c:v>
                </c:pt>
                <c:pt idx="1933">
                  <c:v>0.66500000000000004</c:v>
                </c:pt>
                <c:pt idx="1934">
                  <c:v>0.70199999999999996</c:v>
                </c:pt>
                <c:pt idx="1935">
                  <c:v>0.81399999999999995</c:v>
                </c:pt>
                <c:pt idx="1936">
                  <c:v>0.51</c:v>
                </c:pt>
                <c:pt idx="1937">
                  <c:v>0.68100000000000005</c:v>
                </c:pt>
                <c:pt idx="1938">
                  <c:v>0.85499999999999998</c:v>
                </c:pt>
                <c:pt idx="1939">
                  <c:v>0.90400000000000003</c:v>
                </c:pt>
                <c:pt idx="1940">
                  <c:v>0.39200000000000002</c:v>
                </c:pt>
                <c:pt idx="1941">
                  <c:v>0.94299999999999995</c:v>
                </c:pt>
                <c:pt idx="1942">
                  <c:v>0.59899999999999998</c:v>
                </c:pt>
                <c:pt idx="1943">
                  <c:v>0.71899999999999997</c:v>
                </c:pt>
                <c:pt idx="1944">
                  <c:v>0.47399999999999998</c:v>
                </c:pt>
                <c:pt idx="1945">
                  <c:v>0.70599999999999996</c:v>
                </c:pt>
                <c:pt idx="1946">
                  <c:v>0.92700000000000005</c:v>
                </c:pt>
                <c:pt idx="1947">
                  <c:v>0.93700000000000006</c:v>
                </c:pt>
                <c:pt idx="1948">
                  <c:v>0.67300000000000004</c:v>
                </c:pt>
                <c:pt idx="1949">
                  <c:v>0.84499999999999997</c:v>
                </c:pt>
                <c:pt idx="1950">
                  <c:v>0.77</c:v>
                </c:pt>
                <c:pt idx="1951">
                  <c:v>0.95799999999999996</c:v>
                </c:pt>
                <c:pt idx="1952">
                  <c:v>0.877</c:v>
                </c:pt>
                <c:pt idx="1953">
                  <c:v>0.69</c:v>
                </c:pt>
                <c:pt idx="1954">
                  <c:v>0.68600000000000005</c:v>
                </c:pt>
                <c:pt idx="1955">
                  <c:v>0.67500000000000004</c:v>
                </c:pt>
                <c:pt idx="1956">
                  <c:v>0.51500000000000001</c:v>
                </c:pt>
                <c:pt idx="1957">
                  <c:v>0.94299999999999995</c:v>
                </c:pt>
                <c:pt idx="1958">
                  <c:v>0.73099999999999998</c:v>
                </c:pt>
                <c:pt idx="1959">
                  <c:v>0.84699999999999998</c:v>
                </c:pt>
                <c:pt idx="1960">
                  <c:v>0.65600000000000003</c:v>
                </c:pt>
                <c:pt idx="1961">
                  <c:v>0.67500000000000004</c:v>
                </c:pt>
                <c:pt idx="1962">
                  <c:v>0.32300000000000001</c:v>
                </c:pt>
                <c:pt idx="1963">
                  <c:v>0.34300000000000003</c:v>
                </c:pt>
                <c:pt idx="1964">
                  <c:v>0.69799999999999995</c:v>
                </c:pt>
                <c:pt idx="1965">
                  <c:v>0.91700000000000004</c:v>
                </c:pt>
                <c:pt idx="1966">
                  <c:v>0.55400000000000005</c:v>
                </c:pt>
                <c:pt idx="1967">
                  <c:v>0.76900000000000002</c:v>
                </c:pt>
                <c:pt idx="1968">
                  <c:v>0.96499999999999997</c:v>
                </c:pt>
                <c:pt idx="1969">
                  <c:v>0.58599999999999997</c:v>
                </c:pt>
                <c:pt idx="1970">
                  <c:v>0.36299999999999999</c:v>
                </c:pt>
                <c:pt idx="1971">
                  <c:v>0.77500000000000002</c:v>
                </c:pt>
                <c:pt idx="1972">
                  <c:v>0.91700000000000004</c:v>
                </c:pt>
                <c:pt idx="1973">
                  <c:v>0.621</c:v>
                </c:pt>
                <c:pt idx="1974">
                  <c:v>0.51200000000000001</c:v>
                </c:pt>
                <c:pt idx="1975">
                  <c:v>0.61899999999999999</c:v>
                </c:pt>
                <c:pt idx="1976">
                  <c:v>0.96699999999999997</c:v>
                </c:pt>
                <c:pt idx="1977">
                  <c:v>0.65300000000000002</c:v>
                </c:pt>
                <c:pt idx="1978">
                  <c:v>0.61899999999999999</c:v>
                </c:pt>
                <c:pt idx="1979">
                  <c:v>0.78</c:v>
                </c:pt>
                <c:pt idx="1980">
                  <c:v>0.92800000000000005</c:v>
                </c:pt>
                <c:pt idx="1981">
                  <c:v>0.68100000000000005</c:v>
                </c:pt>
                <c:pt idx="1982">
                  <c:v>0.51900000000000002</c:v>
                </c:pt>
                <c:pt idx="1983">
                  <c:v>0.80800000000000005</c:v>
                </c:pt>
                <c:pt idx="1984">
                  <c:v>0.80700000000000005</c:v>
                </c:pt>
                <c:pt idx="1985">
                  <c:v>0.96699999999999997</c:v>
                </c:pt>
                <c:pt idx="1986">
                  <c:v>0.60399999999999998</c:v>
                </c:pt>
                <c:pt idx="1987">
                  <c:v>0.95099999999999996</c:v>
                </c:pt>
                <c:pt idx="1988">
                  <c:v>0.89100000000000001</c:v>
                </c:pt>
                <c:pt idx="1989">
                  <c:v>0.185</c:v>
                </c:pt>
                <c:pt idx="1990">
                  <c:v>0.82699999999999996</c:v>
                </c:pt>
                <c:pt idx="1991">
                  <c:v>0.34599999999999997</c:v>
                </c:pt>
                <c:pt idx="1992">
                  <c:v>0.63600000000000001</c:v>
                </c:pt>
                <c:pt idx="1993">
                  <c:v>0.153</c:v>
                </c:pt>
                <c:pt idx="1994">
                  <c:v>0.41299999999999998</c:v>
                </c:pt>
                <c:pt idx="1995">
                  <c:v>0.83099999999999996</c:v>
                </c:pt>
                <c:pt idx="1996">
                  <c:v>0.57799999999999996</c:v>
                </c:pt>
                <c:pt idx="1997">
                  <c:v>0.81299999999999994</c:v>
                </c:pt>
                <c:pt idx="1998">
                  <c:v>0.76200000000000001</c:v>
                </c:pt>
                <c:pt idx="1999">
                  <c:v>0.89400000000000002</c:v>
                </c:pt>
                <c:pt idx="2000">
                  <c:v>0.37</c:v>
                </c:pt>
                <c:pt idx="2001">
                  <c:v>0.75</c:v>
                </c:pt>
                <c:pt idx="2002">
                  <c:v>0.57699999999999996</c:v>
                </c:pt>
                <c:pt idx="2003">
                  <c:v>0.77200000000000002</c:v>
                </c:pt>
                <c:pt idx="2004">
                  <c:v>0.81399999999999995</c:v>
                </c:pt>
                <c:pt idx="2005">
                  <c:v>0.96099999999999997</c:v>
                </c:pt>
                <c:pt idx="2006">
                  <c:v>0.93200000000000005</c:v>
                </c:pt>
                <c:pt idx="2007">
                  <c:v>0.81799999999999995</c:v>
                </c:pt>
                <c:pt idx="2008">
                  <c:v>0.75900000000000001</c:v>
                </c:pt>
                <c:pt idx="2009">
                  <c:v>0.77600000000000002</c:v>
                </c:pt>
                <c:pt idx="2010">
                  <c:v>0.432</c:v>
                </c:pt>
                <c:pt idx="2011">
                  <c:v>0.85</c:v>
                </c:pt>
                <c:pt idx="2012">
                  <c:v>0.186</c:v>
                </c:pt>
                <c:pt idx="2013">
                  <c:v>0.88300000000000001</c:v>
                </c:pt>
                <c:pt idx="2014">
                  <c:v>0.434</c:v>
                </c:pt>
                <c:pt idx="2015">
                  <c:v>0.67800000000000005</c:v>
                </c:pt>
                <c:pt idx="2016">
                  <c:v>0.95899999999999996</c:v>
                </c:pt>
                <c:pt idx="2017">
                  <c:v>0.84299999999999997</c:v>
                </c:pt>
                <c:pt idx="2018">
                  <c:v>0.433</c:v>
                </c:pt>
                <c:pt idx="2019">
                  <c:v>0.73399999999999999</c:v>
                </c:pt>
                <c:pt idx="2020">
                  <c:v>0.70599999999999996</c:v>
                </c:pt>
                <c:pt idx="2021">
                  <c:v>0.36899999999999999</c:v>
                </c:pt>
                <c:pt idx="2022">
                  <c:v>0.56999999999999995</c:v>
                </c:pt>
                <c:pt idx="2023">
                  <c:v>0.79900000000000004</c:v>
                </c:pt>
                <c:pt idx="2024">
                  <c:v>0.86299999999999999</c:v>
                </c:pt>
                <c:pt idx="2025">
                  <c:v>0.94399999999999995</c:v>
                </c:pt>
                <c:pt idx="2026">
                  <c:v>0.95099999999999996</c:v>
                </c:pt>
                <c:pt idx="2027">
                  <c:v>0.92100000000000004</c:v>
                </c:pt>
                <c:pt idx="2028">
                  <c:v>0.76</c:v>
                </c:pt>
                <c:pt idx="2029">
                  <c:v>0.96099999999999997</c:v>
                </c:pt>
                <c:pt idx="2030">
                  <c:v>0.88800000000000001</c:v>
                </c:pt>
                <c:pt idx="2031">
                  <c:v>0.89900000000000002</c:v>
                </c:pt>
                <c:pt idx="2032">
                  <c:v>0.90100000000000002</c:v>
                </c:pt>
                <c:pt idx="2033">
                  <c:v>0.91900000000000004</c:v>
                </c:pt>
                <c:pt idx="2034">
                  <c:v>0.13100000000000001</c:v>
                </c:pt>
                <c:pt idx="2035">
                  <c:v>0.92200000000000004</c:v>
                </c:pt>
                <c:pt idx="2036">
                  <c:v>0.80100000000000005</c:v>
                </c:pt>
                <c:pt idx="2037">
                  <c:v>0.80600000000000005</c:v>
                </c:pt>
                <c:pt idx="2038">
                  <c:v>0.85199999999999998</c:v>
                </c:pt>
                <c:pt idx="2039">
                  <c:v>0.39700000000000002</c:v>
                </c:pt>
                <c:pt idx="2040">
                  <c:v>0.747</c:v>
                </c:pt>
                <c:pt idx="2041">
                  <c:v>0.42</c:v>
                </c:pt>
                <c:pt idx="2042">
                  <c:v>0.94399999999999995</c:v>
                </c:pt>
                <c:pt idx="2043">
                  <c:v>0.41799999999999998</c:v>
                </c:pt>
                <c:pt idx="2044">
                  <c:v>0.63</c:v>
                </c:pt>
                <c:pt idx="2045">
                  <c:v>0.76700000000000002</c:v>
                </c:pt>
                <c:pt idx="2046">
                  <c:v>0.56200000000000006</c:v>
                </c:pt>
                <c:pt idx="2047">
                  <c:v>0.65700000000000003</c:v>
                </c:pt>
                <c:pt idx="2048">
                  <c:v>0.66700000000000004</c:v>
                </c:pt>
                <c:pt idx="2049">
                  <c:v>0.89600000000000002</c:v>
                </c:pt>
                <c:pt idx="2050">
                  <c:v>0.35699999999999998</c:v>
                </c:pt>
                <c:pt idx="2051">
                  <c:v>0.89800000000000002</c:v>
                </c:pt>
                <c:pt idx="2052">
                  <c:v>0.88300000000000001</c:v>
                </c:pt>
                <c:pt idx="2053">
                  <c:v>0.54300000000000004</c:v>
                </c:pt>
                <c:pt idx="2054">
                  <c:v>0.80300000000000005</c:v>
                </c:pt>
                <c:pt idx="2055">
                  <c:v>0.66</c:v>
                </c:pt>
                <c:pt idx="2056">
                  <c:v>0.90200000000000002</c:v>
                </c:pt>
                <c:pt idx="2057">
                  <c:v>0.70399999999999996</c:v>
                </c:pt>
                <c:pt idx="2058">
                  <c:v>0.46500000000000002</c:v>
                </c:pt>
                <c:pt idx="2059">
                  <c:v>0.72</c:v>
                </c:pt>
                <c:pt idx="2060">
                  <c:v>0.749</c:v>
                </c:pt>
                <c:pt idx="2061">
                  <c:v>0.70299999999999996</c:v>
                </c:pt>
                <c:pt idx="2062">
                  <c:v>0.89</c:v>
                </c:pt>
                <c:pt idx="2063">
                  <c:v>0.64600000000000002</c:v>
                </c:pt>
                <c:pt idx="2064">
                  <c:v>0.72</c:v>
                </c:pt>
                <c:pt idx="2065">
                  <c:v>0.92</c:v>
                </c:pt>
                <c:pt idx="2066">
                  <c:v>0.79300000000000004</c:v>
                </c:pt>
                <c:pt idx="2067">
                  <c:v>0.69099999999999995</c:v>
                </c:pt>
                <c:pt idx="2068">
                  <c:v>0.41899999999999998</c:v>
                </c:pt>
                <c:pt idx="2069">
                  <c:v>0.71299999999999997</c:v>
                </c:pt>
                <c:pt idx="2070">
                  <c:v>0.52200000000000002</c:v>
                </c:pt>
                <c:pt idx="2071">
                  <c:v>0.88100000000000001</c:v>
                </c:pt>
                <c:pt idx="2072">
                  <c:v>0.65800000000000003</c:v>
                </c:pt>
                <c:pt idx="2073">
                  <c:v>0.91700000000000004</c:v>
                </c:pt>
                <c:pt idx="2074">
                  <c:v>0.86699999999999999</c:v>
                </c:pt>
                <c:pt idx="2075">
                  <c:v>0.499</c:v>
                </c:pt>
                <c:pt idx="2076">
                  <c:v>0.64400000000000002</c:v>
                </c:pt>
                <c:pt idx="2077">
                  <c:v>0.92</c:v>
                </c:pt>
                <c:pt idx="2078">
                  <c:v>0.629</c:v>
                </c:pt>
                <c:pt idx="2079">
                  <c:v>0.873</c:v>
                </c:pt>
                <c:pt idx="2080">
                  <c:v>0.68300000000000005</c:v>
                </c:pt>
                <c:pt idx="2081">
                  <c:v>0.22500000000000001</c:v>
                </c:pt>
                <c:pt idx="2082">
                  <c:v>0.72799999999999998</c:v>
                </c:pt>
                <c:pt idx="2083">
                  <c:v>0.97299999999999998</c:v>
                </c:pt>
                <c:pt idx="2084">
                  <c:v>0.54600000000000004</c:v>
                </c:pt>
                <c:pt idx="2085">
                  <c:v>0.66800000000000004</c:v>
                </c:pt>
                <c:pt idx="2086">
                  <c:v>0.64300000000000002</c:v>
                </c:pt>
                <c:pt idx="2087">
                  <c:v>0.92500000000000004</c:v>
                </c:pt>
                <c:pt idx="2088">
                  <c:v>0.65100000000000002</c:v>
                </c:pt>
                <c:pt idx="2089">
                  <c:v>0.80400000000000005</c:v>
                </c:pt>
                <c:pt idx="2090">
                  <c:v>0.68799999999999994</c:v>
                </c:pt>
                <c:pt idx="2091">
                  <c:v>0.69899999999999995</c:v>
                </c:pt>
                <c:pt idx="2092">
                  <c:v>0.63800000000000001</c:v>
                </c:pt>
                <c:pt idx="2093">
                  <c:v>0.70199999999999996</c:v>
                </c:pt>
                <c:pt idx="2094">
                  <c:v>0.443</c:v>
                </c:pt>
                <c:pt idx="2095">
                  <c:v>3.2000000000000001E-2</c:v>
                </c:pt>
                <c:pt idx="2096">
                  <c:v>0.80700000000000005</c:v>
                </c:pt>
                <c:pt idx="2097">
                  <c:v>0.184</c:v>
                </c:pt>
                <c:pt idx="2098">
                  <c:v>0.96099999999999997</c:v>
                </c:pt>
                <c:pt idx="2099">
                  <c:v>0.52400000000000002</c:v>
                </c:pt>
                <c:pt idx="2100">
                  <c:v>0.68899999999999995</c:v>
                </c:pt>
                <c:pt idx="2101">
                  <c:v>0.91100000000000003</c:v>
                </c:pt>
                <c:pt idx="2102">
                  <c:v>0.85299999999999998</c:v>
                </c:pt>
                <c:pt idx="2103">
                  <c:v>0.92100000000000004</c:v>
                </c:pt>
                <c:pt idx="2104">
                  <c:v>0.628</c:v>
                </c:pt>
                <c:pt idx="2105">
                  <c:v>0.60299999999999998</c:v>
                </c:pt>
                <c:pt idx="2106">
                  <c:v>0.65</c:v>
                </c:pt>
                <c:pt idx="2107">
                  <c:v>0.51800000000000002</c:v>
                </c:pt>
                <c:pt idx="2108">
                  <c:v>0.754</c:v>
                </c:pt>
                <c:pt idx="2109">
                  <c:v>0.52200000000000002</c:v>
                </c:pt>
                <c:pt idx="2110">
                  <c:v>0.79</c:v>
                </c:pt>
                <c:pt idx="2111">
                  <c:v>0.999</c:v>
                </c:pt>
                <c:pt idx="2112">
                  <c:v>0.93799999999999994</c:v>
                </c:pt>
                <c:pt idx="2113">
                  <c:v>0.84099999999999997</c:v>
                </c:pt>
                <c:pt idx="2114">
                  <c:v>0.85399999999999998</c:v>
                </c:pt>
                <c:pt idx="2115">
                  <c:v>0.89900000000000002</c:v>
                </c:pt>
                <c:pt idx="2116">
                  <c:v>0.66500000000000004</c:v>
                </c:pt>
                <c:pt idx="2117">
                  <c:v>0.59</c:v>
                </c:pt>
                <c:pt idx="2118">
                  <c:v>0.86</c:v>
                </c:pt>
                <c:pt idx="2119">
                  <c:v>0.72499999999999998</c:v>
                </c:pt>
                <c:pt idx="2120">
                  <c:v>0.92400000000000004</c:v>
                </c:pt>
                <c:pt idx="2121">
                  <c:v>0.89</c:v>
                </c:pt>
                <c:pt idx="2122">
                  <c:v>0.86399999999999999</c:v>
                </c:pt>
                <c:pt idx="2123">
                  <c:v>0.50600000000000001</c:v>
                </c:pt>
                <c:pt idx="2124">
                  <c:v>0.70199999999999996</c:v>
                </c:pt>
                <c:pt idx="2125">
                  <c:v>0.55100000000000005</c:v>
                </c:pt>
                <c:pt idx="2126">
                  <c:v>0.92600000000000005</c:v>
                </c:pt>
                <c:pt idx="2127">
                  <c:v>0.70599999999999996</c:v>
                </c:pt>
                <c:pt idx="2128">
                  <c:v>0.65700000000000003</c:v>
                </c:pt>
                <c:pt idx="2129">
                  <c:v>0.83699999999999997</c:v>
                </c:pt>
                <c:pt idx="2130">
                  <c:v>0.88400000000000001</c:v>
                </c:pt>
                <c:pt idx="2131">
                  <c:v>0.95099999999999996</c:v>
                </c:pt>
                <c:pt idx="2132">
                  <c:v>0.65500000000000003</c:v>
                </c:pt>
                <c:pt idx="2133">
                  <c:v>0.25800000000000001</c:v>
                </c:pt>
                <c:pt idx="2134">
                  <c:v>0.55300000000000005</c:v>
                </c:pt>
                <c:pt idx="2135">
                  <c:v>0.66400000000000003</c:v>
                </c:pt>
                <c:pt idx="2136">
                  <c:v>0.82399999999999995</c:v>
                </c:pt>
                <c:pt idx="2137">
                  <c:v>0.86799999999999999</c:v>
                </c:pt>
                <c:pt idx="2138">
                  <c:v>0.72499999999999998</c:v>
                </c:pt>
                <c:pt idx="2139">
                  <c:v>0.94499999999999995</c:v>
                </c:pt>
                <c:pt idx="2140">
                  <c:v>0.64400000000000002</c:v>
                </c:pt>
                <c:pt idx="2141">
                  <c:v>0.91900000000000004</c:v>
                </c:pt>
                <c:pt idx="2142">
                  <c:v>0.433</c:v>
                </c:pt>
                <c:pt idx="2143">
                  <c:v>0.89600000000000002</c:v>
                </c:pt>
                <c:pt idx="2144">
                  <c:v>0.68300000000000005</c:v>
                </c:pt>
                <c:pt idx="2145">
                  <c:v>0.81499999999999995</c:v>
                </c:pt>
                <c:pt idx="2146">
                  <c:v>0.36599999999999999</c:v>
                </c:pt>
                <c:pt idx="2147">
                  <c:v>0.53300000000000003</c:v>
                </c:pt>
                <c:pt idx="2148">
                  <c:v>0.94199999999999995</c:v>
                </c:pt>
                <c:pt idx="2149">
                  <c:v>0.443</c:v>
                </c:pt>
                <c:pt idx="2150">
                  <c:v>0.61</c:v>
                </c:pt>
                <c:pt idx="2151">
                  <c:v>0.88</c:v>
                </c:pt>
                <c:pt idx="2152">
                  <c:v>0.90900000000000003</c:v>
                </c:pt>
                <c:pt idx="2153">
                  <c:v>0.52200000000000002</c:v>
                </c:pt>
                <c:pt idx="2154">
                  <c:v>0.93200000000000005</c:v>
                </c:pt>
                <c:pt idx="2155">
                  <c:v>0.91</c:v>
                </c:pt>
                <c:pt idx="2156">
                  <c:v>0.879</c:v>
                </c:pt>
                <c:pt idx="2157">
                  <c:v>0.60699999999999998</c:v>
                </c:pt>
                <c:pt idx="2158">
                  <c:v>0.57799999999999996</c:v>
                </c:pt>
                <c:pt idx="2159">
                  <c:v>0.79800000000000004</c:v>
                </c:pt>
                <c:pt idx="2160">
                  <c:v>0.71399999999999997</c:v>
                </c:pt>
                <c:pt idx="2161">
                  <c:v>0.70799999999999996</c:v>
                </c:pt>
                <c:pt idx="2162">
                  <c:v>0.89900000000000002</c:v>
                </c:pt>
                <c:pt idx="2163">
                  <c:v>0.56200000000000006</c:v>
                </c:pt>
                <c:pt idx="2164">
                  <c:v>0.35199999999999998</c:v>
                </c:pt>
                <c:pt idx="2165">
                  <c:v>0.754</c:v>
                </c:pt>
                <c:pt idx="2166">
                  <c:v>0.40500000000000003</c:v>
                </c:pt>
                <c:pt idx="2167">
                  <c:v>0.7</c:v>
                </c:pt>
                <c:pt idx="2168">
                  <c:v>0.67600000000000005</c:v>
                </c:pt>
                <c:pt idx="2169">
                  <c:v>0.58799999999999997</c:v>
                </c:pt>
                <c:pt idx="2170">
                  <c:v>0.77600000000000002</c:v>
                </c:pt>
                <c:pt idx="2171">
                  <c:v>0.53200000000000003</c:v>
                </c:pt>
                <c:pt idx="2172">
                  <c:v>0.65400000000000003</c:v>
                </c:pt>
                <c:pt idx="2173">
                  <c:v>0.59799999999999998</c:v>
                </c:pt>
                <c:pt idx="2174">
                  <c:v>7.2999999999999995E-2</c:v>
                </c:pt>
                <c:pt idx="2175">
                  <c:v>0.90900000000000003</c:v>
                </c:pt>
                <c:pt idx="2176">
                  <c:v>0.89400000000000002</c:v>
                </c:pt>
                <c:pt idx="2177">
                  <c:v>0.86799999999999999</c:v>
                </c:pt>
                <c:pt idx="2178">
                  <c:v>0.58699999999999997</c:v>
                </c:pt>
                <c:pt idx="2179">
                  <c:v>0.72599999999999998</c:v>
                </c:pt>
                <c:pt idx="2180">
                  <c:v>0.53</c:v>
                </c:pt>
                <c:pt idx="2181">
                  <c:v>0.78600000000000003</c:v>
                </c:pt>
                <c:pt idx="2182">
                  <c:v>0.82699999999999996</c:v>
                </c:pt>
                <c:pt idx="2183">
                  <c:v>0.58599999999999997</c:v>
                </c:pt>
                <c:pt idx="2184">
                  <c:v>0.38800000000000001</c:v>
                </c:pt>
                <c:pt idx="2185">
                  <c:v>0.436</c:v>
                </c:pt>
                <c:pt idx="2186">
                  <c:v>0.59399999999999997</c:v>
                </c:pt>
                <c:pt idx="2187">
                  <c:v>0.42499999999999999</c:v>
                </c:pt>
                <c:pt idx="2188">
                  <c:v>0.79400000000000004</c:v>
                </c:pt>
                <c:pt idx="2189">
                  <c:v>0.71199999999999997</c:v>
                </c:pt>
                <c:pt idx="2190">
                  <c:v>0.57599999999999996</c:v>
                </c:pt>
                <c:pt idx="2191">
                  <c:v>0.77400000000000002</c:v>
                </c:pt>
                <c:pt idx="2192">
                  <c:v>0.60899999999999999</c:v>
                </c:pt>
                <c:pt idx="2193">
                  <c:v>0.71899999999999997</c:v>
                </c:pt>
                <c:pt idx="2194">
                  <c:v>0.95599999999999996</c:v>
                </c:pt>
                <c:pt idx="2195">
                  <c:v>0.52200000000000002</c:v>
                </c:pt>
                <c:pt idx="2196">
                  <c:v>0.73199999999999998</c:v>
                </c:pt>
                <c:pt idx="2197">
                  <c:v>0.93100000000000005</c:v>
                </c:pt>
                <c:pt idx="2198">
                  <c:v>0.83899999999999997</c:v>
                </c:pt>
                <c:pt idx="2199">
                  <c:v>0.77500000000000002</c:v>
                </c:pt>
                <c:pt idx="2200">
                  <c:v>0.83</c:v>
                </c:pt>
                <c:pt idx="2201">
                  <c:v>0.69699999999999995</c:v>
                </c:pt>
                <c:pt idx="2202">
                  <c:v>0.68200000000000005</c:v>
                </c:pt>
                <c:pt idx="2203">
                  <c:v>5.6000000000000001E-2</c:v>
                </c:pt>
                <c:pt idx="2204">
                  <c:v>0.65300000000000002</c:v>
                </c:pt>
                <c:pt idx="2205">
                  <c:v>0.38400000000000001</c:v>
                </c:pt>
                <c:pt idx="2206">
                  <c:v>0.72499999999999998</c:v>
                </c:pt>
                <c:pt idx="2207">
                  <c:v>0.34100000000000003</c:v>
                </c:pt>
                <c:pt idx="2208">
                  <c:v>0.54900000000000004</c:v>
                </c:pt>
                <c:pt idx="2209">
                  <c:v>0.69899999999999995</c:v>
                </c:pt>
                <c:pt idx="2210">
                  <c:v>0.94199999999999995</c:v>
                </c:pt>
                <c:pt idx="2211">
                  <c:v>0.56799999999999995</c:v>
                </c:pt>
                <c:pt idx="2212">
                  <c:v>0.36799999999999999</c:v>
                </c:pt>
                <c:pt idx="2213">
                  <c:v>0.81399999999999995</c:v>
                </c:pt>
                <c:pt idx="2214">
                  <c:v>0.59299999999999997</c:v>
                </c:pt>
                <c:pt idx="2215">
                  <c:v>0.65700000000000003</c:v>
                </c:pt>
                <c:pt idx="2216">
                  <c:v>0.96699999999999997</c:v>
                </c:pt>
                <c:pt idx="2217">
                  <c:v>0.32200000000000001</c:v>
                </c:pt>
                <c:pt idx="2218">
                  <c:v>0.9</c:v>
                </c:pt>
                <c:pt idx="2219">
                  <c:v>0.9</c:v>
                </c:pt>
                <c:pt idx="2220">
                  <c:v>0.91100000000000003</c:v>
                </c:pt>
                <c:pt idx="2221">
                  <c:v>0.57599999999999996</c:v>
                </c:pt>
                <c:pt idx="2222">
                  <c:v>0.73899999999999999</c:v>
                </c:pt>
                <c:pt idx="2223">
                  <c:v>0.77</c:v>
                </c:pt>
                <c:pt idx="2224">
                  <c:v>0.627</c:v>
                </c:pt>
                <c:pt idx="2225">
                  <c:v>0.88500000000000001</c:v>
                </c:pt>
                <c:pt idx="2226">
                  <c:v>0.51300000000000001</c:v>
                </c:pt>
                <c:pt idx="2227">
                  <c:v>0.38</c:v>
                </c:pt>
                <c:pt idx="2228">
                  <c:v>0.98099999999999998</c:v>
                </c:pt>
                <c:pt idx="2229">
                  <c:v>0.83</c:v>
                </c:pt>
                <c:pt idx="2230">
                  <c:v>0.56999999999999995</c:v>
                </c:pt>
                <c:pt idx="2231">
                  <c:v>0.68500000000000005</c:v>
                </c:pt>
                <c:pt idx="2232">
                  <c:v>0.95499999999999996</c:v>
                </c:pt>
                <c:pt idx="2233">
                  <c:v>0.28000000000000003</c:v>
                </c:pt>
                <c:pt idx="2234">
                  <c:v>0.56999999999999995</c:v>
                </c:pt>
                <c:pt idx="2235">
                  <c:v>0.66300000000000003</c:v>
                </c:pt>
                <c:pt idx="2236">
                  <c:v>0.81399999999999995</c:v>
                </c:pt>
                <c:pt idx="2237">
                  <c:v>0.61899999999999999</c:v>
                </c:pt>
                <c:pt idx="2238">
                  <c:v>0.60299999999999998</c:v>
                </c:pt>
                <c:pt idx="2239">
                  <c:v>0.51</c:v>
                </c:pt>
                <c:pt idx="2240">
                  <c:v>0.50600000000000001</c:v>
                </c:pt>
                <c:pt idx="2241">
                  <c:v>0.35399999999999998</c:v>
                </c:pt>
                <c:pt idx="2242">
                  <c:v>0.70599999999999996</c:v>
                </c:pt>
                <c:pt idx="2243">
                  <c:v>0.94</c:v>
                </c:pt>
                <c:pt idx="2244">
                  <c:v>0.64100000000000001</c:v>
                </c:pt>
                <c:pt idx="2245">
                  <c:v>0.56899999999999995</c:v>
                </c:pt>
                <c:pt idx="2246">
                  <c:v>0.752</c:v>
                </c:pt>
                <c:pt idx="2247">
                  <c:v>0.67400000000000004</c:v>
                </c:pt>
                <c:pt idx="2248">
                  <c:v>0.63400000000000001</c:v>
                </c:pt>
                <c:pt idx="2249">
                  <c:v>0.83599999999999997</c:v>
                </c:pt>
                <c:pt idx="2250">
                  <c:v>0.754</c:v>
                </c:pt>
                <c:pt idx="2251">
                  <c:v>1</c:v>
                </c:pt>
                <c:pt idx="2252">
                  <c:v>0.746</c:v>
                </c:pt>
                <c:pt idx="2253">
                  <c:v>0.76500000000000001</c:v>
                </c:pt>
                <c:pt idx="2254">
                  <c:v>0.11899999999999999</c:v>
                </c:pt>
                <c:pt idx="2255">
                  <c:v>0.60499999999999998</c:v>
                </c:pt>
                <c:pt idx="2256">
                  <c:v>0.82599999999999996</c:v>
                </c:pt>
                <c:pt idx="2257">
                  <c:v>0.75800000000000001</c:v>
                </c:pt>
                <c:pt idx="2258">
                  <c:v>0.83499999999999996</c:v>
                </c:pt>
                <c:pt idx="2259">
                  <c:v>0.90100000000000002</c:v>
                </c:pt>
                <c:pt idx="2260">
                  <c:v>0.71199999999999997</c:v>
                </c:pt>
                <c:pt idx="2261">
                  <c:v>0.84199999999999997</c:v>
                </c:pt>
                <c:pt idx="2262">
                  <c:v>0.95699999999999996</c:v>
                </c:pt>
                <c:pt idx="2263">
                  <c:v>0.80200000000000005</c:v>
                </c:pt>
                <c:pt idx="2264">
                  <c:v>0.91300000000000003</c:v>
                </c:pt>
                <c:pt idx="2265">
                  <c:v>0.70299999999999996</c:v>
                </c:pt>
                <c:pt idx="2266">
                  <c:v>0.45800000000000002</c:v>
                </c:pt>
                <c:pt idx="2267">
                  <c:v>0.38</c:v>
                </c:pt>
                <c:pt idx="2268">
                  <c:v>0.83899999999999997</c:v>
                </c:pt>
                <c:pt idx="2269">
                  <c:v>0.90700000000000003</c:v>
                </c:pt>
                <c:pt idx="2270">
                  <c:v>0.95399999999999996</c:v>
                </c:pt>
                <c:pt idx="2271">
                  <c:v>0.80500000000000005</c:v>
                </c:pt>
                <c:pt idx="2272">
                  <c:v>0.95399999999999996</c:v>
                </c:pt>
                <c:pt idx="2273">
                  <c:v>0.21299999999999999</c:v>
                </c:pt>
                <c:pt idx="2274">
                  <c:v>0.22900000000000001</c:v>
                </c:pt>
                <c:pt idx="2275">
                  <c:v>0.66300000000000003</c:v>
                </c:pt>
                <c:pt idx="2276">
                  <c:v>0.59199999999999997</c:v>
                </c:pt>
                <c:pt idx="2277">
                  <c:v>0.89400000000000002</c:v>
                </c:pt>
                <c:pt idx="2278">
                  <c:v>0.73399999999999999</c:v>
                </c:pt>
                <c:pt idx="2279">
                  <c:v>0.71799999999999997</c:v>
                </c:pt>
                <c:pt idx="2280">
                  <c:v>0.52200000000000002</c:v>
                </c:pt>
                <c:pt idx="2281">
                  <c:v>0.63300000000000001</c:v>
                </c:pt>
                <c:pt idx="2282">
                  <c:v>0.85099999999999998</c:v>
                </c:pt>
                <c:pt idx="2283">
                  <c:v>0.88800000000000001</c:v>
                </c:pt>
                <c:pt idx="2284">
                  <c:v>0.61799999999999999</c:v>
                </c:pt>
                <c:pt idx="2285">
                  <c:v>0.60199999999999998</c:v>
                </c:pt>
                <c:pt idx="2286">
                  <c:v>0.67700000000000005</c:v>
                </c:pt>
                <c:pt idx="2287">
                  <c:v>0.96499999999999997</c:v>
                </c:pt>
                <c:pt idx="2288">
                  <c:v>0.71099999999999997</c:v>
                </c:pt>
                <c:pt idx="2289">
                  <c:v>0.90400000000000003</c:v>
                </c:pt>
                <c:pt idx="2290">
                  <c:v>0.89100000000000001</c:v>
                </c:pt>
                <c:pt idx="2291">
                  <c:v>0.97399999999999998</c:v>
                </c:pt>
                <c:pt idx="2292">
                  <c:v>0.2</c:v>
                </c:pt>
                <c:pt idx="2293">
                  <c:v>0.57399999999999995</c:v>
                </c:pt>
                <c:pt idx="2294">
                  <c:v>0.14399999999999999</c:v>
                </c:pt>
                <c:pt idx="2295">
                  <c:v>0.56000000000000005</c:v>
                </c:pt>
                <c:pt idx="2296">
                  <c:v>7.3999999999999996E-2</c:v>
                </c:pt>
                <c:pt idx="2297">
                  <c:v>0.86</c:v>
                </c:pt>
                <c:pt idx="2298">
                  <c:v>0.88</c:v>
                </c:pt>
                <c:pt idx="2299">
                  <c:v>0.90700000000000003</c:v>
                </c:pt>
                <c:pt idx="2300">
                  <c:v>0.88</c:v>
                </c:pt>
                <c:pt idx="2301">
                  <c:v>0.80600000000000005</c:v>
                </c:pt>
                <c:pt idx="2302">
                  <c:v>0.88600000000000001</c:v>
                </c:pt>
                <c:pt idx="2303">
                  <c:v>0.57299999999999995</c:v>
                </c:pt>
                <c:pt idx="2304">
                  <c:v>0.879</c:v>
                </c:pt>
                <c:pt idx="2305">
                  <c:v>0.45400000000000001</c:v>
                </c:pt>
                <c:pt idx="2306">
                  <c:v>0.56399999999999995</c:v>
                </c:pt>
                <c:pt idx="2307">
                  <c:v>0.83299999999999996</c:v>
                </c:pt>
                <c:pt idx="2308">
                  <c:v>0.86199999999999999</c:v>
                </c:pt>
                <c:pt idx="2309">
                  <c:v>0.57299999999999995</c:v>
                </c:pt>
                <c:pt idx="2310">
                  <c:v>0.93600000000000005</c:v>
                </c:pt>
                <c:pt idx="2311">
                  <c:v>0.97</c:v>
                </c:pt>
                <c:pt idx="2312">
                  <c:v>0.67400000000000004</c:v>
                </c:pt>
                <c:pt idx="2313">
                  <c:v>0.45300000000000001</c:v>
                </c:pt>
                <c:pt idx="2314">
                  <c:v>0.95799999999999996</c:v>
                </c:pt>
                <c:pt idx="2315">
                  <c:v>0.71599999999999997</c:v>
                </c:pt>
                <c:pt idx="2316">
                  <c:v>0.77900000000000003</c:v>
                </c:pt>
                <c:pt idx="2317">
                  <c:v>0.71</c:v>
                </c:pt>
                <c:pt idx="2318">
                  <c:v>0.47799999999999998</c:v>
                </c:pt>
                <c:pt idx="2319">
                  <c:v>0.75800000000000001</c:v>
                </c:pt>
                <c:pt idx="2320">
                  <c:v>0.497</c:v>
                </c:pt>
                <c:pt idx="2321">
                  <c:v>0.90500000000000003</c:v>
                </c:pt>
                <c:pt idx="2322">
                  <c:v>0.85899999999999999</c:v>
                </c:pt>
                <c:pt idx="2323">
                  <c:v>0.49399999999999999</c:v>
                </c:pt>
                <c:pt idx="2324">
                  <c:v>0.89100000000000001</c:v>
                </c:pt>
                <c:pt idx="2325">
                  <c:v>0.57399999999999995</c:v>
                </c:pt>
                <c:pt idx="2326">
                  <c:v>0.94699999999999995</c:v>
                </c:pt>
                <c:pt idx="2327">
                  <c:v>0.81599999999999995</c:v>
                </c:pt>
                <c:pt idx="2328">
                  <c:v>0.91100000000000003</c:v>
                </c:pt>
                <c:pt idx="2329">
                  <c:v>0.86499999999999999</c:v>
                </c:pt>
                <c:pt idx="2330">
                  <c:v>0.83799999999999997</c:v>
                </c:pt>
                <c:pt idx="2331">
                  <c:v>0.69799999999999995</c:v>
                </c:pt>
                <c:pt idx="2332">
                  <c:v>0.36199999999999999</c:v>
                </c:pt>
                <c:pt idx="2333">
                  <c:v>0.64100000000000001</c:v>
                </c:pt>
                <c:pt idx="2334">
                  <c:v>0.53800000000000003</c:v>
                </c:pt>
                <c:pt idx="2335">
                  <c:v>0.40100000000000002</c:v>
                </c:pt>
                <c:pt idx="2336">
                  <c:v>0.48</c:v>
                </c:pt>
                <c:pt idx="2337">
                  <c:v>0.40400000000000003</c:v>
                </c:pt>
                <c:pt idx="2338">
                  <c:v>0.33900000000000002</c:v>
                </c:pt>
                <c:pt idx="2339">
                  <c:v>0.77900000000000003</c:v>
                </c:pt>
                <c:pt idx="2340">
                  <c:v>0.78900000000000003</c:v>
                </c:pt>
                <c:pt idx="2341">
                  <c:v>0.91700000000000004</c:v>
                </c:pt>
                <c:pt idx="2342">
                  <c:v>0.86399999999999999</c:v>
                </c:pt>
                <c:pt idx="2343">
                  <c:v>0.55700000000000005</c:v>
                </c:pt>
                <c:pt idx="2344">
                  <c:v>0.9</c:v>
                </c:pt>
                <c:pt idx="2345">
                  <c:v>0.82799999999999996</c:v>
                </c:pt>
                <c:pt idx="2346">
                  <c:v>0.47899999999999998</c:v>
                </c:pt>
                <c:pt idx="2347">
                  <c:v>0.93200000000000005</c:v>
                </c:pt>
                <c:pt idx="2348">
                  <c:v>0.59799999999999998</c:v>
                </c:pt>
                <c:pt idx="2349">
                  <c:v>0.36499999999999999</c:v>
                </c:pt>
                <c:pt idx="2350">
                  <c:v>0.73799999999999999</c:v>
                </c:pt>
                <c:pt idx="2351">
                  <c:v>0.84499999999999997</c:v>
                </c:pt>
                <c:pt idx="2352">
                  <c:v>0.83499999999999996</c:v>
                </c:pt>
                <c:pt idx="2353">
                  <c:v>0.67500000000000004</c:v>
                </c:pt>
                <c:pt idx="2354">
                  <c:v>0.53900000000000003</c:v>
                </c:pt>
                <c:pt idx="2355">
                  <c:v>0.63300000000000001</c:v>
                </c:pt>
                <c:pt idx="2356">
                  <c:v>0.376</c:v>
                </c:pt>
                <c:pt idx="2357">
                  <c:v>0.76900000000000002</c:v>
                </c:pt>
                <c:pt idx="2358">
                  <c:v>0.83299999999999996</c:v>
                </c:pt>
                <c:pt idx="2359">
                  <c:v>0.54700000000000004</c:v>
                </c:pt>
                <c:pt idx="2360">
                  <c:v>0.86399999999999999</c:v>
                </c:pt>
                <c:pt idx="2361">
                  <c:v>0.95</c:v>
                </c:pt>
                <c:pt idx="2362">
                  <c:v>0.72599999999999998</c:v>
                </c:pt>
                <c:pt idx="2363">
                  <c:v>0.76800000000000002</c:v>
                </c:pt>
                <c:pt idx="2364">
                  <c:v>0.28000000000000003</c:v>
                </c:pt>
                <c:pt idx="2365">
                  <c:v>2.3E-2</c:v>
                </c:pt>
                <c:pt idx="2366">
                  <c:v>0.53100000000000003</c:v>
                </c:pt>
                <c:pt idx="2367">
                  <c:v>0.94199999999999995</c:v>
                </c:pt>
                <c:pt idx="2368">
                  <c:v>0.47</c:v>
                </c:pt>
                <c:pt idx="2369">
                  <c:v>0.64800000000000002</c:v>
                </c:pt>
                <c:pt idx="2370">
                  <c:v>0.80800000000000005</c:v>
                </c:pt>
                <c:pt idx="2371">
                  <c:v>0.98099999999999998</c:v>
                </c:pt>
                <c:pt idx="2372">
                  <c:v>0.48599999999999999</c:v>
                </c:pt>
                <c:pt idx="2373">
                  <c:v>0.92500000000000004</c:v>
                </c:pt>
                <c:pt idx="2374">
                  <c:v>0.33300000000000002</c:v>
                </c:pt>
                <c:pt idx="2375">
                  <c:v>0.70399999999999996</c:v>
                </c:pt>
                <c:pt idx="2376">
                  <c:v>0.71399999999999997</c:v>
                </c:pt>
                <c:pt idx="2377">
                  <c:v>0.52200000000000002</c:v>
                </c:pt>
                <c:pt idx="2378">
                  <c:v>0.70499999999999996</c:v>
                </c:pt>
                <c:pt idx="2379">
                  <c:v>0.72199999999999998</c:v>
                </c:pt>
                <c:pt idx="2380">
                  <c:v>0.85499999999999998</c:v>
                </c:pt>
                <c:pt idx="2381">
                  <c:v>0.84099999999999997</c:v>
                </c:pt>
                <c:pt idx="2382">
                  <c:v>0.93300000000000005</c:v>
                </c:pt>
                <c:pt idx="2383">
                  <c:v>0.42</c:v>
                </c:pt>
                <c:pt idx="2384">
                  <c:v>0.57499999999999996</c:v>
                </c:pt>
                <c:pt idx="2385">
                  <c:v>0.65400000000000003</c:v>
                </c:pt>
                <c:pt idx="2386">
                  <c:v>0.77400000000000002</c:v>
                </c:pt>
                <c:pt idx="2387">
                  <c:v>0.65200000000000002</c:v>
                </c:pt>
                <c:pt idx="2388">
                  <c:v>0.71499999999999997</c:v>
                </c:pt>
                <c:pt idx="2389">
                  <c:v>0.91900000000000004</c:v>
                </c:pt>
                <c:pt idx="2390">
                  <c:v>0.8</c:v>
                </c:pt>
                <c:pt idx="2391">
                  <c:v>0.29499999999999998</c:v>
                </c:pt>
                <c:pt idx="2392">
                  <c:v>0.90600000000000003</c:v>
                </c:pt>
                <c:pt idx="2393">
                  <c:v>0.503</c:v>
                </c:pt>
                <c:pt idx="2394">
                  <c:v>0.45900000000000002</c:v>
                </c:pt>
                <c:pt idx="2395">
                  <c:v>0.88</c:v>
                </c:pt>
                <c:pt idx="2396">
                  <c:v>0.54600000000000004</c:v>
                </c:pt>
                <c:pt idx="2397">
                  <c:v>0.71799999999999997</c:v>
                </c:pt>
                <c:pt idx="2398">
                  <c:v>0.90800000000000003</c:v>
                </c:pt>
                <c:pt idx="2399">
                  <c:v>0.63600000000000001</c:v>
                </c:pt>
                <c:pt idx="2400">
                  <c:v>0.63900000000000001</c:v>
                </c:pt>
                <c:pt idx="2401">
                  <c:v>0.74399999999999999</c:v>
                </c:pt>
                <c:pt idx="2402">
                  <c:v>0.90700000000000003</c:v>
                </c:pt>
                <c:pt idx="2403">
                  <c:v>0.77300000000000002</c:v>
                </c:pt>
                <c:pt idx="2404">
                  <c:v>0.98199999999999998</c:v>
                </c:pt>
                <c:pt idx="2405">
                  <c:v>0.873</c:v>
                </c:pt>
                <c:pt idx="2406">
                  <c:v>0.54</c:v>
                </c:pt>
                <c:pt idx="2407">
                  <c:v>0.77800000000000002</c:v>
                </c:pt>
                <c:pt idx="2408">
                  <c:v>0.66800000000000004</c:v>
                </c:pt>
                <c:pt idx="2409">
                  <c:v>0.62</c:v>
                </c:pt>
                <c:pt idx="2410">
                  <c:v>0.77</c:v>
                </c:pt>
                <c:pt idx="2411">
                  <c:v>0.752</c:v>
                </c:pt>
                <c:pt idx="2412">
                  <c:v>0.93100000000000005</c:v>
                </c:pt>
                <c:pt idx="2413">
                  <c:v>0.97499999999999998</c:v>
                </c:pt>
                <c:pt idx="2414">
                  <c:v>0.91300000000000003</c:v>
                </c:pt>
                <c:pt idx="2415">
                  <c:v>0.80600000000000005</c:v>
                </c:pt>
                <c:pt idx="2416">
                  <c:v>0.94899999999999995</c:v>
                </c:pt>
                <c:pt idx="2417">
                  <c:v>0.96499999999999997</c:v>
                </c:pt>
                <c:pt idx="2418">
                  <c:v>0.54800000000000004</c:v>
                </c:pt>
                <c:pt idx="2419">
                  <c:v>0.39</c:v>
                </c:pt>
                <c:pt idx="2420">
                  <c:v>0.502</c:v>
                </c:pt>
                <c:pt idx="2421">
                  <c:v>0.34300000000000003</c:v>
                </c:pt>
                <c:pt idx="2422">
                  <c:v>0.53500000000000003</c:v>
                </c:pt>
                <c:pt idx="2423">
                  <c:v>0.64900000000000002</c:v>
                </c:pt>
                <c:pt idx="2424">
                  <c:v>0.65600000000000003</c:v>
                </c:pt>
                <c:pt idx="2425">
                  <c:v>0.60299999999999998</c:v>
                </c:pt>
                <c:pt idx="2426">
                  <c:v>0.91300000000000003</c:v>
                </c:pt>
                <c:pt idx="2427">
                  <c:v>0.503</c:v>
                </c:pt>
                <c:pt idx="2428">
                  <c:v>0.57399999999999995</c:v>
                </c:pt>
                <c:pt idx="2429">
                  <c:v>0.32200000000000001</c:v>
                </c:pt>
                <c:pt idx="2430">
                  <c:v>0.85599999999999998</c:v>
                </c:pt>
                <c:pt idx="2431">
                  <c:v>0.50800000000000001</c:v>
                </c:pt>
                <c:pt idx="2432">
                  <c:v>0.64100000000000001</c:v>
                </c:pt>
                <c:pt idx="2433">
                  <c:v>0.89800000000000002</c:v>
                </c:pt>
                <c:pt idx="2434">
                  <c:v>0.88200000000000001</c:v>
                </c:pt>
                <c:pt idx="2435">
                  <c:v>0.89500000000000002</c:v>
                </c:pt>
                <c:pt idx="2436">
                  <c:v>0.74</c:v>
                </c:pt>
                <c:pt idx="2437">
                  <c:v>0.64700000000000002</c:v>
                </c:pt>
                <c:pt idx="2438">
                  <c:v>0.82699999999999996</c:v>
                </c:pt>
                <c:pt idx="2439">
                  <c:v>0.92</c:v>
                </c:pt>
                <c:pt idx="2440">
                  <c:v>0.76100000000000001</c:v>
                </c:pt>
                <c:pt idx="2441">
                  <c:v>0.97399999999999998</c:v>
                </c:pt>
                <c:pt idx="2442">
                  <c:v>0.623</c:v>
                </c:pt>
                <c:pt idx="2443">
                  <c:v>0.60199999999999998</c:v>
                </c:pt>
                <c:pt idx="2444">
                  <c:v>0.57599999999999996</c:v>
                </c:pt>
                <c:pt idx="2445">
                  <c:v>0.56200000000000006</c:v>
                </c:pt>
                <c:pt idx="2446">
                  <c:v>0.59399999999999997</c:v>
                </c:pt>
                <c:pt idx="2447">
                  <c:v>0.53400000000000003</c:v>
                </c:pt>
                <c:pt idx="2448">
                  <c:v>1</c:v>
                </c:pt>
                <c:pt idx="2449">
                  <c:v>0.81100000000000005</c:v>
                </c:pt>
                <c:pt idx="2450">
                  <c:v>0.437</c:v>
                </c:pt>
                <c:pt idx="2451">
                  <c:v>0.95899999999999996</c:v>
                </c:pt>
                <c:pt idx="2452">
                  <c:v>0.92800000000000005</c:v>
                </c:pt>
                <c:pt idx="2453">
                  <c:v>6.9000000000000006E-2</c:v>
                </c:pt>
                <c:pt idx="2454">
                  <c:v>0.76800000000000002</c:v>
                </c:pt>
                <c:pt idx="2455">
                  <c:v>0.68500000000000005</c:v>
                </c:pt>
                <c:pt idx="2456">
                  <c:v>0.93899999999999995</c:v>
                </c:pt>
                <c:pt idx="2457">
                  <c:v>0.89</c:v>
                </c:pt>
                <c:pt idx="2458">
                  <c:v>0.92</c:v>
                </c:pt>
                <c:pt idx="2459">
                  <c:v>0.435</c:v>
                </c:pt>
                <c:pt idx="2460">
                  <c:v>0.72299999999999998</c:v>
                </c:pt>
                <c:pt idx="2461">
                  <c:v>0.68100000000000005</c:v>
                </c:pt>
                <c:pt idx="2462">
                  <c:v>0.75900000000000001</c:v>
                </c:pt>
                <c:pt idx="2463">
                  <c:v>0.88700000000000001</c:v>
                </c:pt>
                <c:pt idx="2464">
                  <c:v>0.79500000000000004</c:v>
                </c:pt>
                <c:pt idx="2465">
                  <c:v>0.58099999999999996</c:v>
                </c:pt>
                <c:pt idx="2466">
                  <c:v>0.67300000000000004</c:v>
                </c:pt>
                <c:pt idx="2467">
                  <c:v>0.60399999999999998</c:v>
                </c:pt>
                <c:pt idx="2468">
                  <c:v>0.753</c:v>
                </c:pt>
                <c:pt idx="2469">
                  <c:v>0.73899999999999999</c:v>
                </c:pt>
                <c:pt idx="2470">
                  <c:v>0.626</c:v>
                </c:pt>
                <c:pt idx="2471">
                  <c:v>0.60699999999999998</c:v>
                </c:pt>
                <c:pt idx="2472">
                  <c:v>0.89600000000000002</c:v>
                </c:pt>
                <c:pt idx="2473">
                  <c:v>0.74099999999999999</c:v>
                </c:pt>
                <c:pt idx="2474">
                  <c:v>0.35099999999999998</c:v>
                </c:pt>
                <c:pt idx="2475">
                  <c:v>0.96199999999999997</c:v>
                </c:pt>
                <c:pt idx="2476">
                  <c:v>0.69499999999999995</c:v>
                </c:pt>
                <c:pt idx="2477">
                  <c:v>0.72</c:v>
                </c:pt>
                <c:pt idx="2478">
                  <c:v>0.54400000000000004</c:v>
                </c:pt>
                <c:pt idx="2479">
                  <c:v>0.19</c:v>
                </c:pt>
                <c:pt idx="2480">
                  <c:v>0.90900000000000003</c:v>
                </c:pt>
                <c:pt idx="2481">
                  <c:v>0.247</c:v>
                </c:pt>
                <c:pt idx="2482">
                  <c:v>0.91300000000000003</c:v>
                </c:pt>
                <c:pt idx="2483">
                  <c:v>0.48</c:v>
                </c:pt>
                <c:pt idx="2484">
                  <c:v>0.95699999999999996</c:v>
                </c:pt>
                <c:pt idx="2485">
                  <c:v>0.37</c:v>
                </c:pt>
                <c:pt idx="2486">
                  <c:v>0.77100000000000002</c:v>
                </c:pt>
                <c:pt idx="2487">
                  <c:v>0.74</c:v>
                </c:pt>
                <c:pt idx="2488">
                  <c:v>0.9</c:v>
                </c:pt>
                <c:pt idx="2489">
                  <c:v>0.54</c:v>
                </c:pt>
                <c:pt idx="2490">
                  <c:v>0.752</c:v>
                </c:pt>
                <c:pt idx="2491">
                  <c:v>0.60899999999999999</c:v>
                </c:pt>
                <c:pt idx="2492">
                  <c:v>0.93400000000000005</c:v>
                </c:pt>
                <c:pt idx="2493">
                  <c:v>0.91700000000000004</c:v>
                </c:pt>
                <c:pt idx="2494">
                  <c:v>0.48099999999999998</c:v>
                </c:pt>
                <c:pt idx="2495">
                  <c:v>0.49299999999999999</c:v>
                </c:pt>
                <c:pt idx="2496">
                  <c:v>0.48299999999999998</c:v>
                </c:pt>
                <c:pt idx="2497">
                  <c:v>0.73299999999999998</c:v>
                </c:pt>
                <c:pt idx="2498">
                  <c:v>0.9</c:v>
                </c:pt>
                <c:pt idx="2499">
                  <c:v>0.91400000000000003</c:v>
                </c:pt>
                <c:pt idx="2500">
                  <c:v>0.58599999999999997</c:v>
                </c:pt>
                <c:pt idx="2501">
                  <c:v>0.98099999999999998</c:v>
                </c:pt>
                <c:pt idx="2502">
                  <c:v>0.14299999999999999</c:v>
                </c:pt>
                <c:pt idx="2503">
                  <c:v>0.69299999999999995</c:v>
                </c:pt>
                <c:pt idx="2504">
                  <c:v>0.68400000000000005</c:v>
                </c:pt>
                <c:pt idx="2505">
                  <c:v>0.874</c:v>
                </c:pt>
                <c:pt idx="2506">
                  <c:v>0.95</c:v>
                </c:pt>
                <c:pt idx="2507">
                  <c:v>0.72</c:v>
                </c:pt>
                <c:pt idx="2508">
                  <c:v>0.82099999999999995</c:v>
                </c:pt>
                <c:pt idx="2509">
                  <c:v>1</c:v>
                </c:pt>
                <c:pt idx="2510">
                  <c:v>0.84099999999999997</c:v>
                </c:pt>
                <c:pt idx="2511">
                  <c:v>0.63</c:v>
                </c:pt>
                <c:pt idx="2512">
                  <c:v>0.58399999999999996</c:v>
                </c:pt>
                <c:pt idx="2513">
                  <c:v>0.81399999999999995</c:v>
                </c:pt>
                <c:pt idx="2514">
                  <c:v>0.96499999999999997</c:v>
                </c:pt>
                <c:pt idx="2515">
                  <c:v>0.66200000000000003</c:v>
                </c:pt>
                <c:pt idx="2516">
                  <c:v>0.872</c:v>
                </c:pt>
                <c:pt idx="2517">
                  <c:v>0.72699999999999998</c:v>
                </c:pt>
                <c:pt idx="2518">
                  <c:v>0.73199999999999998</c:v>
                </c:pt>
                <c:pt idx="2519">
                  <c:v>0.48099999999999998</c:v>
                </c:pt>
                <c:pt idx="2520">
                  <c:v>0.72</c:v>
                </c:pt>
                <c:pt idx="2521">
                  <c:v>0.51500000000000001</c:v>
                </c:pt>
                <c:pt idx="2522">
                  <c:v>0.94899999999999995</c:v>
                </c:pt>
                <c:pt idx="2523">
                  <c:v>0.93100000000000005</c:v>
                </c:pt>
                <c:pt idx="2524">
                  <c:v>0.73299999999999998</c:v>
                </c:pt>
                <c:pt idx="2525">
                  <c:v>0.44700000000000001</c:v>
                </c:pt>
                <c:pt idx="2526">
                  <c:v>0.81799999999999995</c:v>
                </c:pt>
                <c:pt idx="2527">
                  <c:v>0.85899999999999999</c:v>
                </c:pt>
                <c:pt idx="2528">
                  <c:v>0.61199999999999999</c:v>
                </c:pt>
                <c:pt idx="2529">
                  <c:v>0.94799999999999995</c:v>
                </c:pt>
                <c:pt idx="2530">
                  <c:v>0.48499999999999999</c:v>
                </c:pt>
                <c:pt idx="2531">
                  <c:v>0.59599999999999997</c:v>
                </c:pt>
                <c:pt idx="2532">
                  <c:v>0.42199999999999999</c:v>
                </c:pt>
                <c:pt idx="2533">
                  <c:v>0.41</c:v>
                </c:pt>
                <c:pt idx="2534">
                  <c:v>0.85699999999999998</c:v>
                </c:pt>
                <c:pt idx="2535">
                  <c:v>0.83099999999999996</c:v>
                </c:pt>
                <c:pt idx="2536">
                  <c:v>0.755</c:v>
                </c:pt>
                <c:pt idx="2537">
                  <c:v>0.92200000000000004</c:v>
                </c:pt>
                <c:pt idx="2538">
                  <c:v>0.83199999999999996</c:v>
                </c:pt>
                <c:pt idx="2539">
                  <c:v>0.77300000000000002</c:v>
                </c:pt>
                <c:pt idx="2540">
                  <c:v>0.56699999999999995</c:v>
                </c:pt>
                <c:pt idx="2541">
                  <c:v>0.64800000000000002</c:v>
                </c:pt>
                <c:pt idx="2542">
                  <c:v>0.79300000000000004</c:v>
                </c:pt>
                <c:pt idx="2543">
                  <c:v>0.80300000000000005</c:v>
                </c:pt>
                <c:pt idx="2544">
                  <c:v>0.94399999999999995</c:v>
                </c:pt>
                <c:pt idx="2545">
                  <c:v>0.32900000000000001</c:v>
                </c:pt>
                <c:pt idx="2546">
                  <c:v>0.46700000000000003</c:v>
                </c:pt>
                <c:pt idx="2547">
                  <c:v>0.83199999999999996</c:v>
                </c:pt>
                <c:pt idx="2548">
                  <c:v>0.72799999999999998</c:v>
                </c:pt>
                <c:pt idx="2549">
                  <c:v>0.751</c:v>
                </c:pt>
                <c:pt idx="2550">
                  <c:v>0.157</c:v>
                </c:pt>
                <c:pt idx="2551">
                  <c:v>0.71599999999999997</c:v>
                </c:pt>
                <c:pt idx="2552">
                  <c:v>0.747</c:v>
                </c:pt>
                <c:pt idx="2553">
                  <c:v>0.80300000000000005</c:v>
                </c:pt>
                <c:pt idx="2554">
                  <c:v>0.67400000000000004</c:v>
                </c:pt>
                <c:pt idx="2555">
                  <c:v>0.72899999999999998</c:v>
                </c:pt>
                <c:pt idx="2556">
                  <c:v>0.68600000000000005</c:v>
                </c:pt>
                <c:pt idx="2557">
                  <c:v>0.91</c:v>
                </c:pt>
                <c:pt idx="2558">
                  <c:v>0.86899999999999999</c:v>
                </c:pt>
                <c:pt idx="2559">
                  <c:v>0.72</c:v>
                </c:pt>
                <c:pt idx="2560">
                  <c:v>0.82599999999999996</c:v>
                </c:pt>
                <c:pt idx="2561">
                  <c:v>0.64200000000000002</c:v>
                </c:pt>
                <c:pt idx="2562">
                  <c:v>0.86699999999999999</c:v>
                </c:pt>
                <c:pt idx="2563">
                  <c:v>0.432</c:v>
                </c:pt>
                <c:pt idx="2564">
                  <c:v>0.432</c:v>
                </c:pt>
                <c:pt idx="2565">
                  <c:v>0.121</c:v>
                </c:pt>
                <c:pt idx="2566">
                  <c:v>0.89300000000000002</c:v>
                </c:pt>
                <c:pt idx="2567">
                  <c:v>0.40500000000000003</c:v>
                </c:pt>
                <c:pt idx="2568">
                  <c:v>0.56999999999999995</c:v>
                </c:pt>
                <c:pt idx="2569">
                  <c:v>0.35199999999999998</c:v>
                </c:pt>
                <c:pt idx="2570">
                  <c:v>0.59</c:v>
                </c:pt>
                <c:pt idx="2571">
                  <c:v>0.59099999999999997</c:v>
                </c:pt>
                <c:pt idx="2572">
                  <c:v>0.115</c:v>
                </c:pt>
                <c:pt idx="2573">
                  <c:v>0.77300000000000002</c:v>
                </c:pt>
                <c:pt idx="2574">
                  <c:v>0.75</c:v>
                </c:pt>
                <c:pt idx="2575">
                  <c:v>0.78300000000000003</c:v>
                </c:pt>
                <c:pt idx="2576">
                  <c:v>0.442</c:v>
                </c:pt>
                <c:pt idx="2577">
                  <c:v>0.85599999999999998</c:v>
                </c:pt>
                <c:pt idx="2578">
                  <c:v>0.747</c:v>
                </c:pt>
                <c:pt idx="2579">
                  <c:v>0.88600000000000001</c:v>
                </c:pt>
                <c:pt idx="2580">
                  <c:v>0.67200000000000004</c:v>
                </c:pt>
                <c:pt idx="2581">
                  <c:v>0.67300000000000004</c:v>
                </c:pt>
                <c:pt idx="2582">
                  <c:v>0.76500000000000001</c:v>
                </c:pt>
                <c:pt idx="2583">
                  <c:v>0.63400000000000001</c:v>
                </c:pt>
                <c:pt idx="2584">
                  <c:v>0.82</c:v>
                </c:pt>
                <c:pt idx="2585">
                  <c:v>0.98199999999999998</c:v>
                </c:pt>
                <c:pt idx="2586">
                  <c:v>0.56699999999999995</c:v>
                </c:pt>
                <c:pt idx="2587">
                  <c:v>0.96199999999999997</c:v>
                </c:pt>
                <c:pt idx="2588">
                  <c:v>0.76700000000000002</c:v>
                </c:pt>
                <c:pt idx="2589">
                  <c:v>0.997</c:v>
                </c:pt>
                <c:pt idx="2590">
                  <c:v>0.48799999999999999</c:v>
                </c:pt>
                <c:pt idx="2591">
                  <c:v>0.80600000000000005</c:v>
                </c:pt>
                <c:pt idx="2592">
                  <c:v>0.52100000000000002</c:v>
                </c:pt>
                <c:pt idx="2593">
                  <c:v>0.217</c:v>
                </c:pt>
                <c:pt idx="2594">
                  <c:v>0.68100000000000005</c:v>
                </c:pt>
                <c:pt idx="2595">
                  <c:v>0.69899999999999995</c:v>
                </c:pt>
                <c:pt idx="2596">
                  <c:v>0.318</c:v>
                </c:pt>
                <c:pt idx="2597">
                  <c:v>0.92100000000000004</c:v>
                </c:pt>
                <c:pt idx="2598">
                  <c:v>0.56299999999999994</c:v>
                </c:pt>
                <c:pt idx="2599">
                  <c:v>0.95199999999999996</c:v>
                </c:pt>
                <c:pt idx="2600">
                  <c:v>0.95299999999999996</c:v>
                </c:pt>
                <c:pt idx="2601">
                  <c:v>0.78</c:v>
                </c:pt>
                <c:pt idx="2602">
                  <c:v>0.57699999999999996</c:v>
                </c:pt>
                <c:pt idx="2603">
                  <c:v>0.93400000000000005</c:v>
                </c:pt>
                <c:pt idx="2604">
                  <c:v>0.32800000000000001</c:v>
                </c:pt>
                <c:pt idx="2605">
                  <c:v>0.69399999999999995</c:v>
                </c:pt>
                <c:pt idx="2606">
                  <c:v>0.69199999999999995</c:v>
                </c:pt>
                <c:pt idx="2607">
                  <c:v>0.68500000000000005</c:v>
                </c:pt>
                <c:pt idx="2608">
                  <c:v>0.80400000000000005</c:v>
                </c:pt>
                <c:pt idx="2609">
                  <c:v>0.73199999999999998</c:v>
                </c:pt>
                <c:pt idx="2610">
                  <c:v>0.15</c:v>
                </c:pt>
                <c:pt idx="2611">
                  <c:v>0.70099999999999996</c:v>
                </c:pt>
                <c:pt idx="2612">
                  <c:v>0.73599999999999999</c:v>
                </c:pt>
                <c:pt idx="2613">
                  <c:v>0.67</c:v>
                </c:pt>
                <c:pt idx="2614">
                  <c:v>0.55800000000000005</c:v>
                </c:pt>
                <c:pt idx="2615">
                  <c:v>0.61399999999999999</c:v>
                </c:pt>
                <c:pt idx="2616">
                  <c:v>0.64900000000000002</c:v>
                </c:pt>
                <c:pt idx="2617">
                  <c:v>0.54</c:v>
                </c:pt>
                <c:pt idx="2618">
                  <c:v>1</c:v>
                </c:pt>
                <c:pt idx="2619">
                  <c:v>0.70799999999999996</c:v>
                </c:pt>
                <c:pt idx="2620">
                  <c:v>0.52300000000000002</c:v>
                </c:pt>
                <c:pt idx="2621">
                  <c:v>0.49099999999999999</c:v>
                </c:pt>
                <c:pt idx="2622">
                  <c:v>0.49099999999999999</c:v>
                </c:pt>
                <c:pt idx="2623">
                  <c:v>0.91700000000000004</c:v>
                </c:pt>
                <c:pt idx="2624">
                  <c:v>0.96799999999999997</c:v>
                </c:pt>
                <c:pt idx="2625">
                  <c:v>0.80400000000000005</c:v>
                </c:pt>
                <c:pt idx="2626">
                  <c:v>0.371</c:v>
                </c:pt>
                <c:pt idx="2627">
                  <c:v>0.88400000000000001</c:v>
                </c:pt>
                <c:pt idx="2628">
                  <c:v>0.83699999999999997</c:v>
                </c:pt>
                <c:pt idx="2629">
                  <c:v>0.92800000000000005</c:v>
                </c:pt>
                <c:pt idx="2630">
                  <c:v>0.56399999999999995</c:v>
                </c:pt>
                <c:pt idx="2631">
                  <c:v>0.88300000000000001</c:v>
                </c:pt>
                <c:pt idx="2632">
                  <c:v>0.877</c:v>
                </c:pt>
                <c:pt idx="2633">
                  <c:v>0.71399999999999997</c:v>
                </c:pt>
                <c:pt idx="2634">
                  <c:v>0.83699999999999997</c:v>
                </c:pt>
                <c:pt idx="2635">
                  <c:v>0.94599999999999995</c:v>
                </c:pt>
                <c:pt idx="2636">
                  <c:v>0.85499999999999998</c:v>
                </c:pt>
                <c:pt idx="2637">
                  <c:v>0.35499999999999998</c:v>
                </c:pt>
                <c:pt idx="2638">
                  <c:v>0.70399999999999996</c:v>
                </c:pt>
                <c:pt idx="2639">
                  <c:v>0.85699999999999998</c:v>
                </c:pt>
                <c:pt idx="2640">
                  <c:v>0.79100000000000004</c:v>
                </c:pt>
                <c:pt idx="2641">
                  <c:v>0.89200000000000002</c:v>
                </c:pt>
                <c:pt idx="2642">
                  <c:v>0.436</c:v>
                </c:pt>
                <c:pt idx="2643">
                  <c:v>0.95099999999999996</c:v>
                </c:pt>
                <c:pt idx="2644">
                  <c:v>0.94299999999999995</c:v>
                </c:pt>
                <c:pt idx="2645">
                  <c:v>0.81499999999999995</c:v>
                </c:pt>
                <c:pt idx="2646">
                  <c:v>0.497</c:v>
                </c:pt>
                <c:pt idx="2647">
                  <c:v>0.629</c:v>
                </c:pt>
                <c:pt idx="2648">
                  <c:v>0.35899999999999999</c:v>
                </c:pt>
                <c:pt idx="2649">
                  <c:v>0.91300000000000003</c:v>
                </c:pt>
                <c:pt idx="2650">
                  <c:v>0.25900000000000001</c:v>
                </c:pt>
                <c:pt idx="2651">
                  <c:v>0.66200000000000003</c:v>
                </c:pt>
                <c:pt idx="2652">
                  <c:v>0.151</c:v>
                </c:pt>
                <c:pt idx="2653">
                  <c:v>0.46700000000000003</c:v>
                </c:pt>
                <c:pt idx="2654">
                  <c:v>0.504</c:v>
                </c:pt>
                <c:pt idx="2655">
                  <c:v>0.84299999999999997</c:v>
                </c:pt>
                <c:pt idx="2656">
                  <c:v>0.77900000000000003</c:v>
                </c:pt>
                <c:pt idx="2657">
                  <c:v>0.56699999999999995</c:v>
                </c:pt>
                <c:pt idx="2658">
                  <c:v>0.73</c:v>
                </c:pt>
                <c:pt idx="2659">
                  <c:v>0.59699999999999998</c:v>
                </c:pt>
                <c:pt idx="2660">
                  <c:v>0.57199999999999995</c:v>
                </c:pt>
                <c:pt idx="2661">
                  <c:v>0.84099999999999997</c:v>
                </c:pt>
                <c:pt idx="2662">
                  <c:v>0.99199999999999999</c:v>
                </c:pt>
                <c:pt idx="2663">
                  <c:v>0.94599999999999995</c:v>
                </c:pt>
                <c:pt idx="2664">
                  <c:v>0.34300000000000003</c:v>
                </c:pt>
                <c:pt idx="2665">
                  <c:v>0.46100000000000002</c:v>
                </c:pt>
                <c:pt idx="2666">
                  <c:v>0.93100000000000005</c:v>
                </c:pt>
                <c:pt idx="2667">
                  <c:v>0.87</c:v>
                </c:pt>
                <c:pt idx="2668">
                  <c:v>0.875</c:v>
                </c:pt>
                <c:pt idx="2669">
                  <c:v>0.88800000000000001</c:v>
                </c:pt>
                <c:pt idx="2670">
                  <c:v>0.47099999999999997</c:v>
                </c:pt>
                <c:pt idx="2671">
                  <c:v>0.90900000000000003</c:v>
                </c:pt>
                <c:pt idx="2672">
                  <c:v>0.38500000000000001</c:v>
                </c:pt>
                <c:pt idx="2673">
                  <c:v>0.98799999999999999</c:v>
                </c:pt>
                <c:pt idx="2674">
                  <c:v>0.57699999999999996</c:v>
                </c:pt>
                <c:pt idx="2675">
                  <c:v>0.66</c:v>
                </c:pt>
                <c:pt idx="2676">
                  <c:v>0.93400000000000005</c:v>
                </c:pt>
                <c:pt idx="2677">
                  <c:v>0.92600000000000005</c:v>
                </c:pt>
                <c:pt idx="2678">
                  <c:v>0.88500000000000001</c:v>
                </c:pt>
                <c:pt idx="2679">
                  <c:v>0.71599999999999997</c:v>
                </c:pt>
                <c:pt idx="2680">
                  <c:v>0.81200000000000006</c:v>
                </c:pt>
                <c:pt idx="2681">
                  <c:v>0.54400000000000004</c:v>
                </c:pt>
                <c:pt idx="2682">
                  <c:v>0.64900000000000002</c:v>
                </c:pt>
                <c:pt idx="2683">
                  <c:v>0.93700000000000006</c:v>
                </c:pt>
                <c:pt idx="2684">
                  <c:v>0.78200000000000003</c:v>
                </c:pt>
                <c:pt idx="2685">
                  <c:v>0.63300000000000001</c:v>
                </c:pt>
                <c:pt idx="2686">
                  <c:v>0.54100000000000004</c:v>
                </c:pt>
                <c:pt idx="2687">
                  <c:v>0.56299999999999994</c:v>
                </c:pt>
                <c:pt idx="2688">
                  <c:v>0.85899999999999999</c:v>
                </c:pt>
                <c:pt idx="2689">
                  <c:v>0.48099999999999998</c:v>
                </c:pt>
                <c:pt idx="2690">
                  <c:v>0.94499999999999995</c:v>
                </c:pt>
                <c:pt idx="2691">
                  <c:v>0.57699999999999996</c:v>
                </c:pt>
                <c:pt idx="2692">
                  <c:v>0.85199999999999998</c:v>
                </c:pt>
                <c:pt idx="2693">
                  <c:v>0.82099999999999995</c:v>
                </c:pt>
                <c:pt idx="2694">
                  <c:v>0.29499999999999998</c:v>
                </c:pt>
                <c:pt idx="2695">
                  <c:v>0.76200000000000001</c:v>
                </c:pt>
                <c:pt idx="2696">
                  <c:v>0.63300000000000001</c:v>
                </c:pt>
                <c:pt idx="2697">
                  <c:v>0.63900000000000001</c:v>
                </c:pt>
                <c:pt idx="2698">
                  <c:v>0.47399999999999998</c:v>
                </c:pt>
                <c:pt idx="2699">
                  <c:v>0.161</c:v>
                </c:pt>
                <c:pt idx="2700">
                  <c:v>0.54500000000000004</c:v>
                </c:pt>
                <c:pt idx="2701">
                  <c:v>0.59599999999999997</c:v>
                </c:pt>
                <c:pt idx="2702">
                  <c:v>0.82599999999999996</c:v>
                </c:pt>
                <c:pt idx="2703">
                  <c:v>0.85099999999999998</c:v>
                </c:pt>
                <c:pt idx="2704">
                  <c:v>0.78200000000000003</c:v>
                </c:pt>
                <c:pt idx="2705">
                  <c:v>0.95699999999999996</c:v>
                </c:pt>
                <c:pt idx="2706">
                  <c:v>0.67300000000000004</c:v>
                </c:pt>
                <c:pt idx="2707">
                  <c:v>0.5</c:v>
                </c:pt>
                <c:pt idx="2708">
                  <c:v>0.58699999999999997</c:v>
                </c:pt>
                <c:pt idx="2709">
                  <c:v>0.65900000000000003</c:v>
                </c:pt>
                <c:pt idx="2710">
                  <c:v>0.35599999999999998</c:v>
                </c:pt>
                <c:pt idx="2711">
                  <c:v>0.51100000000000001</c:v>
                </c:pt>
                <c:pt idx="2712">
                  <c:v>0.74099999999999999</c:v>
                </c:pt>
                <c:pt idx="2713">
                  <c:v>0.76100000000000001</c:v>
                </c:pt>
                <c:pt idx="2714">
                  <c:v>0.92800000000000005</c:v>
                </c:pt>
                <c:pt idx="2715">
                  <c:v>0.61499999999999999</c:v>
                </c:pt>
                <c:pt idx="2716">
                  <c:v>0.63100000000000001</c:v>
                </c:pt>
                <c:pt idx="2717">
                  <c:v>0.86899999999999999</c:v>
                </c:pt>
                <c:pt idx="2718">
                  <c:v>0.51500000000000001</c:v>
                </c:pt>
                <c:pt idx="2719">
                  <c:v>0.66300000000000003</c:v>
                </c:pt>
                <c:pt idx="2720">
                  <c:v>0.93899999999999995</c:v>
                </c:pt>
                <c:pt idx="2721">
                  <c:v>0.89400000000000002</c:v>
                </c:pt>
                <c:pt idx="2722">
                  <c:v>0.88300000000000001</c:v>
                </c:pt>
                <c:pt idx="2723">
                  <c:v>0.32200000000000001</c:v>
                </c:pt>
                <c:pt idx="2724">
                  <c:v>0.79600000000000004</c:v>
                </c:pt>
                <c:pt idx="2725">
                  <c:v>0.77500000000000002</c:v>
                </c:pt>
                <c:pt idx="2726">
                  <c:v>0.66700000000000004</c:v>
                </c:pt>
                <c:pt idx="2727">
                  <c:v>0.92300000000000004</c:v>
                </c:pt>
                <c:pt idx="2728">
                  <c:v>0.86699999999999999</c:v>
                </c:pt>
                <c:pt idx="2729">
                  <c:v>0.54100000000000004</c:v>
                </c:pt>
                <c:pt idx="2730">
                  <c:v>0.54500000000000004</c:v>
                </c:pt>
                <c:pt idx="2731">
                  <c:v>0.28100000000000003</c:v>
                </c:pt>
                <c:pt idx="2732">
                  <c:v>0.24</c:v>
                </c:pt>
                <c:pt idx="2733">
                  <c:v>0.81</c:v>
                </c:pt>
                <c:pt idx="2734">
                  <c:v>0.371</c:v>
                </c:pt>
                <c:pt idx="2735">
                  <c:v>0.67300000000000004</c:v>
                </c:pt>
                <c:pt idx="2736">
                  <c:v>0.90600000000000003</c:v>
                </c:pt>
                <c:pt idx="2737">
                  <c:v>0.69099999999999995</c:v>
                </c:pt>
                <c:pt idx="2738">
                  <c:v>0.878</c:v>
                </c:pt>
                <c:pt idx="2739">
                  <c:v>0.93700000000000006</c:v>
                </c:pt>
                <c:pt idx="2740">
                  <c:v>0.755</c:v>
                </c:pt>
                <c:pt idx="2741">
                  <c:v>0.54700000000000004</c:v>
                </c:pt>
                <c:pt idx="2742">
                  <c:v>0.86299999999999999</c:v>
                </c:pt>
                <c:pt idx="2743">
                  <c:v>0.88600000000000001</c:v>
                </c:pt>
                <c:pt idx="2744">
                  <c:v>0.61</c:v>
                </c:pt>
                <c:pt idx="2745">
                  <c:v>0.47899999999999998</c:v>
                </c:pt>
                <c:pt idx="2746">
                  <c:v>0.82299999999999995</c:v>
                </c:pt>
                <c:pt idx="2747">
                  <c:v>0.68100000000000005</c:v>
                </c:pt>
                <c:pt idx="2748">
                  <c:v>0.71199999999999997</c:v>
                </c:pt>
                <c:pt idx="2749">
                  <c:v>0.97299999999999998</c:v>
                </c:pt>
                <c:pt idx="2750">
                  <c:v>0.82499999999999996</c:v>
                </c:pt>
                <c:pt idx="2751">
                  <c:v>0.94899999999999995</c:v>
                </c:pt>
                <c:pt idx="2752">
                  <c:v>0.94099999999999995</c:v>
                </c:pt>
                <c:pt idx="2753">
                  <c:v>0.69299999999999995</c:v>
                </c:pt>
                <c:pt idx="2754">
                  <c:v>0.38900000000000001</c:v>
                </c:pt>
                <c:pt idx="2755">
                  <c:v>0.65500000000000003</c:v>
                </c:pt>
                <c:pt idx="2756">
                  <c:v>0.33500000000000002</c:v>
                </c:pt>
                <c:pt idx="2757">
                  <c:v>0.872</c:v>
                </c:pt>
                <c:pt idx="2758">
                  <c:v>0.85899999999999999</c:v>
                </c:pt>
                <c:pt idx="2759">
                  <c:v>0.91100000000000003</c:v>
                </c:pt>
                <c:pt idx="2760">
                  <c:v>0.84199999999999997</c:v>
                </c:pt>
                <c:pt idx="2761">
                  <c:v>0.875</c:v>
                </c:pt>
                <c:pt idx="2762">
                  <c:v>0.85199999999999998</c:v>
                </c:pt>
                <c:pt idx="2763">
                  <c:v>0.77900000000000003</c:v>
                </c:pt>
                <c:pt idx="2764">
                  <c:v>0.95299999999999996</c:v>
                </c:pt>
                <c:pt idx="2765">
                  <c:v>0.65300000000000002</c:v>
                </c:pt>
                <c:pt idx="2766">
                  <c:v>0.66600000000000004</c:v>
                </c:pt>
                <c:pt idx="2767">
                  <c:v>0.86799999999999999</c:v>
                </c:pt>
                <c:pt idx="2768">
                  <c:v>0.624</c:v>
                </c:pt>
                <c:pt idx="2769">
                  <c:v>0.92700000000000005</c:v>
                </c:pt>
                <c:pt idx="2770">
                  <c:v>0.55600000000000005</c:v>
                </c:pt>
                <c:pt idx="2771">
                  <c:v>0.94699999999999995</c:v>
                </c:pt>
                <c:pt idx="2772">
                  <c:v>0.57899999999999996</c:v>
                </c:pt>
                <c:pt idx="2773">
                  <c:v>0.93799999999999994</c:v>
                </c:pt>
                <c:pt idx="2774">
                  <c:v>0.69399999999999995</c:v>
                </c:pt>
                <c:pt idx="2775">
                  <c:v>7.2999999999999995E-2</c:v>
                </c:pt>
                <c:pt idx="2776">
                  <c:v>0.82899999999999996</c:v>
                </c:pt>
                <c:pt idx="2777">
                  <c:v>0.56999999999999995</c:v>
                </c:pt>
                <c:pt idx="2778">
                  <c:v>0.91200000000000003</c:v>
                </c:pt>
                <c:pt idx="2779">
                  <c:v>0.83399999999999996</c:v>
                </c:pt>
                <c:pt idx="2780">
                  <c:v>0.47199999999999998</c:v>
                </c:pt>
                <c:pt idx="2781">
                  <c:v>0.88300000000000001</c:v>
                </c:pt>
                <c:pt idx="2782">
                  <c:v>0.72699999999999998</c:v>
                </c:pt>
                <c:pt idx="2783">
                  <c:v>0.36099999999999999</c:v>
                </c:pt>
                <c:pt idx="2784">
                  <c:v>0.748</c:v>
                </c:pt>
                <c:pt idx="2785">
                  <c:v>0.84399999999999997</c:v>
                </c:pt>
                <c:pt idx="2786">
                  <c:v>0.95099999999999996</c:v>
                </c:pt>
                <c:pt idx="2787">
                  <c:v>0.56999999999999995</c:v>
                </c:pt>
                <c:pt idx="2788">
                  <c:v>0.75800000000000001</c:v>
                </c:pt>
                <c:pt idx="2789">
                  <c:v>0.875</c:v>
                </c:pt>
                <c:pt idx="2790">
                  <c:v>0.52600000000000002</c:v>
                </c:pt>
                <c:pt idx="2791">
                  <c:v>0.89500000000000002</c:v>
                </c:pt>
                <c:pt idx="2792">
                  <c:v>0.90800000000000003</c:v>
                </c:pt>
                <c:pt idx="2793">
                  <c:v>0.69</c:v>
                </c:pt>
                <c:pt idx="2794">
                  <c:v>0.35699999999999998</c:v>
                </c:pt>
                <c:pt idx="2795">
                  <c:v>0.90200000000000002</c:v>
                </c:pt>
                <c:pt idx="2796">
                  <c:v>0.65800000000000003</c:v>
                </c:pt>
                <c:pt idx="2797">
                  <c:v>6.2E-2</c:v>
                </c:pt>
                <c:pt idx="2798">
                  <c:v>0.84499999999999997</c:v>
                </c:pt>
                <c:pt idx="2799">
                  <c:v>0.64300000000000002</c:v>
                </c:pt>
                <c:pt idx="2800">
                  <c:v>0.94199999999999995</c:v>
                </c:pt>
                <c:pt idx="2801">
                  <c:v>0.873</c:v>
                </c:pt>
                <c:pt idx="2802">
                  <c:v>0.56999999999999995</c:v>
                </c:pt>
                <c:pt idx="2803">
                  <c:v>0.90800000000000003</c:v>
                </c:pt>
                <c:pt idx="2804">
                  <c:v>0.72099999999999997</c:v>
                </c:pt>
                <c:pt idx="2805">
                  <c:v>0.56299999999999994</c:v>
                </c:pt>
                <c:pt idx="2806">
                  <c:v>0.53400000000000003</c:v>
                </c:pt>
                <c:pt idx="2807">
                  <c:v>0.92600000000000005</c:v>
                </c:pt>
                <c:pt idx="2808">
                  <c:v>0.71199999999999997</c:v>
                </c:pt>
                <c:pt idx="2809">
                  <c:v>0.24399999999999999</c:v>
                </c:pt>
                <c:pt idx="2810">
                  <c:v>5.6000000000000001E-2</c:v>
                </c:pt>
                <c:pt idx="2811">
                  <c:v>0.4</c:v>
                </c:pt>
                <c:pt idx="2812">
                  <c:v>0.89100000000000001</c:v>
                </c:pt>
                <c:pt idx="2813">
                  <c:v>0.85599999999999998</c:v>
                </c:pt>
                <c:pt idx="2814">
                  <c:v>0.66400000000000003</c:v>
                </c:pt>
                <c:pt idx="2815">
                  <c:v>0.38500000000000001</c:v>
                </c:pt>
                <c:pt idx="2816">
                  <c:v>0.78400000000000003</c:v>
                </c:pt>
                <c:pt idx="2817">
                  <c:v>0.76700000000000002</c:v>
                </c:pt>
                <c:pt idx="2818">
                  <c:v>0.45700000000000002</c:v>
                </c:pt>
                <c:pt idx="2819">
                  <c:v>0.91200000000000003</c:v>
                </c:pt>
                <c:pt idx="2820">
                  <c:v>0.17100000000000001</c:v>
                </c:pt>
                <c:pt idx="2821">
                  <c:v>0.95499999999999996</c:v>
                </c:pt>
                <c:pt idx="2822">
                  <c:v>0.77600000000000002</c:v>
                </c:pt>
                <c:pt idx="2823">
                  <c:v>0.68799999999999994</c:v>
                </c:pt>
                <c:pt idx="2824">
                  <c:v>0.216</c:v>
                </c:pt>
                <c:pt idx="2825">
                  <c:v>0.73699999999999999</c:v>
                </c:pt>
                <c:pt idx="2826">
                  <c:v>0.98399999999999999</c:v>
                </c:pt>
                <c:pt idx="2827">
                  <c:v>0.93700000000000006</c:v>
                </c:pt>
                <c:pt idx="2828">
                  <c:v>0.67500000000000004</c:v>
                </c:pt>
                <c:pt idx="2829">
                  <c:v>0.66800000000000004</c:v>
                </c:pt>
                <c:pt idx="2830">
                  <c:v>0.45700000000000002</c:v>
                </c:pt>
                <c:pt idx="2831">
                  <c:v>0.65100000000000002</c:v>
                </c:pt>
                <c:pt idx="2832">
                  <c:v>0.50700000000000001</c:v>
                </c:pt>
                <c:pt idx="2833">
                  <c:v>0.45100000000000001</c:v>
                </c:pt>
                <c:pt idx="2834">
                  <c:v>0.55900000000000005</c:v>
                </c:pt>
                <c:pt idx="2835">
                  <c:v>0.85299999999999998</c:v>
                </c:pt>
                <c:pt idx="2836">
                  <c:v>0.68</c:v>
                </c:pt>
                <c:pt idx="2837">
                  <c:v>0.91100000000000003</c:v>
                </c:pt>
                <c:pt idx="2838">
                  <c:v>0.97899999999999998</c:v>
                </c:pt>
                <c:pt idx="2839">
                  <c:v>0.44</c:v>
                </c:pt>
                <c:pt idx="2840">
                  <c:v>6.9000000000000006E-2</c:v>
                </c:pt>
                <c:pt idx="2841">
                  <c:v>0.56499999999999995</c:v>
                </c:pt>
                <c:pt idx="2842">
                  <c:v>0.998</c:v>
                </c:pt>
                <c:pt idx="2843">
                  <c:v>0.35799999999999998</c:v>
                </c:pt>
                <c:pt idx="2844">
                  <c:v>0.71699999999999997</c:v>
                </c:pt>
                <c:pt idx="2845">
                  <c:v>0.876</c:v>
                </c:pt>
                <c:pt idx="2846">
                  <c:v>1</c:v>
                </c:pt>
                <c:pt idx="2847">
                  <c:v>0.71599999999999997</c:v>
                </c:pt>
                <c:pt idx="2848">
                  <c:v>0.42399999999999999</c:v>
                </c:pt>
                <c:pt idx="2849">
                  <c:v>0.70399999999999996</c:v>
                </c:pt>
                <c:pt idx="2850">
                  <c:v>0.873</c:v>
                </c:pt>
                <c:pt idx="2851">
                  <c:v>0.87</c:v>
                </c:pt>
                <c:pt idx="2852">
                  <c:v>9.9000000000000005E-2</c:v>
                </c:pt>
                <c:pt idx="2853">
                  <c:v>0.23599999999999999</c:v>
                </c:pt>
                <c:pt idx="2854">
                  <c:v>0.80700000000000005</c:v>
                </c:pt>
                <c:pt idx="2855">
                  <c:v>0.624</c:v>
                </c:pt>
                <c:pt idx="2856">
                  <c:v>0.56200000000000006</c:v>
                </c:pt>
                <c:pt idx="2857">
                  <c:v>0.58699999999999997</c:v>
                </c:pt>
                <c:pt idx="2858">
                  <c:v>0.90400000000000003</c:v>
                </c:pt>
                <c:pt idx="2859">
                  <c:v>0.83199999999999996</c:v>
                </c:pt>
                <c:pt idx="2860">
                  <c:v>0.69399999999999995</c:v>
                </c:pt>
                <c:pt idx="2861">
                  <c:v>0.84099999999999997</c:v>
                </c:pt>
                <c:pt idx="2862">
                  <c:v>0.72299999999999998</c:v>
                </c:pt>
                <c:pt idx="2863">
                  <c:v>0.70899999999999996</c:v>
                </c:pt>
                <c:pt idx="2864">
                  <c:v>0.66300000000000003</c:v>
                </c:pt>
                <c:pt idx="2865">
                  <c:v>0.81100000000000005</c:v>
                </c:pt>
                <c:pt idx="2866">
                  <c:v>0.503</c:v>
                </c:pt>
                <c:pt idx="2867">
                  <c:v>0.69899999999999995</c:v>
                </c:pt>
                <c:pt idx="2868">
                  <c:v>0.58399999999999996</c:v>
                </c:pt>
                <c:pt idx="2869">
                  <c:v>0.58899999999999997</c:v>
                </c:pt>
                <c:pt idx="2870">
                  <c:v>0.79300000000000004</c:v>
                </c:pt>
                <c:pt idx="2871">
                  <c:v>0.77300000000000002</c:v>
                </c:pt>
                <c:pt idx="2872">
                  <c:v>0.67700000000000005</c:v>
                </c:pt>
                <c:pt idx="2873">
                  <c:v>0.624</c:v>
                </c:pt>
                <c:pt idx="2874">
                  <c:v>0.30299999999999999</c:v>
                </c:pt>
                <c:pt idx="2875">
                  <c:v>0.82899999999999996</c:v>
                </c:pt>
                <c:pt idx="2876">
                  <c:v>0.61599999999999999</c:v>
                </c:pt>
                <c:pt idx="2877">
                  <c:v>0.74299999999999999</c:v>
                </c:pt>
                <c:pt idx="2878">
                  <c:v>0.92</c:v>
                </c:pt>
                <c:pt idx="2879">
                  <c:v>0.498</c:v>
                </c:pt>
                <c:pt idx="2880">
                  <c:v>0.621</c:v>
                </c:pt>
                <c:pt idx="2881">
                  <c:v>0.87</c:v>
                </c:pt>
                <c:pt idx="2882">
                  <c:v>0.501</c:v>
                </c:pt>
                <c:pt idx="2883">
                  <c:v>0.84099999999999997</c:v>
                </c:pt>
                <c:pt idx="2884">
                  <c:v>0.71899999999999997</c:v>
                </c:pt>
                <c:pt idx="2885">
                  <c:v>0.66</c:v>
                </c:pt>
                <c:pt idx="2886">
                  <c:v>0.91300000000000003</c:v>
                </c:pt>
                <c:pt idx="2887">
                  <c:v>0.71399999999999997</c:v>
                </c:pt>
                <c:pt idx="2888">
                  <c:v>0.70599999999999996</c:v>
                </c:pt>
                <c:pt idx="2889">
                  <c:v>0.57799999999999996</c:v>
                </c:pt>
                <c:pt idx="2890">
                  <c:v>0.93300000000000005</c:v>
                </c:pt>
                <c:pt idx="2891">
                  <c:v>0.77900000000000003</c:v>
                </c:pt>
                <c:pt idx="2892">
                  <c:v>0.39900000000000002</c:v>
                </c:pt>
                <c:pt idx="2893">
                  <c:v>0.81200000000000006</c:v>
                </c:pt>
                <c:pt idx="2894">
                  <c:v>0.92300000000000004</c:v>
                </c:pt>
                <c:pt idx="2895">
                  <c:v>0.38700000000000001</c:v>
                </c:pt>
                <c:pt idx="2896">
                  <c:v>0.52500000000000002</c:v>
                </c:pt>
                <c:pt idx="2897">
                  <c:v>0.52700000000000002</c:v>
                </c:pt>
                <c:pt idx="2898">
                  <c:v>0.61</c:v>
                </c:pt>
                <c:pt idx="2899">
                  <c:v>0.79900000000000004</c:v>
                </c:pt>
                <c:pt idx="2900">
                  <c:v>0.69</c:v>
                </c:pt>
                <c:pt idx="2901">
                  <c:v>0.69199999999999995</c:v>
                </c:pt>
                <c:pt idx="2902">
                  <c:v>0.91200000000000003</c:v>
                </c:pt>
                <c:pt idx="2903">
                  <c:v>0.34200000000000003</c:v>
                </c:pt>
                <c:pt idx="2904">
                  <c:v>0.69799999999999995</c:v>
                </c:pt>
                <c:pt idx="2905">
                  <c:v>0.91800000000000004</c:v>
                </c:pt>
                <c:pt idx="2906">
                  <c:v>0.89</c:v>
                </c:pt>
                <c:pt idx="2907">
                  <c:v>0.42599999999999999</c:v>
                </c:pt>
                <c:pt idx="2908">
                  <c:v>0.69</c:v>
                </c:pt>
                <c:pt idx="2909">
                  <c:v>0.97399999999999998</c:v>
                </c:pt>
                <c:pt idx="2910">
                  <c:v>0.45100000000000001</c:v>
                </c:pt>
                <c:pt idx="2911">
                  <c:v>0.86799999999999999</c:v>
                </c:pt>
                <c:pt idx="2912">
                  <c:v>0.91</c:v>
                </c:pt>
                <c:pt idx="2913">
                  <c:v>0.75</c:v>
                </c:pt>
                <c:pt idx="2914">
                  <c:v>0.58799999999999997</c:v>
                </c:pt>
                <c:pt idx="2915">
                  <c:v>0.68799999999999994</c:v>
                </c:pt>
                <c:pt idx="2916">
                  <c:v>0.57299999999999995</c:v>
                </c:pt>
                <c:pt idx="2917">
                  <c:v>0.69699999999999995</c:v>
                </c:pt>
                <c:pt idx="2918">
                  <c:v>0.86699999999999999</c:v>
                </c:pt>
                <c:pt idx="2919">
                  <c:v>0.97799999999999998</c:v>
                </c:pt>
                <c:pt idx="2920">
                  <c:v>0.62</c:v>
                </c:pt>
                <c:pt idx="2921">
                  <c:v>6.0999999999999999E-2</c:v>
                </c:pt>
                <c:pt idx="2922">
                  <c:v>0.38500000000000001</c:v>
                </c:pt>
                <c:pt idx="2923">
                  <c:v>0.51100000000000001</c:v>
                </c:pt>
                <c:pt idx="2924">
                  <c:v>0.91800000000000004</c:v>
                </c:pt>
                <c:pt idx="2925">
                  <c:v>0.80900000000000005</c:v>
                </c:pt>
                <c:pt idx="2926">
                  <c:v>0.26900000000000002</c:v>
                </c:pt>
                <c:pt idx="2927">
                  <c:v>0.69099999999999995</c:v>
                </c:pt>
                <c:pt idx="2928">
                  <c:v>0.90500000000000003</c:v>
                </c:pt>
                <c:pt idx="2929">
                  <c:v>0.83799999999999997</c:v>
                </c:pt>
                <c:pt idx="2930">
                  <c:v>0.39900000000000002</c:v>
                </c:pt>
                <c:pt idx="2931">
                  <c:v>0.53900000000000003</c:v>
                </c:pt>
                <c:pt idx="2932">
                  <c:v>0.77600000000000002</c:v>
                </c:pt>
                <c:pt idx="2933">
                  <c:v>0.71299999999999997</c:v>
                </c:pt>
                <c:pt idx="2934">
                  <c:v>0.68300000000000005</c:v>
                </c:pt>
                <c:pt idx="2935">
                  <c:v>0.27500000000000002</c:v>
                </c:pt>
                <c:pt idx="2936">
                  <c:v>0.68600000000000005</c:v>
                </c:pt>
                <c:pt idx="2937">
                  <c:v>0.56799999999999995</c:v>
                </c:pt>
                <c:pt idx="2938">
                  <c:v>0.80600000000000005</c:v>
                </c:pt>
                <c:pt idx="2939">
                  <c:v>0.56999999999999995</c:v>
                </c:pt>
                <c:pt idx="2940">
                  <c:v>0.86599999999999999</c:v>
                </c:pt>
                <c:pt idx="2941">
                  <c:v>0.52100000000000002</c:v>
                </c:pt>
                <c:pt idx="2942">
                  <c:v>0.85099999999999998</c:v>
                </c:pt>
                <c:pt idx="2943">
                  <c:v>0.83099999999999996</c:v>
                </c:pt>
                <c:pt idx="2944">
                  <c:v>0.84</c:v>
                </c:pt>
                <c:pt idx="2945">
                  <c:v>0.627</c:v>
                </c:pt>
                <c:pt idx="2946">
                  <c:v>0.86799999999999999</c:v>
                </c:pt>
                <c:pt idx="2947">
                  <c:v>0.79800000000000004</c:v>
                </c:pt>
                <c:pt idx="2948">
                  <c:v>0.75700000000000001</c:v>
                </c:pt>
                <c:pt idx="2949">
                  <c:v>0.73099999999999998</c:v>
                </c:pt>
                <c:pt idx="2950">
                  <c:v>0.65600000000000003</c:v>
                </c:pt>
                <c:pt idx="2951">
                  <c:v>0.38600000000000001</c:v>
                </c:pt>
                <c:pt idx="2952">
                  <c:v>0.95499999999999996</c:v>
                </c:pt>
                <c:pt idx="2953">
                  <c:v>0.93500000000000005</c:v>
                </c:pt>
                <c:pt idx="2954">
                  <c:v>0.54800000000000004</c:v>
                </c:pt>
                <c:pt idx="2955">
                  <c:v>0.70599999999999996</c:v>
                </c:pt>
                <c:pt idx="2956">
                  <c:v>0.95299999999999996</c:v>
                </c:pt>
                <c:pt idx="2957">
                  <c:v>0.57699999999999996</c:v>
                </c:pt>
                <c:pt idx="2958">
                  <c:v>0.73099999999999998</c:v>
                </c:pt>
                <c:pt idx="2959">
                  <c:v>0.61299999999999999</c:v>
                </c:pt>
                <c:pt idx="2960">
                  <c:v>0.23899999999999999</c:v>
                </c:pt>
                <c:pt idx="2961">
                  <c:v>0.79800000000000004</c:v>
                </c:pt>
                <c:pt idx="2962">
                  <c:v>0.53700000000000003</c:v>
                </c:pt>
                <c:pt idx="2963">
                  <c:v>0.76500000000000001</c:v>
                </c:pt>
                <c:pt idx="2964">
                  <c:v>0.96299999999999997</c:v>
                </c:pt>
                <c:pt idx="2965">
                  <c:v>0.86199999999999999</c:v>
                </c:pt>
                <c:pt idx="2966">
                  <c:v>0.73099999999999998</c:v>
                </c:pt>
                <c:pt idx="2967">
                  <c:v>0.85199999999999998</c:v>
                </c:pt>
                <c:pt idx="2968">
                  <c:v>0.73799999999999999</c:v>
                </c:pt>
                <c:pt idx="2969">
                  <c:v>0.32600000000000001</c:v>
                </c:pt>
                <c:pt idx="2970">
                  <c:v>0.78800000000000003</c:v>
                </c:pt>
                <c:pt idx="2971">
                  <c:v>0.82199999999999995</c:v>
                </c:pt>
                <c:pt idx="2972">
                  <c:v>0.63600000000000001</c:v>
                </c:pt>
                <c:pt idx="2973">
                  <c:v>0.52800000000000002</c:v>
                </c:pt>
                <c:pt idx="2974">
                  <c:v>0.79500000000000004</c:v>
                </c:pt>
                <c:pt idx="2975">
                  <c:v>0.68899999999999995</c:v>
                </c:pt>
                <c:pt idx="2976">
                  <c:v>0.86</c:v>
                </c:pt>
                <c:pt idx="2977">
                  <c:v>0.89400000000000002</c:v>
                </c:pt>
                <c:pt idx="2978">
                  <c:v>0.55400000000000005</c:v>
                </c:pt>
                <c:pt idx="2979">
                  <c:v>0.74199999999999999</c:v>
                </c:pt>
                <c:pt idx="2980">
                  <c:v>0.68200000000000005</c:v>
                </c:pt>
                <c:pt idx="2981">
                  <c:v>0.88900000000000001</c:v>
                </c:pt>
                <c:pt idx="2982">
                  <c:v>0.378</c:v>
                </c:pt>
                <c:pt idx="2983">
                  <c:v>0.25900000000000001</c:v>
                </c:pt>
                <c:pt idx="2984">
                  <c:v>0.94299999999999995</c:v>
                </c:pt>
                <c:pt idx="2985">
                  <c:v>0.85299999999999998</c:v>
                </c:pt>
                <c:pt idx="2986">
                  <c:v>0.872</c:v>
                </c:pt>
                <c:pt idx="2987">
                  <c:v>0.67400000000000004</c:v>
                </c:pt>
                <c:pt idx="2988">
                  <c:v>0.51900000000000002</c:v>
                </c:pt>
                <c:pt idx="2989">
                  <c:v>0.47</c:v>
                </c:pt>
                <c:pt idx="2990">
                  <c:v>0.80500000000000005</c:v>
                </c:pt>
                <c:pt idx="2991">
                  <c:v>0.60799999999999998</c:v>
                </c:pt>
                <c:pt idx="2992">
                  <c:v>0.83099999999999996</c:v>
                </c:pt>
                <c:pt idx="2993">
                  <c:v>0.69799999999999995</c:v>
                </c:pt>
                <c:pt idx="2994">
                  <c:v>0.68799999999999994</c:v>
                </c:pt>
                <c:pt idx="2995">
                  <c:v>0.65600000000000003</c:v>
                </c:pt>
                <c:pt idx="2996">
                  <c:v>0.71599999999999997</c:v>
                </c:pt>
                <c:pt idx="2997">
                  <c:v>0.88800000000000001</c:v>
                </c:pt>
                <c:pt idx="2998">
                  <c:v>0.74299999999999999</c:v>
                </c:pt>
                <c:pt idx="2999">
                  <c:v>0.62</c:v>
                </c:pt>
                <c:pt idx="3000">
                  <c:v>0.76</c:v>
                </c:pt>
                <c:pt idx="3001">
                  <c:v>0.60799999999999998</c:v>
                </c:pt>
                <c:pt idx="3002">
                  <c:v>0.76100000000000001</c:v>
                </c:pt>
                <c:pt idx="3003">
                  <c:v>0.32400000000000001</c:v>
                </c:pt>
                <c:pt idx="3004">
                  <c:v>0.82</c:v>
                </c:pt>
                <c:pt idx="3005">
                  <c:v>0.70099999999999996</c:v>
                </c:pt>
                <c:pt idx="3006">
                  <c:v>0.92300000000000004</c:v>
                </c:pt>
                <c:pt idx="3007">
                  <c:v>0.02</c:v>
                </c:pt>
                <c:pt idx="3008">
                  <c:v>0.52100000000000002</c:v>
                </c:pt>
                <c:pt idx="3009">
                  <c:v>0.89200000000000002</c:v>
                </c:pt>
                <c:pt idx="3010">
                  <c:v>0.72</c:v>
                </c:pt>
                <c:pt idx="3011">
                  <c:v>0.72799999999999998</c:v>
                </c:pt>
                <c:pt idx="3012">
                  <c:v>0.56799999999999995</c:v>
                </c:pt>
                <c:pt idx="3013">
                  <c:v>0.435</c:v>
                </c:pt>
                <c:pt idx="3014">
                  <c:v>0.80100000000000005</c:v>
                </c:pt>
                <c:pt idx="3015">
                  <c:v>0.42099999999999999</c:v>
                </c:pt>
                <c:pt idx="3016">
                  <c:v>0.47099999999999997</c:v>
                </c:pt>
                <c:pt idx="3017">
                  <c:v>0.72499999999999998</c:v>
                </c:pt>
                <c:pt idx="3018">
                  <c:v>0.59</c:v>
                </c:pt>
                <c:pt idx="3019">
                  <c:v>0.67100000000000004</c:v>
                </c:pt>
                <c:pt idx="3020">
                  <c:v>0.41899999999999998</c:v>
                </c:pt>
                <c:pt idx="3021">
                  <c:v>0.755</c:v>
                </c:pt>
                <c:pt idx="3022">
                  <c:v>0.79500000000000004</c:v>
                </c:pt>
                <c:pt idx="3023">
                  <c:v>0.9</c:v>
                </c:pt>
                <c:pt idx="3024">
                  <c:v>0.64300000000000002</c:v>
                </c:pt>
                <c:pt idx="3025">
                  <c:v>0.79300000000000004</c:v>
                </c:pt>
                <c:pt idx="3026">
                  <c:v>0.68</c:v>
                </c:pt>
                <c:pt idx="3027">
                  <c:v>0.58899999999999997</c:v>
                </c:pt>
                <c:pt idx="3028">
                  <c:v>0.84599999999999997</c:v>
                </c:pt>
                <c:pt idx="3029">
                  <c:v>0.68100000000000005</c:v>
                </c:pt>
                <c:pt idx="3030">
                  <c:v>0.29699999999999999</c:v>
                </c:pt>
                <c:pt idx="3031">
                  <c:v>0.88600000000000001</c:v>
                </c:pt>
                <c:pt idx="3032">
                  <c:v>0.76100000000000001</c:v>
                </c:pt>
                <c:pt idx="3033">
                  <c:v>0.77300000000000002</c:v>
                </c:pt>
                <c:pt idx="3034">
                  <c:v>0.86799999999999999</c:v>
                </c:pt>
                <c:pt idx="3035">
                  <c:v>0.92900000000000005</c:v>
                </c:pt>
                <c:pt idx="3036">
                  <c:v>0.67</c:v>
                </c:pt>
                <c:pt idx="3037">
                  <c:v>0.92500000000000004</c:v>
                </c:pt>
                <c:pt idx="3038">
                  <c:v>0.85399999999999998</c:v>
                </c:pt>
                <c:pt idx="3039">
                  <c:v>0.92800000000000005</c:v>
                </c:pt>
                <c:pt idx="3040">
                  <c:v>0.55900000000000005</c:v>
                </c:pt>
                <c:pt idx="3041">
                  <c:v>0.56999999999999995</c:v>
                </c:pt>
                <c:pt idx="3042">
                  <c:v>0.53400000000000003</c:v>
                </c:pt>
                <c:pt idx="3043">
                  <c:v>0.85</c:v>
                </c:pt>
                <c:pt idx="3044">
                  <c:v>0.60499999999999998</c:v>
                </c:pt>
                <c:pt idx="3045">
                  <c:v>0.84199999999999997</c:v>
                </c:pt>
                <c:pt idx="3046">
                  <c:v>0.36099999999999999</c:v>
                </c:pt>
                <c:pt idx="3047">
                  <c:v>0.88900000000000001</c:v>
                </c:pt>
                <c:pt idx="3048">
                  <c:v>0.876</c:v>
                </c:pt>
                <c:pt idx="3049">
                  <c:v>0.46700000000000003</c:v>
                </c:pt>
                <c:pt idx="3050">
                  <c:v>0.34699999999999998</c:v>
                </c:pt>
                <c:pt idx="3051">
                  <c:v>0.63700000000000001</c:v>
                </c:pt>
                <c:pt idx="3052">
                  <c:v>0.45100000000000001</c:v>
                </c:pt>
                <c:pt idx="3053">
                  <c:v>0.876</c:v>
                </c:pt>
                <c:pt idx="3054">
                  <c:v>0.32800000000000001</c:v>
                </c:pt>
                <c:pt idx="3055">
                  <c:v>0.94199999999999995</c:v>
                </c:pt>
                <c:pt idx="3056">
                  <c:v>0.45300000000000001</c:v>
                </c:pt>
                <c:pt idx="3057">
                  <c:v>0.93100000000000005</c:v>
                </c:pt>
                <c:pt idx="3058">
                  <c:v>0.51100000000000001</c:v>
                </c:pt>
                <c:pt idx="3059">
                  <c:v>0.51400000000000001</c:v>
                </c:pt>
                <c:pt idx="3060">
                  <c:v>0.94599999999999995</c:v>
                </c:pt>
                <c:pt idx="3061">
                  <c:v>0.90400000000000003</c:v>
                </c:pt>
                <c:pt idx="3062">
                  <c:v>0.41</c:v>
                </c:pt>
                <c:pt idx="3063">
                  <c:v>0.91900000000000004</c:v>
                </c:pt>
                <c:pt idx="3064">
                  <c:v>0.57899999999999996</c:v>
                </c:pt>
                <c:pt idx="3065">
                  <c:v>0.88</c:v>
                </c:pt>
                <c:pt idx="3066">
                  <c:v>0.496</c:v>
                </c:pt>
                <c:pt idx="3067">
                  <c:v>0.66300000000000003</c:v>
                </c:pt>
                <c:pt idx="3068">
                  <c:v>0.76900000000000002</c:v>
                </c:pt>
                <c:pt idx="3069">
                  <c:v>0.34899999999999998</c:v>
                </c:pt>
                <c:pt idx="3070">
                  <c:v>0.89400000000000002</c:v>
                </c:pt>
                <c:pt idx="3071">
                  <c:v>0.87</c:v>
                </c:pt>
                <c:pt idx="3072">
                  <c:v>0.80800000000000005</c:v>
                </c:pt>
                <c:pt idx="3073">
                  <c:v>0.28999999999999998</c:v>
                </c:pt>
                <c:pt idx="3074">
                  <c:v>0.64</c:v>
                </c:pt>
                <c:pt idx="3075">
                  <c:v>0.105</c:v>
                </c:pt>
                <c:pt idx="3076">
                  <c:v>0.74099999999999999</c:v>
                </c:pt>
                <c:pt idx="3077">
                  <c:v>0.71499999999999997</c:v>
                </c:pt>
                <c:pt idx="3078">
                  <c:v>0.97299999999999998</c:v>
                </c:pt>
                <c:pt idx="3079">
                  <c:v>0.48399999999999999</c:v>
                </c:pt>
                <c:pt idx="3080">
                  <c:v>0.623</c:v>
                </c:pt>
                <c:pt idx="3081">
                  <c:v>0.93400000000000005</c:v>
                </c:pt>
                <c:pt idx="3082">
                  <c:v>0.433</c:v>
                </c:pt>
                <c:pt idx="3083">
                  <c:v>0.184</c:v>
                </c:pt>
                <c:pt idx="3084">
                  <c:v>0.63600000000000001</c:v>
                </c:pt>
                <c:pt idx="3085">
                  <c:v>0.96599999999999997</c:v>
                </c:pt>
                <c:pt idx="3086">
                  <c:v>0.93799999999999994</c:v>
                </c:pt>
                <c:pt idx="3087">
                  <c:v>0.59299999999999997</c:v>
                </c:pt>
                <c:pt idx="3088">
                  <c:v>0.63</c:v>
                </c:pt>
                <c:pt idx="3089">
                  <c:v>0.54700000000000004</c:v>
                </c:pt>
                <c:pt idx="3090">
                  <c:v>0.65900000000000003</c:v>
                </c:pt>
                <c:pt idx="3091">
                  <c:v>0.88100000000000001</c:v>
                </c:pt>
                <c:pt idx="3092">
                  <c:v>0.8</c:v>
                </c:pt>
                <c:pt idx="3093">
                  <c:v>0.92600000000000005</c:v>
                </c:pt>
                <c:pt idx="3094">
                  <c:v>0.83</c:v>
                </c:pt>
                <c:pt idx="3095">
                  <c:v>0.315</c:v>
                </c:pt>
                <c:pt idx="3096">
                  <c:v>0.81699999999999995</c:v>
                </c:pt>
                <c:pt idx="3097">
                  <c:v>0.69699999999999995</c:v>
                </c:pt>
                <c:pt idx="3098">
                  <c:v>0.97099999999999997</c:v>
                </c:pt>
                <c:pt idx="3099">
                  <c:v>9.1999999999999998E-2</c:v>
                </c:pt>
                <c:pt idx="3100">
                  <c:v>0.77400000000000002</c:v>
                </c:pt>
                <c:pt idx="3101">
                  <c:v>0.70799999999999996</c:v>
                </c:pt>
                <c:pt idx="3102">
                  <c:v>0.71099999999999997</c:v>
                </c:pt>
                <c:pt idx="3103">
                  <c:v>0.36099999999999999</c:v>
                </c:pt>
                <c:pt idx="3104">
                  <c:v>0.85699999999999998</c:v>
                </c:pt>
                <c:pt idx="3105">
                  <c:v>0.85499999999999998</c:v>
                </c:pt>
                <c:pt idx="3106">
                  <c:v>0.58599999999999997</c:v>
                </c:pt>
                <c:pt idx="3107">
                  <c:v>0.41899999999999998</c:v>
                </c:pt>
                <c:pt idx="3108">
                  <c:v>0.82299999999999995</c:v>
                </c:pt>
                <c:pt idx="3109">
                  <c:v>0.81399999999999995</c:v>
                </c:pt>
                <c:pt idx="3110">
                  <c:v>0.45500000000000002</c:v>
                </c:pt>
                <c:pt idx="3111">
                  <c:v>0.76900000000000002</c:v>
                </c:pt>
                <c:pt idx="3112">
                  <c:v>0.78200000000000003</c:v>
                </c:pt>
                <c:pt idx="3113">
                  <c:v>0.39900000000000002</c:v>
                </c:pt>
                <c:pt idx="3114">
                  <c:v>0.71099999999999997</c:v>
                </c:pt>
                <c:pt idx="3115">
                  <c:v>0.67700000000000005</c:v>
                </c:pt>
                <c:pt idx="3116">
                  <c:v>0.57999999999999996</c:v>
                </c:pt>
                <c:pt idx="3117">
                  <c:v>0.63</c:v>
                </c:pt>
                <c:pt idx="3118">
                  <c:v>0.22</c:v>
                </c:pt>
                <c:pt idx="3119">
                  <c:v>0.81699999999999995</c:v>
                </c:pt>
                <c:pt idx="3120">
                  <c:v>0.57299999999999995</c:v>
                </c:pt>
                <c:pt idx="3121">
                  <c:v>0.64900000000000002</c:v>
                </c:pt>
                <c:pt idx="3122">
                  <c:v>0.374</c:v>
                </c:pt>
                <c:pt idx="3123">
                  <c:v>0.20899999999999999</c:v>
                </c:pt>
                <c:pt idx="3124">
                  <c:v>0.498</c:v>
                </c:pt>
                <c:pt idx="3125">
                  <c:v>0.51</c:v>
                </c:pt>
                <c:pt idx="3126">
                  <c:v>0.68</c:v>
                </c:pt>
                <c:pt idx="3127">
                  <c:v>0.83799999999999997</c:v>
                </c:pt>
                <c:pt idx="3128">
                  <c:v>0.65700000000000003</c:v>
                </c:pt>
                <c:pt idx="3129">
                  <c:v>0.438</c:v>
                </c:pt>
                <c:pt idx="3130">
                  <c:v>0.55800000000000005</c:v>
                </c:pt>
                <c:pt idx="3131">
                  <c:v>0.70099999999999996</c:v>
                </c:pt>
                <c:pt idx="3132">
                  <c:v>0.59599999999999997</c:v>
                </c:pt>
                <c:pt idx="3133">
                  <c:v>0.42599999999999999</c:v>
                </c:pt>
                <c:pt idx="3134">
                  <c:v>0.68700000000000006</c:v>
                </c:pt>
                <c:pt idx="3135">
                  <c:v>0.65400000000000003</c:v>
                </c:pt>
                <c:pt idx="3136">
                  <c:v>0.42299999999999999</c:v>
                </c:pt>
                <c:pt idx="3137">
                  <c:v>0.48699999999999999</c:v>
                </c:pt>
                <c:pt idx="3138">
                  <c:v>0.45800000000000002</c:v>
                </c:pt>
                <c:pt idx="3139">
                  <c:v>0.65500000000000003</c:v>
                </c:pt>
                <c:pt idx="3140">
                  <c:v>0.61199999999999999</c:v>
                </c:pt>
                <c:pt idx="3141">
                  <c:v>0.46400000000000002</c:v>
                </c:pt>
                <c:pt idx="3142">
                  <c:v>0.45300000000000001</c:v>
                </c:pt>
                <c:pt idx="3143">
                  <c:v>0.68500000000000005</c:v>
                </c:pt>
                <c:pt idx="3144">
                  <c:v>0.69699999999999995</c:v>
                </c:pt>
                <c:pt idx="3145">
                  <c:v>0.752</c:v>
                </c:pt>
                <c:pt idx="3146">
                  <c:v>0.59299999999999997</c:v>
                </c:pt>
                <c:pt idx="3147">
                  <c:v>0.55700000000000005</c:v>
                </c:pt>
                <c:pt idx="3148">
                  <c:v>0.64900000000000002</c:v>
                </c:pt>
                <c:pt idx="3149">
                  <c:v>0.42699999999999999</c:v>
                </c:pt>
                <c:pt idx="3150">
                  <c:v>0.73899999999999999</c:v>
                </c:pt>
                <c:pt idx="3151">
                  <c:v>0.49099999999999999</c:v>
                </c:pt>
                <c:pt idx="3152">
                  <c:v>5.0999999999999997E-2</c:v>
                </c:pt>
                <c:pt idx="3153">
                  <c:v>0.55000000000000004</c:v>
                </c:pt>
                <c:pt idx="3154">
                  <c:v>1</c:v>
                </c:pt>
                <c:pt idx="3155">
                  <c:v>0.85099999999999998</c:v>
                </c:pt>
                <c:pt idx="3156">
                  <c:v>0.55600000000000005</c:v>
                </c:pt>
                <c:pt idx="3157">
                  <c:v>0.86099999999999999</c:v>
                </c:pt>
                <c:pt idx="3158">
                  <c:v>0.876</c:v>
                </c:pt>
                <c:pt idx="3159">
                  <c:v>0.66600000000000004</c:v>
                </c:pt>
                <c:pt idx="3160">
                  <c:v>0.89500000000000002</c:v>
                </c:pt>
                <c:pt idx="3161">
                  <c:v>0.98299999999999998</c:v>
                </c:pt>
                <c:pt idx="3162">
                  <c:v>0.76600000000000001</c:v>
                </c:pt>
                <c:pt idx="3163">
                  <c:v>0.39500000000000002</c:v>
                </c:pt>
                <c:pt idx="3164">
                  <c:v>0.41599999999999998</c:v>
                </c:pt>
                <c:pt idx="3165">
                  <c:v>0.34899999999999998</c:v>
                </c:pt>
                <c:pt idx="3166">
                  <c:v>0.93300000000000005</c:v>
                </c:pt>
                <c:pt idx="3167">
                  <c:v>0.70799999999999996</c:v>
                </c:pt>
                <c:pt idx="3168">
                  <c:v>0.51300000000000001</c:v>
                </c:pt>
                <c:pt idx="3169">
                  <c:v>0.35899999999999999</c:v>
                </c:pt>
                <c:pt idx="3170">
                  <c:v>0.85099999999999998</c:v>
                </c:pt>
                <c:pt idx="3171">
                  <c:v>0.84</c:v>
                </c:pt>
                <c:pt idx="3172">
                  <c:v>0.29899999999999999</c:v>
                </c:pt>
                <c:pt idx="3173">
                  <c:v>0.45300000000000001</c:v>
                </c:pt>
                <c:pt idx="3174">
                  <c:v>0.70299999999999996</c:v>
                </c:pt>
                <c:pt idx="3175">
                  <c:v>0.91100000000000003</c:v>
                </c:pt>
                <c:pt idx="3176">
                  <c:v>0.90400000000000003</c:v>
                </c:pt>
                <c:pt idx="3177">
                  <c:v>0.997</c:v>
                </c:pt>
                <c:pt idx="3178">
                  <c:v>0.80100000000000005</c:v>
                </c:pt>
                <c:pt idx="3179">
                  <c:v>0.57999999999999996</c:v>
                </c:pt>
                <c:pt idx="3180">
                  <c:v>0.81899999999999995</c:v>
                </c:pt>
                <c:pt idx="3181">
                  <c:v>0.29799999999999999</c:v>
                </c:pt>
                <c:pt idx="3182">
                  <c:v>0.74399999999999999</c:v>
                </c:pt>
                <c:pt idx="3183">
                  <c:v>0.81499999999999995</c:v>
                </c:pt>
                <c:pt idx="3184">
                  <c:v>0.55100000000000005</c:v>
                </c:pt>
                <c:pt idx="3185">
                  <c:v>0.41899999999999998</c:v>
                </c:pt>
                <c:pt idx="3186">
                  <c:v>0.61699999999999999</c:v>
                </c:pt>
                <c:pt idx="3187">
                  <c:v>0.84899999999999998</c:v>
                </c:pt>
                <c:pt idx="3188">
                  <c:v>0.35099999999999998</c:v>
                </c:pt>
                <c:pt idx="3189">
                  <c:v>0.86399999999999999</c:v>
                </c:pt>
                <c:pt idx="3190">
                  <c:v>0.64700000000000002</c:v>
                </c:pt>
                <c:pt idx="3191">
                  <c:v>0.52500000000000002</c:v>
                </c:pt>
                <c:pt idx="3192">
                  <c:v>0.94499999999999995</c:v>
                </c:pt>
                <c:pt idx="3193">
                  <c:v>0.625</c:v>
                </c:pt>
                <c:pt idx="3194">
                  <c:v>0.81100000000000005</c:v>
                </c:pt>
                <c:pt idx="3195">
                  <c:v>0.83299999999999996</c:v>
                </c:pt>
                <c:pt idx="3196">
                  <c:v>0.65100000000000002</c:v>
                </c:pt>
                <c:pt idx="3197">
                  <c:v>0.8</c:v>
                </c:pt>
                <c:pt idx="3198">
                  <c:v>0.69399999999999995</c:v>
                </c:pt>
                <c:pt idx="3199">
                  <c:v>6.0999999999999999E-2</c:v>
                </c:pt>
                <c:pt idx="3200">
                  <c:v>0.95199999999999996</c:v>
                </c:pt>
                <c:pt idx="3201">
                  <c:v>0.48399999999999999</c:v>
                </c:pt>
                <c:pt idx="3202">
                  <c:v>0.85399999999999998</c:v>
                </c:pt>
                <c:pt idx="3203">
                  <c:v>0.47699999999999998</c:v>
                </c:pt>
                <c:pt idx="3204">
                  <c:v>0.45</c:v>
                </c:pt>
                <c:pt idx="3205">
                  <c:v>0.52300000000000002</c:v>
                </c:pt>
                <c:pt idx="3206">
                  <c:v>0.88600000000000001</c:v>
                </c:pt>
                <c:pt idx="3207">
                  <c:v>0.54700000000000004</c:v>
                </c:pt>
                <c:pt idx="3208">
                  <c:v>0.86099999999999999</c:v>
                </c:pt>
                <c:pt idx="3209">
                  <c:v>0.32</c:v>
                </c:pt>
                <c:pt idx="3210">
                  <c:v>0.82599999999999996</c:v>
                </c:pt>
                <c:pt idx="3211">
                  <c:v>0.94599999999999995</c:v>
                </c:pt>
                <c:pt idx="3212">
                  <c:v>0.84799999999999998</c:v>
                </c:pt>
                <c:pt idx="3213">
                  <c:v>3.9E-2</c:v>
                </c:pt>
                <c:pt idx="3214">
                  <c:v>0.57099999999999995</c:v>
                </c:pt>
                <c:pt idx="3215">
                  <c:v>2.1000000000000001E-2</c:v>
                </c:pt>
                <c:pt idx="3216">
                  <c:v>0.26100000000000001</c:v>
                </c:pt>
                <c:pt idx="3217">
                  <c:v>0.53300000000000003</c:v>
                </c:pt>
                <c:pt idx="3218">
                  <c:v>0.41</c:v>
                </c:pt>
                <c:pt idx="3219">
                  <c:v>0.93</c:v>
                </c:pt>
                <c:pt idx="3220">
                  <c:v>0.83099999999999996</c:v>
                </c:pt>
                <c:pt idx="3221">
                  <c:v>0.58299999999999996</c:v>
                </c:pt>
                <c:pt idx="3222">
                  <c:v>0.52200000000000002</c:v>
                </c:pt>
                <c:pt idx="3223">
                  <c:v>0.72799999999999998</c:v>
                </c:pt>
                <c:pt idx="3224">
                  <c:v>0.84099999999999997</c:v>
                </c:pt>
                <c:pt idx="3225">
                  <c:v>0.44500000000000001</c:v>
                </c:pt>
                <c:pt idx="3226">
                  <c:v>0.57499999999999996</c:v>
                </c:pt>
                <c:pt idx="3227">
                  <c:v>0.78400000000000003</c:v>
                </c:pt>
                <c:pt idx="3228">
                  <c:v>0.45300000000000001</c:v>
                </c:pt>
                <c:pt idx="3229">
                  <c:v>0.90700000000000003</c:v>
                </c:pt>
                <c:pt idx="3230">
                  <c:v>0.84199999999999997</c:v>
                </c:pt>
                <c:pt idx="3231">
                  <c:v>0.72499999999999998</c:v>
                </c:pt>
                <c:pt idx="3232">
                  <c:v>0.84499999999999997</c:v>
                </c:pt>
                <c:pt idx="3233">
                  <c:v>0.95799999999999996</c:v>
                </c:pt>
                <c:pt idx="3234">
                  <c:v>0.754</c:v>
                </c:pt>
                <c:pt idx="3235">
                  <c:v>0.46100000000000002</c:v>
                </c:pt>
                <c:pt idx="3236">
                  <c:v>0.59199999999999997</c:v>
                </c:pt>
                <c:pt idx="3237">
                  <c:v>0.68799999999999994</c:v>
                </c:pt>
                <c:pt idx="3238">
                  <c:v>0.67700000000000005</c:v>
                </c:pt>
                <c:pt idx="3239">
                  <c:v>0.81499999999999995</c:v>
                </c:pt>
                <c:pt idx="3240">
                  <c:v>0.77800000000000002</c:v>
                </c:pt>
                <c:pt idx="3241">
                  <c:v>0.72499999999999998</c:v>
                </c:pt>
                <c:pt idx="3242">
                  <c:v>0.48699999999999999</c:v>
                </c:pt>
                <c:pt idx="3243">
                  <c:v>0.314</c:v>
                </c:pt>
                <c:pt idx="3244">
                  <c:v>0.91900000000000004</c:v>
                </c:pt>
                <c:pt idx="3245">
                  <c:v>0.96</c:v>
                </c:pt>
                <c:pt idx="3246">
                  <c:v>0.80700000000000005</c:v>
                </c:pt>
                <c:pt idx="3247">
                  <c:v>0.98699999999999999</c:v>
                </c:pt>
                <c:pt idx="3248">
                  <c:v>0.35199999999999998</c:v>
                </c:pt>
                <c:pt idx="3249">
                  <c:v>0.61</c:v>
                </c:pt>
                <c:pt idx="3250">
                  <c:v>0.374</c:v>
                </c:pt>
                <c:pt idx="3251">
                  <c:v>0.29399999999999998</c:v>
                </c:pt>
                <c:pt idx="3252">
                  <c:v>0.23300000000000001</c:v>
                </c:pt>
                <c:pt idx="3253">
                  <c:v>0.73899999999999999</c:v>
                </c:pt>
                <c:pt idx="3254">
                  <c:v>0.54800000000000004</c:v>
                </c:pt>
                <c:pt idx="3255">
                  <c:v>0.54200000000000004</c:v>
                </c:pt>
                <c:pt idx="3256">
                  <c:v>0.90300000000000002</c:v>
                </c:pt>
                <c:pt idx="3257">
                  <c:v>0.435</c:v>
                </c:pt>
                <c:pt idx="3258">
                  <c:v>0.51900000000000002</c:v>
                </c:pt>
                <c:pt idx="3259">
                  <c:v>0.88200000000000001</c:v>
                </c:pt>
                <c:pt idx="3260">
                  <c:v>0.53600000000000003</c:v>
                </c:pt>
                <c:pt idx="3261">
                  <c:v>0.54900000000000004</c:v>
                </c:pt>
                <c:pt idx="3262">
                  <c:v>0.34799999999999998</c:v>
                </c:pt>
                <c:pt idx="3263">
                  <c:v>0.91800000000000004</c:v>
                </c:pt>
                <c:pt idx="3264">
                  <c:v>0.56100000000000005</c:v>
                </c:pt>
                <c:pt idx="3265">
                  <c:v>0.434</c:v>
                </c:pt>
                <c:pt idx="3266">
                  <c:v>0.81100000000000005</c:v>
                </c:pt>
                <c:pt idx="3267">
                  <c:v>0.97099999999999997</c:v>
                </c:pt>
                <c:pt idx="3268">
                  <c:v>0.96299999999999997</c:v>
                </c:pt>
                <c:pt idx="3269">
                  <c:v>0.82399999999999995</c:v>
                </c:pt>
                <c:pt idx="3270">
                  <c:v>0.57899999999999996</c:v>
                </c:pt>
                <c:pt idx="3271">
                  <c:v>0.82499999999999996</c:v>
                </c:pt>
                <c:pt idx="3272">
                  <c:v>0.5</c:v>
                </c:pt>
                <c:pt idx="3273">
                  <c:v>0.75600000000000001</c:v>
                </c:pt>
                <c:pt idx="3274">
                  <c:v>2.7E-2</c:v>
                </c:pt>
                <c:pt idx="3275">
                  <c:v>0.63500000000000001</c:v>
                </c:pt>
                <c:pt idx="3276">
                  <c:v>0.6</c:v>
                </c:pt>
                <c:pt idx="3277">
                  <c:v>0.78600000000000003</c:v>
                </c:pt>
                <c:pt idx="3278">
                  <c:v>0.50700000000000001</c:v>
                </c:pt>
                <c:pt idx="3279">
                  <c:v>0.46899999999999997</c:v>
                </c:pt>
                <c:pt idx="3280">
                  <c:v>0.68899999999999995</c:v>
                </c:pt>
                <c:pt idx="3281">
                  <c:v>0.70599999999999996</c:v>
                </c:pt>
                <c:pt idx="3282">
                  <c:v>0.86099999999999999</c:v>
                </c:pt>
                <c:pt idx="3283">
                  <c:v>0.74099999999999999</c:v>
                </c:pt>
                <c:pt idx="3284">
                  <c:v>0.96399999999999997</c:v>
                </c:pt>
                <c:pt idx="3285">
                  <c:v>0.42599999999999999</c:v>
                </c:pt>
                <c:pt idx="3286">
                  <c:v>0.44900000000000001</c:v>
                </c:pt>
                <c:pt idx="3287">
                  <c:v>0.72899999999999998</c:v>
                </c:pt>
                <c:pt idx="3288">
                  <c:v>0.53300000000000003</c:v>
                </c:pt>
                <c:pt idx="3289">
                  <c:v>0.64100000000000001</c:v>
                </c:pt>
                <c:pt idx="3290">
                  <c:v>0.36199999999999999</c:v>
                </c:pt>
                <c:pt idx="3291">
                  <c:v>0.84</c:v>
                </c:pt>
                <c:pt idx="3292">
                  <c:v>0.33700000000000002</c:v>
                </c:pt>
                <c:pt idx="3293">
                  <c:v>0.81599999999999995</c:v>
                </c:pt>
                <c:pt idx="3294">
                  <c:v>0.77500000000000002</c:v>
                </c:pt>
                <c:pt idx="3295">
                  <c:v>0.93400000000000005</c:v>
                </c:pt>
                <c:pt idx="3296">
                  <c:v>0.88</c:v>
                </c:pt>
                <c:pt idx="3297">
                  <c:v>0.79900000000000004</c:v>
                </c:pt>
                <c:pt idx="3298">
                  <c:v>0.94199999999999995</c:v>
                </c:pt>
                <c:pt idx="3299">
                  <c:v>0.58199999999999996</c:v>
                </c:pt>
                <c:pt idx="3300">
                  <c:v>0.35299999999999998</c:v>
                </c:pt>
                <c:pt idx="3301">
                  <c:v>0.995</c:v>
                </c:pt>
                <c:pt idx="3302">
                  <c:v>0.89400000000000002</c:v>
                </c:pt>
                <c:pt idx="3303">
                  <c:v>1</c:v>
                </c:pt>
                <c:pt idx="3304">
                  <c:v>5.8000000000000003E-2</c:v>
                </c:pt>
                <c:pt idx="3305">
                  <c:v>0.95699999999999996</c:v>
                </c:pt>
                <c:pt idx="3306">
                  <c:v>0.45700000000000002</c:v>
                </c:pt>
                <c:pt idx="3307">
                  <c:v>0.66700000000000004</c:v>
                </c:pt>
                <c:pt idx="3308">
                  <c:v>0.67400000000000004</c:v>
                </c:pt>
                <c:pt idx="3309">
                  <c:v>0.76600000000000001</c:v>
                </c:pt>
                <c:pt idx="3310">
                  <c:v>0.52900000000000003</c:v>
                </c:pt>
                <c:pt idx="3311">
                  <c:v>0.63400000000000001</c:v>
                </c:pt>
                <c:pt idx="3312">
                  <c:v>0.80400000000000005</c:v>
                </c:pt>
                <c:pt idx="3313">
                  <c:v>0.19600000000000001</c:v>
                </c:pt>
                <c:pt idx="3314">
                  <c:v>0.41399999999999998</c:v>
                </c:pt>
                <c:pt idx="3315">
                  <c:v>0.64</c:v>
                </c:pt>
                <c:pt idx="3316">
                  <c:v>0.83</c:v>
                </c:pt>
                <c:pt idx="3317">
                  <c:v>0.53100000000000003</c:v>
                </c:pt>
                <c:pt idx="3318">
                  <c:v>0.90700000000000003</c:v>
                </c:pt>
                <c:pt idx="3319">
                  <c:v>0.90300000000000002</c:v>
                </c:pt>
                <c:pt idx="3320">
                  <c:v>0.82899999999999996</c:v>
                </c:pt>
                <c:pt idx="3321">
                  <c:v>0.60399999999999998</c:v>
                </c:pt>
                <c:pt idx="3322">
                  <c:v>4.5999999999999999E-2</c:v>
                </c:pt>
                <c:pt idx="3323">
                  <c:v>0.91600000000000004</c:v>
                </c:pt>
                <c:pt idx="3324">
                  <c:v>0.96899999999999997</c:v>
                </c:pt>
                <c:pt idx="3325">
                  <c:v>0.66</c:v>
                </c:pt>
                <c:pt idx="3326">
                  <c:v>0.81699999999999995</c:v>
                </c:pt>
                <c:pt idx="3327">
                  <c:v>0.27500000000000002</c:v>
                </c:pt>
                <c:pt idx="3328">
                  <c:v>0.878</c:v>
                </c:pt>
                <c:pt idx="3329">
                  <c:v>0.90800000000000003</c:v>
                </c:pt>
                <c:pt idx="3330">
                  <c:v>0.77600000000000002</c:v>
                </c:pt>
                <c:pt idx="3331">
                  <c:v>0.74299999999999999</c:v>
                </c:pt>
                <c:pt idx="3332">
                  <c:v>0.83</c:v>
                </c:pt>
                <c:pt idx="3333">
                  <c:v>0.67900000000000005</c:v>
                </c:pt>
                <c:pt idx="3334">
                  <c:v>0.65400000000000003</c:v>
                </c:pt>
                <c:pt idx="3335">
                  <c:v>0.72099999999999997</c:v>
                </c:pt>
                <c:pt idx="3336">
                  <c:v>0.29199999999999998</c:v>
                </c:pt>
                <c:pt idx="3337">
                  <c:v>0.77</c:v>
                </c:pt>
                <c:pt idx="3338">
                  <c:v>0.54300000000000004</c:v>
                </c:pt>
                <c:pt idx="3339">
                  <c:v>0.39900000000000002</c:v>
                </c:pt>
                <c:pt idx="3340">
                  <c:v>0.39500000000000002</c:v>
                </c:pt>
                <c:pt idx="3341">
                  <c:v>0.63600000000000001</c:v>
                </c:pt>
                <c:pt idx="3342">
                  <c:v>0.58699999999999997</c:v>
                </c:pt>
                <c:pt idx="3343">
                  <c:v>0.97699999999999998</c:v>
                </c:pt>
                <c:pt idx="3344">
                  <c:v>0.58899999999999997</c:v>
                </c:pt>
                <c:pt idx="3345">
                  <c:v>0.34200000000000003</c:v>
                </c:pt>
                <c:pt idx="3346">
                  <c:v>0.38900000000000001</c:v>
                </c:pt>
                <c:pt idx="3347">
                  <c:v>0.49</c:v>
                </c:pt>
                <c:pt idx="3348">
                  <c:v>0.754</c:v>
                </c:pt>
                <c:pt idx="3349">
                  <c:v>0.54800000000000004</c:v>
                </c:pt>
                <c:pt idx="3350">
                  <c:v>0.61399999999999999</c:v>
                </c:pt>
                <c:pt idx="3351">
                  <c:v>0.122</c:v>
                </c:pt>
                <c:pt idx="3352">
                  <c:v>0.625</c:v>
                </c:pt>
                <c:pt idx="3353">
                  <c:v>0.91200000000000003</c:v>
                </c:pt>
                <c:pt idx="3354">
                  <c:v>0.89400000000000002</c:v>
                </c:pt>
                <c:pt idx="3355">
                  <c:v>0.47799999999999998</c:v>
                </c:pt>
                <c:pt idx="3356">
                  <c:v>0.79200000000000004</c:v>
                </c:pt>
                <c:pt idx="3357">
                  <c:v>0.84</c:v>
                </c:pt>
                <c:pt idx="3358">
                  <c:v>0.65600000000000003</c:v>
                </c:pt>
                <c:pt idx="3359">
                  <c:v>0.186</c:v>
                </c:pt>
                <c:pt idx="3360">
                  <c:v>0.442</c:v>
                </c:pt>
                <c:pt idx="3361">
                  <c:v>0.77</c:v>
                </c:pt>
                <c:pt idx="3362">
                  <c:v>0.90100000000000002</c:v>
                </c:pt>
                <c:pt idx="3363">
                  <c:v>0.73199999999999998</c:v>
                </c:pt>
                <c:pt idx="3364">
                  <c:v>0.76900000000000002</c:v>
                </c:pt>
                <c:pt idx="3365">
                  <c:v>0.56299999999999994</c:v>
                </c:pt>
                <c:pt idx="3366">
                  <c:v>0.45700000000000002</c:v>
                </c:pt>
                <c:pt idx="3367">
                  <c:v>0.96599999999999997</c:v>
                </c:pt>
                <c:pt idx="3368">
                  <c:v>0.108</c:v>
                </c:pt>
                <c:pt idx="3369">
                  <c:v>0.84599999999999997</c:v>
                </c:pt>
                <c:pt idx="3370">
                  <c:v>0.626</c:v>
                </c:pt>
                <c:pt idx="3371">
                  <c:v>0.55900000000000005</c:v>
                </c:pt>
                <c:pt idx="3372">
                  <c:v>0.58099999999999996</c:v>
                </c:pt>
                <c:pt idx="3373">
                  <c:v>0.90900000000000003</c:v>
                </c:pt>
                <c:pt idx="3374">
                  <c:v>0.89400000000000002</c:v>
                </c:pt>
                <c:pt idx="3375">
                  <c:v>0.94</c:v>
                </c:pt>
                <c:pt idx="3376">
                  <c:v>0.67</c:v>
                </c:pt>
                <c:pt idx="3377">
                  <c:v>0.55700000000000005</c:v>
                </c:pt>
                <c:pt idx="3378">
                  <c:v>0.496</c:v>
                </c:pt>
                <c:pt idx="3379">
                  <c:v>0.85199999999999998</c:v>
                </c:pt>
                <c:pt idx="3380">
                  <c:v>0.20399999999999999</c:v>
                </c:pt>
                <c:pt idx="3381">
                  <c:v>0.66400000000000003</c:v>
                </c:pt>
                <c:pt idx="3382">
                  <c:v>0.39300000000000002</c:v>
                </c:pt>
                <c:pt idx="3383">
                  <c:v>0.54500000000000004</c:v>
                </c:pt>
                <c:pt idx="3384">
                  <c:v>0.64700000000000002</c:v>
                </c:pt>
                <c:pt idx="3385">
                  <c:v>0.33600000000000002</c:v>
                </c:pt>
                <c:pt idx="3386">
                  <c:v>0.77100000000000002</c:v>
                </c:pt>
                <c:pt idx="3387">
                  <c:v>0.69599999999999995</c:v>
                </c:pt>
                <c:pt idx="3388">
                  <c:v>0.56499999999999995</c:v>
                </c:pt>
                <c:pt idx="3389">
                  <c:v>0.93200000000000005</c:v>
                </c:pt>
                <c:pt idx="3390">
                  <c:v>0.71299999999999997</c:v>
                </c:pt>
                <c:pt idx="3391">
                  <c:v>0.82399999999999995</c:v>
                </c:pt>
                <c:pt idx="3392">
                  <c:v>0.70599999999999996</c:v>
                </c:pt>
                <c:pt idx="3393">
                  <c:v>0.16600000000000001</c:v>
                </c:pt>
                <c:pt idx="3394">
                  <c:v>0.52100000000000002</c:v>
                </c:pt>
                <c:pt idx="3395">
                  <c:v>0.96899999999999997</c:v>
                </c:pt>
                <c:pt idx="3396">
                  <c:v>0.79600000000000004</c:v>
                </c:pt>
                <c:pt idx="3397">
                  <c:v>0.81399999999999995</c:v>
                </c:pt>
                <c:pt idx="3398">
                  <c:v>0.52300000000000002</c:v>
                </c:pt>
                <c:pt idx="3399">
                  <c:v>0.82899999999999996</c:v>
                </c:pt>
                <c:pt idx="3400">
                  <c:v>0.78100000000000003</c:v>
                </c:pt>
                <c:pt idx="3401">
                  <c:v>0.94199999999999995</c:v>
                </c:pt>
                <c:pt idx="3402">
                  <c:v>0.56599999999999995</c:v>
                </c:pt>
                <c:pt idx="3403">
                  <c:v>0.58299999999999996</c:v>
                </c:pt>
                <c:pt idx="3404">
                  <c:v>0.432</c:v>
                </c:pt>
                <c:pt idx="3405">
                  <c:v>0.94599999999999995</c:v>
                </c:pt>
                <c:pt idx="3406">
                  <c:v>0.86199999999999999</c:v>
                </c:pt>
                <c:pt idx="3407">
                  <c:v>0.70299999999999996</c:v>
                </c:pt>
                <c:pt idx="3408">
                  <c:v>0.94199999999999995</c:v>
                </c:pt>
                <c:pt idx="3409">
                  <c:v>0.58499999999999996</c:v>
                </c:pt>
                <c:pt idx="3410">
                  <c:v>1</c:v>
                </c:pt>
                <c:pt idx="3411">
                  <c:v>0.74</c:v>
                </c:pt>
                <c:pt idx="3412">
                  <c:v>0.49</c:v>
                </c:pt>
                <c:pt idx="3413">
                  <c:v>0.70599999999999996</c:v>
                </c:pt>
                <c:pt idx="3414">
                  <c:v>0.35</c:v>
                </c:pt>
                <c:pt idx="3415">
                  <c:v>0.81799999999999995</c:v>
                </c:pt>
                <c:pt idx="3416">
                  <c:v>0.53500000000000003</c:v>
                </c:pt>
                <c:pt idx="3417">
                  <c:v>0.80800000000000005</c:v>
                </c:pt>
                <c:pt idx="3418">
                  <c:v>0.60399999999999998</c:v>
                </c:pt>
                <c:pt idx="3419">
                  <c:v>0.81899999999999995</c:v>
                </c:pt>
                <c:pt idx="3420">
                  <c:v>0.83599999999999997</c:v>
                </c:pt>
                <c:pt idx="3421">
                  <c:v>0.82</c:v>
                </c:pt>
                <c:pt idx="3422">
                  <c:v>0.72399999999999998</c:v>
                </c:pt>
                <c:pt idx="3423">
                  <c:v>0.192</c:v>
                </c:pt>
                <c:pt idx="3424">
                  <c:v>0.505</c:v>
                </c:pt>
                <c:pt idx="3425">
                  <c:v>0.45100000000000001</c:v>
                </c:pt>
                <c:pt idx="3426">
                  <c:v>0.39100000000000001</c:v>
                </c:pt>
                <c:pt idx="3427">
                  <c:v>0.58699999999999997</c:v>
                </c:pt>
                <c:pt idx="3428">
                  <c:v>0.42899999999999999</c:v>
                </c:pt>
                <c:pt idx="3429">
                  <c:v>0.92600000000000005</c:v>
                </c:pt>
                <c:pt idx="3430">
                  <c:v>0.41099999999999998</c:v>
                </c:pt>
                <c:pt idx="3431">
                  <c:v>0.61299999999999999</c:v>
                </c:pt>
                <c:pt idx="3432">
                  <c:v>0.94599999999999995</c:v>
                </c:pt>
                <c:pt idx="3433">
                  <c:v>0.91300000000000003</c:v>
                </c:pt>
                <c:pt idx="3434">
                  <c:v>0.63100000000000001</c:v>
                </c:pt>
                <c:pt idx="3435">
                  <c:v>0.748</c:v>
                </c:pt>
                <c:pt idx="3436">
                  <c:v>0.85</c:v>
                </c:pt>
                <c:pt idx="3437">
                  <c:v>0.29799999999999999</c:v>
                </c:pt>
                <c:pt idx="3438">
                  <c:v>0.84199999999999997</c:v>
                </c:pt>
                <c:pt idx="3439">
                  <c:v>0.52500000000000002</c:v>
                </c:pt>
                <c:pt idx="3440">
                  <c:v>0.59699999999999998</c:v>
                </c:pt>
                <c:pt idx="3441">
                  <c:v>0.63100000000000001</c:v>
                </c:pt>
                <c:pt idx="3442">
                  <c:v>0.81399999999999995</c:v>
                </c:pt>
                <c:pt idx="3443">
                  <c:v>0.5</c:v>
                </c:pt>
                <c:pt idx="3444">
                  <c:v>0.92500000000000004</c:v>
                </c:pt>
                <c:pt idx="3445">
                  <c:v>0.52800000000000002</c:v>
                </c:pt>
                <c:pt idx="3446">
                  <c:v>0.73399999999999999</c:v>
                </c:pt>
                <c:pt idx="3447">
                  <c:v>0.84699999999999998</c:v>
                </c:pt>
                <c:pt idx="3448">
                  <c:v>0.96399999999999997</c:v>
                </c:pt>
                <c:pt idx="3449">
                  <c:v>0.61</c:v>
                </c:pt>
                <c:pt idx="3450">
                  <c:v>0.52700000000000002</c:v>
                </c:pt>
                <c:pt idx="3451">
                  <c:v>0.96299999999999997</c:v>
                </c:pt>
                <c:pt idx="3452">
                  <c:v>0.76400000000000001</c:v>
                </c:pt>
                <c:pt idx="3453">
                  <c:v>0.85699999999999998</c:v>
                </c:pt>
                <c:pt idx="3454">
                  <c:v>0.53900000000000003</c:v>
                </c:pt>
                <c:pt idx="3455">
                  <c:v>0.752</c:v>
                </c:pt>
                <c:pt idx="3456">
                  <c:v>0.59099999999999997</c:v>
                </c:pt>
                <c:pt idx="3457">
                  <c:v>0.379</c:v>
                </c:pt>
                <c:pt idx="3458">
                  <c:v>0.90600000000000003</c:v>
                </c:pt>
                <c:pt idx="3459">
                  <c:v>0.93100000000000005</c:v>
                </c:pt>
                <c:pt idx="3460">
                  <c:v>0.18</c:v>
                </c:pt>
                <c:pt idx="3461">
                  <c:v>0.64700000000000002</c:v>
                </c:pt>
                <c:pt idx="3462">
                  <c:v>0.499</c:v>
                </c:pt>
                <c:pt idx="3463">
                  <c:v>0.92400000000000004</c:v>
                </c:pt>
                <c:pt idx="3464">
                  <c:v>0.64600000000000002</c:v>
                </c:pt>
                <c:pt idx="3465">
                  <c:v>0.497</c:v>
                </c:pt>
                <c:pt idx="3466">
                  <c:v>0.40300000000000002</c:v>
                </c:pt>
                <c:pt idx="3467">
                  <c:v>0.496</c:v>
                </c:pt>
                <c:pt idx="3468">
                  <c:v>0.68300000000000005</c:v>
                </c:pt>
                <c:pt idx="3469">
                  <c:v>0.85599999999999998</c:v>
                </c:pt>
                <c:pt idx="3470">
                  <c:v>0.96699999999999997</c:v>
                </c:pt>
                <c:pt idx="3471">
                  <c:v>0.67</c:v>
                </c:pt>
                <c:pt idx="3472">
                  <c:v>0.40899999999999997</c:v>
                </c:pt>
                <c:pt idx="3473">
                  <c:v>0.628</c:v>
                </c:pt>
                <c:pt idx="3474">
                  <c:v>0.67</c:v>
                </c:pt>
                <c:pt idx="3475">
                  <c:v>0.72299999999999998</c:v>
                </c:pt>
                <c:pt idx="3476">
                  <c:v>0.67400000000000004</c:v>
                </c:pt>
                <c:pt idx="3477">
                  <c:v>0.52900000000000003</c:v>
                </c:pt>
                <c:pt idx="3478">
                  <c:v>0.39600000000000002</c:v>
                </c:pt>
                <c:pt idx="3479">
                  <c:v>0.86699999999999999</c:v>
                </c:pt>
                <c:pt idx="3480">
                  <c:v>0.97199999999999998</c:v>
                </c:pt>
                <c:pt idx="3481">
                  <c:v>0.68400000000000005</c:v>
                </c:pt>
                <c:pt idx="3482">
                  <c:v>0.68300000000000005</c:v>
                </c:pt>
                <c:pt idx="3483">
                  <c:v>0.88100000000000001</c:v>
                </c:pt>
                <c:pt idx="3484">
                  <c:v>0.96699999999999997</c:v>
                </c:pt>
                <c:pt idx="3485">
                  <c:v>0.67100000000000004</c:v>
                </c:pt>
                <c:pt idx="3486">
                  <c:v>0.25</c:v>
                </c:pt>
                <c:pt idx="3487">
                  <c:v>0.63900000000000001</c:v>
                </c:pt>
                <c:pt idx="3488">
                  <c:v>0.503</c:v>
                </c:pt>
                <c:pt idx="3489">
                  <c:v>0.70099999999999996</c:v>
                </c:pt>
                <c:pt idx="3490">
                  <c:v>0.69599999999999995</c:v>
                </c:pt>
                <c:pt idx="3491">
                  <c:v>0.55800000000000005</c:v>
                </c:pt>
                <c:pt idx="3492">
                  <c:v>0.50900000000000001</c:v>
                </c:pt>
                <c:pt idx="3493">
                  <c:v>0.53</c:v>
                </c:pt>
                <c:pt idx="3494">
                  <c:v>0.92200000000000004</c:v>
                </c:pt>
                <c:pt idx="3495">
                  <c:v>0.83</c:v>
                </c:pt>
                <c:pt idx="3496">
                  <c:v>0.70599999999999996</c:v>
                </c:pt>
                <c:pt idx="3497">
                  <c:v>0.84499999999999997</c:v>
                </c:pt>
                <c:pt idx="3498">
                  <c:v>0.85899999999999999</c:v>
                </c:pt>
                <c:pt idx="3499">
                  <c:v>0.55500000000000005</c:v>
                </c:pt>
                <c:pt idx="3500">
                  <c:v>0.51400000000000001</c:v>
                </c:pt>
                <c:pt idx="3501">
                  <c:v>0.64400000000000002</c:v>
                </c:pt>
                <c:pt idx="3502">
                  <c:v>0.98399999999999999</c:v>
                </c:pt>
                <c:pt idx="3503">
                  <c:v>0.94799999999999995</c:v>
                </c:pt>
                <c:pt idx="3504">
                  <c:v>0.249</c:v>
                </c:pt>
                <c:pt idx="3505">
                  <c:v>0.186</c:v>
                </c:pt>
                <c:pt idx="3506">
                  <c:v>0.45400000000000001</c:v>
                </c:pt>
                <c:pt idx="3507">
                  <c:v>0.25700000000000001</c:v>
                </c:pt>
                <c:pt idx="3508">
                  <c:v>0.621</c:v>
                </c:pt>
                <c:pt idx="3509">
                  <c:v>0.65100000000000002</c:v>
                </c:pt>
                <c:pt idx="3510">
                  <c:v>0.496</c:v>
                </c:pt>
                <c:pt idx="3511">
                  <c:v>0.499</c:v>
                </c:pt>
                <c:pt idx="3512">
                  <c:v>0.64</c:v>
                </c:pt>
                <c:pt idx="3513">
                  <c:v>0.28499999999999998</c:v>
                </c:pt>
                <c:pt idx="3514">
                  <c:v>0.95099999999999996</c:v>
                </c:pt>
                <c:pt idx="3515">
                  <c:v>0.86099999999999999</c:v>
                </c:pt>
                <c:pt idx="3516">
                  <c:v>0.43</c:v>
                </c:pt>
                <c:pt idx="3517">
                  <c:v>0.91300000000000003</c:v>
                </c:pt>
                <c:pt idx="3518">
                  <c:v>0.83299999999999996</c:v>
                </c:pt>
                <c:pt idx="3519">
                  <c:v>0.32900000000000001</c:v>
                </c:pt>
                <c:pt idx="3520">
                  <c:v>0.89100000000000001</c:v>
                </c:pt>
                <c:pt idx="3521">
                  <c:v>0.68500000000000005</c:v>
                </c:pt>
                <c:pt idx="3522">
                  <c:v>0.78400000000000003</c:v>
                </c:pt>
                <c:pt idx="3523">
                  <c:v>0.91300000000000003</c:v>
                </c:pt>
                <c:pt idx="3524">
                  <c:v>0.67500000000000004</c:v>
                </c:pt>
                <c:pt idx="3525">
                  <c:v>0.49299999999999999</c:v>
                </c:pt>
                <c:pt idx="3526">
                  <c:v>0.91700000000000004</c:v>
                </c:pt>
                <c:pt idx="3527">
                  <c:v>0.5</c:v>
                </c:pt>
                <c:pt idx="3528">
                  <c:v>0.25</c:v>
                </c:pt>
                <c:pt idx="3529">
                  <c:v>0.504</c:v>
                </c:pt>
                <c:pt idx="3530">
                  <c:v>0.59799999999999998</c:v>
                </c:pt>
                <c:pt idx="3531">
                  <c:v>0.70199999999999996</c:v>
                </c:pt>
                <c:pt idx="3532">
                  <c:v>0.64500000000000002</c:v>
                </c:pt>
                <c:pt idx="3533">
                  <c:v>0.65200000000000002</c:v>
                </c:pt>
                <c:pt idx="3534">
                  <c:v>0.73499999999999999</c:v>
                </c:pt>
                <c:pt idx="3535">
                  <c:v>0.53700000000000003</c:v>
                </c:pt>
                <c:pt idx="3536">
                  <c:v>0.58299999999999996</c:v>
                </c:pt>
                <c:pt idx="3537">
                  <c:v>0.223</c:v>
                </c:pt>
                <c:pt idx="3538">
                  <c:v>0.66600000000000004</c:v>
                </c:pt>
                <c:pt idx="3539">
                  <c:v>0.53700000000000003</c:v>
                </c:pt>
                <c:pt idx="3540">
                  <c:v>0.40699999999999997</c:v>
                </c:pt>
                <c:pt idx="3541">
                  <c:v>0.95899999999999996</c:v>
                </c:pt>
                <c:pt idx="3542">
                  <c:v>0.879</c:v>
                </c:pt>
                <c:pt idx="3543">
                  <c:v>0.77800000000000002</c:v>
                </c:pt>
                <c:pt idx="3544">
                  <c:v>0.44600000000000001</c:v>
                </c:pt>
                <c:pt idx="3545">
                  <c:v>0.83599999999999997</c:v>
                </c:pt>
                <c:pt idx="3546">
                  <c:v>0.52300000000000002</c:v>
                </c:pt>
                <c:pt idx="3547">
                  <c:v>0.312</c:v>
                </c:pt>
                <c:pt idx="3548">
                  <c:v>0.55400000000000005</c:v>
                </c:pt>
                <c:pt idx="3549">
                  <c:v>0.84</c:v>
                </c:pt>
                <c:pt idx="3550">
                  <c:v>0.44900000000000001</c:v>
                </c:pt>
                <c:pt idx="3551">
                  <c:v>0.91700000000000004</c:v>
                </c:pt>
                <c:pt idx="3552">
                  <c:v>0.52500000000000002</c:v>
                </c:pt>
                <c:pt idx="3553">
                  <c:v>0.67800000000000005</c:v>
                </c:pt>
                <c:pt idx="3554">
                  <c:v>0.55900000000000005</c:v>
                </c:pt>
                <c:pt idx="3555">
                  <c:v>0.55100000000000005</c:v>
                </c:pt>
                <c:pt idx="3556">
                  <c:v>0.66</c:v>
                </c:pt>
                <c:pt idx="3557">
                  <c:v>0.55200000000000005</c:v>
                </c:pt>
                <c:pt idx="3558">
                  <c:v>0.90500000000000003</c:v>
                </c:pt>
                <c:pt idx="3559">
                  <c:v>0.46400000000000002</c:v>
                </c:pt>
                <c:pt idx="3560">
                  <c:v>0.877</c:v>
                </c:pt>
                <c:pt idx="3561">
                  <c:v>0.52900000000000003</c:v>
                </c:pt>
                <c:pt idx="3562">
                  <c:v>0.82099999999999995</c:v>
                </c:pt>
                <c:pt idx="3563">
                  <c:v>0.94699999999999995</c:v>
                </c:pt>
                <c:pt idx="3564">
                  <c:v>0.48499999999999999</c:v>
                </c:pt>
                <c:pt idx="3565">
                  <c:v>0.28599999999999998</c:v>
                </c:pt>
                <c:pt idx="3566">
                  <c:v>0.34499999999999997</c:v>
                </c:pt>
                <c:pt idx="3567">
                  <c:v>0.23699999999999999</c:v>
                </c:pt>
                <c:pt idx="3568">
                  <c:v>0.27900000000000003</c:v>
                </c:pt>
                <c:pt idx="3569">
                  <c:v>0.58399999999999996</c:v>
                </c:pt>
                <c:pt idx="3570">
                  <c:v>0.93899999999999995</c:v>
                </c:pt>
                <c:pt idx="3571">
                  <c:v>0.438</c:v>
                </c:pt>
                <c:pt idx="3572">
                  <c:v>0.371</c:v>
                </c:pt>
                <c:pt idx="3573">
                  <c:v>0.82899999999999996</c:v>
                </c:pt>
                <c:pt idx="3574">
                  <c:v>0.52600000000000002</c:v>
                </c:pt>
                <c:pt idx="3575">
                  <c:v>0.55500000000000005</c:v>
                </c:pt>
                <c:pt idx="3576">
                  <c:v>6.7000000000000004E-2</c:v>
                </c:pt>
                <c:pt idx="3577">
                  <c:v>0.29499999999999998</c:v>
                </c:pt>
                <c:pt idx="3578">
                  <c:v>0.45400000000000001</c:v>
                </c:pt>
                <c:pt idx="3579">
                  <c:v>0.34599999999999997</c:v>
                </c:pt>
                <c:pt idx="3580">
                  <c:v>1</c:v>
                </c:pt>
                <c:pt idx="3581">
                  <c:v>0.96799999999999997</c:v>
                </c:pt>
                <c:pt idx="3582">
                  <c:v>0.438</c:v>
                </c:pt>
                <c:pt idx="3583">
                  <c:v>0.46600000000000003</c:v>
                </c:pt>
                <c:pt idx="3584">
                  <c:v>0.90500000000000003</c:v>
                </c:pt>
                <c:pt idx="3585">
                  <c:v>0.61799999999999999</c:v>
                </c:pt>
                <c:pt idx="3586">
                  <c:v>0.76100000000000001</c:v>
                </c:pt>
                <c:pt idx="3587">
                  <c:v>0.57799999999999996</c:v>
                </c:pt>
                <c:pt idx="3588">
                  <c:v>0.61799999999999999</c:v>
                </c:pt>
                <c:pt idx="3589">
                  <c:v>0.55400000000000005</c:v>
                </c:pt>
                <c:pt idx="3590">
                  <c:v>0.68799999999999994</c:v>
                </c:pt>
                <c:pt idx="3591">
                  <c:v>0.66500000000000004</c:v>
                </c:pt>
                <c:pt idx="3592">
                  <c:v>0.97899999999999998</c:v>
                </c:pt>
                <c:pt idx="3593">
                  <c:v>0.433</c:v>
                </c:pt>
                <c:pt idx="3594">
                  <c:v>0.50600000000000001</c:v>
                </c:pt>
                <c:pt idx="3595">
                  <c:v>0.92</c:v>
                </c:pt>
                <c:pt idx="3596">
                  <c:v>0.34599999999999997</c:v>
                </c:pt>
                <c:pt idx="3597">
                  <c:v>0.32900000000000001</c:v>
                </c:pt>
                <c:pt idx="3598">
                  <c:v>0.98099999999999998</c:v>
                </c:pt>
                <c:pt idx="3599">
                  <c:v>0.57199999999999995</c:v>
                </c:pt>
                <c:pt idx="3600">
                  <c:v>0.39600000000000002</c:v>
                </c:pt>
                <c:pt idx="3601">
                  <c:v>0.92900000000000005</c:v>
                </c:pt>
                <c:pt idx="3602">
                  <c:v>0.36</c:v>
                </c:pt>
                <c:pt idx="3603">
                  <c:v>0.56299999999999994</c:v>
                </c:pt>
                <c:pt idx="3604">
                  <c:v>0.71699999999999997</c:v>
                </c:pt>
                <c:pt idx="3605">
                  <c:v>0.78400000000000003</c:v>
                </c:pt>
                <c:pt idx="3606">
                  <c:v>0.43</c:v>
                </c:pt>
                <c:pt idx="3607">
                  <c:v>0.51300000000000001</c:v>
                </c:pt>
                <c:pt idx="3608">
                  <c:v>0.88500000000000001</c:v>
                </c:pt>
                <c:pt idx="3609">
                  <c:v>0.54100000000000004</c:v>
                </c:pt>
                <c:pt idx="3610">
                  <c:v>0.79300000000000004</c:v>
                </c:pt>
                <c:pt idx="3611">
                  <c:v>0.46899999999999997</c:v>
                </c:pt>
                <c:pt idx="3612">
                  <c:v>0.82399999999999995</c:v>
                </c:pt>
                <c:pt idx="3613">
                  <c:v>0.69499999999999995</c:v>
                </c:pt>
                <c:pt idx="3614">
                  <c:v>0.78500000000000003</c:v>
                </c:pt>
                <c:pt idx="3615">
                  <c:v>0.19700000000000001</c:v>
                </c:pt>
                <c:pt idx="3616">
                  <c:v>0.70399999999999996</c:v>
                </c:pt>
                <c:pt idx="3617">
                  <c:v>0.35799999999999998</c:v>
                </c:pt>
                <c:pt idx="3618">
                  <c:v>0.64200000000000002</c:v>
                </c:pt>
                <c:pt idx="3619">
                  <c:v>0.11</c:v>
                </c:pt>
                <c:pt idx="3620">
                  <c:v>0.54300000000000004</c:v>
                </c:pt>
                <c:pt idx="3621">
                  <c:v>0.91</c:v>
                </c:pt>
                <c:pt idx="3622">
                  <c:v>0.32700000000000001</c:v>
                </c:pt>
                <c:pt idx="3623">
                  <c:v>0.873</c:v>
                </c:pt>
                <c:pt idx="3624">
                  <c:v>0.83099999999999996</c:v>
                </c:pt>
                <c:pt idx="3625">
                  <c:v>0.79300000000000004</c:v>
                </c:pt>
                <c:pt idx="3626">
                  <c:v>0.55300000000000005</c:v>
                </c:pt>
                <c:pt idx="3627">
                  <c:v>0.56100000000000005</c:v>
                </c:pt>
                <c:pt idx="3628">
                  <c:v>0.871</c:v>
                </c:pt>
                <c:pt idx="3629">
                  <c:v>0.95399999999999996</c:v>
                </c:pt>
                <c:pt idx="3630">
                  <c:v>0.43099999999999999</c:v>
                </c:pt>
                <c:pt idx="3631">
                  <c:v>0.26700000000000002</c:v>
                </c:pt>
                <c:pt idx="3632">
                  <c:v>0.95299999999999996</c:v>
                </c:pt>
                <c:pt idx="3633">
                  <c:v>0.93300000000000005</c:v>
                </c:pt>
                <c:pt idx="3634">
                  <c:v>0.92800000000000005</c:v>
                </c:pt>
                <c:pt idx="3635">
                  <c:v>0.84599999999999997</c:v>
                </c:pt>
                <c:pt idx="3636">
                  <c:v>0.72599999999999998</c:v>
                </c:pt>
                <c:pt idx="3637">
                  <c:v>0.77100000000000002</c:v>
                </c:pt>
                <c:pt idx="3638">
                  <c:v>0.73</c:v>
                </c:pt>
                <c:pt idx="3639">
                  <c:v>0.69299999999999995</c:v>
                </c:pt>
                <c:pt idx="3640">
                  <c:v>0.68200000000000005</c:v>
                </c:pt>
                <c:pt idx="3641">
                  <c:v>0.78200000000000003</c:v>
                </c:pt>
                <c:pt idx="3642">
                  <c:v>0.89600000000000002</c:v>
                </c:pt>
                <c:pt idx="3643">
                  <c:v>0.51700000000000002</c:v>
                </c:pt>
                <c:pt idx="3644">
                  <c:v>0.871</c:v>
                </c:pt>
                <c:pt idx="3645">
                  <c:v>0.20100000000000001</c:v>
                </c:pt>
                <c:pt idx="3646">
                  <c:v>0.99399999999999999</c:v>
                </c:pt>
                <c:pt idx="3647">
                  <c:v>0.81200000000000006</c:v>
                </c:pt>
                <c:pt idx="3648">
                  <c:v>0.52300000000000002</c:v>
                </c:pt>
                <c:pt idx="3649">
                  <c:v>0.95299999999999996</c:v>
                </c:pt>
                <c:pt idx="3650">
                  <c:v>0.71</c:v>
                </c:pt>
                <c:pt idx="3651">
                  <c:v>0.60199999999999998</c:v>
                </c:pt>
                <c:pt idx="3652">
                  <c:v>0.307</c:v>
                </c:pt>
                <c:pt idx="3653">
                  <c:v>0.97699999999999998</c:v>
                </c:pt>
                <c:pt idx="3654">
                  <c:v>0.36599999999999999</c:v>
                </c:pt>
                <c:pt idx="3655">
                  <c:v>0.45800000000000002</c:v>
                </c:pt>
                <c:pt idx="3656">
                  <c:v>0.92</c:v>
                </c:pt>
                <c:pt idx="3657">
                  <c:v>0.371</c:v>
                </c:pt>
                <c:pt idx="3658">
                  <c:v>0.57899999999999996</c:v>
                </c:pt>
                <c:pt idx="3659">
                  <c:v>0.59</c:v>
                </c:pt>
                <c:pt idx="3660">
                  <c:v>0.57299999999999995</c:v>
                </c:pt>
                <c:pt idx="3661">
                  <c:v>0.80300000000000005</c:v>
                </c:pt>
                <c:pt idx="3662">
                  <c:v>0.72499999999999998</c:v>
                </c:pt>
                <c:pt idx="3663">
                  <c:v>0.72399999999999998</c:v>
                </c:pt>
                <c:pt idx="3664">
                  <c:v>0.872</c:v>
                </c:pt>
                <c:pt idx="3665">
                  <c:v>0.20100000000000001</c:v>
                </c:pt>
                <c:pt idx="3666">
                  <c:v>0.95699999999999996</c:v>
                </c:pt>
                <c:pt idx="3667">
                  <c:v>0.97</c:v>
                </c:pt>
                <c:pt idx="3668">
                  <c:v>0.66400000000000003</c:v>
                </c:pt>
                <c:pt idx="3669">
                  <c:v>0.65800000000000003</c:v>
                </c:pt>
                <c:pt idx="3670">
                  <c:v>0.42499999999999999</c:v>
                </c:pt>
                <c:pt idx="3671">
                  <c:v>0.78100000000000003</c:v>
                </c:pt>
                <c:pt idx="3672">
                  <c:v>0.746</c:v>
                </c:pt>
                <c:pt idx="3673">
                  <c:v>0.68300000000000005</c:v>
                </c:pt>
                <c:pt idx="3674">
                  <c:v>0.46300000000000002</c:v>
                </c:pt>
                <c:pt idx="3675">
                  <c:v>0.51900000000000002</c:v>
                </c:pt>
                <c:pt idx="3676">
                  <c:v>0.95499999999999996</c:v>
                </c:pt>
                <c:pt idx="3677">
                  <c:v>0.874</c:v>
                </c:pt>
                <c:pt idx="3678">
                  <c:v>0.78</c:v>
                </c:pt>
                <c:pt idx="3679">
                  <c:v>0.502</c:v>
                </c:pt>
                <c:pt idx="3680">
                  <c:v>0.81499999999999995</c:v>
                </c:pt>
                <c:pt idx="3681">
                  <c:v>0.58699999999999997</c:v>
                </c:pt>
                <c:pt idx="3682">
                  <c:v>0.88700000000000001</c:v>
                </c:pt>
                <c:pt idx="3683">
                  <c:v>0.23200000000000001</c:v>
                </c:pt>
                <c:pt idx="3684">
                  <c:v>0.33200000000000002</c:v>
                </c:pt>
                <c:pt idx="3685">
                  <c:v>0.63600000000000001</c:v>
                </c:pt>
                <c:pt idx="3686">
                  <c:v>0.27900000000000003</c:v>
                </c:pt>
                <c:pt idx="3687">
                  <c:v>0.67700000000000005</c:v>
                </c:pt>
                <c:pt idx="3688">
                  <c:v>0.76600000000000001</c:v>
                </c:pt>
                <c:pt idx="3689">
                  <c:v>0.82599999999999996</c:v>
                </c:pt>
                <c:pt idx="3690">
                  <c:v>0.58699999999999997</c:v>
                </c:pt>
                <c:pt idx="3691">
                  <c:v>0.495</c:v>
                </c:pt>
                <c:pt idx="3692">
                  <c:v>0.56499999999999995</c:v>
                </c:pt>
                <c:pt idx="3693">
                  <c:v>0.70099999999999996</c:v>
                </c:pt>
                <c:pt idx="3694">
                  <c:v>0.72599999999999998</c:v>
                </c:pt>
                <c:pt idx="3695">
                  <c:v>0.89900000000000002</c:v>
                </c:pt>
                <c:pt idx="3696">
                  <c:v>0.86</c:v>
                </c:pt>
                <c:pt idx="3697">
                  <c:v>0.873</c:v>
                </c:pt>
                <c:pt idx="3698">
                  <c:v>0.55200000000000005</c:v>
                </c:pt>
                <c:pt idx="3699">
                  <c:v>0.33400000000000002</c:v>
                </c:pt>
                <c:pt idx="3700">
                  <c:v>0.30499999999999999</c:v>
                </c:pt>
                <c:pt idx="3701">
                  <c:v>0.42899999999999999</c:v>
                </c:pt>
                <c:pt idx="3702">
                  <c:v>0.161</c:v>
                </c:pt>
                <c:pt idx="3703">
                  <c:v>0.51400000000000001</c:v>
                </c:pt>
                <c:pt idx="3704">
                  <c:v>0.374</c:v>
                </c:pt>
                <c:pt idx="3705">
                  <c:v>0.628</c:v>
                </c:pt>
                <c:pt idx="3706">
                  <c:v>0.35699999999999998</c:v>
                </c:pt>
                <c:pt idx="3707">
                  <c:v>0.97899999999999998</c:v>
                </c:pt>
                <c:pt idx="3708">
                  <c:v>0.90900000000000003</c:v>
                </c:pt>
                <c:pt idx="3709">
                  <c:v>0.81299999999999994</c:v>
                </c:pt>
                <c:pt idx="3710">
                  <c:v>0.33</c:v>
                </c:pt>
                <c:pt idx="3711">
                  <c:v>0.79500000000000004</c:v>
                </c:pt>
                <c:pt idx="3712">
                  <c:v>0.97099999999999997</c:v>
                </c:pt>
                <c:pt idx="3713">
                  <c:v>0.45800000000000002</c:v>
                </c:pt>
                <c:pt idx="3714">
                  <c:v>0.47399999999999998</c:v>
                </c:pt>
                <c:pt idx="3715">
                  <c:v>0.40300000000000002</c:v>
                </c:pt>
                <c:pt idx="3716">
                  <c:v>0.76600000000000001</c:v>
                </c:pt>
                <c:pt idx="3717">
                  <c:v>0.745</c:v>
                </c:pt>
                <c:pt idx="3718">
                  <c:v>0.53300000000000003</c:v>
                </c:pt>
                <c:pt idx="3719">
                  <c:v>0.91200000000000003</c:v>
                </c:pt>
                <c:pt idx="3720">
                  <c:v>0.79400000000000004</c:v>
                </c:pt>
                <c:pt idx="3721">
                  <c:v>0.27700000000000002</c:v>
                </c:pt>
                <c:pt idx="3722">
                  <c:v>0.42</c:v>
                </c:pt>
                <c:pt idx="3723">
                  <c:v>0.41099999999999998</c:v>
                </c:pt>
                <c:pt idx="3724">
                  <c:v>0.89300000000000002</c:v>
                </c:pt>
                <c:pt idx="3725">
                  <c:v>0.79</c:v>
                </c:pt>
                <c:pt idx="3726">
                  <c:v>0.91600000000000004</c:v>
                </c:pt>
                <c:pt idx="3727">
                  <c:v>0.42299999999999999</c:v>
                </c:pt>
                <c:pt idx="3728">
                  <c:v>0.39900000000000002</c:v>
                </c:pt>
                <c:pt idx="3729">
                  <c:v>0.48899999999999999</c:v>
                </c:pt>
                <c:pt idx="3730">
                  <c:v>0.96399999999999997</c:v>
                </c:pt>
                <c:pt idx="3731">
                  <c:v>0.312</c:v>
                </c:pt>
                <c:pt idx="3732">
                  <c:v>0.69599999999999995</c:v>
                </c:pt>
                <c:pt idx="3733">
                  <c:v>0.68500000000000005</c:v>
                </c:pt>
                <c:pt idx="3734">
                  <c:v>0.51200000000000001</c:v>
                </c:pt>
                <c:pt idx="3735">
                  <c:v>0.78</c:v>
                </c:pt>
                <c:pt idx="3736">
                  <c:v>0.48499999999999999</c:v>
                </c:pt>
                <c:pt idx="3737">
                  <c:v>0.69</c:v>
                </c:pt>
                <c:pt idx="3738">
                  <c:v>0.878</c:v>
                </c:pt>
                <c:pt idx="3739">
                  <c:v>0.58099999999999996</c:v>
                </c:pt>
                <c:pt idx="3740">
                  <c:v>0.96099999999999997</c:v>
                </c:pt>
                <c:pt idx="3741">
                  <c:v>0.79700000000000004</c:v>
                </c:pt>
                <c:pt idx="3742">
                  <c:v>0.61499999999999999</c:v>
                </c:pt>
                <c:pt idx="3743">
                  <c:v>0.45100000000000001</c:v>
                </c:pt>
                <c:pt idx="3744">
                  <c:v>0.126</c:v>
                </c:pt>
                <c:pt idx="3745">
                  <c:v>0.59399999999999997</c:v>
                </c:pt>
                <c:pt idx="3746">
                  <c:v>0.71699999999999997</c:v>
                </c:pt>
                <c:pt idx="3747">
                  <c:v>0.55800000000000005</c:v>
                </c:pt>
                <c:pt idx="3748">
                  <c:v>0.86799999999999999</c:v>
                </c:pt>
                <c:pt idx="3749">
                  <c:v>0.7</c:v>
                </c:pt>
                <c:pt idx="3750">
                  <c:v>0.871</c:v>
                </c:pt>
                <c:pt idx="3751">
                  <c:v>0.72899999999999998</c:v>
                </c:pt>
                <c:pt idx="3752">
                  <c:v>0.745</c:v>
                </c:pt>
                <c:pt idx="3753">
                  <c:v>0.19700000000000001</c:v>
                </c:pt>
                <c:pt idx="3754">
                  <c:v>0.755</c:v>
                </c:pt>
                <c:pt idx="3755">
                  <c:v>0.84699999999999998</c:v>
                </c:pt>
                <c:pt idx="3756">
                  <c:v>0.59299999999999997</c:v>
                </c:pt>
                <c:pt idx="3757">
                  <c:v>0.94599999999999995</c:v>
                </c:pt>
                <c:pt idx="3758">
                  <c:v>0.745</c:v>
                </c:pt>
                <c:pt idx="3759">
                  <c:v>0.755</c:v>
                </c:pt>
                <c:pt idx="3760">
                  <c:v>0.64600000000000002</c:v>
                </c:pt>
                <c:pt idx="3761">
                  <c:v>0.86099999999999999</c:v>
                </c:pt>
                <c:pt idx="3762">
                  <c:v>0.54500000000000004</c:v>
                </c:pt>
                <c:pt idx="3763">
                  <c:v>0.72</c:v>
                </c:pt>
                <c:pt idx="3764">
                  <c:v>0.60599999999999998</c:v>
                </c:pt>
                <c:pt idx="3765">
                  <c:v>0.29299999999999998</c:v>
                </c:pt>
                <c:pt idx="3766">
                  <c:v>0.98099999999999998</c:v>
                </c:pt>
                <c:pt idx="3767">
                  <c:v>0.871</c:v>
                </c:pt>
                <c:pt idx="3768">
                  <c:v>0.35699999999999998</c:v>
                </c:pt>
                <c:pt idx="3769">
                  <c:v>0.44800000000000001</c:v>
                </c:pt>
                <c:pt idx="3770">
                  <c:v>0.54400000000000004</c:v>
                </c:pt>
                <c:pt idx="3771">
                  <c:v>0.85299999999999998</c:v>
                </c:pt>
                <c:pt idx="3772">
                  <c:v>0.40799999999999997</c:v>
                </c:pt>
                <c:pt idx="3773">
                  <c:v>0.55900000000000005</c:v>
                </c:pt>
                <c:pt idx="3774">
                  <c:v>0.82899999999999996</c:v>
                </c:pt>
                <c:pt idx="3775">
                  <c:v>0.52</c:v>
                </c:pt>
                <c:pt idx="3776">
                  <c:v>0.97699999999999998</c:v>
                </c:pt>
                <c:pt idx="3777">
                  <c:v>0.44700000000000001</c:v>
                </c:pt>
                <c:pt idx="3778">
                  <c:v>0.753</c:v>
                </c:pt>
                <c:pt idx="3779">
                  <c:v>0.55000000000000004</c:v>
                </c:pt>
                <c:pt idx="3780">
                  <c:v>0.91500000000000004</c:v>
                </c:pt>
                <c:pt idx="3781">
                  <c:v>0.66100000000000003</c:v>
                </c:pt>
                <c:pt idx="3782">
                  <c:v>0.57799999999999996</c:v>
                </c:pt>
                <c:pt idx="3783">
                  <c:v>0.435</c:v>
                </c:pt>
                <c:pt idx="3784">
                  <c:v>0.73799999999999999</c:v>
                </c:pt>
                <c:pt idx="3785">
                  <c:v>0.36099999999999999</c:v>
                </c:pt>
                <c:pt idx="3786">
                  <c:v>0.85499999999999998</c:v>
                </c:pt>
                <c:pt idx="3787">
                  <c:v>0.442</c:v>
                </c:pt>
                <c:pt idx="3788">
                  <c:v>0.89100000000000001</c:v>
                </c:pt>
                <c:pt idx="3789">
                  <c:v>0.59299999999999997</c:v>
                </c:pt>
                <c:pt idx="3790">
                  <c:v>0.72699999999999998</c:v>
                </c:pt>
                <c:pt idx="3791">
                  <c:v>0.28599999999999998</c:v>
                </c:pt>
                <c:pt idx="3792">
                  <c:v>0.72799999999999998</c:v>
                </c:pt>
                <c:pt idx="3793">
                  <c:v>0.44900000000000001</c:v>
                </c:pt>
                <c:pt idx="3794">
                  <c:v>0.91600000000000004</c:v>
                </c:pt>
                <c:pt idx="3795">
                  <c:v>0.98199999999999998</c:v>
                </c:pt>
                <c:pt idx="3796">
                  <c:v>0.65500000000000003</c:v>
                </c:pt>
                <c:pt idx="3797">
                  <c:v>0.26100000000000001</c:v>
                </c:pt>
                <c:pt idx="3798">
                  <c:v>0.65300000000000002</c:v>
                </c:pt>
                <c:pt idx="3799">
                  <c:v>0.65600000000000003</c:v>
                </c:pt>
                <c:pt idx="3800">
                  <c:v>0.95299999999999996</c:v>
                </c:pt>
                <c:pt idx="3801">
                  <c:v>0.84399999999999997</c:v>
                </c:pt>
                <c:pt idx="3802">
                  <c:v>0.82</c:v>
                </c:pt>
                <c:pt idx="3803">
                  <c:v>0.50900000000000001</c:v>
                </c:pt>
                <c:pt idx="3804">
                  <c:v>0.35899999999999999</c:v>
                </c:pt>
                <c:pt idx="3805">
                  <c:v>0.66900000000000004</c:v>
                </c:pt>
                <c:pt idx="3806">
                  <c:v>0.623</c:v>
                </c:pt>
                <c:pt idx="3807">
                  <c:v>0.78100000000000003</c:v>
                </c:pt>
                <c:pt idx="3808">
                  <c:v>0.49199999999999999</c:v>
                </c:pt>
                <c:pt idx="3809">
                  <c:v>0.91100000000000003</c:v>
                </c:pt>
                <c:pt idx="3810">
                  <c:v>0.92700000000000005</c:v>
                </c:pt>
                <c:pt idx="3811">
                  <c:v>0.68</c:v>
                </c:pt>
                <c:pt idx="3812">
                  <c:v>0.46700000000000003</c:v>
                </c:pt>
                <c:pt idx="3813">
                  <c:v>0.54100000000000004</c:v>
                </c:pt>
                <c:pt idx="3814">
                  <c:v>0.53500000000000003</c:v>
                </c:pt>
                <c:pt idx="3815">
                  <c:v>0.72399999999999998</c:v>
                </c:pt>
                <c:pt idx="3816">
                  <c:v>0.627</c:v>
                </c:pt>
                <c:pt idx="3817">
                  <c:v>0.61499999999999999</c:v>
                </c:pt>
                <c:pt idx="3818">
                  <c:v>5.1999999999999998E-2</c:v>
                </c:pt>
                <c:pt idx="3819">
                  <c:v>7.1999999999999995E-2</c:v>
                </c:pt>
                <c:pt idx="3820">
                  <c:v>0.88800000000000001</c:v>
                </c:pt>
                <c:pt idx="3821">
                  <c:v>0.192</c:v>
                </c:pt>
                <c:pt idx="3822">
                  <c:v>0.65900000000000003</c:v>
                </c:pt>
                <c:pt idx="3823">
                  <c:v>0.79900000000000004</c:v>
                </c:pt>
                <c:pt idx="3824">
                  <c:v>0.61299999999999999</c:v>
                </c:pt>
                <c:pt idx="3825">
                  <c:v>0.95</c:v>
                </c:pt>
                <c:pt idx="3826">
                  <c:v>0.84799999999999998</c:v>
                </c:pt>
                <c:pt idx="3827">
                  <c:v>0.83899999999999997</c:v>
                </c:pt>
                <c:pt idx="3828">
                  <c:v>0.58499999999999996</c:v>
                </c:pt>
                <c:pt idx="3829">
                  <c:v>0.47</c:v>
                </c:pt>
                <c:pt idx="3830">
                  <c:v>0.249</c:v>
                </c:pt>
                <c:pt idx="3831">
                  <c:v>0.68799999999999994</c:v>
                </c:pt>
                <c:pt idx="3832">
                  <c:v>0.315</c:v>
                </c:pt>
                <c:pt idx="3833">
                  <c:v>0.95399999999999996</c:v>
                </c:pt>
                <c:pt idx="3834">
                  <c:v>0.89100000000000001</c:v>
                </c:pt>
                <c:pt idx="3835">
                  <c:v>0.49399999999999999</c:v>
                </c:pt>
                <c:pt idx="3836">
                  <c:v>0.373</c:v>
                </c:pt>
                <c:pt idx="3837">
                  <c:v>0.66400000000000003</c:v>
                </c:pt>
                <c:pt idx="3838">
                  <c:v>0.32700000000000001</c:v>
                </c:pt>
                <c:pt idx="3839">
                  <c:v>0.45500000000000002</c:v>
                </c:pt>
                <c:pt idx="3840">
                  <c:v>0.218</c:v>
                </c:pt>
                <c:pt idx="3841">
                  <c:v>0.33300000000000002</c:v>
                </c:pt>
                <c:pt idx="3842">
                  <c:v>0.50900000000000001</c:v>
                </c:pt>
                <c:pt idx="3843">
                  <c:v>0.57099999999999995</c:v>
                </c:pt>
                <c:pt idx="3844">
                  <c:v>0.92800000000000005</c:v>
                </c:pt>
                <c:pt idx="3845">
                  <c:v>0.93899999999999995</c:v>
                </c:pt>
                <c:pt idx="3846">
                  <c:v>0.52</c:v>
                </c:pt>
                <c:pt idx="3847">
                  <c:v>0.93200000000000005</c:v>
                </c:pt>
                <c:pt idx="3848">
                  <c:v>0.45500000000000002</c:v>
                </c:pt>
                <c:pt idx="3849">
                  <c:v>0.60699999999999998</c:v>
                </c:pt>
                <c:pt idx="3850">
                  <c:v>0.64800000000000002</c:v>
                </c:pt>
                <c:pt idx="3851">
                  <c:v>0.39</c:v>
                </c:pt>
                <c:pt idx="3852">
                  <c:v>0.76900000000000002</c:v>
                </c:pt>
                <c:pt idx="3853">
                  <c:v>0.52500000000000002</c:v>
                </c:pt>
                <c:pt idx="3854">
                  <c:v>0.74199999999999999</c:v>
                </c:pt>
                <c:pt idx="3855">
                  <c:v>0.42</c:v>
                </c:pt>
                <c:pt idx="3856">
                  <c:v>0.53800000000000003</c:v>
                </c:pt>
                <c:pt idx="3857">
                  <c:v>0.66500000000000004</c:v>
                </c:pt>
                <c:pt idx="3858">
                  <c:v>0.66100000000000003</c:v>
                </c:pt>
                <c:pt idx="3859">
                  <c:v>0.93</c:v>
                </c:pt>
                <c:pt idx="3860">
                  <c:v>0.66800000000000004</c:v>
                </c:pt>
                <c:pt idx="3861">
                  <c:v>0.36299999999999999</c:v>
                </c:pt>
                <c:pt idx="3862">
                  <c:v>0.91600000000000004</c:v>
                </c:pt>
                <c:pt idx="3863">
                  <c:v>0.48099999999999998</c:v>
                </c:pt>
                <c:pt idx="3864">
                  <c:v>0.63300000000000001</c:v>
                </c:pt>
                <c:pt idx="3865">
                  <c:v>0.11799999999999999</c:v>
                </c:pt>
                <c:pt idx="3866">
                  <c:v>0.96699999999999997</c:v>
                </c:pt>
                <c:pt idx="3867">
                  <c:v>0.97199999999999998</c:v>
                </c:pt>
                <c:pt idx="3868">
                  <c:v>0.36899999999999999</c:v>
                </c:pt>
                <c:pt idx="3869">
                  <c:v>0.89</c:v>
                </c:pt>
                <c:pt idx="3870">
                  <c:v>0.41399999999999998</c:v>
                </c:pt>
                <c:pt idx="3871">
                  <c:v>0.874</c:v>
                </c:pt>
                <c:pt idx="3872">
                  <c:v>0.61499999999999999</c:v>
                </c:pt>
                <c:pt idx="3873">
                  <c:v>0.35099999999999998</c:v>
                </c:pt>
                <c:pt idx="3874">
                  <c:v>0.77200000000000002</c:v>
                </c:pt>
                <c:pt idx="3875">
                  <c:v>1</c:v>
                </c:pt>
                <c:pt idx="3876">
                  <c:v>0.91</c:v>
                </c:pt>
                <c:pt idx="3877">
                  <c:v>0.69599999999999995</c:v>
                </c:pt>
                <c:pt idx="3878">
                  <c:v>0.59399999999999997</c:v>
                </c:pt>
                <c:pt idx="3879">
                  <c:v>0.77500000000000002</c:v>
                </c:pt>
                <c:pt idx="3880">
                  <c:v>0.83899999999999997</c:v>
                </c:pt>
                <c:pt idx="3881">
                  <c:v>0.34300000000000003</c:v>
                </c:pt>
                <c:pt idx="3882">
                  <c:v>0.55200000000000005</c:v>
                </c:pt>
                <c:pt idx="3883">
                  <c:v>0.73899999999999999</c:v>
                </c:pt>
                <c:pt idx="3884">
                  <c:v>0.73899999999999999</c:v>
                </c:pt>
                <c:pt idx="3885">
                  <c:v>0.39</c:v>
                </c:pt>
                <c:pt idx="3886">
                  <c:v>0.52500000000000002</c:v>
                </c:pt>
                <c:pt idx="3887">
                  <c:v>0.97599999999999998</c:v>
                </c:pt>
                <c:pt idx="3888">
                  <c:v>0.73</c:v>
                </c:pt>
                <c:pt idx="3889">
                  <c:v>0.60799999999999998</c:v>
                </c:pt>
                <c:pt idx="3890">
                  <c:v>0.54600000000000004</c:v>
                </c:pt>
                <c:pt idx="3891">
                  <c:v>0.45900000000000002</c:v>
                </c:pt>
                <c:pt idx="3892">
                  <c:v>0.74199999999999999</c:v>
                </c:pt>
                <c:pt idx="3893">
                  <c:v>0.72799999999999998</c:v>
                </c:pt>
                <c:pt idx="3894">
                  <c:v>0.61099999999999999</c:v>
                </c:pt>
                <c:pt idx="3895">
                  <c:v>0.73599999999999999</c:v>
                </c:pt>
                <c:pt idx="3896">
                  <c:v>0.82799999999999996</c:v>
                </c:pt>
                <c:pt idx="3897">
                  <c:v>0.17</c:v>
                </c:pt>
                <c:pt idx="3898">
                  <c:v>0.56699999999999995</c:v>
                </c:pt>
                <c:pt idx="3899">
                  <c:v>0.20300000000000001</c:v>
                </c:pt>
                <c:pt idx="3900">
                  <c:v>0.89800000000000002</c:v>
                </c:pt>
                <c:pt idx="3901">
                  <c:v>0.59599999999999997</c:v>
                </c:pt>
                <c:pt idx="3902">
                  <c:v>0.96299999999999997</c:v>
                </c:pt>
                <c:pt idx="3903">
                  <c:v>0.55600000000000005</c:v>
                </c:pt>
                <c:pt idx="3904">
                  <c:v>0.95199999999999996</c:v>
                </c:pt>
                <c:pt idx="3905">
                  <c:v>0.44400000000000001</c:v>
                </c:pt>
                <c:pt idx="3906">
                  <c:v>0.94399999999999995</c:v>
                </c:pt>
                <c:pt idx="3907">
                  <c:v>0.378</c:v>
                </c:pt>
                <c:pt idx="3908">
                  <c:v>0.85299999999999998</c:v>
                </c:pt>
                <c:pt idx="3909">
                  <c:v>0.27700000000000002</c:v>
                </c:pt>
                <c:pt idx="3910">
                  <c:v>0.66</c:v>
                </c:pt>
                <c:pt idx="3911">
                  <c:v>0.83499999999999996</c:v>
                </c:pt>
                <c:pt idx="3912">
                  <c:v>4.2000000000000003E-2</c:v>
                </c:pt>
                <c:pt idx="3913">
                  <c:v>0.45400000000000001</c:v>
                </c:pt>
                <c:pt idx="3914">
                  <c:v>0.72</c:v>
                </c:pt>
                <c:pt idx="3915">
                  <c:v>0.78</c:v>
                </c:pt>
                <c:pt idx="3916">
                  <c:v>0.69599999999999995</c:v>
                </c:pt>
                <c:pt idx="3917">
                  <c:v>0.46800000000000003</c:v>
                </c:pt>
                <c:pt idx="3918">
                  <c:v>0.495</c:v>
                </c:pt>
                <c:pt idx="3919">
                  <c:v>0.95099999999999996</c:v>
                </c:pt>
                <c:pt idx="3920">
                  <c:v>0.52300000000000002</c:v>
                </c:pt>
                <c:pt idx="3921">
                  <c:v>0.56999999999999995</c:v>
                </c:pt>
                <c:pt idx="3922">
                  <c:v>0.93899999999999995</c:v>
                </c:pt>
                <c:pt idx="3923">
                  <c:v>0.51300000000000001</c:v>
                </c:pt>
                <c:pt idx="3924">
                  <c:v>0.70499999999999996</c:v>
                </c:pt>
                <c:pt idx="3925">
                  <c:v>0.40100000000000002</c:v>
                </c:pt>
                <c:pt idx="3926">
                  <c:v>0.23400000000000001</c:v>
                </c:pt>
                <c:pt idx="3927">
                  <c:v>0.12</c:v>
                </c:pt>
                <c:pt idx="3928">
                  <c:v>0.79500000000000004</c:v>
                </c:pt>
                <c:pt idx="3929">
                  <c:v>0.79900000000000004</c:v>
                </c:pt>
                <c:pt idx="3930">
                  <c:v>0.78600000000000003</c:v>
                </c:pt>
                <c:pt idx="3931">
                  <c:v>0.68100000000000005</c:v>
                </c:pt>
                <c:pt idx="3932">
                  <c:v>0.88200000000000001</c:v>
                </c:pt>
                <c:pt idx="3933">
                  <c:v>0.33800000000000002</c:v>
                </c:pt>
                <c:pt idx="3934">
                  <c:v>0.57299999999999995</c:v>
                </c:pt>
                <c:pt idx="3935">
                  <c:v>0.47799999999999998</c:v>
                </c:pt>
                <c:pt idx="3936">
                  <c:v>0.70899999999999996</c:v>
                </c:pt>
                <c:pt idx="3937">
                  <c:v>0.43099999999999999</c:v>
                </c:pt>
                <c:pt idx="3938">
                  <c:v>0.91600000000000004</c:v>
                </c:pt>
                <c:pt idx="3939">
                  <c:v>0.378</c:v>
                </c:pt>
                <c:pt idx="3940">
                  <c:v>0.40200000000000002</c:v>
                </c:pt>
                <c:pt idx="3941">
                  <c:v>0.66500000000000004</c:v>
                </c:pt>
                <c:pt idx="3942">
                  <c:v>0.57299999999999995</c:v>
                </c:pt>
                <c:pt idx="3943">
                  <c:v>0.76900000000000002</c:v>
                </c:pt>
                <c:pt idx="3944">
                  <c:v>0.311</c:v>
                </c:pt>
                <c:pt idx="3945">
                  <c:v>0.755</c:v>
                </c:pt>
                <c:pt idx="3946">
                  <c:v>0.90500000000000003</c:v>
                </c:pt>
                <c:pt idx="3947">
                  <c:v>0.72199999999999998</c:v>
                </c:pt>
                <c:pt idx="3948">
                  <c:v>0.81399999999999995</c:v>
                </c:pt>
                <c:pt idx="3949">
                  <c:v>0.52700000000000002</c:v>
                </c:pt>
                <c:pt idx="3950">
                  <c:v>0.94299999999999995</c:v>
                </c:pt>
                <c:pt idx="3951">
                  <c:v>0.42899999999999999</c:v>
                </c:pt>
                <c:pt idx="3952">
                  <c:v>0.72399999999999998</c:v>
                </c:pt>
                <c:pt idx="3953">
                  <c:v>0.86599999999999999</c:v>
                </c:pt>
                <c:pt idx="3954">
                  <c:v>0.373</c:v>
                </c:pt>
                <c:pt idx="3955">
                  <c:v>0.75900000000000001</c:v>
                </c:pt>
                <c:pt idx="3956">
                  <c:v>0.86099999999999999</c:v>
                </c:pt>
                <c:pt idx="3957">
                  <c:v>0.64200000000000002</c:v>
                </c:pt>
                <c:pt idx="3958">
                  <c:v>0.7</c:v>
                </c:pt>
                <c:pt idx="3959">
                  <c:v>0.71</c:v>
                </c:pt>
                <c:pt idx="3960">
                  <c:v>3.5000000000000003E-2</c:v>
                </c:pt>
                <c:pt idx="3961">
                  <c:v>0.22</c:v>
                </c:pt>
                <c:pt idx="3962">
                  <c:v>0.91300000000000003</c:v>
                </c:pt>
                <c:pt idx="3963">
                  <c:v>0.78100000000000003</c:v>
                </c:pt>
                <c:pt idx="3964">
                  <c:v>0.82399999999999995</c:v>
                </c:pt>
                <c:pt idx="3965">
                  <c:v>0.91800000000000004</c:v>
                </c:pt>
                <c:pt idx="3966">
                  <c:v>0.57699999999999996</c:v>
                </c:pt>
                <c:pt idx="3967">
                  <c:v>0.41699999999999998</c:v>
                </c:pt>
                <c:pt idx="3968">
                  <c:v>0.92900000000000005</c:v>
                </c:pt>
                <c:pt idx="3969">
                  <c:v>0.40100000000000002</c:v>
                </c:pt>
                <c:pt idx="3970">
                  <c:v>0.60599999999999998</c:v>
                </c:pt>
                <c:pt idx="3971">
                  <c:v>0.88100000000000001</c:v>
                </c:pt>
                <c:pt idx="3972">
                  <c:v>0.246</c:v>
                </c:pt>
                <c:pt idx="3973">
                  <c:v>0.22700000000000001</c:v>
                </c:pt>
                <c:pt idx="3974">
                  <c:v>0.61099999999999999</c:v>
                </c:pt>
                <c:pt idx="3975">
                  <c:v>0.76200000000000001</c:v>
                </c:pt>
                <c:pt idx="3976">
                  <c:v>0.91400000000000003</c:v>
                </c:pt>
                <c:pt idx="3977">
                  <c:v>0.86499999999999999</c:v>
                </c:pt>
                <c:pt idx="3978">
                  <c:v>0.60699999999999998</c:v>
                </c:pt>
                <c:pt idx="3979">
                  <c:v>0.52900000000000003</c:v>
                </c:pt>
                <c:pt idx="3980">
                  <c:v>0.69399999999999995</c:v>
                </c:pt>
                <c:pt idx="3981">
                  <c:v>0.26900000000000002</c:v>
                </c:pt>
                <c:pt idx="3982">
                  <c:v>0.47899999999999998</c:v>
                </c:pt>
                <c:pt idx="3983">
                  <c:v>0.51600000000000001</c:v>
                </c:pt>
                <c:pt idx="3984">
                  <c:v>0.39400000000000002</c:v>
                </c:pt>
                <c:pt idx="3985">
                  <c:v>0.42899999999999999</c:v>
                </c:pt>
                <c:pt idx="3986">
                  <c:v>0.41499999999999998</c:v>
                </c:pt>
                <c:pt idx="3987">
                  <c:v>0.85299999999999998</c:v>
                </c:pt>
                <c:pt idx="3988">
                  <c:v>0.89400000000000002</c:v>
                </c:pt>
                <c:pt idx="3989">
                  <c:v>0.70299999999999996</c:v>
                </c:pt>
                <c:pt idx="3990">
                  <c:v>0.98</c:v>
                </c:pt>
                <c:pt idx="3991">
                  <c:v>0.76400000000000001</c:v>
                </c:pt>
                <c:pt idx="3992">
                  <c:v>0.45400000000000001</c:v>
                </c:pt>
                <c:pt idx="3993">
                  <c:v>0.872</c:v>
                </c:pt>
                <c:pt idx="3994">
                  <c:v>0.53500000000000003</c:v>
                </c:pt>
                <c:pt idx="3995">
                  <c:v>0.71199999999999997</c:v>
                </c:pt>
                <c:pt idx="3996">
                  <c:v>0.53500000000000003</c:v>
                </c:pt>
                <c:pt idx="3997">
                  <c:v>0.93400000000000005</c:v>
                </c:pt>
                <c:pt idx="3998">
                  <c:v>0.96899999999999997</c:v>
                </c:pt>
                <c:pt idx="3999">
                  <c:v>0.4</c:v>
                </c:pt>
                <c:pt idx="4000">
                  <c:v>0.55800000000000005</c:v>
                </c:pt>
                <c:pt idx="4001">
                  <c:v>0.93300000000000005</c:v>
                </c:pt>
                <c:pt idx="4002">
                  <c:v>0.98699999999999999</c:v>
                </c:pt>
                <c:pt idx="4003">
                  <c:v>0.91800000000000004</c:v>
                </c:pt>
                <c:pt idx="4004">
                  <c:v>0.59099999999999997</c:v>
                </c:pt>
                <c:pt idx="4005">
                  <c:v>0.65500000000000003</c:v>
                </c:pt>
                <c:pt idx="4006">
                  <c:v>0.61499999999999999</c:v>
                </c:pt>
                <c:pt idx="4007">
                  <c:v>0.33800000000000002</c:v>
                </c:pt>
                <c:pt idx="4008">
                  <c:v>0.80300000000000005</c:v>
                </c:pt>
                <c:pt idx="4009">
                  <c:v>0.63700000000000001</c:v>
                </c:pt>
                <c:pt idx="4010">
                  <c:v>0.60599999999999998</c:v>
                </c:pt>
                <c:pt idx="4011">
                  <c:v>0.50900000000000001</c:v>
                </c:pt>
                <c:pt idx="4012">
                  <c:v>0.79900000000000004</c:v>
                </c:pt>
                <c:pt idx="4013">
                  <c:v>0.92500000000000004</c:v>
                </c:pt>
                <c:pt idx="4014">
                  <c:v>0.45500000000000002</c:v>
                </c:pt>
                <c:pt idx="4015">
                  <c:v>0.58399999999999996</c:v>
                </c:pt>
                <c:pt idx="4016">
                  <c:v>0.69499999999999995</c:v>
                </c:pt>
                <c:pt idx="4017">
                  <c:v>0.90600000000000003</c:v>
                </c:pt>
                <c:pt idx="4018">
                  <c:v>0.51200000000000001</c:v>
                </c:pt>
                <c:pt idx="4019">
                  <c:v>0.76300000000000001</c:v>
                </c:pt>
                <c:pt idx="4020">
                  <c:v>0.85799999999999998</c:v>
                </c:pt>
                <c:pt idx="4021">
                  <c:v>0.32700000000000001</c:v>
                </c:pt>
                <c:pt idx="4022">
                  <c:v>0.48699999999999999</c:v>
                </c:pt>
                <c:pt idx="4023">
                  <c:v>0.42199999999999999</c:v>
                </c:pt>
                <c:pt idx="4024">
                  <c:v>0.52</c:v>
                </c:pt>
                <c:pt idx="4025">
                  <c:v>0.50700000000000001</c:v>
                </c:pt>
                <c:pt idx="4026">
                  <c:v>0.90800000000000003</c:v>
                </c:pt>
                <c:pt idx="4027">
                  <c:v>0.70099999999999996</c:v>
                </c:pt>
                <c:pt idx="4028">
                  <c:v>0.89600000000000002</c:v>
                </c:pt>
                <c:pt idx="4029">
                  <c:v>0.24299999999999999</c:v>
                </c:pt>
                <c:pt idx="4030">
                  <c:v>0.42799999999999999</c:v>
                </c:pt>
                <c:pt idx="4031">
                  <c:v>0.312</c:v>
                </c:pt>
                <c:pt idx="4032">
                  <c:v>0.42</c:v>
                </c:pt>
                <c:pt idx="4033">
                  <c:v>0.376</c:v>
                </c:pt>
                <c:pt idx="4034">
                  <c:v>0.48499999999999999</c:v>
                </c:pt>
                <c:pt idx="4035">
                  <c:v>0.17100000000000001</c:v>
                </c:pt>
                <c:pt idx="4036">
                  <c:v>0.56399999999999995</c:v>
                </c:pt>
                <c:pt idx="4037">
                  <c:v>0.52900000000000003</c:v>
                </c:pt>
                <c:pt idx="4038">
                  <c:v>0.28299999999999997</c:v>
                </c:pt>
                <c:pt idx="4039">
                  <c:v>0.627</c:v>
                </c:pt>
                <c:pt idx="4040">
                  <c:v>0.191</c:v>
                </c:pt>
                <c:pt idx="4041">
                  <c:v>0.47899999999999998</c:v>
                </c:pt>
                <c:pt idx="4042">
                  <c:v>0.72899999999999998</c:v>
                </c:pt>
                <c:pt idx="4043">
                  <c:v>0.42</c:v>
                </c:pt>
                <c:pt idx="4044">
                  <c:v>0.95599999999999996</c:v>
                </c:pt>
                <c:pt idx="4045">
                  <c:v>0.82099999999999995</c:v>
                </c:pt>
                <c:pt idx="4046">
                  <c:v>0.85499999999999998</c:v>
                </c:pt>
                <c:pt idx="4047">
                  <c:v>0.98499999999999999</c:v>
                </c:pt>
                <c:pt idx="4048">
                  <c:v>0.77200000000000002</c:v>
                </c:pt>
                <c:pt idx="4049">
                  <c:v>0.94399999999999995</c:v>
                </c:pt>
                <c:pt idx="4050">
                  <c:v>0.56299999999999994</c:v>
                </c:pt>
                <c:pt idx="4051">
                  <c:v>0.39300000000000002</c:v>
                </c:pt>
                <c:pt idx="4052">
                  <c:v>0.42699999999999999</c:v>
                </c:pt>
                <c:pt idx="4053">
                  <c:v>0.89800000000000002</c:v>
                </c:pt>
                <c:pt idx="4054">
                  <c:v>0.94</c:v>
                </c:pt>
                <c:pt idx="4055">
                  <c:v>0.48</c:v>
                </c:pt>
                <c:pt idx="4056">
                  <c:v>0.59599999999999997</c:v>
                </c:pt>
                <c:pt idx="4057">
                  <c:v>0.69899999999999995</c:v>
                </c:pt>
                <c:pt idx="4058">
                  <c:v>0.60299999999999998</c:v>
                </c:pt>
                <c:pt idx="4059">
                  <c:v>0.81699999999999995</c:v>
                </c:pt>
                <c:pt idx="4060">
                  <c:v>0.48899999999999999</c:v>
                </c:pt>
                <c:pt idx="4061">
                  <c:v>0.438</c:v>
                </c:pt>
                <c:pt idx="4062">
                  <c:v>0.55400000000000005</c:v>
                </c:pt>
                <c:pt idx="4063">
                  <c:v>0.44800000000000001</c:v>
                </c:pt>
                <c:pt idx="4064">
                  <c:v>0.26400000000000001</c:v>
                </c:pt>
                <c:pt idx="4065">
                  <c:v>0.38300000000000001</c:v>
                </c:pt>
                <c:pt idx="4066">
                  <c:v>0.89300000000000002</c:v>
                </c:pt>
                <c:pt idx="4067">
                  <c:v>0.88800000000000001</c:v>
                </c:pt>
                <c:pt idx="4068">
                  <c:v>0.628</c:v>
                </c:pt>
                <c:pt idx="4069">
                  <c:v>0.82199999999999995</c:v>
                </c:pt>
                <c:pt idx="4070">
                  <c:v>0.217</c:v>
                </c:pt>
                <c:pt idx="4071">
                  <c:v>0.77600000000000002</c:v>
                </c:pt>
                <c:pt idx="4072">
                  <c:v>0.88900000000000001</c:v>
                </c:pt>
                <c:pt idx="4073">
                  <c:v>0.89200000000000002</c:v>
                </c:pt>
                <c:pt idx="4074">
                  <c:v>0.66900000000000004</c:v>
                </c:pt>
                <c:pt idx="4075">
                  <c:v>0.69799999999999995</c:v>
                </c:pt>
                <c:pt idx="4076">
                  <c:v>0.91600000000000004</c:v>
                </c:pt>
                <c:pt idx="4077">
                  <c:v>0.67200000000000004</c:v>
                </c:pt>
                <c:pt idx="4078">
                  <c:v>0.68200000000000005</c:v>
                </c:pt>
                <c:pt idx="4079">
                  <c:v>0.73599999999999999</c:v>
                </c:pt>
                <c:pt idx="4080">
                  <c:v>0.245</c:v>
                </c:pt>
                <c:pt idx="4081">
                  <c:v>0.57499999999999996</c:v>
                </c:pt>
                <c:pt idx="4082">
                  <c:v>0.42</c:v>
                </c:pt>
                <c:pt idx="4083">
                  <c:v>0.64200000000000002</c:v>
                </c:pt>
                <c:pt idx="4084">
                  <c:v>0.88400000000000001</c:v>
                </c:pt>
                <c:pt idx="4085">
                  <c:v>0.46800000000000003</c:v>
                </c:pt>
                <c:pt idx="4086">
                  <c:v>0.78600000000000003</c:v>
                </c:pt>
                <c:pt idx="4087">
                  <c:v>0.55700000000000005</c:v>
                </c:pt>
                <c:pt idx="4088">
                  <c:v>0.51500000000000001</c:v>
                </c:pt>
                <c:pt idx="4089">
                  <c:v>0.75900000000000001</c:v>
                </c:pt>
                <c:pt idx="4090">
                  <c:v>0.59799999999999998</c:v>
                </c:pt>
                <c:pt idx="4091">
                  <c:v>0.65100000000000002</c:v>
                </c:pt>
                <c:pt idx="4092">
                  <c:v>0.63300000000000001</c:v>
                </c:pt>
                <c:pt idx="4093">
                  <c:v>0.752</c:v>
                </c:pt>
                <c:pt idx="4094">
                  <c:v>0.63700000000000001</c:v>
                </c:pt>
                <c:pt idx="4095">
                  <c:v>0.42199999999999999</c:v>
                </c:pt>
                <c:pt idx="4096">
                  <c:v>0.85</c:v>
                </c:pt>
                <c:pt idx="4097">
                  <c:v>0.67900000000000005</c:v>
                </c:pt>
                <c:pt idx="4098">
                  <c:v>0.68400000000000005</c:v>
                </c:pt>
                <c:pt idx="4099">
                  <c:v>0.93300000000000005</c:v>
                </c:pt>
                <c:pt idx="4100">
                  <c:v>0.46400000000000002</c:v>
                </c:pt>
                <c:pt idx="4101">
                  <c:v>7.0000000000000007E-2</c:v>
                </c:pt>
                <c:pt idx="4102">
                  <c:v>0.8</c:v>
                </c:pt>
                <c:pt idx="4103">
                  <c:v>0.82399999999999995</c:v>
                </c:pt>
                <c:pt idx="4104">
                  <c:v>0.876</c:v>
                </c:pt>
                <c:pt idx="4105">
                  <c:v>0.45200000000000001</c:v>
                </c:pt>
                <c:pt idx="4106">
                  <c:v>0.34699999999999998</c:v>
                </c:pt>
                <c:pt idx="4107">
                  <c:v>0.71299999999999997</c:v>
                </c:pt>
                <c:pt idx="4108">
                  <c:v>0.46899999999999997</c:v>
                </c:pt>
                <c:pt idx="4109">
                  <c:v>0.80700000000000005</c:v>
                </c:pt>
                <c:pt idx="4110">
                  <c:v>0.42399999999999999</c:v>
                </c:pt>
                <c:pt idx="4111">
                  <c:v>0.52400000000000002</c:v>
                </c:pt>
                <c:pt idx="4112">
                  <c:v>0.94</c:v>
                </c:pt>
                <c:pt idx="4113">
                  <c:v>0.34300000000000003</c:v>
                </c:pt>
                <c:pt idx="4114">
                  <c:v>0.66400000000000003</c:v>
                </c:pt>
                <c:pt idx="4115">
                  <c:v>0.42299999999999999</c:v>
                </c:pt>
                <c:pt idx="4116">
                  <c:v>0.89600000000000002</c:v>
                </c:pt>
                <c:pt idx="4117">
                  <c:v>0.63700000000000001</c:v>
                </c:pt>
                <c:pt idx="4118">
                  <c:v>0.80800000000000005</c:v>
                </c:pt>
                <c:pt idx="4119">
                  <c:v>0.77300000000000002</c:v>
                </c:pt>
                <c:pt idx="4120">
                  <c:v>0.56999999999999995</c:v>
                </c:pt>
                <c:pt idx="4121">
                  <c:v>0.91300000000000003</c:v>
                </c:pt>
                <c:pt idx="4122">
                  <c:v>0.60599999999999998</c:v>
                </c:pt>
                <c:pt idx="4123">
                  <c:v>0.81399999999999995</c:v>
                </c:pt>
                <c:pt idx="4124">
                  <c:v>0.8</c:v>
                </c:pt>
                <c:pt idx="4125">
                  <c:v>0.52300000000000002</c:v>
                </c:pt>
                <c:pt idx="4126">
                  <c:v>0.48</c:v>
                </c:pt>
                <c:pt idx="4127">
                  <c:v>0.92300000000000004</c:v>
                </c:pt>
                <c:pt idx="4128">
                  <c:v>0.47499999999999998</c:v>
                </c:pt>
                <c:pt idx="4129">
                  <c:v>0.66800000000000004</c:v>
                </c:pt>
                <c:pt idx="4130">
                  <c:v>0.19900000000000001</c:v>
                </c:pt>
                <c:pt idx="4131">
                  <c:v>0.70199999999999996</c:v>
                </c:pt>
                <c:pt idx="4132">
                  <c:v>0.376</c:v>
                </c:pt>
                <c:pt idx="4133">
                  <c:v>8.3000000000000004E-2</c:v>
                </c:pt>
                <c:pt idx="4134">
                  <c:v>0.19600000000000001</c:v>
                </c:pt>
                <c:pt idx="4135">
                  <c:v>0.51300000000000001</c:v>
                </c:pt>
                <c:pt idx="4136">
                  <c:v>0.79800000000000004</c:v>
                </c:pt>
                <c:pt idx="4137">
                  <c:v>0.75800000000000001</c:v>
                </c:pt>
                <c:pt idx="4138">
                  <c:v>0.85299999999999998</c:v>
                </c:pt>
                <c:pt idx="4139">
                  <c:v>0.63200000000000001</c:v>
                </c:pt>
                <c:pt idx="4140">
                  <c:v>0.52700000000000002</c:v>
                </c:pt>
                <c:pt idx="4141">
                  <c:v>0.36</c:v>
                </c:pt>
                <c:pt idx="4142">
                  <c:v>0.85499999999999998</c:v>
                </c:pt>
                <c:pt idx="4143">
                  <c:v>0.38600000000000001</c:v>
                </c:pt>
                <c:pt idx="4144">
                  <c:v>1</c:v>
                </c:pt>
                <c:pt idx="4145">
                  <c:v>0.53100000000000003</c:v>
                </c:pt>
                <c:pt idx="4146">
                  <c:v>0.92200000000000004</c:v>
                </c:pt>
                <c:pt idx="4147">
                  <c:v>0.52200000000000002</c:v>
                </c:pt>
                <c:pt idx="4148">
                  <c:v>0.39900000000000002</c:v>
                </c:pt>
                <c:pt idx="4149">
                  <c:v>0.53500000000000003</c:v>
                </c:pt>
                <c:pt idx="4150">
                  <c:v>0.97799999999999998</c:v>
                </c:pt>
                <c:pt idx="4151">
                  <c:v>0.45400000000000001</c:v>
                </c:pt>
                <c:pt idx="4152">
                  <c:v>0.46200000000000002</c:v>
                </c:pt>
                <c:pt idx="4153">
                  <c:v>0.88800000000000001</c:v>
                </c:pt>
                <c:pt idx="4154">
                  <c:v>0.371</c:v>
                </c:pt>
                <c:pt idx="4155">
                  <c:v>0.439</c:v>
                </c:pt>
                <c:pt idx="4156">
                  <c:v>0.57999999999999996</c:v>
                </c:pt>
                <c:pt idx="4157">
                  <c:v>0.98899999999999999</c:v>
                </c:pt>
                <c:pt idx="4158">
                  <c:v>0.40500000000000003</c:v>
                </c:pt>
                <c:pt idx="4159">
                  <c:v>0.57999999999999996</c:v>
                </c:pt>
                <c:pt idx="4160">
                  <c:v>0.81699999999999995</c:v>
                </c:pt>
                <c:pt idx="4161">
                  <c:v>0.67400000000000004</c:v>
                </c:pt>
                <c:pt idx="4162">
                  <c:v>0.94</c:v>
                </c:pt>
                <c:pt idx="4163">
                  <c:v>0.78900000000000003</c:v>
                </c:pt>
                <c:pt idx="4164">
                  <c:v>0.98899999999999999</c:v>
                </c:pt>
                <c:pt idx="4165">
                  <c:v>0.26600000000000001</c:v>
                </c:pt>
                <c:pt idx="4166">
                  <c:v>0.7</c:v>
                </c:pt>
                <c:pt idx="4167">
                  <c:v>0.624</c:v>
                </c:pt>
                <c:pt idx="4168">
                  <c:v>0.745</c:v>
                </c:pt>
                <c:pt idx="4169">
                  <c:v>0.79200000000000004</c:v>
                </c:pt>
                <c:pt idx="4170">
                  <c:v>0.68200000000000005</c:v>
                </c:pt>
                <c:pt idx="4171">
                  <c:v>0.94099999999999995</c:v>
                </c:pt>
                <c:pt idx="4172">
                  <c:v>0.47199999999999998</c:v>
                </c:pt>
                <c:pt idx="4173">
                  <c:v>0.86299999999999999</c:v>
                </c:pt>
                <c:pt idx="4174">
                  <c:v>0.79200000000000004</c:v>
                </c:pt>
                <c:pt idx="4175">
                  <c:v>0.875</c:v>
                </c:pt>
                <c:pt idx="4176">
                  <c:v>0.60199999999999998</c:v>
                </c:pt>
                <c:pt idx="4177">
                  <c:v>0.77400000000000002</c:v>
                </c:pt>
                <c:pt idx="4178">
                  <c:v>0.76900000000000002</c:v>
                </c:pt>
                <c:pt idx="4179">
                  <c:v>0.63</c:v>
                </c:pt>
                <c:pt idx="4180">
                  <c:v>0.73599999999999999</c:v>
                </c:pt>
                <c:pt idx="4181">
                  <c:v>0.44500000000000001</c:v>
                </c:pt>
                <c:pt idx="4182">
                  <c:v>0.61099999999999999</c:v>
                </c:pt>
                <c:pt idx="4183">
                  <c:v>0.78300000000000003</c:v>
                </c:pt>
                <c:pt idx="4184">
                  <c:v>0.64200000000000002</c:v>
                </c:pt>
                <c:pt idx="4185">
                  <c:v>0.877</c:v>
                </c:pt>
                <c:pt idx="4186">
                  <c:v>0.94199999999999995</c:v>
                </c:pt>
                <c:pt idx="4187">
                  <c:v>0.49299999999999999</c:v>
                </c:pt>
                <c:pt idx="4188">
                  <c:v>0.72899999999999998</c:v>
                </c:pt>
                <c:pt idx="4189">
                  <c:v>0.70699999999999996</c:v>
                </c:pt>
                <c:pt idx="4190">
                  <c:v>0.53700000000000003</c:v>
                </c:pt>
                <c:pt idx="4191">
                  <c:v>0.35499999999999998</c:v>
                </c:pt>
                <c:pt idx="4192">
                  <c:v>0.374</c:v>
                </c:pt>
                <c:pt idx="4193">
                  <c:v>0.70599999999999996</c:v>
                </c:pt>
                <c:pt idx="4194">
                  <c:v>0.19500000000000001</c:v>
                </c:pt>
                <c:pt idx="4195">
                  <c:v>0.32600000000000001</c:v>
                </c:pt>
                <c:pt idx="4196">
                  <c:v>0.58599999999999997</c:v>
                </c:pt>
                <c:pt idx="4197">
                  <c:v>0.55800000000000005</c:v>
                </c:pt>
                <c:pt idx="4198">
                  <c:v>9.8000000000000004E-2</c:v>
                </c:pt>
                <c:pt idx="4199">
                  <c:v>0.35299999999999998</c:v>
                </c:pt>
                <c:pt idx="4200">
                  <c:v>0.66500000000000004</c:v>
                </c:pt>
                <c:pt idx="4201">
                  <c:v>0.80900000000000005</c:v>
                </c:pt>
                <c:pt idx="4202">
                  <c:v>0.90500000000000003</c:v>
                </c:pt>
                <c:pt idx="4203">
                  <c:v>0.79200000000000004</c:v>
                </c:pt>
                <c:pt idx="4204">
                  <c:v>0.47699999999999998</c:v>
                </c:pt>
                <c:pt idx="4205">
                  <c:v>0.23100000000000001</c:v>
                </c:pt>
                <c:pt idx="4206">
                  <c:v>0.90100000000000002</c:v>
                </c:pt>
                <c:pt idx="4207">
                  <c:v>0.72399999999999998</c:v>
                </c:pt>
                <c:pt idx="4208">
                  <c:v>0.84299999999999997</c:v>
                </c:pt>
                <c:pt idx="4209">
                  <c:v>0.58299999999999996</c:v>
                </c:pt>
                <c:pt idx="4210">
                  <c:v>0.755</c:v>
                </c:pt>
                <c:pt idx="4211">
                  <c:v>0.47899999999999998</c:v>
                </c:pt>
                <c:pt idx="4212">
                  <c:v>0.36199999999999999</c:v>
                </c:pt>
                <c:pt idx="4213">
                  <c:v>0.98599999999999999</c:v>
                </c:pt>
                <c:pt idx="4214">
                  <c:v>0.74299999999999999</c:v>
                </c:pt>
                <c:pt idx="4215">
                  <c:v>0.41199999999999998</c:v>
                </c:pt>
                <c:pt idx="4216">
                  <c:v>0.66900000000000004</c:v>
                </c:pt>
                <c:pt idx="4217">
                  <c:v>0.52900000000000003</c:v>
                </c:pt>
                <c:pt idx="4218">
                  <c:v>0.56000000000000005</c:v>
                </c:pt>
                <c:pt idx="4219">
                  <c:v>0.64600000000000002</c:v>
                </c:pt>
                <c:pt idx="4220">
                  <c:v>0.48399999999999999</c:v>
                </c:pt>
                <c:pt idx="4221">
                  <c:v>0.82199999999999995</c:v>
                </c:pt>
                <c:pt idx="4222">
                  <c:v>0.91700000000000004</c:v>
                </c:pt>
                <c:pt idx="4223">
                  <c:v>0.30099999999999999</c:v>
                </c:pt>
                <c:pt idx="4224">
                  <c:v>0.62</c:v>
                </c:pt>
                <c:pt idx="4225">
                  <c:v>0.88</c:v>
                </c:pt>
                <c:pt idx="4226">
                  <c:v>0.90700000000000003</c:v>
                </c:pt>
                <c:pt idx="4227">
                  <c:v>0.89600000000000002</c:v>
                </c:pt>
                <c:pt idx="4228">
                  <c:v>0.23300000000000001</c:v>
                </c:pt>
                <c:pt idx="4229">
                  <c:v>0.125</c:v>
                </c:pt>
                <c:pt idx="4230">
                  <c:v>0.47</c:v>
                </c:pt>
                <c:pt idx="4231">
                  <c:v>4.9000000000000002E-2</c:v>
                </c:pt>
                <c:pt idx="4232">
                  <c:v>0.84499999999999997</c:v>
                </c:pt>
                <c:pt idx="4233">
                  <c:v>0.42699999999999999</c:v>
                </c:pt>
                <c:pt idx="4234">
                  <c:v>0.69399999999999995</c:v>
                </c:pt>
                <c:pt idx="4235">
                  <c:v>0.505</c:v>
                </c:pt>
                <c:pt idx="4236">
                  <c:v>0.39</c:v>
                </c:pt>
                <c:pt idx="4237">
                  <c:v>0.76500000000000001</c:v>
                </c:pt>
                <c:pt idx="4238">
                  <c:v>0.90500000000000003</c:v>
                </c:pt>
                <c:pt idx="4239">
                  <c:v>0.94299999999999995</c:v>
                </c:pt>
                <c:pt idx="4240">
                  <c:v>0.52700000000000002</c:v>
                </c:pt>
                <c:pt idx="4241">
                  <c:v>0.57299999999999995</c:v>
                </c:pt>
                <c:pt idx="4242">
                  <c:v>0.58699999999999997</c:v>
                </c:pt>
                <c:pt idx="4243">
                  <c:v>0.71</c:v>
                </c:pt>
                <c:pt idx="4244">
                  <c:v>0.96399999999999997</c:v>
                </c:pt>
                <c:pt idx="4245">
                  <c:v>0.76100000000000001</c:v>
                </c:pt>
                <c:pt idx="4246">
                  <c:v>0.82699999999999996</c:v>
                </c:pt>
                <c:pt idx="4247">
                  <c:v>0.41299999999999998</c:v>
                </c:pt>
                <c:pt idx="4248">
                  <c:v>0.59099999999999997</c:v>
                </c:pt>
                <c:pt idx="4249">
                  <c:v>0.59399999999999997</c:v>
                </c:pt>
                <c:pt idx="4250">
                  <c:v>0.375</c:v>
                </c:pt>
                <c:pt idx="4251">
                  <c:v>0.78900000000000003</c:v>
                </c:pt>
                <c:pt idx="4252">
                  <c:v>0.57599999999999996</c:v>
                </c:pt>
                <c:pt idx="4253">
                  <c:v>0.84</c:v>
                </c:pt>
                <c:pt idx="4254">
                  <c:v>0.60299999999999998</c:v>
                </c:pt>
                <c:pt idx="4255">
                  <c:v>0.95199999999999996</c:v>
                </c:pt>
                <c:pt idx="4256">
                  <c:v>0.624</c:v>
                </c:pt>
                <c:pt idx="4257">
                  <c:v>0.90100000000000002</c:v>
                </c:pt>
                <c:pt idx="4258">
                  <c:v>0.82899999999999996</c:v>
                </c:pt>
                <c:pt idx="4259">
                  <c:v>0.191</c:v>
                </c:pt>
                <c:pt idx="4260">
                  <c:v>5.5E-2</c:v>
                </c:pt>
                <c:pt idx="4261">
                  <c:v>0.59499999999999997</c:v>
                </c:pt>
                <c:pt idx="4262">
                  <c:v>0.23599999999999999</c:v>
                </c:pt>
                <c:pt idx="4263">
                  <c:v>3.5999999999999997E-2</c:v>
                </c:pt>
                <c:pt idx="4264">
                  <c:v>0.78</c:v>
                </c:pt>
                <c:pt idx="4265">
                  <c:v>0.53400000000000003</c:v>
                </c:pt>
                <c:pt idx="4266">
                  <c:v>0.39</c:v>
                </c:pt>
                <c:pt idx="4267">
                  <c:v>0.34899999999999998</c:v>
                </c:pt>
                <c:pt idx="4268">
                  <c:v>0.52300000000000002</c:v>
                </c:pt>
                <c:pt idx="4269">
                  <c:v>0.52200000000000002</c:v>
                </c:pt>
                <c:pt idx="4270">
                  <c:v>0.69099999999999995</c:v>
                </c:pt>
                <c:pt idx="4271">
                  <c:v>0.68</c:v>
                </c:pt>
                <c:pt idx="4272">
                  <c:v>0.64200000000000002</c:v>
                </c:pt>
                <c:pt idx="4273">
                  <c:v>0.60699999999999998</c:v>
                </c:pt>
                <c:pt idx="4274">
                  <c:v>0.81799999999999995</c:v>
                </c:pt>
                <c:pt idx="4275">
                  <c:v>0.58699999999999997</c:v>
                </c:pt>
                <c:pt idx="4276">
                  <c:v>0.90300000000000002</c:v>
                </c:pt>
                <c:pt idx="4277">
                  <c:v>0.29499999999999998</c:v>
                </c:pt>
                <c:pt idx="4278">
                  <c:v>0.85099999999999998</c:v>
                </c:pt>
                <c:pt idx="4279">
                  <c:v>0.95299999999999996</c:v>
                </c:pt>
                <c:pt idx="4280">
                  <c:v>0.85899999999999999</c:v>
                </c:pt>
                <c:pt idx="4281">
                  <c:v>0.76900000000000002</c:v>
                </c:pt>
                <c:pt idx="4282">
                  <c:v>0.66300000000000003</c:v>
                </c:pt>
                <c:pt idx="4283">
                  <c:v>0.92400000000000004</c:v>
                </c:pt>
                <c:pt idx="4284">
                  <c:v>0.60599999999999998</c:v>
                </c:pt>
                <c:pt idx="4285">
                  <c:v>0.442</c:v>
                </c:pt>
                <c:pt idx="4286">
                  <c:v>0.45800000000000002</c:v>
                </c:pt>
                <c:pt idx="4287">
                  <c:v>0.52200000000000002</c:v>
                </c:pt>
                <c:pt idx="4288">
                  <c:v>0.60099999999999998</c:v>
                </c:pt>
                <c:pt idx="4289">
                  <c:v>0.435</c:v>
                </c:pt>
                <c:pt idx="4290">
                  <c:v>0.27</c:v>
                </c:pt>
                <c:pt idx="4291">
                  <c:v>0.72199999999999998</c:v>
                </c:pt>
                <c:pt idx="4292">
                  <c:v>0.54800000000000004</c:v>
                </c:pt>
                <c:pt idx="4293">
                  <c:v>0.64900000000000002</c:v>
                </c:pt>
                <c:pt idx="4294">
                  <c:v>0.91300000000000003</c:v>
                </c:pt>
                <c:pt idx="4295">
                  <c:v>0.64600000000000002</c:v>
                </c:pt>
                <c:pt idx="4296">
                  <c:v>0.90200000000000002</c:v>
                </c:pt>
                <c:pt idx="4297">
                  <c:v>0.44800000000000001</c:v>
                </c:pt>
                <c:pt idx="4298">
                  <c:v>0.45300000000000001</c:v>
                </c:pt>
                <c:pt idx="4299">
                  <c:v>0.159</c:v>
                </c:pt>
                <c:pt idx="4300">
                  <c:v>0.876</c:v>
                </c:pt>
                <c:pt idx="4301">
                  <c:v>0.64200000000000002</c:v>
                </c:pt>
                <c:pt idx="4302">
                  <c:v>0.372</c:v>
                </c:pt>
                <c:pt idx="4303">
                  <c:v>0.35</c:v>
                </c:pt>
                <c:pt idx="4304">
                  <c:v>0.57699999999999996</c:v>
                </c:pt>
                <c:pt idx="4305">
                  <c:v>0.253</c:v>
                </c:pt>
                <c:pt idx="4306">
                  <c:v>0.97499999999999998</c:v>
                </c:pt>
                <c:pt idx="4307">
                  <c:v>0.52200000000000002</c:v>
                </c:pt>
                <c:pt idx="4308">
                  <c:v>0.88400000000000001</c:v>
                </c:pt>
                <c:pt idx="4309">
                  <c:v>0.36199999999999999</c:v>
                </c:pt>
                <c:pt idx="4310">
                  <c:v>0.88100000000000001</c:v>
                </c:pt>
                <c:pt idx="4311">
                  <c:v>0.85899999999999999</c:v>
                </c:pt>
                <c:pt idx="4312">
                  <c:v>0.28000000000000003</c:v>
                </c:pt>
                <c:pt idx="4313">
                  <c:v>0.22500000000000001</c:v>
                </c:pt>
                <c:pt idx="4314">
                  <c:v>0.439</c:v>
                </c:pt>
                <c:pt idx="4315">
                  <c:v>0.68400000000000005</c:v>
                </c:pt>
                <c:pt idx="4316">
                  <c:v>0.52</c:v>
                </c:pt>
                <c:pt idx="4317">
                  <c:v>0.82099999999999995</c:v>
                </c:pt>
                <c:pt idx="4318">
                  <c:v>0.72299999999999998</c:v>
                </c:pt>
                <c:pt idx="4319">
                  <c:v>0.86499999999999999</c:v>
                </c:pt>
                <c:pt idx="4320">
                  <c:v>0.49299999999999999</c:v>
                </c:pt>
                <c:pt idx="4321">
                  <c:v>0.51</c:v>
                </c:pt>
                <c:pt idx="4322">
                  <c:v>0.48599999999999999</c:v>
                </c:pt>
                <c:pt idx="4323">
                  <c:v>0.68600000000000005</c:v>
                </c:pt>
                <c:pt idx="4324">
                  <c:v>0.70899999999999996</c:v>
                </c:pt>
                <c:pt idx="4325">
                  <c:v>0.41</c:v>
                </c:pt>
                <c:pt idx="4326">
                  <c:v>0.63700000000000001</c:v>
                </c:pt>
                <c:pt idx="4327">
                  <c:v>0.38900000000000001</c:v>
                </c:pt>
                <c:pt idx="4328">
                  <c:v>0.52600000000000002</c:v>
                </c:pt>
                <c:pt idx="4329">
                  <c:v>0.68600000000000005</c:v>
                </c:pt>
                <c:pt idx="4330">
                  <c:v>0.41699999999999998</c:v>
                </c:pt>
                <c:pt idx="4331">
                  <c:v>0.52200000000000002</c:v>
                </c:pt>
                <c:pt idx="4332">
                  <c:v>0.67300000000000004</c:v>
                </c:pt>
                <c:pt idx="4333">
                  <c:v>0.161</c:v>
                </c:pt>
                <c:pt idx="4334">
                  <c:v>0.78600000000000003</c:v>
                </c:pt>
                <c:pt idx="4335">
                  <c:v>0.93100000000000005</c:v>
                </c:pt>
                <c:pt idx="4336">
                  <c:v>0.86599999999999999</c:v>
                </c:pt>
                <c:pt idx="4337">
                  <c:v>0.503</c:v>
                </c:pt>
                <c:pt idx="4338">
                  <c:v>0.746</c:v>
                </c:pt>
                <c:pt idx="4339">
                  <c:v>0.247</c:v>
                </c:pt>
                <c:pt idx="4340">
                  <c:v>0.71499999999999997</c:v>
                </c:pt>
                <c:pt idx="4341">
                  <c:v>0.78200000000000003</c:v>
                </c:pt>
                <c:pt idx="4342">
                  <c:v>0.71499999999999997</c:v>
                </c:pt>
                <c:pt idx="4343">
                  <c:v>0.91600000000000004</c:v>
                </c:pt>
                <c:pt idx="4344">
                  <c:v>0.73099999999999998</c:v>
                </c:pt>
                <c:pt idx="4345">
                  <c:v>0.66200000000000003</c:v>
                </c:pt>
                <c:pt idx="4346">
                  <c:v>0.92600000000000005</c:v>
                </c:pt>
                <c:pt idx="4347">
                  <c:v>0.75900000000000001</c:v>
                </c:pt>
                <c:pt idx="4348">
                  <c:v>0.14599999999999999</c:v>
                </c:pt>
                <c:pt idx="4349">
                  <c:v>0.443</c:v>
                </c:pt>
                <c:pt idx="4350">
                  <c:v>0.35099999999999998</c:v>
                </c:pt>
                <c:pt idx="4351">
                  <c:v>0.85199999999999998</c:v>
                </c:pt>
                <c:pt idx="4352">
                  <c:v>0.61899999999999999</c:v>
                </c:pt>
                <c:pt idx="4353">
                  <c:v>0.90300000000000002</c:v>
                </c:pt>
                <c:pt idx="4354">
                  <c:v>0.90200000000000002</c:v>
                </c:pt>
                <c:pt idx="4355">
                  <c:v>0.627</c:v>
                </c:pt>
                <c:pt idx="4356">
                  <c:v>0.59599999999999997</c:v>
                </c:pt>
                <c:pt idx="4357">
                  <c:v>0.623</c:v>
                </c:pt>
                <c:pt idx="4358">
                  <c:v>0.441</c:v>
                </c:pt>
                <c:pt idx="4359">
                  <c:v>0.41299999999999998</c:v>
                </c:pt>
                <c:pt idx="4360">
                  <c:v>0.80300000000000005</c:v>
                </c:pt>
                <c:pt idx="4361">
                  <c:v>0.57899999999999996</c:v>
                </c:pt>
                <c:pt idx="4362">
                  <c:v>0.47299999999999998</c:v>
                </c:pt>
                <c:pt idx="4363">
                  <c:v>0.50600000000000001</c:v>
                </c:pt>
                <c:pt idx="4364">
                  <c:v>0.39600000000000002</c:v>
                </c:pt>
                <c:pt idx="4365">
                  <c:v>0.48199999999999998</c:v>
                </c:pt>
                <c:pt idx="4366">
                  <c:v>0.82199999999999995</c:v>
                </c:pt>
                <c:pt idx="4367">
                  <c:v>0.314</c:v>
                </c:pt>
                <c:pt idx="4368">
                  <c:v>8.8999999999999996E-2</c:v>
                </c:pt>
                <c:pt idx="4369">
                  <c:v>0.91500000000000004</c:v>
                </c:pt>
                <c:pt idx="4370">
                  <c:v>0.78900000000000003</c:v>
                </c:pt>
                <c:pt idx="4371">
                  <c:v>0.42399999999999999</c:v>
                </c:pt>
                <c:pt idx="4372">
                  <c:v>0.51</c:v>
                </c:pt>
                <c:pt idx="4373">
                  <c:v>0.75800000000000001</c:v>
                </c:pt>
                <c:pt idx="4374">
                  <c:v>0.13700000000000001</c:v>
                </c:pt>
                <c:pt idx="4375">
                  <c:v>0.39600000000000002</c:v>
                </c:pt>
                <c:pt idx="4376">
                  <c:v>0.49</c:v>
                </c:pt>
                <c:pt idx="4377">
                  <c:v>0.24199999999999999</c:v>
                </c:pt>
                <c:pt idx="4378">
                  <c:v>0.94199999999999995</c:v>
                </c:pt>
                <c:pt idx="4379">
                  <c:v>0.59299999999999997</c:v>
                </c:pt>
                <c:pt idx="4380">
                  <c:v>0.57999999999999996</c:v>
                </c:pt>
                <c:pt idx="4381">
                  <c:v>0.60299999999999998</c:v>
                </c:pt>
                <c:pt idx="4382">
                  <c:v>0.34899999999999998</c:v>
                </c:pt>
                <c:pt idx="4383">
                  <c:v>0.78500000000000003</c:v>
                </c:pt>
                <c:pt idx="4384">
                  <c:v>0.23</c:v>
                </c:pt>
                <c:pt idx="4385">
                  <c:v>0.64100000000000001</c:v>
                </c:pt>
                <c:pt idx="4386">
                  <c:v>0.5</c:v>
                </c:pt>
                <c:pt idx="4387">
                  <c:v>0.46500000000000002</c:v>
                </c:pt>
                <c:pt idx="4388">
                  <c:v>0.64600000000000002</c:v>
                </c:pt>
                <c:pt idx="4389">
                  <c:v>0.91100000000000003</c:v>
                </c:pt>
                <c:pt idx="4390">
                  <c:v>0.97599999999999998</c:v>
                </c:pt>
                <c:pt idx="4391">
                  <c:v>0.49399999999999999</c:v>
                </c:pt>
                <c:pt idx="4392">
                  <c:v>0.80900000000000005</c:v>
                </c:pt>
                <c:pt idx="4393">
                  <c:v>0.64500000000000002</c:v>
                </c:pt>
                <c:pt idx="4394">
                  <c:v>0.89900000000000002</c:v>
                </c:pt>
                <c:pt idx="4395">
                  <c:v>0.89600000000000002</c:v>
                </c:pt>
                <c:pt idx="4396">
                  <c:v>0.24199999999999999</c:v>
                </c:pt>
                <c:pt idx="4397">
                  <c:v>0.47699999999999998</c:v>
                </c:pt>
                <c:pt idx="4398">
                  <c:v>0.94099999999999995</c:v>
                </c:pt>
                <c:pt idx="4399">
                  <c:v>0.84</c:v>
                </c:pt>
                <c:pt idx="4400">
                  <c:v>0.73499999999999999</c:v>
                </c:pt>
                <c:pt idx="4401">
                  <c:v>0.17299999999999999</c:v>
                </c:pt>
                <c:pt idx="4402">
                  <c:v>0.85499999999999998</c:v>
                </c:pt>
                <c:pt idx="4403">
                  <c:v>0.83</c:v>
                </c:pt>
                <c:pt idx="4404">
                  <c:v>0.66700000000000004</c:v>
                </c:pt>
                <c:pt idx="4405">
                  <c:v>0.217</c:v>
                </c:pt>
                <c:pt idx="4406">
                  <c:v>0.80800000000000005</c:v>
                </c:pt>
                <c:pt idx="4407">
                  <c:v>0.15</c:v>
                </c:pt>
                <c:pt idx="4408">
                  <c:v>0.88</c:v>
                </c:pt>
                <c:pt idx="4409">
                  <c:v>0.75900000000000001</c:v>
                </c:pt>
                <c:pt idx="4410">
                  <c:v>0.92400000000000004</c:v>
                </c:pt>
                <c:pt idx="4411">
                  <c:v>0.90500000000000003</c:v>
                </c:pt>
                <c:pt idx="4412">
                  <c:v>0.94099999999999995</c:v>
                </c:pt>
                <c:pt idx="4413">
                  <c:v>0.46800000000000003</c:v>
                </c:pt>
                <c:pt idx="4414">
                  <c:v>0.70699999999999996</c:v>
                </c:pt>
                <c:pt idx="4415">
                  <c:v>0.81100000000000005</c:v>
                </c:pt>
                <c:pt idx="4416">
                  <c:v>0.73499999999999999</c:v>
                </c:pt>
                <c:pt idx="4417">
                  <c:v>0.27200000000000002</c:v>
                </c:pt>
                <c:pt idx="4418">
                  <c:v>9.8000000000000004E-2</c:v>
                </c:pt>
                <c:pt idx="4419">
                  <c:v>0.191</c:v>
                </c:pt>
                <c:pt idx="4420">
                  <c:v>0.71399999999999997</c:v>
                </c:pt>
                <c:pt idx="4421">
                  <c:v>0.84499999999999997</c:v>
                </c:pt>
                <c:pt idx="4422">
                  <c:v>0.81200000000000006</c:v>
                </c:pt>
                <c:pt idx="4423">
                  <c:v>0.749</c:v>
                </c:pt>
                <c:pt idx="4424">
                  <c:v>0.83699999999999997</c:v>
                </c:pt>
                <c:pt idx="4425">
                  <c:v>0.99199999999999999</c:v>
                </c:pt>
                <c:pt idx="4426">
                  <c:v>0.82099999999999995</c:v>
                </c:pt>
                <c:pt idx="4427">
                  <c:v>0.93500000000000005</c:v>
                </c:pt>
                <c:pt idx="4428">
                  <c:v>0.69</c:v>
                </c:pt>
                <c:pt idx="4429">
                  <c:v>0.33100000000000002</c:v>
                </c:pt>
                <c:pt idx="4430">
                  <c:v>0.83799999999999997</c:v>
                </c:pt>
                <c:pt idx="4431">
                  <c:v>0.52100000000000002</c:v>
                </c:pt>
                <c:pt idx="4432">
                  <c:v>0.92400000000000004</c:v>
                </c:pt>
                <c:pt idx="4433">
                  <c:v>0.45200000000000001</c:v>
                </c:pt>
                <c:pt idx="4434">
                  <c:v>0.997</c:v>
                </c:pt>
                <c:pt idx="4435">
                  <c:v>0.52500000000000002</c:v>
                </c:pt>
                <c:pt idx="4436">
                  <c:v>0.57399999999999995</c:v>
                </c:pt>
                <c:pt idx="4437">
                  <c:v>0.89700000000000002</c:v>
                </c:pt>
                <c:pt idx="4438">
                  <c:v>0.82499999999999996</c:v>
                </c:pt>
                <c:pt idx="4439">
                  <c:v>0.81699999999999995</c:v>
                </c:pt>
                <c:pt idx="4440">
                  <c:v>0.84599999999999997</c:v>
                </c:pt>
                <c:pt idx="4441">
                  <c:v>0.45700000000000002</c:v>
                </c:pt>
                <c:pt idx="4442">
                  <c:v>0.71199999999999997</c:v>
                </c:pt>
                <c:pt idx="4443">
                  <c:v>0.81799999999999995</c:v>
                </c:pt>
                <c:pt idx="4444">
                  <c:v>0.46200000000000002</c:v>
                </c:pt>
                <c:pt idx="4445">
                  <c:v>0.73199999999999998</c:v>
                </c:pt>
                <c:pt idx="4446">
                  <c:v>0.49399999999999999</c:v>
                </c:pt>
                <c:pt idx="4447">
                  <c:v>0.83499999999999996</c:v>
                </c:pt>
                <c:pt idx="4448">
                  <c:v>0.83699999999999997</c:v>
                </c:pt>
                <c:pt idx="4449">
                  <c:v>0.49199999999999999</c:v>
                </c:pt>
                <c:pt idx="4450">
                  <c:v>1</c:v>
                </c:pt>
                <c:pt idx="4451">
                  <c:v>0.67100000000000004</c:v>
                </c:pt>
                <c:pt idx="4452">
                  <c:v>0.4</c:v>
                </c:pt>
                <c:pt idx="4453">
                  <c:v>0.42899999999999999</c:v>
                </c:pt>
                <c:pt idx="4454">
                  <c:v>0.53400000000000003</c:v>
                </c:pt>
                <c:pt idx="4455">
                  <c:v>0.86099999999999999</c:v>
                </c:pt>
                <c:pt idx="4456">
                  <c:v>0.66500000000000004</c:v>
                </c:pt>
                <c:pt idx="4457">
                  <c:v>0.47899999999999998</c:v>
                </c:pt>
                <c:pt idx="4458">
                  <c:v>0.67800000000000005</c:v>
                </c:pt>
                <c:pt idx="4459">
                  <c:v>0.72899999999999998</c:v>
                </c:pt>
                <c:pt idx="4460">
                  <c:v>0.48399999999999999</c:v>
                </c:pt>
                <c:pt idx="4461">
                  <c:v>0.90100000000000002</c:v>
                </c:pt>
                <c:pt idx="4462">
                  <c:v>0.80500000000000005</c:v>
                </c:pt>
                <c:pt idx="4463">
                  <c:v>0.35699999999999998</c:v>
                </c:pt>
                <c:pt idx="4464">
                  <c:v>0.77</c:v>
                </c:pt>
                <c:pt idx="4465">
                  <c:v>0.63700000000000001</c:v>
                </c:pt>
                <c:pt idx="4466">
                  <c:v>0.91800000000000004</c:v>
                </c:pt>
                <c:pt idx="4467">
                  <c:v>0.38400000000000001</c:v>
                </c:pt>
                <c:pt idx="4468">
                  <c:v>0.45600000000000002</c:v>
                </c:pt>
                <c:pt idx="4469">
                  <c:v>0.499</c:v>
                </c:pt>
                <c:pt idx="4470">
                  <c:v>0.876</c:v>
                </c:pt>
                <c:pt idx="4471">
                  <c:v>0.81</c:v>
                </c:pt>
                <c:pt idx="4472">
                  <c:v>0.71099999999999997</c:v>
                </c:pt>
                <c:pt idx="4473">
                  <c:v>0.498</c:v>
                </c:pt>
                <c:pt idx="4474">
                  <c:v>0.46</c:v>
                </c:pt>
                <c:pt idx="4475">
                  <c:v>0.45700000000000002</c:v>
                </c:pt>
                <c:pt idx="4476">
                  <c:v>0.56499999999999995</c:v>
                </c:pt>
                <c:pt idx="4477">
                  <c:v>0.877</c:v>
                </c:pt>
                <c:pt idx="4478">
                  <c:v>0.46500000000000002</c:v>
                </c:pt>
                <c:pt idx="4479">
                  <c:v>0.39500000000000002</c:v>
                </c:pt>
                <c:pt idx="4480">
                  <c:v>0.437</c:v>
                </c:pt>
                <c:pt idx="4481">
                  <c:v>0.91100000000000003</c:v>
                </c:pt>
                <c:pt idx="4482">
                  <c:v>0.82599999999999996</c:v>
                </c:pt>
                <c:pt idx="4483">
                  <c:v>0.74399999999999999</c:v>
                </c:pt>
                <c:pt idx="4484">
                  <c:v>0.78</c:v>
                </c:pt>
                <c:pt idx="4485">
                  <c:v>0.76900000000000002</c:v>
                </c:pt>
                <c:pt idx="4486">
                  <c:v>0.87</c:v>
                </c:pt>
                <c:pt idx="4487">
                  <c:v>0.60699999999999998</c:v>
                </c:pt>
                <c:pt idx="4488">
                  <c:v>0.51800000000000002</c:v>
                </c:pt>
                <c:pt idx="4489">
                  <c:v>0.42799999999999999</c:v>
                </c:pt>
                <c:pt idx="4490">
                  <c:v>0.69499999999999995</c:v>
                </c:pt>
                <c:pt idx="4491">
                  <c:v>0.40200000000000002</c:v>
                </c:pt>
                <c:pt idx="4492">
                  <c:v>3.9E-2</c:v>
                </c:pt>
                <c:pt idx="4493">
                  <c:v>0.40100000000000002</c:v>
                </c:pt>
                <c:pt idx="4494">
                  <c:v>0.83699999999999997</c:v>
                </c:pt>
                <c:pt idx="4495">
                  <c:v>0.58599999999999997</c:v>
                </c:pt>
                <c:pt idx="4496">
                  <c:v>0.248</c:v>
                </c:pt>
                <c:pt idx="4497">
                  <c:v>0.78900000000000003</c:v>
                </c:pt>
                <c:pt idx="4498">
                  <c:v>0.33500000000000002</c:v>
                </c:pt>
                <c:pt idx="4499">
                  <c:v>0.41699999999999998</c:v>
                </c:pt>
                <c:pt idx="4500">
                  <c:v>0.13300000000000001</c:v>
                </c:pt>
                <c:pt idx="4501">
                  <c:v>0.47699999999999998</c:v>
                </c:pt>
                <c:pt idx="4502">
                  <c:v>0.52700000000000002</c:v>
                </c:pt>
                <c:pt idx="4503">
                  <c:v>0.59199999999999997</c:v>
                </c:pt>
                <c:pt idx="4504">
                  <c:v>0.81599999999999995</c:v>
                </c:pt>
                <c:pt idx="4505">
                  <c:v>0.152</c:v>
                </c:pt>
                <c:pt idx="4506">
                  <c:v>0.92300000000000004</c:v>
                </c:pt>
                <c:pt idx="4507">
                  <c:v>0.80900000000000005</c:v>
                </c:pt>
                <c:pt idx="4508">
                  <c:v>0.7</c:v>
                </c:pt>
                <c:pt idx="4509">
                  <c:v>0.76100000000000001</c:v>
                </c:pt>
                <c:pt idx="4510">
                  <c:v>0.54300000000000004</c:v>
                </c:pt>
                <c:pt idx="4511">
                  <c:v>0.93</c:v>
                </c:pt>
                <c:pt idx="4512">
                  <c:v>0.49199999999999999</c:v>
                </c:pt>
                <c:pt idx="4513">
                  <c:v>0.60399999999999998</c:v>
                </c:pt>
                <c:pt idx="4514">
                  <c:v>0.86499999999999999</c:v>
                </c:pt>
                <c:pt idx="4515">
                  <c:v>0.24399999999999999</c:v>
                </c:pt>
                <c:pt idx="4516">
                  <c:v>0.40799999999999997</c:v>
                </c:pt>
                <c:pt idx="4517">
                  <c:v>0.308</c:v>
                </c:pt>
                <c:pt idx="4518">
                  <c:v>0.752</c:v>
                </c:pt>
                <c:pt idx="4519">
                  <c:v>0.90300000000000002</c:v>
                </c:pt>
                <c:pt idx="4520">
                  <c:v>0.70099999999999996</c:v>
                </c:pt>
                <c:pt idx="4521">
                  <c:v>0.92200000000000004</c:v>
                </c:pt>
                <c:pt idx="4522">
                  <c:v>0.45700000000000002</c:v>
                </c:pt>
                <c:pt idx="4523">
                  <c:v>0.92600000000000005</c:v>
                </c:pt>
                <c:pt idx="4524">
                  <c:v>0.878</c:v>
                </c:pt>
                <c:pt idx="4525">
                  <c:v>0.92300000000000004</c:v>
                </c:pt>
                <c:pt idx="4526">
                  <c:v>0.36</c:v>
                </c:pt>
                <c:pt idx="4527">
                  <c:v>0.45200000000000001</c:v>
                </c:pt>
                <c:pt idx="4528">
                  <c:v>0.68600000000000005</c:v>
                </c:pt>
                <c:pt idx="4529">
                  <c:v>0.13200000000000001</c:v>
                </c:pt>
                <c:pt idx="4530">
                  <c:v>0.54800000000000004</c:v>
                </c:pt>
                <c:pt idx="4531">
                  <c:v>0.6</c:v>
                </c:pt>
                <c:pt idx="4532">
                  <c:v>0.92500000000000004</c:v>
                </c:pt>
                <c:pt idx="4533">
                  <c:v>0.19</c:v>
                </c:pt>
                <c:pt idx="4534">
                  <c:v>0.48699999999999999</c:v>
                </c:pt>
                <c:pt idx="4535">
                  <c:v>0.22600000000000001</c:v>
                </c:pt>
                <c:pt idx="4536">
                  <c:v>0.35</c:v>
                </c:pt>
                <c:pt idx="4537">
                  <c:v>0.20200000000000001</c:v>
                </c:pt>
                <c:pt idx="4538">
                  <c:v>0.48</c:v>
                </c:pt>
                <c:pt idx="4539">
                  <c:v>0.79900000000000004</c:v>
                </c:pt>
                <c:pt idx="4540">
                  <c:v>0.64800000000000002</c:v>
                </c:pt>
                <c:pt idx="4541">
                  <c:v>0.13800000000000001</c:v>
                </c:pt>
                <c:pt idx="4542">
                  <c:v>2.4E-2</c:v>
                </c:pt>
                <c:pt idx="4543">
                  <c:v>0.96799999999999997</c:v>
                </c:pt>
                <c:pt idx="4544">
                  <c:v>0.20699999999999999</c:v>
                </c:pt>
                <c:pt idx="4545">
                  <c:v>0.30199999999999999</c:v>
                </c:pt>
                <c:pt idx="4546">
                  <c:v>1.6E-2</c:v>
                </c:pt>
                <c:pt idx="4547">
                  <c:v>0.65200000000000002</c:v>
                </c:pt>
                <c:pt idx="4548">
                  <c:v>0.84599999999999997</c:v>
                </c:pt>
                <c:pt idx="4549">
                  <c:v>0.63400000000000001</c:v>
                </c:pt>
                <c:pt idx="4550">
                  <c:v>0.51200000000000001</c:v>
                </c:pt>
                <c:pt idx="4551">
                  <c:v>0.97499999999999998</c:v>
                </c:pt>
                <c:pt idx="4552">
                  <c:v>0.106</c:v>
                </c:pt>
                <c:pt idx="4553">
                  <c:v>0.90200000000000002</c:v>
                </c:pt>
                <c:pt idx="4554">
                  <c:v>0.627</c:v>
                </c:pt>
                <c:pt idx="4555">
                  <c:v>0.71399999999999997</c:v>
                </c:pt>
                <c:pt idx="4556">
                  <c:v>0.56499999999999995</c:v>
                </c:pt>
                <c:pt idx="4557">
                  <c:v>0.41499999999999998</c:v>
                </c:pt>
                <c:pt idx="4558">
                  <c:v>0.65</c:v>
                </c:pt>
                <c:pt idx="4559">
                  <c:v>0.436</c:v>
                </c:pt>
                <c:pt idx="4560">
                  <c:v>0.34499999999999997</c:v>
                </c:pt>
                <c:pt idx="4561">
                  <c:v>0.90900000000000003</c:v>
                </c:pt>
                <c:pt idx="4562">
                  <c:v>0.39500000000000002</c:v>
                </c:pt>
                <c:pt idx="4563">
                  <c:v>0.84599999999999997</c:v>
                </c:pt>
                <c:pt idx="4564">
                  <c:v>0.42499999999999999</c:v>
                </c:pt>
                <c:pt idx="4565">
                  <c:v>0.31900000000000001</c:v>
                </c:pt>
                <c:pt idx="4566">
                  <c:v>0.41499999999999998</c:v>
                </c:pt>
                <c:pt idx="4567">
                  <c:v>0.73799999999999999</c:v>
                </c:pt>
                <c:pt idx="4568">
                  <c:v>0.52300000000000002</c:v>
                </c:pt>
                <c:pt idx="4569">
                  <c:v>0.76</c:v>
                </c:pt>
                <c:pt idx="4570">
                  <c:v>0.35499999999999998</c:v>
                </c:pt>
                <c:pt idx="4571">
                  <c:v>0.34300000000000003</c:v>
                </c:pt>
                <c:pt idx="4572">
                  <c:v>0.81299999999999994</c:v>
                </c:pt>
                <c:pt idx="4573">
                  <c:v>0.40600000000000003</c:v>
                </c:pt>
                <c:pt idx="4574">
                  <c:v>0.48799999999999999</c:v>
                </c:pt>
                <c:pt idx="4575">
                  <c:v>0.61299999999999999</c:v>
                </c:pt>
                <c:pt idx="4576">
                  <c:v>0.54</c:v>
                </c:pt>
                <c:pt idx="4577">
                  <c:v>0.81</c:v>
                </c:pt>
                <c:pt idx="4578">
                  <c:v>0.88700000000000001</c:v>
                </c:pt>
                <c:pt idx="4579">
                  <c:v>0.97699999999999998</c:v>
                </c:pt>
                <c:pt idx="4580">
                  <c:v>0.26400000000000001</c:v>
                </c:pt>
                <c:pt idx="4581">
                  <c:v>0.31900000000000001</c:v>
                </c:pt>
                <c:pt idx="4582">
                  <c:v>0.57599999999999996</c:v>
                </c:pt>
                <c:pt idx="4583">
                  <c:v>0.80700000000000005</c:v>
                </c:pt>
                <c:pt idx="4584">
                  <c:v>0.82299999999999995</c:v>
                </c:pt>
                <c:pt idx="4585">
                  <c:v>0.14599999999999999</c:v>
                </c:pt>
                <c:pt idx="4586">
                  <c:v>0.50700000000000001</c:v>
                </c:pt>
                <c:pt idx="4587">
                  <c:v>6.3E-2</c:v>
                </c:pt>
                <c:pt idx="4588">
                  <c:v>0.61599999999999999</c:v>
                </c:pt>
                <c:pt idx="4589">
                  <c:v>0.85499999999999998</c:v>
                </c:pt>
                <c:pt idx="4590">
                  <c:v>0.48499999999999999</c:v>
                </c:pt>
                <c:pt idx="4591">
                  <c:v>0.91400000000000003</c:v>
                </c:pt>
                <c:pt idx="4592">
                  <c:v>0.67500000000000004</c:v>
                </c:pt>
                <c:pt idx="4593">
                  <c:v>0.78</c:v>
                </c:pt>
                <c:pt idx="4594">
                  <c:v>0.34599999999999997</c:v>
                </c:pt>
                <c:pt idx="4595">
                  <c:v>0.747</c:v>
                </c:pt>
                <c:pt idx="4596">
                  <c:v>0.34399999999999997</c:v>
                </c:pt>
                <c:pt idx="4597">
                  <c:v>7.8E-2</c:v>
                </c:pt>
                <c:pt idx="4598">
                  <c:v>0.70499999999999996</c:v>
                </c:pt>
                <c:pt idx="4599">
                  <c:v>0.61299999999999999</c:v>
                </c:pt>
                <c:pt idx="4600">
                  <c:v>0.878</c:v>
                </c:pt>
                <c:pt idx="4601">
                  <c:v>0.89300000000000002</c:v>
                </c:pt>
                <c:pt idx="4602">
                  <c:v>0.54900000000000004</c:v>
                </c:pt>
                <c:pt idx="4603">
                  <c:v>0.66600000000000004</c:v>
                </c:pt>
                <c:pt idx="4604">
                  <c:v>0.51900000000000002</c:v>
                </c:pt>
                <c:pt idx="4605">
                  <c:v>0.85099999999999998</c:v>
                </c:pt>
                <c:pt idx="4606">
                  <c:v>0.86199999999999999</c:v>
                </c:pt>
                <c:pt idx="4607">
                  <c:v>0.35099999999999998</c:v>
                </c:pt>
                <c:pt idx="4608">
                  <c:v>0.46500000000000002</c:v>
                </c:pt>
                <c:pt idx="4609">
                  <c:v>0.64400000000000002</c:v>
                </c:pt>
                <c:pt idx="4610">
                  <c:v>0.98699999999999999</c:v>
                </c:pt>
                <c:pt idx="4611">
                  <c:v>0.67100000000000004</c:v>
                </c:pt>
                <c:pt idx="4612">
                  <c:v>0.30499999999999999</c:v>
                </c:pt>
                <c:pt idx="4613">
                  <c:v>0.60399999999999998</c:v>
                </c:pt>
                <c:pt idx="4614">
                  <c:v>0.70799999999999996</c:v>
                </c:pt>
                <c:pt idx="4615">
                  <c:v>0.2</c:v>
                </c:pt>
                <c:pt idx="4616">
                  <c:v>9.2999999999999999E-2</c:v>
                </c:pt>
                <c:pt idx="4617">
                  <c:v>0.88800000000000001</c:v>
                </c:pt>
                <c:pt idx="4618">
                  <c:v>0.60199999999999998</c:v>
                </c:pt>
                <c:pt idx="4619">
                  <c:v>0.84599999999999997</c:v>
                </c:pt>
                <c:pt idx="4620">
                  <c:v>0.78900000000000003</c:v>
                </c:pt>
                <c:pt idx="4621">
                  <c:v>0.748</c:v>
                </c:pt>
                <c:pt idx="4622">
                  <c:v>0.83499999999999996</c:v>
                </c:pt>
                <c:pt idx="4623">
                  <c:v>0.90500000000000003</c:v>
                </c:pt>
                <c:pt idx="4624">
                  <c:v>0.97399999999999998</c:v>
                </c:pt>
                <c:pt idx="4625">
                  <c:v>0.56100000000000005</c:v>
                </c:pt>
                <c:pt idx="4626">
                  <c:v>0.47599999999999998</c:v>
                </c:pt>
                <c:pt idx="4627">
                  <c:v>0.54900000000000004</c:v>
                </c:pt>
                <c:pt idx="4628">
                  <c:v>0.93600000000000005</c:v>
                </c:pt>
                <c:pt idx="4629">
                  <c:v>0.91400000000000003</c:v>
                </c:pt>
                <c:pt idx="4630">
                  <c:v>0.28100000000000003</c:v>
                </c:pt>
                <c:pt idx="4631">
                  <c:v>0.441</c:v>
                </c:pt>
                <c:pt idx="4632">
                  <c:v>0.93600000000000005</c:v>
                </c:pt>
                <c:pt idx="4633">
                  <c:v>0.52200000000000002</c:v>
                </c:pt>
                <c:pt idx="4634">
                  <c:v>0.49199999999999999</c:v>
                </c:pt>
                <c:pt idx="4635">
                  <c:v>0.503</c:v>
                </c:pt>
                <c:pt idx="4636">
                  <c:v>0.36499999999999999</c:v>
                </c:pt>
                <c:pt idx="4637">
                  <c:v>0.55100000000000005</c:v>
                </c:pt>
                <c:pt idx="4638">
                  <c:v>0.75900000000000001</c:v>
                </c:pt>
                <c:pt idx="4639">
                  <c:v>0.94599999999999995</c:v>
                </c:pt>
                <c:pt idx="4640">
                  <c:v>0.35599999999999998</c:v>
                </c:pt>
                <c:pt idx="4641">
                  <c:v>0.78</c:v>
                </c:pt>
                <c:pt idx="4642">
                  <c:v>0.25</c:v>
                </c:pt>
                <c:pt idx="4643">
                  <c:v>0.45500000000000002</c:v>
                </c:pt>
                <c:pt idx="4644">
                  <c:v>0.70899999999999996</c:v>
                </c:pt>
                <c:pt idx="4645">
                  <c:v>0.71499999999999997</c:v>
                </c:pt>
                <c:pt idx="4646">
                  <c:v>0.64</c:v>
                </c:pt>
                <c:pt idx="4647">
                  <c:v>0.503</c:v>
                </c:pt>
                <c:pt idx="4648">
                  <c:v>0.78400000000000003</c:v>
                </c:pt>
                <c:pt idx="4649">
                  <c:v>0.89400000000000002</c:v>
                </c:pt>
                <c:pt idx="4650">
                  <c:v>0.55900000000000005</c:v>
                </c:pt>
                <c:pt idx="4651">
                  <c:v>0.66700000000000004</c:v>
                </c:pt>
                <c:pt idx="4652">
                  <c:v>0.9</c:v>
                </c:pt>
                <c:pt idx="4653">
                  <c:v>0.247</c:v>
                </c:pt>
                <c:pt idx="4654">
                  <c:v>0.71799999999999997</c:v>
                </c:pt>
                <c:pt idx="4655">
                  <c:v>0.24299999999999999</c:v>
                </c:pt>
                <c:pt idx="4656">
                  <c:v>0.88500000000000001</c:v>
                </c:pt>
                <c:pt idx="4657">
                  <c:v>0.54</c:v>
                </c:pt>
                <c:pt idx="4658">
                  <c:v>0.433</c:v>
                </c:pt>
                <c:pt idx="4659">
                  <c:v>0.47799999999999998</c:v>
                </c:pt>
                <c:pt idx="4660">
                  <c:v>0.35499999999999998</c:v>
                </c:pt>
                <c:pt idx="4661">
                  <c:v>0.25700000000000001</c:v>
                </c:pt>
                <c:pt idx="4662">
                  <c:v>0.83699999999999997</c:v>
                </c:pt>
                <c:pt idx="4663">
                  <c:v>1</c:v>
                </c:pt>
                <c:pt idx="4664">
                  <c:v>0.66800000000000004</c:v>
                </c:pt>
                <c:pt idx="4665">
                  <c:v>0.61499999999999999</c:v>
                </c:pt>
                <c:pt idx="4666">
                  <c:v>1</c:v>
                </c:pt>
                <c:pt idx="4667">
                  <c:v>0.85299999999999998</c:v>
                </c:pt>
                <c:pt idx="4668">
                  <c:v>0.66500000000000004</c:v>
                </c:pt>
                <c:pt idx="4669">
                  <c:v>0.436</c:v>
                </c:pt>
                <c:pt idx="4670">
                  <c:v>0.63800000000000001</c:v>
                </c:pt>
                <c:pt idx="4671">
                  <c:v>0.49299999999999999</c:v>
                </c:pt>
                <c:pt idx="4672">
                  <c:v>0.127</c:v>
                </c:pt>
                <c:pt idx="4673">
                  <c:v>0.68300000000000005</c:v>
                </c:pt>
                <c:pt idx="4674">
                  <c:v>0.91900000000000004</c:v>
                </c:pt>
                <c:pt idx="4675">
                  <c:v>0.27400000000000002</c:v>
                </c:pt>
                <c:pt idx="4676">
                  <c:v>0.73699999999999999</c:v>
                </c:pt>
                <c:pt idx="4677">
                  <c:v>0.90300000000000002</c:v>
                </c:pt>
                <c:pt idx="4678">
                  <c:v>0.83799999999999997</c:v>
                </c:pt>
                <c:pt idx="4679">
                  <c:v>0.26700000000000002</c:v>
                </c:pt>
                <c:pt idx="4680">
                  <c:v>0.86499999999999999</c:v>
                </c:pt>
                <c:pt idx="4681">
                  <c:v>0.68899999999999995</c:v>
                </c:pt>
                <c:pt idx="4682">
                  <c:v>0.308</c:v>
                </c:pt>
                <c:pt idx="4683">
                  <c:v>0.27200000000000002</c:v>
                </c:pt>
                <c:pt idx="4684">
                  <c:v>0.96499999999999997</c:v>
                </c:pt>
                <c:pt idx="4685">
                  <c:v>0.69</c:v>
                </c:pt>
                <c:pt idx="4686">
                  <c:v>0.61899999999999999</c:v>
                </c:pt>
                <c:pt idx="4687">
                  <c:v>0.62</c:v>
                </c:pt>
                <c:pt idx="4688">
                  <c:v>0.24299999999999999</c:v>
                </c:pt>
                <c:pt idx="4689">
                  <c:v>0.70099999999999996</c:v>
                </c:pt>
                <c:pt idx="4690">
                  <c:v>0.58499999999999996</c:v>
                </c:pt>
                <c:pt idx="4691">
                  <c:v>0.44500000000000001</c:v>
                </c:pt>
                <c:pt idx="4692">
                  <c:v>0.17499999999999999</c:v>
                </c:pt>
                <c:pt idx="4693">
                  <c:v>0.88500000000000001</c:v>
                </c:pt>
                <c:pt idx="4694">
                  <c:v>0.76200000000000001</c:v>
                </c:pt>
                <c:pt idx="4695">
                  <c:v>0.57599999999999996</c:v>
                </c:pt>
                <c:pt idx="4696">
                  <c:v>0.874</c:v>
                </c:pt>
                <c:pt idx="4697">
                  <c:v>0.72699999999999998</c:v>
                </c:pt>
                <c:pt idx="4698">
                  <c:v>0.91400000000000003</c:v>
                </c:pt>
                <c:pt idx="4699">
                  <c:v>0.41899999999999998</c:v>
                </c:pt>
                <c:pt idx="4700">
                  <c:v>0.47299999999999998</c:v>
                </c:pt>
                <c:pt idx="4701">
                  <c:v>0.64800000000000002</c:v>
                </c:pt>
                <c:pt idx="4702">
                  <c:v>0.88700000000000001</c:v>
                </c:pt>
                <c:pt idx="4703">
                  <c:v>0.40799999999999997</c:v>
                </c:pt>
                <c:pt idx="4704">
                  <c:v>0.72499999999999998</c:v>
                </c:pt>
                <c:pt idx="4705">
                  <c:v>0.40799999999999997</c:v>
                </c:pt>
                <c:pt idx="4706">
                  <c:v>0.59699999999999998</c:v>
                </c:pt>
                <c:pt idx="4707">
                  <c:v>0.44800000000000001</c:v>
                </c:pt>
                <c:pt idx="4708">
                  <c:v>0.55600000000000005</c:v>
                </c:pt>
                <c:pt idx="4709">
                  <c:v>0.88700000000000001</c:v>
                </c:pt>
                <c:pt idx="4710">
                  <c:v>0.14899999999999999</c:v>
                </c:pt>
                <c:pt idx="4711">
                  <c:v>0.52900000000000003</c:v>
                </c:pt>
                <c:pt idx="4712">
                  <c:v>0.59099999999999997</c:v>
                </c:pt>
                <c:pt idx="4713">
                  <c:v>0.13900000000000001</c:v>
                </c:pt>
                <c:pt idx="4714">
                  <c:v>0.42399999999999999</c:v>
                </c:pt>
                <c:pt idx="4715">
                  <c:v>0.64200000000000002</c:v>
                </c:pt>
                <c:pt idx="4716">
                  <c:v>0.57199999999999995</c:v>
                </c:pt>
                <c:pt idx="4717">
                  <c:v>0.70399999999999996</c:v>
                </c:pt>
                <c:pt idx="4718">
                  <c:v>0.57399999999999995</c:v>
                </c:pt>
                <c:pt idx="4719">
                  <c:v>0.109</c:v>
                </c:pt>
                <c:pt idx="4720">
                  <c:v>0.46200000000000002</c:v>
                </c:pt>
                <c:pt idx="4721">
                  <c:v>0.65</c:v>
                </c:pt>
                <c:pt idx="4722">
                  <c:v>0.50700000000000001</c:v>
                </c:pt>
                <c:pt idx="4723">
                  <c:v>0.60099999999999998</c:v>
                </c:pt>
                <c:pt idx="4724">
                  <c:v>7.1999999999999995E-2</c:v>
                </c:pt>
                <c:pt idx="4725">
                  <c:v>9.4E-2</c:v>
                </c:pt>
                <c:pt idx="4726">
                  <c:v>0.93300000000000005</c:v>
                </c:pt>
                <c:pt idx="4727">
                  <c:v>0.754</c:v>
                </c:pt>
                <c:pt idx="4728">
                  <c:v>0.627</c:v>
                </c:pt>
                <c:pt idx="4729">
                  <c:v>0.85599999999999998</c:v>
                </c:pt>
                <c:pt idx="4730">
                  <c:v>0.71599999999999997</c:v>
                </c:pt>
                <c:pt idx="4731">
                  <c:v>0.14199999999999999</c:v>
                </c:pt>
                <c:pt idx="4732">
                  <c:v>0.80300000000000005</c:v>
                </c:pt>
                <c:pt idx="4733">
                  <c:v>0.42299999999999999</c:v>
                </c:pt>
                <c:pt idx="4734">
                  <c:v>0.54500000000000004</c:v>
                </c:pt>
                <c:pt idx="4735">
                  <c:v>0.42799999999999999</c:v>
                </c:pt>
                <c:pt idx="4736">
                  <c:v>0.91600000000000004</c:v>
                </c:pt>
                <c:pt idx="4737">
                  <c:v>0.52300000000000002</c:v>
                </c:pt>
                <c:pt idx="4738">
                  <c:v>0.36499999999999999</c:v>
                </c:pt>
                <c:pt idx="4739">
                  <c:v>0.84099999999999997</c:v>
                </c:pt>
                <c:pt idx="4740">
                  <c:v>0.38600000000000001</c:v>
                </c:pt>
                <c:pt idx="4741">
                  <c:v>0.53600000000000003</c:v>
                </c:pt>
                <c:pt idx="4742">
                  <c:v>0.64</c:v>
                </c:pt>
                <c:pt idx="4743">
                  <c:v>0.78200000000000003</c:v>
                </c:pt>
                <c:pt idx="4744">
                  <c:v>0.94599999999999995</c:v>
                </c:pt>
                <c:pt idx="4745">
                  <c:v>0.28399999999999997</c:v>
                </c:pt>
                <c:pt idx="4746">
                  <c:v>0.55500000000000005</c:v>
                </c:pt>
                <c:pt idx="4747">
                  <c:v>0.76500000000000001</c:v>
                </c:pt>
                <c:pt idx="4748">
                  <c:v>0.88400000000000001</c:v>
                </c:pt>
                <c:pt idx="4749">
                  <c:v>0.63400000000000001</c:v>
                </c:pt>
                <c:pt idx="4750">
                  <c:v>0.36199999999999999</c:v>
                </c:pt>
                <c:pt idx="4751">
                  <c:v>0.53100000000000003</c:v>
                </c:pt>
                <c:pt idx="4752">
                  <c:v>0.23</c:v>
                </c:pt>
                <c:pt idx="4753">
                  <c:v>0.72399999999999998</c:v>
                </c:pt>
                <c:pt idx="4754">
                  <c:v>0.66100000000000003</c:v>
                </c:pt>
                <c:pt idx="4755">
                  <c:v>0.57899999999999996</c:v>
                </c:pt>
                <c:pt idx="4756">
                  <c:v>0.876</c:v>
                </c:pt>
                <c:pt idx="4757">
                  <c:v>0.28199999999999997</c:v>
                </c:pt>
                <c:pt idx="4758">
                  <c:v>0.53</c:v>
                </c:pt>
                <c:pt idx="4759">
                  <c:v>0.73099999999999998</c:v>
                </c:pt>
                <c:pt idx="4760">
                  <c:v>0.45200000000000001</c:v>
                </c:pt>
                <c:pt idx="4761">
                  <c:v>0.217</c:v>
                </c:pt>
                <c:pt idx="4762">
                  <c:v>0.66</c:v>
                </c:pt>
                <c:pt idx="4763">
                  <c:v>0.36299999999999999</c:v>
                </c:pt>
                <c:pt idx="4764">
                  <c:v>0.88600000000000001</c:v>
                </c:pt>
                <c:pt idx="4765">
                  <c:v>0.59099999999999997</c:v>
                </c:pt>
                <c:pt idx="4766">
                  <c:v>0.216</c:v>
                </c:pt>
                <c:pt idx="4767">
                  <c:v>0.79</c:v>
                </c:pt>
                <c:pt idx="4768">
                  <c:v>0.81699999999999995</c:v>
                </c:pt>
                <c:pt idx="4769">
                  <c:v>0.55600000000000005</c:v>
                </c:pt>
                <c:pt idx="4770">
                  <c:v>0.79500000000000004</c:v>
                </c:pt>
                <c:pt idx="4771">
                  <c:v>0.54500000000000004</c:v>
                </c:pt>
                <c:pt idx="4772">
                  <c:v>0.29699999999999999</c:v>
                </c:pt>
                <c:pt idx="4773">
                  <c:v>0.86799999999999999</c:v>
                </c:pt>
                <c:pt idx="4774">
                  <c:v>0.498</c:v>
                </c:pt>
                <c:pt idx="4775">
                  <c:v>0.17799999999999999</c:v>
                </c:pt>
                <c:pt idx="4776">
                  <c:v>0.89500000000000002</c:v>
                </c:pt>
                <c:pt idx="4777">
                  <c:v>0.83899999999999997</c:v>
                </c:pt>
                <c:pt idx="4778">
                  <c:v>0.496</c:v>
                </c:pt>
                <c:pt idx="4779">
                  <c:v>0.498</c:v>
                </c:pt>
                <c:pt idx="4780">
                  <c:v>0.56999999999999995</c:v>
                </c:pt>
                <c:pt idx="4781">
                  <c:v>0.55800000000000005</c:v>
                </c:pt>
                <c:pt idx="4782">
                  <c:v>0.23599999999999999</c:v>
                </c:pt>
                <c:pt idx="4783">
                  <c:v>0.52500000000000002</c:v>
                </c:pt>
                <c:pt idx="4784">
                  <c:v>0.80500000000000005</c:v>
                </c:pt>
                <c:pt idx="4785">
                  <c:v>0.77600000000000002</c:v>
                </c:pt>
                <c:pt idx="4786">
                  <c:v>0.98</c:v>
                </c:pt>
                <c:pt idx="4787">
                  <c:v>0.19</c:v>
                </c:pt>
                <c:pt idx="4788">
                  <c:v>0.41099999999999998</c:v>
                </c:pt>
                <c:pt idx="4789">
                  <c:v>0.93600000000000005</c:v>
                </c:pt>
                <c:pt idx="4790">
                  <c:v>0.94199999999999995</c:v>
                </c:pt>
                <c:pt idx="4791">
                  <c:v>0.57999999999999996</c:v>
                </c:pt>
                <c:pt idx="4792">
                  <c:v>0.93300000000000005</c:v>
                </c:pt>
                <c:pt idx="4793">
                  <c:v>5.6000000000000001E-2</c:v>
                </c:pt>
                <c:pt idx="4794">
                  <c:v>0.72199999999999998</c:v>
                </c:pt>
                <c:pt idx="4795">
                  <c:v>0.999</c:v>
                </c:pt>
                <c:pt idx="4796">
                  <c:v>0.47399999999999998</c:v>
                </c:pt>
                <c:pt idx="4797">
                  <c:v>0.59199999999999997</c:v>
                </c:pt>
                <c:pt idx="4798">
                  <c:v>0.34899999999999998</c:v>
                </c:pt>
                <c:pt idx="4799">
                  <c:v>0.36499999999999999</c:v>
                </c:pt>
                <c:pt idx="4800">
                  <c:v>0.249</c:v>
                </c:pt>
                <c:pt idx="4801">
                  <c:v>0.89200000000000002</c:v>
                </c:pt>
                <c:pt idx="4802">
                  <c:v>0.46500000000000002</c:v>
                </c:pt>
                <c:pt idx="4803">
                  <c:v>0.33</c:v>
                </c:pt>
                <c:pt idx="4804">
                  <c:v>0.48399999999999999</c:v>
                </c:pt>
                <c:pt idx="4805">
                  <c:v>0.76</c:v>
                </c:pt>
                <c:pt idx="4806">
                  <c:v>0.48</c:v>
                </c:pt>
                <c:pt idx="4807">
                  <c:v>0.71499999999999997</c:v>
                </c:pt>
                <c:pt idx="4808">
                  <c:v>0.52900000000000003</c:v>
                </c:pt>
                <c:pt idx="4809">
                  <c:v>0.154</c:v>
                </c:pt>
                <c:pt idx="4810">
                  <c:v>0.80300000000000005</c:v>
                </c:pt>
                <c:pt idx="4811">
                  <c:v>0.97</c:v>
                </c:pt>
                <c:pt idx="4812">
                  <c:v>0.41299999999999998</c:v>
                </c:pt>
                <c:pt idx="4813">
                  <c:v>0.82</c:v>
                </c:pt>
                <c:pt idx="4814">
                  <c:v>0.59499999999999997</c:v>
                </c:pt>
                <c:pt idx="4815">
                  <c:v>0.66300000000000003</c:v>
                </c:pt>
                <c:pt idx="4816">
                  <c:v>0.42</c:v>
                </c:pt>
                <c:pt idx="4817">
                  <c:v>0.91100000000000003</c:v>
                </c:pt>
                <c:pt idx="4818">
                  <c:v>0.90700000000000003</c:v>
                </c:pt>
                <c:pt idx="4819">
                  <c:v>0.71399999999999997</c:v>
                </c:pt>
                <c:pt idx="4820">
                  <c:v>0.95899999999999996</c:v>
                </c:pt>
                <c:pt idx="4821">
                  <c:v>0.90900000000000003</c:v>
                </c:pt>
                <c:pt idx="4822">
                  <c:v>0.88900000000000001</c:v>
                </c:pt>
                <c:pt idx="4823">
                  <c:v>0.90900000000000003</c:v>
                </c:pt>
                <c:pt idx="4824">
                  <c:v>0.47499999999999998</c:v>
                </c:pt>
                <c:pt idx="4825">
                  <c:v>0.55200000000000005</c:v>
                </c:pt>
                <c:pt idx="4826">
                  <c:v>0.53800000000000003</c:v>
                </c:pt>
                <c:pt idx="4827">
                  <c:v>0.51600000000000001</c:v>
                </c:pt>
                <c:pt idx="4828">
                  <c:v>0.48299999999999998</c:v>
                </c:pt>
                <c:pt idx="4829">
                  <c:v>0.72499999999999998</c:v>
                </c:pt>
                <c:pt idx="4830">
                  <c:v>0.59699999999999998</c:v>
                </c:pt>
                <c:pt idx="4831">
                  <c:v>0.90700000000000003</c:v>
                </c:pt>
                <c:pt idx="4832">
                  <c:v>0.32100000000000001</c:v>
                </c:pt>
                <c:pt idx="4833">
                  <c:v>0.76</c:v>
                </c:pt>
                <c:pt idx="4834">
                  <c:v>0.52400000000000002</c:v>
                </c:pt>
                <c:pt idx="4835">
                  <c:v>0.36699999999999999</c:v>
                </c:pt>
                <c:pt idx="4836">
                  <c:v>2.5000000000000001E-2</c:v>
                </c:pt>
                <c:pt idx="4837">
                  <c:v>0.437</c:v>
                </c:pt>
                <c:pt idx="4838">
                  <c:v>0.94499999999999995</c:v>
                </c:pt>
                <c:pt idx="4839">
                  <c:v>0.629</c:v>
                </c:pt>
                <c:pt idx="4840">
                  <c:v>0.94199999999999995</c:v>
                </c:pt>
                <c:pt idx="4841">
                  <c:v>0.45300000000000001</c:v>
                </c:pt>
                <c:pt idx="4842">
                  <c:v>0.57399999999999995</c:v>
                </c:pt>
                <c:pt idx="4843">
                  <c:v>0.89</c:v>
                </c:pt>
                <c:pt idx="4844">
                  <c:v>0.95799999999999996</c:v>
                </c:pt>
                <c:pt idx="4845">
                  <c:v>0.45900000000000002</c:v>
                </c:pt>
                <c:pt idx="4846">
                  <c:v>0.55800000000000005</c:v>
                </c:pt>
                <c:pt idx="4847">
                  <c:v>0.42499999999999999</c:v>
                </c:pt>
                <c:pt idx="4848">
                  <c:v>0.84199999999999997</c:v>
                </c:pt>
                <c:pt idx="4849">
                  <c:v>0.76</c:v>
                </c:pt>
                <c:pt idx="4850">
                  <c:v>0.77500000000000002</c:v>
                </c:pt>
                <c:pt idx="4851">
                  <c:v>0.92700000000000005</c:v>
                </c:pt>
                <c:pt idx="4852">
                  <c:v>0.96499999999999997</c:v>
                </c:pt>
                <c:pt idx="4853">
                  <c:v>0.79900000000000004</c:v>
                </c:pt>
                <c:pt idx="4854">
                  <c:v>0.96599999999999997</c:v>
                </c:pt>
                <c:pt idx="4855">
                  <c:v>0.73199999999999998</c:v>
                </c:pt>
                <c:pt idx="4856">
                  <c:v>0.76300000000000001</c:v>
                </c:pt>
                <c:pt idx="4857">
                  <c:v>0.16500000000000001</c:v>
                </c:pt>
                <c:pt idx="4858">
                  <c:v>0.63900000000000001</c:v>
                </c:pt>
                <c:pt idx="4859">
                  <c:v>0.115</c:v>
                </c:pt>
                <c:pt idx="4860">
                  <c:v>0.52800000000000002</c:v>
                </c:pt>
                <c:pt idx="4861">
                  <c:v>0.93500000000000005</c:v>
                </c:pt>
                <c:pt idx="4862">
                  <c:v>0.435</c:v>
                </c:pt>
                <c:pt idx="4863">
                  <c:v>0.71</c:v>
                </c:pt>
                <c:pt idx="4864">
                  <c:v>0.91900000000000004</c:v>
                </c:pt>
                <c:pt idx="4865">
                  <c:v>0.38400000000000001</c:v>
                </c:pt>
                <c:pt idx="4866">
                  <c:v>0.72399999999999998</c:v>
                </c:pt>
                <c:pt idx="4867">
                  <c:v>7.2999999999999995E-2</c:v>
                </c:pt>
                <c:pt idx="4868">
                  <c:v>5.1999999999999998E-2</c:v>
                </c:pt>
                <c:pt idx="4869">
                  <c:v>0.86899999999999999</c:v>
                </c:pt>
                <c:pt idx="4870">
                  <c:v>0.623</c:v>
                </c:pt>
                <c:pt idx="4871">
                  <c:v>0.70099999999999996</c:v>
                </c:pt>
                <c:pt idx="4872">
                  <c:v>0.90100000000000002</c:v>
                </c:pt>
                <c:pt idx="4873">
                  <c:v>0.42099999999999999</c:v>
                </c:pt>
                <c:pt idx="4874">
                  <c:v>0.34599999999999997</c:v>
                </c:pt>
                <c:pt idx="4875">
                  <c:v>0.78800000000000003</c:v>
                </c:pt>
                <c:pt idx="4876">
                  <c:v>0.65900000000000003</c:v>
                </c:pt>
                <c:pt idx="4877">
                  <c:v>0.28499999999999998</c:v>
                </c:pt>
                <c:pt idx="4878">
                  <c:v>0.26100000000000001</c:v>
                </c:pt>
                <c:pt idx="4879">
                  <c:v>0.20799999999999999</c:v>
                </c:pt>
                <c:pt idx="4880">
                  <c:v>0.107</c:v>
                </c:pt>
                <c:pt idx="4881">
                  <c:v>0.94299999999999995</c:v>
                </c:pt>
                <c:pt idx="4882">
                  <c:v>0.59599999999999997</c:v>
                </c:pt>
                <c:pt idx="4883">
                  <c:v>0.80900000000000005</c:v>
                </c:pt>
                <c:pt idx="4884">
                  <c:v>0.59599999999999997</c:v>
                </c:pt>
                <c:pt idx="4885">
                  <c:v>0.93200000000000005</c:v>
                </c:pt>
                <c:pt idx="4886">
                  <c:v>0.49</c:v>
                </c:pt>
                <c:pt idx="4887">
                  <c:v>0.748</c:v>
                </c:pt>
                <c:pt idx="4888">
                  <c:v>0.30499999999999999</c:v>
                </c:pt>
                <c:pt idx="4889">
                  <c:v>0.442</c:v>
                </c:pt>
                <c:pt idx="4890">
                  <c:v>0.29899999999999999</c:v>
                </c:pt>
                <c:pt idx="4891">
                  <c:v>0.48899999999999999</c:v>
                </c:pt>
                <c:pt idx="4892">
                  <c:v>0.62</c:v>
                </c:pt>
                <c:pt idx="4893">
                  <c:v>0.73299999999999998</c:v>
                </c:pt>
                <c:pt idx="4894">
                  <c:v>0.56599999999999995</c:v>
                </c:pt>
                <c:pt idx="4895">
                  <c:v>0.161</c:v>
                </c:pt>
                <c:pt idx="4896">
                  <c:v>0.56899999999999995</c:v>
                </c:pt>
                <c:pt idx="4897">
                  <c:v>0.26800000000000002</c:v>
                </c:pt>
                <c:pt idx="4898">
                  <c:v>0.78900000000000003</c:v>
                </c:pt>
                <c:pt idx="4899">
                  <c:v>0.78200000000000003</c:v>
                </c:pt>
                <c:pt idx="4900">
                  <c:v>0.41599999999999998</c:v>
                </c:pt>
                <c:pt idx="4901">
                  <c:v>0.58499999999999996</c:v>
                </c:pt>
                <c:pt idx="4902">
                  <c:v>0.47099999999999997</c:v>
                </c:pt>
                <c:pt idx="4903">
                  <c:v>0.47299999999999998</c:v>
                </c:pt>
                <c:pt idx="4904">
                  <c:v>0.86799999999999999</c:v>
                </c:pt>
                <c:pt idx="4905">
                  <c:v>0.56699999999999995</c:v>
                </c:pt>
                <c:pt idx="4906">
                  <c:v>0.61699999999999999</c:v>
                </c:pt>
                <c:pt idx="4907">
                  <c:v>0.437</c:v>
                </c:pt>
                <c:pt idx="4908">
                  <c:v>0.48099999999999998</c:v>
                </c:pt>
                <c:pt idx="4909">
                  <c:v>0.82899999999999996</c:v>
                </c:pt>
                <c:pt idx="4910">
                  <c:v>0.42199999999999999</c:v>
                </c:pt>
                <c:pt idx="4911">
                  <c:v>0.59099999999999997</c:v>
                </c:pt>
                <c:pt idx="4912">
                  <c:v>0.30299999999999999</c:v>
                </c:pt>
                <c:pt idx="4913">
                  <c:v>0.88400000000000001</c:v>
                </c:pt>
                <c:pt idx="4914">
                  <c:v>0.82299999999999995</c:v>
                </c:pt>
                <c:pt idx="4915">
                  <c:v>0.89</c:v>
                </c:pt>
                <c:pt idx="4916">
                  <c:v>0.35699999999999998</c:v>
                </c:pt>
                <c:pt idx="4917">
                  <c:v>0.113</c:v>
                </c:pt>
                <c:pt idx="4918">
                  <c:v>0.126</c:v>
                </c:pt>
                <c:pt idx="4919">
                  <c:v>0.504</c:v>
                </c:pt>
                <c:pt idx="4920">
                  <c:v>0.60799999999999998</c:v>
                </c:pt>
                <c:pt idx="4921">
                  <c:v>0.20399999999999999</c:v>
                </c:pt>
                <c:pt idx="4922">
                  <c:v>0.28000000000000003</c:v>
                </c:pt>
                <c:pt idx="4923">
                  <c:v>0.623</c:v>
                </c:pt>
                <c:pt idx="4924">
                  <c:v>0.69799999999999995</c:v>
                </c:pt>
                <c:pt idx="4925">
                  <c:v>0.97599999999999998</c:v>
                </c:pt>
                <c:pt idx="4926">
                  <c:v>0.65800000000000003</c:v>
                </c:pt>
                <c:pt idx="4927">
                  <c:v>0.58199999999999996</c:v>
                </c:pt>
                <c:pt idx="4928">
                  <c:v>0.79200000000000004</c:v>
                </c:pt>
                <c:pt idx="4929">
                  <c:v>0.69399999999999995</c:v>
                </c:pt>
                <c:pt idx="4930">
                  <c:v>0.82</c:v>
                </c:pt>
                <c:pt idx="4931">
                  <c:v>0.82699999999999996</c:v>
                </c:pt>
                <c:pt idx="4932">
                  <c:v>0.91400000000000003</c:v>
                </c:pt>
                <c:pt idx="4933">
                  <c:v>0.66300000000000003</c:v>
                </c:pt>
                <c:pt idx="4934">
                  <c:v>0.61699999999999999</c:v>
                </c:pt>
                <c:pt idx="4935">
                  <c:v>0.60199999999999998</c:v>
                </c:pt>
                <c:pt idx="4936">
                  <c:v>0.55000000000000004</c:v>
                </c:pt>
                <c:pt idx="4937">
                  <c:v>0.44600000000000001</c:v>
                </c:pt>
                <c:pt idx="4938">
                  <c:v>0.75900000000000001</c:v>
                </c:pt>
                <c:pt idx="4939">
                  <c:v>0.67600000000000005</c:v>
                </c:pt>
                <c:pt idx="4940">
                  <c:v>0.94399999999999995</c:v>
                </c:pt>
                <c:pt idx="4941">
                  <c:v>0.61799999999999999</c:v>
                </c:pt>
                <c:pt idx="4942">
                  <c:v>0.747</c:v>
                </c:pt>
                <c:pt idx="4943">
                  <c:v>0.432</c:v>
                </c:pt>
                <c:pt idx="4944">
                  <c:v>0.57099999999999995</c:v>
                </c:pt>
                <c:pt idx="4945">
                  <c:v>0.73499999999999999</c:v>
                </c:pt>
                <c:pt idx="4946">
                  <c:v>0.66</c:v>
                </c:pt>
                <c:pt idx="4947">
                  <c:v>0.89500000000000002</c:v>
                </c:pt>
                <c:pt idx="4948">
                  <c:v>0.878</c:v>
                </c:pt>
                <c:pt idx="4949">
                  <c:v>0.47699999999999998</c:v>
                </c:pt>
                <c:pt idx="4950">
                  <c:v>0.74399999999999999</c:v>
                </c:pt>
                <c:pt idx="4951">
                  <c:v>0.27600000000000002</c:v>
                </c:pt>
                <c:pt idx="4952">
                  <c:v>0.42499999999999999</c:v>
                </c:pt>
                <c:pt idx="4953">
                  <c:v>0.88200000000000001</c:v>
                </c:pt>
                <c:pt idx="4954">
                  <c:v>0.77100000000000002</c:v>
                </c:pt>
                <c:pt idx="4955">
                  <c:v>6.6000000000000003E-2</c:v>
                </c:pt>
                <c:pt idx="4956">
                  <c:v>0.54500000000000004</c:v>
                </c:pt>
                <c:pt idx="4957">
                  <c:v>0.64100000000000001</c:v>
                </c:pt>
                <c:pt idx="4958">
                  <c:v>0.86199999999999999</c:v>
                </c:pt>
                <c:pt idx="4959">
                  <c:v>0.26300000000000001</c:v>
                </c:pt>
                <c:pt idx="4960">
                  <c:v>0.94399999999999995</c:v>
                </c:pt>
                <c:pt idx="4961">
                  <c:v>0.62</c:v>
                </c:pt>
                <c:pt idx="4962">
                  <c:v>0.433</c:v>
                </c:pt>
                <c:pt idx="4963">
                  <c:v>0.60599999999999998</c:v>
                </c:pt>
                <c:pt idx="4964">
                  <c:v>0.30299999999999999</c:v>
                </c:pt>
                <c:pt idx="4965">
                  <c:v>0.27</c:v>
                </c:pt>
                <c:pt idx="4966">
                  <c:v>0.32400000000000001</c:v>
                </c:pt>
                <c:pt idx="4967">
                  <c:v>0.72099999999999997</c:v>
                </c:pt>
                <c:pt idx="4968">
                  <c:v>0.32300000000000001</c:v>
                </c:pt>
                <c:pt idx="4969">
                  <c:v>0.52200000000000002</c:v>
                </c:pt>
                <c:pt idx="4970">
                  <c:v>0.92200000000000004</c:v>
                </c:pt>
                <c:pt idx="4971">
                  <c:v>0.65500000000000003</c:v>
                </c:pt>
                <c:pt idx="4972">
                  <c:v>0.53100000000000003</c:v>
                </c:pt>
                <c:pt idx="4973">
                  <c:v>0.16800000000000001</c:v>
                </c:pt>
                <c:pt idx="4974">
                  <c:v>0.69599999999999995</c:v>
                </c:pt>
                <c:pt idx="4975">
                  <c:v>0.90100000000000002</c:v>
                </c:pt>
                <c:pt idx="4976">
                  <c:v>0.63700000000000001</c:v>
                </c:pt>
                <c:pt idx="4977">
                  <c:v>0.84199999999999997</c:v>
                </c:pt>
                <c:pt idx="4978">
                  <c:v>0.48799999999999999</c:v>
                </c:pt>
                <c:pt idx="4979">
                  <c:v>0.32300000000000001</c:v>
                </c:pt>
                <c:pt idx="4980">
                  <c:v>0.182</c:v>
                </c:pt>
                <c:pt idx="4981">
                  <c:v>0.442</c:v>
                </c:pt>
                <c:pt idx="4982">
                  <c:v>0.84899999999999998</c:v>
                </c:pt>
                <c:pt idx="4983">
                  <c:v>0.7</c:v>
                </c:pt>
                <c:pt idx="4984">
                  <c:v>0.95699999999999996</c:v>
                </c:pt>
                <c:pt idx="4985">
                  <c:v>0.51200000000000001</c:v>
                </c:pt>
                <c:pt idx="4986">
                  <c:v>0.42099999999999999</c:v>
                </c:pt>
                <c:pt idx="4987">
                  <c:v>0.19600000000000001</c:v>
                </c:pt>
                <c:pt idx="4988">
                  <c:v>0.69099999999999995</c:v>
                </c:pt>
                <c:pt idx="4989">
                  <c:v>0.27700000000000002</c:v>
                </c:pt>
                <c:pt idx="4990">
                  <c:v>0.38900000000000001</c:v>
                </c:pt>
                <c:pt idx="4991">
                  <c:v>0.877</c:v>
                </c:pt>
                <c:pt idx="4992">
                  <c:v>0.86599999999999999</c:v>
                </c:pt>
                <c:pt idx="4993">
                  <c:v>0.59599999999999997</c:v>
                </c:pt>
                <c:pt idx="4994">
                  <c:v>0.39600000000000002</c:v>
                </c:pt>
                <c:pt idx="4995">
                  <c:v>0.22</c:v>
                </c:pt>
                <c:pt idx="4996">
                  <c:v>0.79200000000000004</c:v>
                </c:pt>
                <c:pt idx="4997">
                  <c:v>0.52900000000000003</c:v>
                </c:pt>
                <c:pt idx="4998">
                  <c:v>0.25700000000000001</c:v>
                </c:pt>
                <c:pt idx="4999">
                  <c:v>0.35899999999999999</c:v>
                </c:pt>
                <c:pt idx="5000">
                  <c:v>0.59499999999999997</c:v>
                </c:pt>
                <c:pt idx="5001">
                  <c:v>0.67500000000000004</c:v>
                </c:pt>
                <c:pt idx="5002">
                  <c:v>0.40400000000000003</c:v>
                </c:pt>
                <c:pt idx="5003">
                  <c:v>0.88</c:v>
                </c:pt>
                <c:pt idx="5004">
                  <c:v>0.54600000000000004</c:v>
                </c:pt>
                <c:pt idx="5005">
                  <c:v>0.64800000000000002</c:v>
                </c:pt>
                <c:pt idx="5006">
                  <c:v>0.93899999999999995</c:v>
                </c:pt>
                <c:pt idx="5007">
                  <c:v>0.79500000000000004</c:v>
                </c:pt>
                <c:pt idx="5008">
                  <c:v>0.89900000000000002</c:v>
                </c:pt>
                <c:pt idx="5009">
                  <c:v>0.93</c:v>
                </c:pt>
                <c:pt idx="5010">
                  <c:v>0.97599999999999998</c:v>
                </c:pt>
                <c:pt idx="5011">
                  <c:v>0.67200000000000004</c:v>
                </c:pt>
                <c:pt idx="5012">
                  <c:v>0.45100000000000001</c:v>
                </c:pt>
                <c:pt idx="5013">
                  <c:v>0.73499999999999999</c:v>
                </c:pt>
                <c:pt idx="5014">
                  <c:v>0.5</c:v>
                </c:pt>
                <c:pt idx="5015">
                  <c:v>0.224</c:v>
                </c:pt>
                <c:pt idx="5016">
                  <c:v>0.51</c:v>
                </c:pt>
                <c:pt idx="5017">
                  <c:v>0.59399999999999997</c:v>
                </c:pt>
                <c:pt idx="5018">
                  <c:v>0.53600000000000003</c:v>
                </c:pt>
                <c:pt idx="5019">
                  <c:v>0.752</c:v>
                </c:pt>
                <c:pt idx="5020">
                  <c:v>0.29499999999999998</c:v>
                </c:pt>
                <c:pt idx="5021">
                  <c:v>0.54200000000000004</c:v>
                </c:pt>
                <c:pt idx="5022">
                  <c:v>0.94699999999999995</c:v>
                </c:pt>
                <c:pt idx="5023">
                  <c:v>0.25800000000000001</c:v>
                </c:pt>
                <c:pt idx="5024">
                  <c:v>0.23100000000000001</c:v>
                </c:pt>
                <c:pt idx="5025">
                  <c:v>0.50700000000000001</c:v>
                </c:pt>
                <c:pt idx="5026">
                  <c:v>0.45300000000000001</c:v>
                </c:pt>
                <c:pt idx="5027">
                  <c:v>0.51700000000000002</c:v>
                </c:pt>
                <c:pt idx="5028">
                  <c:v>0.38700000000000001</c:v>
                </c:pt>
                <c:pt idx="5029">
                  <c:v>0.44900000000000001</c:v>
                </c:pt>
                <c:pt idx="5030">
                  <c:v>0.96199999999999997</c:v>
                </c:pt>
                <c:pt idx="5031">
                  <c:v>0.56399999999999995</c:v>
                </c:pt>
                <c:pt idx="5032">
                  <c:v>0.753</c:v>
                </c:pt>
                <c:pt idx="5033">
                  <c:v>0.47299999999999998</c:v>
                </c:pt>
                <c:pt idx="5034">
                  <c:v>0.57099999999999995</c:v>
                </c:pt>
                <c:pt idx="5035">
                  <c:v>0.40200000000000002</c:v>
                </c:pt>
                <c:pt idx="5036">
                  <c:v>0.749</c:v>
                </c:pt>
                <c:pt idx="5037">
                  <c:v>0.154</c:v>
                </c:pt>
                <c:pt idx="5038">
                  <c:v>0.53100000000000003</c:v>
                </c:pt>
                <c:pt idx="5039">
                  <c:v>0.32700000000000001</c:v>
                </c:pt>
                <c:pt idx="5040">
                  <c:v>0.376</c:v>
                </c:pt>
                <c:pt idx="5041">
                  <c:v>0.314</c:v>
                </c:pt>
                <c:pt idx="5042">
                  <c:v>0.66700000000000004</c:v>
                </c:pt>
                <c:pt idx="5043">
                  <c:v>0.89900000000000002</c:v>
                </c:pt>
                <c:pt idx="5044">
                  <c:v>0.72099999999999997</c:v>
                </c:pt>
                <c:pt idx="5045">
                  <c:v>0.69399999999999995</c:v>
                </c:pt>
                <c:pt idx="5046">
                  <c:v>0.72299999999999998</c:v>
                </c:pt>
                <c:pt idx="5047">
                  <c:v>5.3999999999999999E-2</c:v>
                </c:pt>
                <c:pt idx="5048">
                  <c:v>0.379</c:v>
                </c:pt>
                <c:pt idx="5049">
                  <c:v>0.57899999999999996</c:v>
                </c:pt>
                <c:pt idx="5050">
                  <c:v>0.85299999999999998</c:v>
                </c:pt>
                <c:pt idx="5051">
                  <c:v>0.54500000000000004</c:v>
                </c:pt>
                <c:pt idx="5052">
                  <c:v>0.40100000000000002</c:v>
                </c:pt>
                <c:pt idx="5053">
                  <c:v>0.36399999999999999</c:v>
                </c:pt>
                <c:pt idx="5054">
                  <c:v>0.52900000000000003</c:v>
                </c:pt>
                <c:pt idx="5055">
                  <c:v>0.51100000000000001</c:v>
                </c:pt>
                <c:pt idx="5056">
                  <c:v>0.42699999999999999</c:v>
                </c:pt>
                <c:pt idx="5057">
                  <c:v>0.67500000000000004</c:v>
                </c:pt>
                <c:pt idx="5058">
                  <c:v>0.83899999999999997</c:v>
                </c:pt>
                <c:pt idx="5059">
                  <c:v>0.41299999999999998</c:v>
                </c:pt>
                <c:pt idx="5060">
                  <c:v>0.92300000000000004</c:v>
                </c:pt>
                <c:pt idx="5061">
                  <c:v>0.23400000000000001</c:v>
                </c:pt>
                <c:pt idx="5062">
                  <c:v>0.39500000000000002</c:v>
                </c:pt>
                <c:pt idx="5063">
                  <c:v>0.55300000000000005</c:v>
                </c:pt>
                <c:pt idx="5064">
                  <c:v>0.42599999999999999</c:v>
                </c:pt>
                <c:pt idx="5065">
                  <c:v>0.91300000000000003</c:v>
                </c:pt>
                <c:pt idx="5066">
                  <c:v>0.46400000000000002</c:v>
                </c:pt>
                <c:pt idx="5067">
                  <c:v>0.625</c:v>
                </c:pt>
                <c:pt idx="5068">
                  <c:v>0.501</c:v>
                </c:pt>
                <c:pt idx="5069">
                  <c:v>0.755</c:v>
                </c:pt>
                <c:pt idx="5070">
                  <c:v>0.13800000000000001</c:v>
                </c:pt>
                <c:pt idx="5071">
                  <c:v>0.309</c:v>
                </c:pt>
                <c:pt idx="5072">
                  <c:v>0.25700000000000001</c:v>
                </c:pt>
                <c:pt idx="5073">
                  <c:v>0.86699999999999999</c:v>
                </c:pt>
                <c:pt idx="5074">
                  <c:v>0.497</c:v>
                </c:pt>
                <c:pt idx="5075">
                  <c:v>0.54</c:v>
                </c:pt>
                <c:pt idx="5076">
                  <c:v>0.95899999999999996</c:v>
                </c:pt>
                <c:pt idx="5077">
                  <c:v>0.86399999999999999</c:v>
                </c:pt>
                <c:pt idx="5078">
                  <c:v>0.53300000000000003</c:v>
                </c:pt>
                <c:pt idx="5079">
                  <c:v>0.30499999999999999</c:v>
                </c:pt>
                <c:pt idx="5080">
                  <c:v>0.53300000000000003</c:v>
                </c:pt>
                <c:pt idx="5081">
                  <c:v>0.71199999999999997</c:v>
                </c:pt>
                <c:pt idx="5082">
                  <c:v>0.998</c:v>
                </c:pt>
                <c:pt idx="5083">
                  <c:v>0.21299999999999999</c:v>
                </c:pt>
                <c:pt idx="5084">
                  <c:v>0.39</c:v>
                </c:pt>
                <c:pt idx="5085">
                  <c:v>0.495</c:v>
                </c:pt>
                <c:pt idx="5086">
                  <c:v>0.52200000000000002</c:v>
                </c:pt>
                <c:pt idx="5087">
                  <c:v>0.57299999999999995</c:v>
                </c:pt>
                <c:pt idx="5088">
                  <c:v>0.81499999999999995</c:v>
                </c:pt>
                <c:pt idx="5089">
                  <c:v>0.65400000000000003</c:v>
                </c:pt>
                <c:pt idx="5090">
                  <c:v>0.497</c:v>
                </c:pt>
                <c:pt idx="5091">
                  <c:v>0.64600000000000002</c:v>
                </c:pt>
                <c:pt idx="5092">
                  <c:v>0.71199999999999997</c:v>
                </c:pt>
                <c:pt idx="5093">
                  <c:v>0.55900000000000005</c:v>
                </c:pt>
                <c:pt idx="5094">
                  <c:v>0.80400000000000005</c:v>
                </c:pt>
                <c:pt idx="5095">
                  <c:v>0.159</c:v>
                </c:pt>
                <c:pt idx="5096">
                  <c:v>0.55400000000000005</c:v>
                </c:pt>
                <c:pt idx="5097">
                  <c:v>0.623</c:v>
                </c:pt>
                <c:pt idx="5098">
                  <c:v>0.33800000000000002</c:v>
                </c:pt>
                <c:pt idx="5099">
                  <c:v>0.97699999999999998</c:v>
                </c:pt>
                <c:pt idx="5100">
                  <c:v>0.46100000000000002</c:v>
                </c:pt>
                <c:pt idx="5101">
                  <c:v>0.65100000000000002</c:v>
                </c:pt>
                <c:pt idx="5102">
                  <c:v>0.56100000000000005</c:v>
                </c:pt>
                <c:pt idx="5103">
                  <c:v>0.879</c:v>
                </c:pt>
                <c:pt idx="5104">
                  <c:v>0.94599999999999995</c:v>
                </c:pt>
                <c:pt idx="5105">
                  <c:v>0.53200000000000003</c:v>
                </c:pt>
                <c:pt idx="5106">
                  <c:v>0.93100000000000005</c:v>
                </c:pt>
                <c:pt idx="5107">
                  <c:v>0.67400000000000004</c:v>
                </c:pt>
                <c:pt idx="5108">
                  <c:v>0.69399999999999995</c:v>
                </c:pt>
                <c:pt idx="5109">
                  <c:v>0.878</c:v>
                </c:pt>
                <c:pt idx="5110">
                  <c:v>0.65200000000000002</c:v>
                </c:pt>
                <c:pt idx="5111">
                  <c:v>0.46300000000000002</c:v>
                </c:pt>
                <c:pt idx="5112">
                  <c:v>0.67200000000000004</c:v>
                </c:pt>
                <c:pt idx="5113">
                  <c:v>0.55500000000000005</c:v>
                </c:pt>
                <c:pt idx="5114">
                  <c:v>0.64500000000000002</c:v>
                </c:pt>
                <c:pt idx="5115">
                  <c:v>0.94799999999999995</c:v>
                </c:pt>
                <c:pt idx="5116">
                  <c:v>0.39400000000000002</c:v>
                </c:pt>
                <c:pt idx="5117">
                  <c:v>0.159</c:v>
                </c:pt>
                <c:pt idx="5118">
                  <c:v>0.26900000000000002</c:v>
                </c:pt>
                <c:pt idx="5119">
                  <c:v>0.54900000000000004</c:v>
                </c:pt>
                <c:pt idx="5120">
                  <c:v>0.48399999999999999</c:v>
                </c:pt>
                <c:pt idx="5121">
                  <c:v>0.96</c:v>
                </c:pt>
                <c:pt idx="5122">
                  <c:v>0.435</c:v>
                </c:pt>
                <c:pt idx="5123">
                  <c:v>0.626</c:v>
                </c:pt>
                <c:pt idx="5124">
                  <c:v>0.53400000000000003</c:v>
                </c:pt>
                <c:pt idx="5125">
                  <c:v>0.83199999999999996</c:v>
                </c:pt>
                <c:pt idx="5126">
                  <c:v>0.33</c:v>
                </c:pt>
                <c:pt idx="5127">
                  <c:v>0.67300000000000004</c:v>
                </c:pt>
                <c:pt idx="5128">
                  <c:v>0.98899999999999999</c:v>
                </c:pt>
                <c:pt idx="5129">
                  <c:v>0.41699999999999998</c:v>
                </c:pt>
                <c:pt idx="5130">
                  <c:v>0.65100000000000002</c:v>
                </c:pt>
                <c:pt idx="5131">
                  <c:v>0.71</c:v>
                </c:pt>
                <c:pt idx="5132">
                  <c:v>0.83199999999999996</c:v>
                </c:pt>
                <c:pt idx="5133">
                  <c:v>0.47399999999999998</c:v>
                </c:pt>
                <c:pt idx="5134">
                  <c:v>0.48299999999999998</c:v>
                </c:pt>
                <c:pt idx="5135">
                  <c:v>0.54400000000000004</c:v>
                </c:pt>
                <c:pt idx="5136">
                  <c:v>0.45900000000000002</c:v>
                </c:pt>
                <c:pt idx="5137">
                  <c:v>0.42599999999999999</c:v>
                </c:pt>
                <c:pt idx="5138">
                  <c:v>0.82699999999999996</c:v>
                </c:pt>
                <c:pt idx="5139">
                  <c:v>0.67600000000000005</c:v>
                </c:pt>
                <c:pt idx="5140">
                  <c:v>0.47499999999999998</c:v>
                </c:pt>
                <c:pt idx="5141">
                  <c:v>0.222</c:v>
                </c:pt>
                <c:pt idx="5142">
                  <c:v>0.57399999999999995</c:v>
                </c:pt>
                <c:pt idx="5143">
                  <c:v>0.49</c:v>
                </c:pt>
                <c:pt idx="5144">
                  <c:v>0.35799999999999998</c:v>
                </c:pt>
                <c:pt idx="5145">
                  <c:v>0.51600000000000001</c:v>
                </c:pt>
                <c:pt idx="5146">
                  <c:v>0.14599999999999999</c:v>
                </c:pt>
                <c:pt idx="5147">
                  <c:v>0.67400000000000004</c:v>
                </c:pt>
                <c:pt idx="5148">
                  <c:v>0.78800000000000003</c:v>
                </c:pt>
                <c:pt idx="5149">
                  <c:v>0.89200000000000002</c:v>
                </c:pt>
                <c:pt idx="5150">
                  <c:v>0.4</c:v>
                </c:pt>
                <c:pt idx="5151">
                  <c:v>0.93100000000000005</c:v>
                </c:pt>
                <c:pt idx="5152">
                  <c:v>0.88800000000000001</c:v>
                </c:pt>
                <c:pt idx="5153">
                  <c:v>0.94499999999999995</c:v>
                </c:pt>
                <c:pt idx="5154">
                  <c:v>0.42399999999999999</c:v>
                </c:pt>
                <c:pt idx="5155">
                  <c:v>0.53100000000000003</c:v>
                </c:pt>
                <c:pt idx="5156">
                  <c:v>0.88900000000000001</c:v>
                </c:pt>
                <c:pt idx="5157">
                  <c:v>0.61699999999999999</c:v>
                </c:pt>
                <c:pt idx="5158">
                  <c:v>0.63100000000000001</c:v>
                </c:pt>
                <c:pt idx="5159">
                  <c:v>0.22800000000000001</c:v>
                </c:pt>
                <c:pt idx="5160">
                  <c:v>8.8999999999999996E-2</c:v>
                </c:pt>
                <c:pt idx="5161">
                  <c:v>0.76200000000000001</c:v>
                </c:pt>
                <c:pt idx="5162">
                  <c:v>0.748</c:v>
                </c:pt>
                <c:pt idx="5163">
                  <c:v>0.66700000000000004</c:v>
                </c:pt>
                <c:pt idx="5164">
                  <c:v>0.72</c:v>
                </c:pt>
                <c:pt idx="5165">
                  <c:v>0.60599999999999998</c:v>
                </c:pt>
                <c:pt idx="5166">
                  <c:v>0.75900000000000001</c:v>
                </c:pt>
                <c:pt idx="5167">
                  <c:v>0.96</c:v>
                </c:pt>
                <c:pt idx="5168">
                  <c:v>0.84799999999999998</c:v>
                </c:pt>
                <c:pt idx="5169">
                  <c:v>0.80900000000000005</c:v>
                </c:pt>
                <c:pt idx="5170">
                  <c:v>0.48199999999999998</c:v>
                </c:pt>
                <c:pt idx="5171">
                  <c:v>0.877</c:v>
                </c:pt>
                <c:pt idx="5172">
                  <c:v>0.70199999999999996</c:v>
                </c:pt>
                <c:pt idx="5173">
                  <c:v>0.11700000000000001</c:v>
                </c:pt>
                <c:pt idx="5174">
                  <c:v>0.317</c:v>
                </c:pt>
                <c:pt idx="5175">
                  <c:v>0.50700000000000001</c:v>
                </c:pt>
                <c:pt idx="5176">
                  <c:v>0.92600000000000005</c:v>
                </c:pt>
                <c:pt idx="5177">
                  <c:v>0.84</c:v>
                </c:pt>
                <c:pt idx="5178">
                  <c:v>0.64400000000000002</c:v>
                </c:pt>
                <c:pt idx="5179">
                  <c:v>0.89500000000000002</c:v>
                </c:pt>
                <c:pt idx="5180">
                  <c:v>0.82399999999999995</c:v>
                </c:pt>
                <c:pt idx="5181">
                  <c:v>0.69499999999999995</c:v>
                </c:pt>
                <c:pt idx="5182">
                  <c:v>0.90800000000000003</c:v>
                </c:pt>
                <c:pt idx="5183">
                  <c:v>0.85299999999999998</c:v>
                </c:pt>
                <c:pt idx="5184">
                  <c:v>0.71</c:v>
                </c:pt>
                <c:pt idx="5185">
                  <c:v>0.70699999999999996</c:v>
                </c:pt>
                <c:pt idx="5186">
                  <c:v>0.47299999999999998</c:v>
                </c:pt>
                <c:pt idx="5187">
                  <c:v>0.71899999999999997</c:v>
                </c:pt>
                <c:pt idx="5188">
                  <c:v>0.66800000000000004</c:v>
                </c:pt>
                <c:pt idx="5189">
                  <c:v>0.54900000000000004</c:v>
                </c:pt>
                <c:pt idx="5190">
                  <c:v>0.44900000000000001</c:v>
                </c:pt>
                <c:pt idx="5191">
                  <c:v>0.443</c:v>
                </c:pt>
                <c:pt idx="5192">
                  <c:v>0.374</c:v>
                </c:pt>
                <c:pt idx="5193">
                  <c:v>0.84199999999999997</c:v>
                </c:pt>
                <c:pt idx="5194">
                  <c:v>0.42</c:v>
                </c:pt>
                <c:pt idx="5195">
                  <c:v>0.55300000000000005</c:v>
                </c:pt>
                <c:pt idx="5196">
                  <c:v>0.41499999999999998</c:v>
                </c:pt>
                <c:pt idx="5197">
                  <c:v>0.378</c:v>
                </c:pt>
                <c:pt idx="5198">
                  <c:v>0.59299999999999997</c:v>
                </c:pt>
                <c:pt idx="5199">
                  <c:v>0.253</c:v>
                </c:pt>
                <c:pt idx="5200">
                  <c:v>0.23400000000000001</c:v>
                </c:pt>
                <c:pt idx="5201">
                  <c:v>0.50800000000000001</c:v>
                </c:pt>
                <c:pt idx="5202">
                  <c:v>0.65600000000000003</c:v>
                </c:pt>
                <c:pt idx="5203">
                  <c:v>0.55300000000000005</c:v>
                </c:pt>
                <c:pt idx="5204">
                  <c:v>0.36099999999999999</c:v>
                </c:pt>
                <c:pt idx="5205">
                  <c:v>0.496</c:v>
                </c:pt>
                <c:pt idx="5206">
                  <c:v>0.92300000000000004</c:v>
                </c:pt>
                <c:pt idx="5207">
                  <c:v>0.224</c:v>
                </c:pt>
                <c:pt idx="5208">
                  <c:v>0.998</c:v>
                </c:pt>
                <c:pt idx="5209">
                  <c:v>0.78900000000000003</c:v>
                </c:pt>
                <c:pt idx="5210">
                  <c:v>0.41599999999999998</c:v>
                </c:pt>
                <c:pt idx="5211">
                  <c:v>0.73299999999999998</c:v>
                </c:pt>
                <c:pt idx="5212">
                  <c:v>0.98299999999999998</c:v>
                </c:pt>
                <c:pt idx="5213">
                  <c:v>0.90500000000000003</c:v>
                </c:pt>
                <c:pt idx="5214">
                  <c:v>0.9</c:v>
                </c:pt>
                <c:pt idx="5215">
                  <c:v>0.48</c:v>
                </c:pt>
                <c:pt idx="5216">
                  <c:v>0.91300000000000003</c:v>
                </c:pt>
                <c:pt idx="5217">
                  <c:v>0.58499999999999996</c:v>
                </c:pt>
                <c:pt idx="5218">
                  <c:v>0.88300000000000001</c:v>
                </c:pt>
                <c:pt idx="5219">
                  <c:v>0.56200000000000006</c:v>
                </c:pt>
                <c:pt idx="5220">
                  <c:v>0.61399999999999999</c:v>
                </c:pt>
                <c:pt idx="5221">
                  <c:v>0.80300000000000005</c:v>
                </c:pt>
                <c:pt idx="5222">
                  <c:v>0.48399999999999999</c:v>
                </c:pt>
                <c:pt idx="5223">
                  <c:v>0.68200000000000005</c:v>
                </c:pt>
                <c:pt idx="5224">
                  <c:v>0.72699999999999998</c:v>
                </c:pt>
                <c:pt idx="5225">
                  <c:v>0.39100000000000001</c:v>
                </c:pt>
                <c:pt idx="5226">
                  <c:v>0.46300000000000002</c:v>
                </c:pt>
                <c:pt idx="5227">
                  <c:v>0.499</c:v>
                </c:pt>
                <c:pt idx="5228">
                  <c:v>5.3999999999999999E-2</c:v>
                </c:pt>
                <c:pt idx="5229">
                  <c:v>0.71699999999999997</c:v>
                </c:pt>
                <c:pt idx="5230">
                  <c:v>0.33600000000000002</c:v>
                </c:pt>
                <c:pt idx="5231">
                  <c:v>0.95099999999999996</c:v>
                </c:pt>
                <c:pt idx="5232">
                  <c:v>4.1000000000000002E-2</c:v>
                </c:pt>
                <c:pt idx="5233">
                  <c:v>0.36199999999999999</c:v>
                </c:pt>
                <c:pt idx="5234">
                  <c:v>0.623</c:v>
                </c:pt>
                <c:pt idx="5235">
                  <c:v>0.46100000000000002</c:v>
                </c:pt>
                <c:pt idx="5236">
                  <c:v>0.248</c:v>
                </c:pt>
                <c:pt idx="5237">
                  <c:v>0.873</c:v>
                </c:pt>
                <c:pt idx="5238">
                  <c:v>0.42699999999999999</c:v>
                </c:pt>
                <c:pt idx="5239">
                  <c:v>0.61799999999999999</c:v>
                </c:pt>
                <c:pt idx="5240">
                  <c:v>0.374</c:v>
                </c:pt>
                <c:pt idx="5241">
                  <c:v>0.41599999999999998</c:v>
                </c:pt>
                <c:pt idx="5242">
                  <c:v>0.123</c:v>
                </c:pt>
                <c:pt idx="5243">
                  <c:v>0.745</c:v>
                </c:pt>
                <c:pt idx="5244">
                  <c:v>0.315</c:v>
                </c:pt>
                <c:pt idx="5245">
                  <c:v>0.36899999999999999</c:v>
                </c:pt>
                <c:pt idx="5246">
                  <c:v>0.52500000000000002</c:v>
                </c:pt>
                <c:pt idx="5247">
                  <c:v>0.49199999999999999</c:v>
                </c:pt>
                <c:pt idx="5248">
                  <c:v>0.36399999999999999</c:v>
                </c:pt>
                <c:pt idx="5249">
                  <c:v>0.36499999999999999</c:v>
                </c:pt>
                <c:pt idx="5250">
                  <c:v>6.8000000000000005E-2</c:v>
                </c:pt>
                <c:pt idx="5251">
                  <c:v>0.26300000000000001</c:v>
                </c:pt>
                <c:pt idx="5252">
                  <c:v>0.34499999999999997</c:v>
                </c:pt>
                <c:pt idx="5253">
                  <c:v>0.63600000000000001</c:v>
                </c:pt>
                <c:pt idx="5254">
                  <c:v>0.79100000000000004</c:v>
                </c:pt>
                <c:pt idx="5255">
                  <c:v>0.45400000000000001</c:v>
                </c:pt>
                <c:pt idx="5256">
                  <c:v>0.81399999999999995</c:v>
                </c:pt>
                <c:pt idx="5257">
                  <c:v>0.499</c:v>
                </c:pt>
                <c:pt idx="5258">
                  <c:v>0.59799999999999998</c:v>
                </c:pt>
                <c:pt idx="5259">
                  <c:v>0.79300000000000004</c:v>
                </c:pt>
                <c:pt idx="5260">
                  <c:v>0.66700000000000004</c:v>
                </c:pt>
                <c:pt idx="5261">
                  <c:v>0.63400000000000001</c:v>
                </c:pt>
                <c:pt idx="5262">
                  <c:v>0.28299999999999997</c:v>
                </c:pt>
                <c:pt idx="5263">
                  <c:v>0.60299999999999998</c:v>
                </c:pt>
                <c:pt idx="5264">
                  <c:v>0.72899999999999998</c:v>
                </c:pt>
                <c:pt idx="5265">
                  <c:v>0.95799999999999996</c:v>
                </c:pt>
                <c:pt idx="5266">
                  <c:v>0.83</c:v>
                </c:pt>
                <c:pt idx="5267">
                  <c:v>0.44600000000000001</c:v>
                </c:pt>
                <c:pt idx="5268">
                  <c:v>0.48499999999999999</c:v>
                </c:pt>
                <c:pt idx="5269">
                  <c:v>0.69399999999999995</c:v>
                </c:pt>
                <c:pt idx="5270">
                  <c:v>0.63200000000000001</c:v>
                </c:pt>
                <c:pt idx="5271">
                  <c:v>0.94</c:v>
                </c:pt>
                <c:pt idx="5272">
                  <c:v>0.74199999999999999</c:v>
                </c:pt>
                <c:pt idx="5273">
                  <c:v>0.68</c:v>
                </c:pt>
                <c:pt idx="5274">
                  <c:v>0.97599999999999998</c:v>
                </c:pt>
                <c:pt idx="5275">
                  <c:v>0.438</c:v>
                </c:pt>
                <c:pt idx="5276">
                  <c:v>0.379</c:v>
                </c:pt>
                <c:pt idx="5277">
                  <c:v>0.41599999999999998</c:v>
                </c:pt>
                <c:pt idx="5278">
                  <c:v>0.436</c:v>
                </c:pt>
                <c:pt idx="5279">
                  <c:v>0.69799999999999995</c:v>
                </c:pt>
                <c:pt idx="5280">
                  <c:v>0.88500000000000001</c:v>
                </c:pt>
                <c:pt idx="5281">
                  <c:v>0.434</c:v>
                </c:pt>
                <c:pt idx="5282">
                  <c:v>0.26200000000000001</c:v>
                </c:pt>
                <c:pt idx="5283">
                  <c:v>0.90300000000000002</c:v>
                </c:pt>
                <c:pt idx="5284">
                  <c:v>0.59499999999999997</c:v>
                </c:pt>
                <c:pt idx="5285">
                  <c:v>0.85399999999999998</c:v>
                </c:pt>
                <c:pt idx="5286">
                  <c:v>0.64200000000000002</c:v>
                </c:pt>
                <c:pt idx="5287">
                  <c:v>0.89400000000000002</c:v>
                </c:pt>
                <c:pt idx="5288">
                  <c:v>0.189</c:v>
                </c:pt>
                <c:pt idx="5289">
                  <c:v>0.92</c:v>
                </c:pt>
                <c:pt idx="5290">
                  <c:v>0.67700000000000005</c:v>
                </c:pt>
                <c:pt idx="5291">
                  <c:v>0.92200000000000004</c:v>
                </c:pt>
                <c:pt idx="5292">
                  <c:v>0.11</c:v>
                </c:pt>
                <c:pt idx="5293">
                  <c:v>0.76300000000000001</c:v>
                </c:pt>
                <c:pt idx="5294">
                  <c:v>0.51700000000000002</c:v>
                </c:pt>
                <c:pt idx="5295">
                  <c:v>0.70699999999999996</c:v>
                </c:pt>
                <c:pt idx="5296">
                  <c:v>0.93700000000000006</c:v>
                </c:pt>
                <c:pt idx="5297">
                  <c:v>0.87</c:v>
                </c:pt>
                <c:pt idx="5298">
                  <c:v>0.60899999999999999</c:v>
                </c:pt>
                <c:pt idx="5299">
                  <c:v>0.38200000000000001</c:v>
                </c:pt>
                <c:pt idx="5300">
                  <c:v>0.72899999999999998</c:v>
                </c:pt>
                <c:pt idx="5301">
                  <c:v>0.40200000000000002</c:v>
                </c:pt>
                <c:pt idx="5302">
                  <c:v>0.85</c:v>
                </c:pt>
                <c:pt idx="5303">
                  <c:v>0.36699999999999999</c:v>
                </c:pt>
                <c:pt idx="5304">
                  <c:v>0.61</c:v>
                </c:pt>
                <c:pt idx="5305">
                  <c:v>0.82499999999999996</c:v>
                </c:pt>
                <c:pt idx="5306">
                  <c:v>0.34</c:v>
                </c:pt>
                <c:pt idx="5307">
                  <c:v>0.90200000000000002</c:v>
                </c:pt>
                <c:pt idx="5308">
                  <c:v>0.48399999999999999</c:v>
                </c:pt>
                <c:pt idx="5309">
                  <c:v>0.56399999999999995</c:v>
                </c:pt>
                <c:pt idx="5310">
                  <c:v>0.48199999999999998</c:v>
                </c:pt>
                <c:pt idx="5311">
                  <c:v>0.27200000000000002</c:v>
                </c:pt>
                <c:pt idx="5312">
                  <c:v>0.64600000000000002</c:v>
                </c:pt>
                <c:pt idx="5313">
                  <c:v>0.56000000000000005</c:v>
                </c:pt>
                <c:pt idx="5314">
                  <c:v>0.217</c:v>
                </c:pt>
                <c:pt idx="5315">
                  <c:v>0.69699999999999995</c:v>
                </c:pt>
                <c:pt idx="5316">
                  <c:v>0.97099999999999997</c:v>
                </c:pt>
                <c:pt idx="5317">
                  <c:v>0.79100000000000004</c:v>
                </c:pt>
                <c:pt idx="5318">
                  <c:v>0.85099999999999998</c:v>
                </c:pt>
                <c:pt idx="5319">
                  <c:v>0.32700000000000001</c:v>
                </c:pt>
                <c:pt idx="5320">
                  <c:v>0.627</c:v>
                </c:pt>
                <c:pt idx="5321">
                  <c:v>0.34300000000000003</c:v>
                </c:pt>
                <c:pt idx="5322">
                  <c:v>0.42899999999999999</c:v>
                </c:pt>
                <c:pt idx="5323">
                  <c:v>0.68799999999999994</c:v>
                </c:pt>
                <c:pt idx="5324">
                  <c:v>0.27</c:v>
                </c:pt>
                <c:pt idx="5325">
                  <c:v>0.76300000000000001</c:v>
                </c:pt>
                <c:pt idx="5326">
                  <c:v>0.76500000000000001</c:v>
                </c:pt>
                <c:pt idx="5327">
                  <c:v>0.47199999999999998</c:v>
                </c:pt>
                <c:pt idx="5328">
                  <c:v>0.88600000000000001</c:v>
                </c:pt>
                <c:pt idx="5329">
                  <c:v>0.66100000000000003</c:v>
                </c:pt>
                <c:pt idx="5330">
                  <c:v>0.314</c:v>
                </c:pt>
                <c:pt idx="5331">
                  <c:v>0.55100000000000005</c:v>
                </c:pt>
                <c:pt idx="5332">
                  <c:v>0.80600000000000005</c:v>
                </c:pt>
                <c:pt idx="5333">
                  <c:v>0.45400000000000001</c:v>
                </c:pt>
                <c:pt idx="5334">
                  <c:v>0.63600000000000001</c:v>
                </c:pt>
                <c:pt idx="5335">
                  <c:v>0.50700000000000001</c:v>
                </c:pt>
                <c:pt idx="5336">
                  <c:v>0.13700000000000001</c:v>
                </c:pt>
                <c:pt idx="5337">
                  <c:v>8.1000000000000003E-2</c:v>
                </c:pt>
                <c:pt idx="5338">
                  <c:v>0.67500000000000004</c:v>
                </c:pt>
                <c:pt idx="5339">
                  <c:v>0.68200000000000005</c:v>
                </c:pt>
                <c:pt idx="5340">
                  <c:v>0.70099999999999996</c:v>
                </c:pt>
                <c:pt idx="5341">
                  <c:v>0.497</c:v>
                </c:pt>
                <c:pt idx="5342">
                  <c:v>0.35599999999999998</c:v>
                </c:pt>
                <c:pt idx="5343">
                  <c:v>0.35699999999999998</c:v>
                </c:pt>
                <c:pt idx="5344">
                  <c:v>0.94299999999999995</c:v>
                </c:pt>
                <c:pt idx="5345">
                  <c:v>0.74299999999999999</c:v>
                </c:pt>
                <c:pt idx="5346">
                  <c:v>0.53500000000000003</c:v>
                </c:pt>
                <c:pt idx="5347">
                  <c:v>0.81799999999999995</c:v>
                </c:pt>
                <c:pt idx="5348">
                  <c:v>0.86899999999999999</c:v>
                </c:pt>
                <c:pt idx="5349">
                  <c:v>0.8</c:v>
                </c:pt>
                <c:pt idx="5350">
                  <c:v>0.47399999999999998</c:v>
                </c:pt>
                <c:pt idx="5351">
                  <c:v>0.93100000000000005</c:v>
                </c:pt>
                <c:pt idx="5352">
                  <c:v>0.372</c:v>
                </c:pt>
                <c:pt idx="5353">
                  <c:v>0.09</c:v>
                </c:pt>
                <c:pt idx="5354">
                  <c:v>0.75900000000000001</c:v>
                </c:pt>
                <c:pt idx="5355">
                  <c:v>0.63700000000000001</c:v>
                </c:pt>
                <c:pt idx="5356">
                  <c:v>0.23100000000000001</c:v>
                </c:pt>
                <c:pt idx="5357">
                  <c:v>0.751</c:v>
                </c:pt>
                <c:pt idx="5358">
                  <c:v>0.95099999999999996</c:v>
                </c:pt>
                <c:pt idx="5359">
                  <c:v>0.28299999999999997</c:v>
                </c:pt>
                <c:pt idx="5360">
                  <c:v>0.75600000000000001</c:v>
                </c:pt>
                <c:pt idx="5361">
                  <c:v>0.81399999999999995</c:v>
                </c:pt>
                <c:pt idx="5362">
                  <c:v>0.47399999999999998</c:v>
                </c:pt>
                <c:pt idx="5363">
                  <c:v>0.79800000000000004</c:v>
                </c:pt>
                <c:pt idx="5364">
                  <c:v>0.32800000000000001</c:v>
                </c:pt>
                <c:pt idx="5365">
                  <c:v>0.872</c:v>
                </c:pt>
                <c:pt idx="5366">
                  <c:v>0.95299999999999996</c:v>
                </c:pt>
                <c:pt idx="5367">
                  <c:v>0.80500000000000005</c:v>
                </c:pt>
                <c:pt idx="5368">
                  <c:v>0.63</c:v>
                </c:pt>
                <c:pt idx="5369">
                  <c:v>0.89</c:v>
                </c:pt>
                <c:pt idx="5370">
                  <c:v>0.95099999999999996</c:v>
                </c:pt>
                <c:pt idx="5371">
                  <c:v>0.86399999999999999</c:v>
                </c:pt>
                <c:pt idx="5372">
                  <c:v>0.39900000000000002</c:v>
                </c:pt>
                <c:pt idx="5373">
                  <c:v>0.2</c:v>
                </c:pt>
                <c:pt idx="5374">
                  <c:v>0.86499999999999999</c:v>
                </c:pt>
                <c:pt idx="5375">
                  <c:v>0.72299999999999998</c:v>
                </c:pt>
                <c:pt idx="5376">
                  <c:v>0.92100000000000004</c:v>
                </c:pt>
                <c:pt idx="5377">
                  <c:v>0.51300000000000001</c:v>
                </c:pt>
                <c:pt idx="5378">
                  <c:v>0.83699999999999997</c:v>
                </c:pt>
                <c:pt idx="5379">
                  <c:v>0.55900000000000005</c:v>
                </c:pt>
                <c:pt idx="5380">
                  <c:v>0.45100000000000001</c:v>
                </c:pt>
                <c:pt idx="5381">
                  <c:v>0.50800000000000001</c:v>
                </c:pt>
                <c:pt idx="5382">
                  <c:v>0.72599999999999998</c:v>
                </c:pt>
                <c:pt idx="5383">
                  <c:v>0.76100000000000001</c:v>
                </c:pt>
                <c:pt idx="5384">
                  <c:v>0.27900000000000003</c:v>
                </c:pt>
                <c:pt idx="5385">
                  <c:v>4.7E-2</c:v>
                </c:pt>
                <c:pt idx="5386">
                  <c:v>0.49399999999999999</c:v>
                </c:pt>
                <c:pt idx="5387">
                  <c:v>0.46800000000000003</c:v>
                </c:pt>
                <c:pt idx="5388">
                  <c:v>0.53800000000000003</c:v>
                </c:pt>
                <c:pt idx="5389">
                  <c:v>0.41</c:v>
                </c:pt>
                <c:pt idx="5390">
                  <c:v>0.57699999999999996</c:v>
                </c:pt>
                <c:pt idx="5391">
                  <c:v>0.61199999999999999</c:v>
                </c:pt>
                <c:pt idx="5392">
                  <c:v>0.73899999999999999</c:v>
                </c:pt>
                <c:pt idx="5393">
                  <c:v>0.32200000000000001</c:v>
                </c:pt>
                <c:pt idx="5394">
                  <c:v>0.88700000000000001</c:v>
                </c:pt>
                <c:pt idx="5395">
                  <c:v>0.81899999999999995</c:v>
                </c:pt>
                <c:pt idx="5396">
                  <c:v>8.5000000000000006E-2</c:v>
                </c:pt>
                <c:pt idx="5397">
                  <c:v>0.36499999999999999</c:v>
                </c:pt>
                <c:pt idx="5398">
                  <c:v>0.35899999999999999</c:v>
                </c:pt>
                <c:pt idx="5399">
                  <c:v>0.56000000000000005</c:v>
                </c:pt>
                <c:pt idx="5400">
                  <c:v>0.46600000000000003</c:v>
                </c:pt>
                <c:pt idx="5401">
                  <c:v>0.39300000000000002</c:v>
                </c:pt>
                <c:pt idx="5402">
                  <c:v>0.93600000000000005</c:v>
                </c:pt>
                <c:pt idx="5403">
                  <c:v>0.71799999999999997</c:v>
                </c:pt>
                <c:pt idx="5404">
                  <c:v>0.66500000000000004</c:v>
                </c:pt>
                <c:pt idx="5405">
                  <c:v>0.69099999999999995</c:v>
                </c:pt>
                <c:pt idx="5406">
                  <c:v>0.87</c:v>
                </c:pt>
                <c:pt idx="5407">
                  <c:v>0.7</c:v>
                </c:pt>
                <c:pt idx="5408">
                  <c:v>0.33900000000000002</c:v>
                </c:pt>
                <c:pt idx="5409">
                  <c:v>0.91800000000000004</c:v>
                </c:pt>
                <c:pt idx="5410">
                  <c:v>0.91300000000000003</c:v>
                </c:pt>
                <c:pt idx="5411">
                  <c:v>0.53</c:v>
                </c:pt>
                <c:pt idx="5412">
                  <c:v>0.63400000000000001</c:v>
                </c:pt>
                <c:pt idx="5413">
                  <c:v>0.72499999999999998</c:v>
                </c:pt>
                <c:pt idx="5414">
                  <c:v>0.33700000000000002</c:v>
                </c:pt>
                <c:pt idx="5415">
                  <c:v>0.82899999999999996</c:v>
                </c:pt>
                <c:pt idx="5416">
                  <c:v>0.66400000000000003</c:v>
                </c:pt>
                <c:pt idx="5417">
                  <c:v>0.81799999999999995</c:v>
                </c:pt>
                <c:pt idx="5418">
                  <c:v>0.72299999999999998</c:v>
                </c:pt>
                <c:pt idx="5419">
                  <c:v>0.621</c:v>
                </c:pt>
                <c:pt idx="5420">
                  <c:v>0.44500000000000001</c:v>
                </c:pt>
                <c:pt idx="5421">
                  <c:v>0.55800000000000005</c:v>
                </c:pt>
                <c:pt idx="5422">
                  <c:v>0.59699999999999998</c:v>
                </c:pt>
                <c:pt idx="5423">
                  <c:v>0.65300000000000002</c:v>
                </c:pt>
                <c:pt idx="5424">
                  <c:v>0.86499999999999999</c:v>
                </c:pt>
                <c:pt idx="5425">
                  <c:v>0.91100000000000003</c:v>
                </c:pt>
                <c:pt idx="5426">
                  <c:v>0.52600000000000002</c:v>
                </c:pt>
                <c:pt idx="5427">
                  <c:v>0.88600000000000001</c:v>
                </c:pt>
                <c:pt idx="5428">
                  <c:v>0.42299999999999999</c:v>
                </c:pt>
                <c:pt idx="5429">
                  <c:v>0.19800000000000001</c:v>
                </c:pt>
                <c:pt idx="5430">
                  <c:v>0.375</c:v>
                </c:pt>
                <c:pt idx="5431">
                  <c:v>0.59199999999999997</c:v>
                </c:pt>
                <c:pt idx="5432">
                  <c:v>0.41299999999999998</c:v>
                </c:pt>
                <c:pt idx="5433">
                  <c:v>0.88700000000000001</c:v>
                </c:pt>
                <c:pt idx="5434">
                  <c:v>0.79500000000000004</c:v>
                </c:pt>
                <c:pt idx="5435">
                  <c:v>0.28799999999999998</c:v>
                </c:pt>
                <c:pt idx="5436">
                  <c:v>0.81100000000000005</c:v>
                </c:pt>
                <c:pt idx="5437">
                  <c:v>0.1</c:v>
                </c:pt>
                <c:pt idx="5438">
                  <c:v>0.50800000000000001</c:v>
                </c:pt>
                <c:pt idx="5439">
                  <c:v>0.4</c:v>
                </c:pt>
                <c:pt idx="5440">
                  <c:v>0.53600000000000003</c:v>
                </c:pt>
                <c:pt idx="5441">
                  <c:v>0.42099999999999999</c:v>
                </c:pt>
                <c:pt idx="5442">
                  <c:v>0.42099999999999999</c:v>
                </c:pt>
                <c:pt idx="5443">
                  <c:v>0.496</c:v>
                </c:pt>
                <c:pt idx="5444">
                  <c:v>0.23300000000000001</c:v>
                </c:pt>
                <c:pt idx="5445">
                  <c:v>0.873</c:v>
                </c:pt>
                <c:pt idx="5446">
                  <c:v>0.50700000000000001</c:v>
                </c:pt>
                <c:pt idx="5447">
                  <c:v>0.89300000000000002</c:v>
                </c:pt>
                <c:pt idx="5448">
                  <c:v>0.51400000000000001</c:v>
                </c:pt>
                <c:pt idx="5449">
                  <c:v>0.88900000000000001</c:v>
                </c:pt>
                <c:pt idx="5450">
                  <c:v>0.73</c:v>
                </c:pt>
                <c:pt idx="5451">
                  <c:v>0.84299999999999997</c:v>
                </c:pt>
                <c:pt idx="5452">
                  <c:v>0.49399999999999999</c:v>
                </c:pt>
                <c:pt idx="5453">
                  <c:v>0.39400000000000002</c:v>
                </c:pt>
                <c:pt idx="5454">
                  <c:v>0.80900000000000005</c:v>
                </c:pt>
                <c:pt idx="5455">
                  <c:v>0.624</c:v>
                </c:pt>
                <c:pt idx="5456">
                  <c:v>0.17899999999999999</c:v>
                </c:pt>
                <c:pt idx="5457">
                  <c:v>0.88100000000000001</c:v>
                </c:pt>
                <c:pt idx="5458">
                  <c:v>0.56000000000000005</c:v>
                </c:pt>
                <c:pt idx="5459">
                  <c:v>0.51300000000000001</c:v>
                </c:pt>
                <c:pt idx="5460">
                  <c:v>0.159</c:v>
                </c:pt>
                <c:pt idx="5461">
                  <c:v>0.69499999999999995</c:v>
                </c:pt>
                <c:pt idx="5462">
                  <c:v>0.51200000000000001</c:v>
                </c:pt>
                <c:pt idx="5463">
                  <c:v>0.14599999999999999</c:v>
                </c:pt>
                <c:pt idx="5464">
                  <c:v>0.63700000000000001</c:v>
                </c:pt>
                <c:pt idx="5465">
                  <c:v>0.64800000000000002</c:v>
                </c:pt>
                <c:pt idx="5466">
                  <c:v>0.35299999999999998</c:v>
                </c:pt>
                <c:pt idx="5467">
                  <c:v>0.26300000000000001</c:v>
                </c:pt>
                <c:pt idx="5468">
                  <c:v>0.436</c:v>
                </c:pt>
                <c:pt idx="5469">
                  <c:v>0.63300000000000001</c:v>
                </c:pt>
                <c:pt idx="5470">
                  <c:v>0.879</c:v>
                </c:pt>
                <c:pt idx="5471">
                  <c:v>0.27400000000000002</c:v>
                </c:pt>
                <c:pt idx="5472">
                  <c:v>0.27800000000000002</c:v>
                </c:pt>
                <c:pt idx="5473">
                  <c:v>0.91</c:v>
                </c:pt>
                <c:pt idx="5474">
                  <c:v>0.90200000000000002</c:v>
                </c:pt>
                <c:pt idx="5475">
                  <c:v>0.32600000000000001</c:v>
                </c:pt>
                <c:pt idx="5476">
                  <c:v>0.68700000000000006</c:v>
                </c:pt>
                <c:pt idx="5477">
                  <c:v>0.57399999999999995</c:v>
                </c:pt>
                <c:pt idx="5478">
                  <c:v>0.624</c:v>
                </c:pt>
                <c:pt idx="5479">
                  <c:v>0.32900000000000001</c:v>
                </c:pt>
                <c:pt idx="5480">
                  <c:v>0.375</c:v>
                </c:pt>
                <c:pt idx="5481">
                  <c:v>0.50900000000000001</c:v>
                </c:pt>
                <c:pt idx="5482">
                  <c:v>0.55300000000000005</c:v>
                </c:pt>
                <c:pt idx="5483">
                  <c:v>0.71499999999999997</c:v>
                </c:pt>
                <c:pt idx="5484">
                  <c:v>0.46100000000000002</c:v>
                </c:pt>
                <c:pt idx="5485">
                  <c:v>0.71</c:v>
                </c:pt>
                <c:pt idx="5486">
                  <c:v>1</c:v>
                </c:pt>
                <c:pt idx="5487">
                  <c:v>0.315</c:v>
                </c:pt>
                <c:pt idx="5488">
                  <c:v>0.54400000000000004</c:v>
                </c:pt>
                <c:pt idx="5489">
                  <c:v>0.41199999999999998</c:v>
                </c:pt>
                <c:pt idx="5490">
                  <c:v>0.46100000000000002</c:v>
                </c:pt>
                <c:pt idx="5491">
                  <c:v>0.60499999999999998</c:v>
                </c:pt>
                <c:pt idx="5492">
                  <c:v>0.42599999999999999</c:v>
                </c:pt>
                <c:pt idx="5493">
                  <c:v>0.95699999999999996</c:v>
                </c:pt>
                <c:pt idx="5494">
                  <c:v>0.47399999999999998</c:v>
                </c:pt>
                <c:pt idx="5495">
                  <c:v>0.65600000000000003</c:v>
                </c:pt>
                <c:pt idx="5496">
                  <c:v>0.39700000000000002</c:v>
                </c:pt>
                <c:pt idx="5497">
                  <c:v>0.41499999999999998</c:v>
                </c:pt>
                <c:pt idx="5498">
                  <c:v>0.49199999999999999</c:v>
                </c:pt>
                <c:pt idx="5499">
                  <c:v>0.42899999999999999</c:v>
                </c:pt>
                <c:pt idx="5500">
                  <c:v>0.52200000000000002</c:v>
                </c:pt>
                <c:pt idx="5501">
                  <c:v>0.435</c:v>
                </c:pt>
                <c:pt idx="5502">
                  <c:v>0.71699999999999997</c:v>
                </c:pt>
                <c:pt idx="5503">
                  <c:v>0.81599999999999995</c:v>
                </c:pt>
                <c:pt idx="5504">
                  <c:v>0.75800000000000001</c:v>
                </c:pt>
                <c:pt idx="5505">
                  <c:v>0.53300000000000003</c:v>
                </c:pt>
                <c:pt idx="5506">
                  <c:v>0.42</c:v>
                </c:pt>
                <c:pt idx="5507">
                  <c:v>0.31</c:v>
                </c:pt>
                <c:pt idx="5508">
                  <c:v>0.504</c:v>
                </c:pt>
                <c:pt idx="5509">
                  <c:v>0.27</c:v>
                </c:pt>
                <c:pt idx="5510">
                  <c:v>0.54700000000000004</c:v>
                </c:pt>
                <c:pt idx="5511">
                  <c:v>0.873</c:v>
                </c:pt>
                <c:pt idx="5512">
                  <c:v>0.85799999999999998</c:v>
                </c:pt>
                <c:pt idx="5513">
                  <c:v>0.48099999999999998</c:v>
                </c:pt>
                <c:pt idx="5514">
                  <c:v>0.22600000000000001</c:v>
                </c:pt>
                <c:pt idx="5515">
                  <c:v>0.52400000000000002</c:v>
                </c:pt>
                <c:pt idx="5516">
                  <c:v>0.72199999999999998</c:v>
                </c:pt>
                <c:pt idx="5517">
                  <c:v>0.48499999999999999</c:v>
                </c:pt>
                <c:pt idx="5518">
                  <c:v>0.84</c:v>
                </c:pt>
                <c:pt idx="5519">
                  <c:v>0.75700000000000001</c:v>
                </c:pt>
                <c:pt idx="5520">
                  <c:v>0.40699999999999997</c:v>
                </c:pt>
                <c:pt idx="5521">
                  <c:v>0.622</c:v>
                </c:pt>
                <c:pt idx="5522">
                  <c:v>0.505</c:v>
                </c:pt>
                <c:pt idx="5523">
                  <c:v>0.27200000000000002</c:v>
                </c:pt>
                <c:pt idx="5524">
                  <c:v>0.66300000000000003</c:v>
                </c:pt>
                <c:pt idx="5525">
                  <c:v>0.71299999999999997</c:v>
                </c:pt>
                <c:pt idx="5526">
                  <c:v>0.26700000000000002</c:v>
                </c:pt>
                <c:pt idx="5527">
                  <c:v>0.375</c:v>
                </c:pt>
                <c:pt idx="5528">
                  <c:v>0.61299999999999999</c:v>
                </c:pt>
                <c:pt idx="5529">
                  <c:v>0.35599999999999998</c:v>
                </c:pt>
                <c:pt idx="5530">
                  <c:v>0.107</c:v>
                </c:pt>
                <c:pt idx="5531">
                  <c:v>0.109</c:v>
                </c:pt>
                <c:pt idx="5532">
                  <c:v>0.44700000000000001</c:v>
                </c:pt>
                <c:pt idx="5533">
                  <c:v>0.42</c:v>
                </c:pt>
                <c:pt idx="5534">
                  <c:v>0.66400000000000003</c:v>
                </c:pt>
                <c:pt idx="5535">
                  <c:v>0.57499999999999996</c:v>
                </c:pt>
                <c:pt idx="5536">
                  <c:v>0.47499999999999998</c:v>
                </c:pt>
                <c:pt idx="5537">
                  <c:v>0.65900000000000003</c:v>
                </c:pt>
                <c:pt idx="5538">
                  <c:v>0.129</c:v>
                </c:pt>
                <c:pt idx="5539">
                  <c:v>0.16200000000000001</c:v>
                </c:pt>
                <c:pt idx="5540">
                  <c:v>0.86799999999999999</c:v>
                </c:pt>
                <c:pt idx="5541">
                  <c:v>0.32500000000000001</c:v>
                </c:pt>
                <c:pt idx="5542">
                  <c:v>0.35199999999999998</c:v>
                </c:pt>
                <c:pt idx="5543">
                  <c:v>0.58699999999999997</c:v>
                </c:pt>
                <c:pt idx="5544">
                  <c:v>0.84699999999999998</c:v>
                </c:pt>
                <c:pt idx="5545">
                  <c:v>0.877</c:v>
                </c:pt>
                <c:pt idx="5546">
                  <c:v>0.41899999999999998</c:v>
                </c:pt>
                <c:pt idx="5547">
                  <c:v>0.71599999999999997</c:v>
                </c:pt>
                <c:pt idx="5548">
                  <c:v>0.36</c:v>
                </c:pt>
                <c:pt idx="5549">
                  <c:v>0.63500000000000001</c:v>
                </c:pt>
                <c:pt idx="5550">
                  <c:v>0.88</c:v>
                </c:pt>
                <c:pt idx="5551">
                  <c:v>0.754</c:v>
                </c:pt>
                <c:pt idx="5552">
                  <c:v>0.85799999999999998</c:v>
                </c:pt>
                <c:pt idx="5553">
                  <c:v>0.47299999999999998</c:v>
                </c:pt>
                <c:pt idx="5554">
                  <c:v>0.13900000000000001</c:v>
                </c:pt>
                <c:pt idx="5555">
                  <c:v>0.442</c:v>
                </c:pt>
                <c:pt idx="5556">
                  <c:v>0.94599999999999995</c:v>
                </c:pt>
                <c:pt idx="5557">
                  <c:v>0.56399999999999995</c:v>
                </c:pt>
                <c:pt idx="5558">
                  <c:v>0.17499999999999999</c:v>
                </c:pt>
                <c:pt idx="5559">
                  <c:v>0.97</c:v>
                </c:pt>
                <c:pt idx="5560">
                  <c:v>0.54300000000000004</c:v>
                </c:pt>
                <c:pt idx="5561">
                  <c:v>0.76200000000000001</c:v>
                </c:pt>
                <c:pt idx="5562">
                  <c:v>0.96299999999999997</c:v>
                </c:pt>
                <c:pt idx="5563">
                  <c:v>0.61299999999999999</c:v>
                </c:pt>
                <c:pt idx="5564">
                  <c:v>0.67400000000000004</c:v>
                </c:pt>
                <c:pt idx="5565">
                  <c:v>0.16500000000000001</c:v>
                </c:pt>
                <c:pt idx="5566">
                  <c:v>0.53600000000000003</c:v>
                </c:pt>
                <c:pt idx="5567">
                  <c:v>0.90600000000000003</c:v>
                </c:pt>
                <c:pt idx="5568">
                  <c:v>0.51100000000000001</c:v>
                </c:pt>
                <c:pt idx="5569">
                  <c:v>0.96</c:v>
                </c:pt>
                <c:pt idx="5570">
                  <c:v>0.16600000000000001</c:v>
                </c:pt>
                <c:pt idx="5571">
                  <c:v>0.188</c:v>
                </c:pt>
                <c:pt idx="5572">
                  <c:v>0.432</c:v>
                </c:pt>
                <c:pt idx="5573">
                  <c:v>0.63</c:v>
                </c:pt>
                <c:pt idx="5574">
                  <c:v>0.82399999999999995</c:v>
                </c:pt>
                <c:pt idx="5575">
                  <c:v>0.72199999999999998</c:v>
                </c:pt>
                <c:pt idx="5576">
                  <c:v>0.40899999999999997</c:v>
                </c:pt>
                <c:pt idx="5577">
                  <c:v>0.505</c:v>
                </c:pt>
                <c:pt idx="5578">
                  <c:v>0.73299999999999998</c:v>
                </c:pt>
                <c:pt idx="5579">
                  <c:v>0.49199999999999999</c:v>
                </c:pt>
                <c:pt idx="5580">
                  <c:v>0.89800000000000002</c:v>
                </c:pt>
                <c:pt idx="5581">
                  <c:v>0.91900000000000004</c:v>
                </c:pt>
                <c:pt idx="5582">
                  <c:v>0.56100000000000005</c:v>
                </c:pt>
                <c:pt idx="5583">
                  <c:v>0.40300000000000002</c:v>
                </c:pt>
                <c:pt idx="5584">
                  <c:v>0.86199999999999999</c:v>
                </c:pt>
                <c:pt idx="5585">
                  <c:v>0.52800000000000002</c:v>
                </c:pt>
                <c:pt idx="5586">
                  <c:v>0.41399999999999998</c:v>
                </c:pt>
                <c:pt idx="5587">
                  <c:v>0.434</c:v>
                </c:pt>
                <c:pt idx="5588">
                  <c:v>0.30399999999999999</c:v>
                </c:pt>
                <c:pt idx="5589">
                  <c:v>0.56299999999999994</c:v>
                </c:pt>
                <c:pt idx="5590">
                  <c:v>0.11600000000000001</c:v>
                </c:pt>
                <c:pt idx="5591">
                  <c:v>0.67500000000000004</c:v>
                </c:pt>
                <c:pt idx="5592">
                  <c:v>0.57999999999999996</c:v>
                </c:pt>
                <c:pt idx="5593">
                  <c:v>0.90900000000000003</c:v>
                </c:pt>
                <c:pt idx="5594">
                  <c:v>0.70299999999999996</c:v>
                </c:pt>
                <c:pt idx="5595">
                  <c:v>0.45600000000000002</c:v>
                </c:pt>
                <c:pt idx="5596">
                  <c:v>0.39900000000000002</c:v>
                </c:pt>
                <c:pt idx="5597">
                  <c:v>0.64100000000000001</c:v>
                </c:pt>
                <c:pt idx="5598">
                  <c:v>0.83</c:v>
                </c:pt>
                <c:pt idx="5599">
                  <c:v>0.60699999999999998</c:v>
                </c:pt>
                <c:pt idx="5600">
                  <c:v>0.111</c:v>
                </c:pt>
                <c:pt idx="5601">
                  <c:v>0.89300000000000002</c:v>
                </c:pt>
                <c:pt idx="5602">
                  <c:v>0.223</c:v>
                </c:pt>
                <c:pt idx="5603">
                  <c:v>0.77400000000000002</c:v>
                </c:pt>
                <c:pt idx="5604">
                  <c:v>0.28499999999999998</c:v>
                </c:pt>
                <c:pt idx="5605">
                  <c:v>0.37</c:v>
                </c:pt>
                <c:pt idx="5606">
                  <c:v>0.34899999999999998</c:v>
                </c:pt>
                <c:pt idx="5607">
                  <c:v>0.27100000000000002</c:v>
                </c:pt>
                <c:pt idx="5608">
                  <c:v>0.31900000000000001</c:v>
                </c:pt>
                <c:pt idx="5609">
                  <c:v>0.622</c:v>
                </c:pt>
                <c:pt idx="5610">
                  <c:v>0.88300000000000001</c:v>
                </c:pt>
                <c:pt idx="5611">
                  <c:v>0.84599999999999997</c:v>
                </c:pt>
                <c:pt idx="5612">
                  <c:v>0.315</c:v>
                </c:pt>
                <c:pt idx="5613">
                  <c:v>0.68600000000000005</c:v>
                </c:pt>
                <c:pt idx="5614">
                  <c:v>0.34699999999999998</c:v>
                </c:pt>
                <c:pt idx="5615">
                  <c:v>0.21</c:v>
                </c:pt>
                <c:pt idx="5616">
                  <c:v>0.73299999999999998</c:v>
                </c:pt>
                <c:pt idx="5617">
                  <c:v>0.48299999999999998</c:v>
                </c:pt>
                <c:pt idx="5618">
                  <c:v>0.61599999999999999</c:v>
                </c:pt>
                <c:pt idx="5619">
                  <c:v>0.3</c:v>
                </c:pt>
                <c:pt idx="5620">
                  <c:v>0.59199999999999997</c:v>
                </c:pt>
                <c:pt idx="5621">
                  <c:v>0.64400000000000002</c:v>
                </c:pt>
                <c:pt idx="5622">
                  <c:v>0.85199999999999998</c:v>
                </c:pt>
                <c:pt idx="5623">
                  <c:v>0.61299999999999999</c:v>
                </c:pt>
                <c:pt idx="5624">
                  <c:v>0.36299999999999999</c:v>
                </c:pt>
                <c:pt idx="5625">
                  <c:v>8.1000000000000003E-2</c:v>
                </c:pt>
                <c:pt idx="5626">
                  <c:v>0.13100000000000001</c:v>
                </c:pt>
                <c:pt idx="5627">
                  <c:v>0.35299999999999998</c:v>
                </c:pt>
                <c:pt idx="5628">
                  <c:v>0.88900000000000001</c:v>
                </c:pt>
                <c:pt idx="5629">
                  <c:v>0.77300000000000002</c:v>
                </c:pt>
                <c:pt idx="5630">
                  <c:v>0.98899999999999999</c:v>
                </c:pt>
                <c:pt idx="5631">
                  <c:v>0.877</c:v>
                </c:pt>
                <c:pt idx="5632">
                  <c:v>0.59299999999999997</c:v>
                </c:pt>
                <c:pt idx="5633">
                  <c:v>0.307</c:v>
                </c:pt>
                <c:pt idx="5634">
                  <c:v>0.52600000000000002</c:v>
                </c:pt>
                <c:pt idx="5635">
                  <c:v>0.54600000000000004</c:v>
                </c:pt>
                <c:pt idx="5636">
                  <c:v>0.68100000000000005</c:v>
                </c:pt>
                <c:pt idx="5637">
                  <c:v>0.80400000000000005</c:v>
                </c:pt>
                <c:pt idx="5638">
                  <c:v>0.16</c:v>
                </c:pt>
                <c:pt idx="5639">
                  <c:v>0.65400000000000003</c:v>
                </c:pt>
                <c:pt idx="5640">
                  <c:v>0.59599999999999997</c:v>
                </c:pt>
                <c:pt idx="5641">
                  <c:v>0.69699999999999995</c:v>
                </c:pt>
                <c:pt idx="5642">
                  <c:v>0.72499999999999998</c:v>
                </c:pt>
                <c:pt idx="5643">
                  <c:v>0.89300000000000002</c:v>
                </c:pt>
                <c:pt idx="5644">
                  <c:v>0.68</c:v>
                </c:pt>
                <c:pt idx="5645">
                  <c:v>0.10299999999999999</c:v>
                </c:pt>
                <c:pt idx="5646">
                  <c:v>0.94399999999999995</c:v>
                </c:pt>
                <c:pt idx="5647">
                  <c:v>0.11</c:v>
                </c:pt>
                <c:pt idx="5648">
                  <c:v>0.63500000000000001</c:v>
                </c:pt>
                <c:pt idx="5649">
                  <c:v>0.32400000000000001</c:v>
                </c:pt>
                <c:pt idx="5650">
                  <c:v>0.93400000000000005</c:v>
                </c:pt>
                <c:pt idx="5651">
                  <c:v>0.80700000000000005</c:v>
                </c:pt>
                <c:pt idx="5652">
                  <c:v>0.39200000000000002</c:v>
                </c:pt>
                <c:pt idx="5653">
                  <c:v>0.95599999999999996</c:v>
                </c:pt>
                <c:pt idx="5654">
                  <c:v>0.48899999999999999</c:v>
                </c:pt>
                <c:pt idx="5655">
                  <c:v>0.55500000000000005</c:v>
                </c:pt>
                <c:pt idx="5656">
                  <c:v>3.1E-2</c:v>
                </c:pt>
                <c:pt idx="5657">
                  <c:v>0.65300000000000002</c:v>
                </c:pt>
                <c:pt idx="5658">
                  <c:v>0.84499999999999997</c:v>
                </c:pt>
                <c:pt idx="5659">
                  <c:v>0.90300000000000002</c:v>
                </c:pt>
                <c:pt idx="5660">
                  <c:v>0.71899999999999997</c:v>
                </c:pt>
                <c:pt idx="5661">
                  <c:v>0.316</c:v>
                </c:pt>
                <c:pt idx="5662">
                  <c:v>0.76</c:v>
                </c:pt>
                <c:pt idx="5663">
                  <c:v>0.44800000000000001</c:v>
                </c:pt>
                <c:pt idx="5664">
                  <c:v>0.35499999999999998</c:v>
                </c:pt>
                <c:pt idx="5665">
                  <c:v>0.31900000000000001</c:v>
                </c:pt>
                <c:pt idx="5666">
                  <c:v>0.64500000000000002</c:v>
                </c:pt>
                <c:pt idx="5667">
                  <c:v>0.93799999999999994</c:v>
                </c:pt>
                <c:pt idx="5668">
                  <c:v>0.98599999999999999</c:v>
                </c:pt>
                <c:pt idx="5669">
                  <c:v>0.78</c:v>
                </c:pt>
                <c:pt idx="5670">
                  <c:v>0.76500000000000001</c:v>
                </c:pt>
                <c:pt idx="5671">
                  <c:v>0.58799999999999997</c:v>
                </c:pt>
                <c:pt idx="5672">
                  <c:v>0.29899999999999999</c:v>
                </c:pt>
                <c:pt idx="5673">
                  <c:v>0.47399999999999998</c:v>
                </c:pt>
                <c:pt idx="5674">
                  <c:v>0.314</c:v>
                </c:pt>
                <c:pt idx="5675">
                  <c:v>0.63100000000000001</c:v>
                </c:pt>
                <c:pt idx="5676">
                  <c:v>0.73</c:v>
                </c:pt>
                <c:pt idx="5677">
                  <c:v>0.83599999999999997</c:v>
                </c:pt>
                <c:pt idx="5678">
                  <c:v>0.53100000000000003</c:v>
                </c:pt>
                <c:pt idx="5679">
                  <c:v>0.14299999999999999</c:v>
                </c:pt>
                <c:pt idx="5680">
                  <c:v>0.157</c:v>
                </c:pt>
                <c:pt idx="5681">
                  <c:v>0.48799999999999999</c:v>
                </c:pt>
                <c:pt idx="5682">
                  <c:v>0.53100000000000003</c:v>
                </c:pt>
                <c:pt idx="5683">
                  <c:v>0.14099999999999999</c:v>
                </c:pt>
                <c:pt idx="5684">
                  <c:v>0.36199999999999999</c:v>
                </c:pt>
                <c:pt idx="5685">
                  <c:v>0.20399999999999999</c:v>
                </c:pt>
                <c:pt idx="5686">
                  <c:v>0.90600000000000003</c:v>
                </c:pt>
                <c:pt idx="5687">
                  <c:v>0.92600000000000005</c:v>
                </c:pt>
                <c:pt idx="5688">
                  <c:v>0.95</c:v>
                </c:pt>
                <c:pt idx="5689">
                  <c:v>0.114</c:v>
                </c:pt>
                <c:pt idx="5690">
                  <c:v>0.82</c:v>
                </c:pt>
                <c:pt idx="5691">
                  <c:v>0.79100000000000004</c:v>
                </c:pt>
                <c:pt idx="5692">
                  <c:v>0.93200000000000005</c:v>
                </c:pt>
                <c:pt idx="5693">
                  <c:v>0.82199999999999995</c:v>
                </c:pt>
                <c:pt idx="5694">
                  <c:v>0.155</c:v>
                </c:pt>
                <c:pt idx="5695">
                  <c:v>0.64</c:v>
                </c:pt>
                <c:pt idx="5696">
                  <c:v>0.39500000000000002</c:v>
                </c:pt>
                <c:pt idx="5697">
                  <c:v>0.35899999999999999</c:v>
                </c:pt>
                <c:pt idx="5698">
                  <c:v>0.81299999999999994</c:v>
                </c:pt>
                <c:pt idx="5699">
                  <c:v>0.36299999999999999</c:v>
                </c:pt>
                <c:pt idx="5700">
                  <c:v>0.73799999999999999</c:v>
                </c:pt>
                <c:pt idx="5701">
                  <c:v>0.57799999999999996</c:v>
                </c:pt>
                <c:pt idx="5702">
                  <c:v>0.71899999999999997</c:v>
                </c:pt>
                <c:pt idx="5703">
                  <c:v>0.109</c:v>
                </c:pt>
                <c:pt idx="5704">
                  <c:v>0.246</c:v>
                </c:pt>
                <c:pt idx="5705">
                  <c:v>0.38400000000000001</c:v>
                </c:pt>
                <c:pt idx="5706">
                  <c:v>9.6000000000000002E-2</c:v>
                </c:pt>
                <c:pt idx="5707">
                  <c:v>0.307</c:v>
                </c:pt>
                <c:pt idx="5708">
                  <c:v>0.46899999999999997</c:v>
                </c:pt>
                <c:pt idx="5709">
                  <c:v>0.54</c:v>
                </c:pt>
                <c:pt idx="5710">
                  <c:v>0.96</c:v>
                </c:pt>
                <c:pt idx="5711">
                  <c:v>0.54800000000000004</c:v>
                </c:pt>
                <c:pt idx="5712">
                  <c:v>0.86299999999999999</c:v>
                </c:pt>
                <c:pt idx="5713">
                  <c:v>0.498</c:v>
                </c:pt>
                <c:pt idx="5714">
                  <c:v>0.57599999999999996</c:v>
                </c:pt>
                <c:pt idx="5715">
                  <c:v>0.379</c:v>
                </c:pt>
                <c:pt idx="5716">
                  <c:v>0.30199999999999999</c:v>
                </c:pt>
                <c:pt idx="5717">
                  <c:v>0.86</c:v>
                </c:pt>
                <c:pt idx="5718">
                  <c:v>0.441</c:v>
                </c:pt>
                <c:pt idx="5719">
                  <c:v>0.67300000000000004</c:v>
                </c:pt>
                <c:pt idx="5720">
                  <c:v>0.433</c:v>
                </c:pt>
                <c:pt idx="5721">
                  <c:v>0.39300000000000002</c:v>
                </c:pt>
                <c:pt idx="5722">
                  <c:v>0.72</c:v>
                </c:pt>
                <c:pt idx="5723">
                  <c:v>0.3</c:v>
                </c:pt>
                <c:pt idx="5724">
                  <c:v>0.92800000000000005</c:v>
                </c:pt>
                <c:pt idx="5725">
                  <c:v>0.70399999999999996</c:v>
                </c:pt>
                <c:pt idx="5726">
                  <c:v>0.36599999999999999</c:v>
                </c:pt>
                <c:pt idx="5727">
                  <c:v>0.57299999999999995</c:v>
                </c:pt>
                <c:pt idx="5728">
                  <c:v>0.78100000000000003</c:v>
                </c:pt>
                <c:pt idx="5729">
                  <c:v>0.49</c:v>
                </c:pt>
                <c:pt idx="5730">
                  <c:v>0.106</c:v>
                </c:pt>
                <c:pt idx="5731">
                  <c:v>0.46200000000000002</c:v>
                </c:pt>
                <c:pt idx="5732">
                  <c:v>0.53300000000000003</c:v>
                </c:pt>
                <c:pt idx="5733">
                  <c:v>0.69799999999999995</c:v>
                </c:pt>
                <c:pt idx="5734">
                  <c:v>0.30599999999999999</c:v>
                </c:pt>
                <c:pt idx="5735">
                  <c:v>0.41299999999999998</c:v>
                </c:pt>
                <c:pt idx="5736">
                  <c:v>0.88</c:v>
                </c:pt>
                <c:pt idx="5737">
                  <c:v>0.95</c:v>
                </c:pt>
                <c:pt idx="5738">
                  <c:v>0.59899999999999998</c:v>
                </c:pt>
                <c:pt idx="5739">
                  <c:v>0.95</c:v>
                </c:pt>
                <c:pt idx="5740">
                  <c:v>0.68200000000000005</c:v>
                </c:pt>
                <c:pt idx="5741">
                  <c:v>0.52200000000000002</c:v>
                </c:pt>
                <c:pt idx="5742">
                  <c:v>0.55600000000000005</c:v>
                </c:pt>
                <c:pt idx="5743">
                  <c:v>0.63600000000000001</c:v>
                </c:pt>
                <c:pt idx="5744">
                  <c:v>0.61</c:v>
                </c:pt>
                <c:pt idx="5745">
                  <c:v>0.95</c:v>
                </c:pt>
                <c:pt idx="5746">
                  <c:v>0.26700000000000002</c:v>
                </c:pt>
                <c:pt idx="5747">
                  <c:v>0.255</c:v>
                </c:pt>
                <c:pt idx="5748">
                  <c:v>0.47</c:v>
                </c:pt>
                <c:pt idx="5749">
                  <c:v>0.42</c:v>
                </c:pt>
                <c:pt idx="5750">
                  <c:v>0.59099999999999997</c:v>
                </c:pt>
                <c:pt idx="5751">
                  <c:v>0.84899999999999998</c:v>
                </c:pt>
                <c:pt idx="5752">
                  <c:v>0.27800000000000002</c:v>
                </c:pt>
                <c:pt idx="5753">
                  <c:v>0.69299999999999995</c:v>
                </c:pt>
                <c:pt idx="5754">
                  <c:v>0.19400000000000001</c:v>
                </c:pt>
                <c:pt idx="5755">
                  <c:v>0.40899999999999997</c:v>
                </c:pt>
                <c:pt idx="5756">
                  <c:v>0.98299999999999998</c:v>
                </c:pt>
                <c:pt idx="5757">
                  <c:v>0.38200000000000001</c:v>
                </c:pt>
                <c:pt idx="5758">
                  <c:v>0.95799999999999996</c:v>
                </c:pt>
                <c:pt idx="5759">
                  <c:v>0.54500000000000004</c:v>
                </c:pt>
                <c:pt idx="5760">
                  <c:v>0.254</c:v>
                </c:pt>
                <c:pt idx="5761">
                  <c:v>0.65700000000000003</c:v>
                </c:pt>
                <c:pt idx="5762">
                  <c:v>0.45800000000000002</c:v>
                </c:pt>
                <c:pt idx="5763">
                  <c:v>0.7</c:v>
                </c:pt>
                <c:pt idx="5764">
                  <c:v>0.41499999999999998</c:v>
                </c:pt>
                <c:pt idx="5765">
                  <c:v>0.26200000000000001</c:v>
                </c:pt>
                <c:pt idx="5766">
                  <c:v>0.23100000000000001</c:v>
                </c:pt>
                <c:pt idx="5767">
                  <c:v>0.34300000000000003</c:v>
                </c:pt>
                <c:pt idx="5768">
                  <c:v>0.749</c:v>
                </c:pt>
                <c:pt idx="5769">
                  <c:v>0.96599999999999997</c:v>
                </c:pt>
                <c:pt idx="5770">
                  <c:v>0.27600000000000002</c:v>
                </c:pt>
                <c:pt idx="5771">
                  <c:v>0.217</c:v>
                </c:pt>
                <c:pt idx="5772">
                  <c:v>0.36399999999999999</c:v>
                </c:pt>
                <c:pt idx="5773">
                  <c:v>0.8</c:v>
                </c:pt>
                <c:pt idx="5774">
                  <c:v>0.91100000000000003</c:v>
                </c:pt>
                <c:pt idx="5775">
                  <c:v>0.93400000000000005</c:v>
                </c:pt>
                <c:pt idx="5776">
                  <c:v>0.93500000000000005</c:v>
                </c:pt>
                <c:pt idx="5777">
                  <c:v>0.40600000000000003</c:v>
                </c:pt>
                <c:pt idx="5778">
                  <c:v>0.49</c:v>
                </c:pt>
                <c:pt idx="5779">
                  <c:v>0.53</c:v>
                </c:pt>
                <c:pt idx="5780">
                  <c:v>0.80600000000000005</c:v>
                </c:pt>
                <c:pt idx="5781">
                  <c:v>0.876</c:v>
                </c:pt>
                <c:pt idx="5782">
                  <c:v>0.188</c:v>
                </c:pt>
                <c:pt idx="5783">
                  <c:v>0.32800000000000001</c:v>
                </c:pt>
                <c:pt idx="5784">
                  <c:v>0.77100000000000002</c:v>
                </c:pt>
                <c:pt idx="5785">
                  <c:v>0.58799999999999997</c:v>
                </c:pt>
                <c:pt idx="5786">
                  <c:v>0.78400000000000003</c:v>
                </c:pt>
                <c:pt idx="5787">
                  <c:v>0.217</c:v>
                </c:pt>
                <c:pt idx="5788">
                  <c:v>0.26800000000000002</c:v>
                </c:pt>
                <c:pt idx="5789">
                  <c:v>0.46700000000000003</c:v>
                </c:pt>
                <c:pt idx="5790">
                  <c:v>0.84799999999999998</c:v>
                </c:pt>
                <c:pt idx="5791">
                  <c:v>0.52500000000000002</c:v>
                </c:pt>
                <c:pt idx="5792">
                  <c:v>0.16</c:v>
                </c:pt>
                <c:pt idx="5793">
                  <c:v>0.36499999999999999</c:v>
                </c:pt>
                <c:pt idx="5794">
                  <c:v>9.9000000000000005E-2</c:v>
                </c:pt>
                <c:pt idx="5795">
                  <c:v>0.74299999999999999</c:v>
                </c:pt>
                <c:pt idx="5796">
                  <c:v>0.24199999999999999</c:v>
                </c:pt>
                <c:pt idx="5797">
                  <c:v>0.67600000000000005</c:v>
                </c:pt>
                <c:pt idx="5798">
                  <c:v>0.25</c:v>
                </c:pt>
                <c:pt idx="5799">
                  <c:v>0.69299999999999995</c:v>
                </c:pt>
                <c:pt idx="5800">
                  <c:v>0.253</c:v>
                </c:pt>
                <c:pt idx="5801">
                  <c:v>0.27400000000000002</c:v>
                </c:pt>
                <c:pt idx="5802">
                  <c:v>0.40699999999999997</c:v>
                </c:pt>
                <c:pt idx="5803">
                  <c:v>0.45900000000000002</c:v>
                </c:pt>
                <c:pt idx="5804">
                  <c:v>0.30499999999999999</c:v>
                </c:pt>
                <c:pt idx="5805">
                  <c:v>0.78300000000000003</c:v>
                </c:pt>
                <c:pt idx="5806">
                  <c:v>0.36299999999999999</c:v>
                </c:pt>
                <c:pt idx="5807">
                  <c:v>0.83899999999999997</c:v>
                </c:pt>
                <c:pt idx="5808">
                  <c:v>0.45500000000000002</c:v>
                </c:pt>
                <c:pt idx="5809">
                  <c:v>0.52900000000000003</c:v>
                </c:pt>
                <c:pt idx="5810">
                  <c:v>0.48</c:v>
                </c:pt>
                <c:pt idx="5811">
                  <c:v>0.03</c:v>
                </c:pt>
                <c:pt idx="5812">
                  <c:v>0.46700000000000003</c:v>
                </c:pt>
                <c:pt idx="5813">
                  <c:v>0.42399999999999999</c:v>
                </c:pt>
                <c:pt idx="5814">
                  <c:v>0.46</c:v>
                </c:pt>
                <c:pt idx="5815">
                  <c:v>0.33200000000000002</c:v>
                </c:pt>
                <c:pt idx="5816">
                  <c:v>0.76300000000000001</c:v>
                </c:pt>
                <c:pt idx="5817">
                  <c:v>0.40600000000000003</c:v>
                </c:pt>
                <c:pt idx="5818">
                  <c:v>0.26700000000000002</c:v>
                </c:pt>
                <c:pt idx="5819">
                  <c:v>0.879</c:v>
                </c:pt>
                <c:pt idx="5820">
                  <c:v>0.82399999999999995</c:v>
                </c:pt>
                <c:pt idx="5821">
                  <c:v>0.22700000000000001</c:v>
                </c:pt>
                <c:pt idx="5822">
                  <c:v>0.80300000000000005</c:v>
                </c:pt>
                <c:pt idx="5823">
                  <c:v>0.153</c:v>
                </c:pt>
                <c:pt idx="5824">
                  <c:v>0.45300000000000001</c:v>
                </c:pt>
                <c:pt idx="5825">
                  <c:v>0.20599999999999999</c:v>
                </c:pt>
                <c:pt idx="5826">
                  <c:v>0.41399999999999998</c:v>
                </c:pt>
                <c:pt idx="5827">
                  <c:v>0.75800000000000001</c:v>
                </c:pt>
                <c:pt idx="5828">
                  <c:v>0.441</c:v>
                </c:pt>
                <c:pt idx="5829">
                  <c:v>0.94099999999999995</c:v>
                </c:pt>
                <c:pt idx="5830">
                  <c:v>0.64900000000000002</c:v>
                </c:pt>
                <c:pt idx="5831">
                  <c:v>0.26600000000000001</c:v>
                </c:pt>
                <c:pt idx="5832">
                  <c:v>0.63600000000000001</c:v>
                </c:pt>
                <c:pt idx="5833">
                  <c:v>0.47399999999999998</c:v>
                </c:pt>
                <c:pt idx="5834">
                  <c:v>0.65900000000000003</c:v>
                </c:pt>
                <c:pt idx="5835">
                  <c:v>0.36399999999999999</c:v>
                </c:pt>
                <c:pt idx="5836">
                  <c:v>0.66900000000000004</c:v>
                </c:pt>
                <c:pt idx="5837">
                  <c:v>0.23200000000000001</c:v>
                </c:pt>
                <c:pt idx="5838">
                  <c:v>0.59599999999999997</c:v>
                </c:pt>
                <c:pt idx="5839">
                  <c:v>0.57899999999999996</c:v>
                </c:pt>
                <c:pt idx="5840">
                  <c:v>0.89</c:v>
                </c:pt>
                <c:pt idx="5841">
                  <c:v>0.32600000000000001</c:v>
                </c:pt>
                <c:pt idx="5842">
                  <c:v>0.746</c:v>
                </c:pt>
                <c:pt idx="5843">
                  <c:v>0.23400000000000001</c:v>
                </c:pt>
                <c:pt idx="5844">
                  <c:v>0.69799999999999995</c:v>
                </c:pt>
                <c:pt idx="5845">
                  <c:v>0.33300000000000002</c:v>
                </c:pt>
                <c:pt idx="5846">
                  <c:v>0.44</c:v>
                </c:pt>
                <c:pt idx="5847">
                  <c:v>0.26300000000000001</c:v>
                </c:pt>
                <c:pt idx="5848">
                  <c:v>0.44900000000000001</c:v>
                </c:pt>
                <c:pt idx="5849">
                  <c:v>0.79500000000000004</c:v>
                </c:pt>
                <c:pt idx="5850">
                  <c:v>0.32</c:v>
                </c:pt>
                <c:pt idx="5851">
                  <c:v>0.85799999999999998</c:v>
                </c:pt>
                <c:pt idx="5852">
                  <c:v>0.74299999999999999</c:v>
                </c:pt>
                <c:pt idx="5853">
                  <c:v>0.48799999999999999</c:v>
                </c:pt>
                <c:pt idx="5854">
                  <c:v>0.39100000000000001</c:v>
                </c:pt>
                <c:pt idx="5855">
                  <c:v>0.52600000000000002</c:v>
                </c:pt>
                <c:pt idx="5856">
                  <c:v>0.73099999999999998</c:v>
                </c:pt>
                <c:pt idx="5857">
                  <c:v>0.76900000000000002</c:v>
                </c:pt>
                <c:pt idx="5858">
                  <c:v>0.27600000000000002</c:v>
                </c:pt>
                <c:pt idx="5859">
                  <c:v>0.49</c:v>
                </c:pt>
                <c:pt idx="5860">
                  <c:v>0.88300000000000001</c:v>
                </c:pt>
                <c:pt idx="5861">
                  <c:v>0.752</c:v>
                </c:pt>
                <c:pt idx="5862">
                  <c:v>0.89700000000000002</c:v>
                </c:pt>
                <c:pt idx="5863">
                  <c:v>0.55500000000000005</c:v>
                </c:pt>
                <c:pt idx="5864">
                  <c:v>0.57099999999999995</c:v>
                </c:pt>
                <c:pt idx="5865">
                  <c:v>0.68400000000000005</c:v>
                </c:pt>
                <c:pt idx="5866">
                  <c:v>0.97399999999999998</c:v>
                </c:pt>
                <c:pt idx="5867">
                  <c:v>0.48799999999999999</c:v>
                </c:pt>
                <c:pt idx="5868">
                  <c:v>0.48799999999999999</c:v>
                </c:pt>
                <c:pt idx="5869">
                  <c:v>0.43</c:v>
                </c:pt>
                <c:pt idx="5870">
                  <c:v>0.4</c:v>
                </c:pt>
                <c:pt idx="5871">
                  <c:v>7.2999999999999995E-2</c:v>
                </c:pt>
                <c:pt idx="5872">
                  <c:v>2.8000000000000001E-2</c:v>
                </c:pt>
                <c:pt idx="5873">
                  <c:v>0.47</c:v>
                </c:pt>
                <c:pt idx="5874">
                  <c:v>0.16900000000000001</c:v>
                </c:pt>
                <c:pt idx="5875">
                  <c:v>0.42499999999999999</c:v>
                </c:pt>
                <c:pt idx="5876">
                  <c:v>0.71799999999999997</c:v>
                </c:pt>
                <c:pt idx="5877">
                  <c:v>0.55500000000000005</c:v>
                </c:pt>
                <c:pt idx="5878">
                  <c:v>0.58199999999999996</c:v>
                </c:pt>
                <c:pt idx="5879">
                  <c:v>0.96699999999999997</c:v>
                </c:pt>
                <c:pt idx="5880">
                  <c:v>0.28599999999999998</c:v>
                </c:pt>
                <c:pt idx="5881">
                  <c:v>0.45600000000000002</c:v>
                </c:pt>
                <c:pt idx="5882">
                  <c:v>0.16800000000000001</c:v>
                </c:pt>
                <c:pt idx="5883">
                  <c:v>0.91500000000000004</c:v>
                </c:pt>
                <c:pt idx="5884">
                  <c:v>0.92500000000000004</c:v>
                </c:pt>
                <c:pt idx="5885">
                  <c:v>0.80200000000000005</c:v>
                </c:pt>
                <c:pt idx="5886">
                  <c:v>0.66500000000000004</c:v>
                </c:pt>
                <c:pt idx="5887">
                  <c:v>0.33500000000000002</c:v>
                </c:pt>
                <c:pt idx="5888">
                  <c:v>9.7000000000000003E-2</c:v>
                </c:pt>
                <c:pt idx="5889">
                  <c:v>0.627</c:v>
                </c:pt>
                <c:pt idx="5890">
                  <c:v>0.40100000000000002</c:v>
                </c:pt>
                <c:pt idx="5891">
                  <c:v>0.193</c:v>
                </c:pt>
                <c:pt idx="5892">
                  <c:v>0.36799999999999999</c:v>
                </c:pt>
                <c:pt idx="5893">
                  <c:v>0.19500000000000001</c:v>
                </c:pt>
                <c:pt idx="5894">
                  <c:v>0.41899999999999998</c:v>
                </c:pt>
                <c:pt idx="5895">
                  <c:v>0.28399999999999997</c:v>
                </c:pt>
                <c:pt idx="5896">
                  <c:v>0.96899999999999997</c:v>
                </c:pt>
                <c:pt idx="5897">
                  <c:v>0.497</c:v>
                </c:pt>
                <c:pt idx="5898">
                  <c:v>0.74099999999999999</c:v>
                </c:pt>
                <c:pt idx="5899">
                  <c:v>0.90200000000000002</c:v>
                </c:pt>
                <c:pt idx="5900">
                  <c:v>0.65500000000000003</c:v>
                </c:pt>
                <c:pt idx="5901">
                  <c:v>0.63200000000000001</c:v>
                </c:pt>
                <c:pt idx="5902">
                  <c:v>0.38</c:v>
                </c:pt>
                <c:pt idx="5903">
                  <c:v>0.60399999999999998</c:v>
                </c:pt>
                <c:pt idx="5904">
                  <c:v>0.67400000000000004</c:v>
                </c:pt>
                <c:pt idx="5905">
                  <c:v>0.73799999999999999</c:v>
                </c:pt>
                <c:pt idx="5906">
                  <c:v>0.86199999999999999</c:v>
                </c:pt>
                <c:pt idx="5907">
                  <c:v>0.77900000000000003</c:v>
                </c:pt>
                <c:pt idx="5908">
                  <c:v>0.45900000000000002</c:v>
                </c:pt>
                <c:pt idx="5909">
                  <c:v>0.56799999999999995</c:v>
                </c:pt>
                <c:pt idx="5910">
                  <c:v>0.58299999999999996</c:v>
                </c:pt>
                <c:pt idx="5911">
                  <c:v>0.83199999999999996</c:v>
                </c:pt>
                <c:pt idx="5912">
                  <c:v>0.39100000000000001</c:v>
                </c:pt>
                <c:pt idx="5913">
                  <c:v>0.41699999999999998</c:v>
                </c:pt>
                <c:pt idx="5914">
                  <c:v>0.32500000000000001</c:v>
                </c:pt>
                <c:pt idx="5915">
                  <c:v>0.65200000000000002</c:v>
                </c:pt>
                <c:pt idx="5916">
                  <c:v>0.68</c:v>
                </c:pt>
                <c:pt idx="5917">
                  <c:v>0.435</c:v>
                </c:pt>
                <c:pt idx="5918">
                  <c:v>0.46400000000000002</c:v>
                </c:pt>
                <c:pt idx="5919">
                  <c:v>0.50600000000000001</c:v>
                </c:pt>
                <c:pt idx="5920">
                  <c:v>0.24099999999999999</c:v>
                </c:pt>
                <c:pt idx="5921">
                  <c:v>0.48799999999999999</c:v>
                </c:pt>
                <c:pt idx="5922">
                  <c:v>0.29099999999999998</c:v>
                </c:pt>
                <c:pt idx="5923">
                  <c:v>0.51900000000000002</c:v>
                </c:pt>
                <c:pt idx="5924">
                  <c:v>0.76900000000000002</c:v>
                </c:pt>
                <c:pt idx="5925">
                  <c:v>0.749</c:v>
                </c:pt>
                <c:pt idx="5926">
                  <c:v>0.90900000000000003</c:v>
                </c:pt>
                <c:pt idx="5927">
                  <c:v>0.55100000000000005</c:v>
                </c:pt>
                <c:pt idx="5928">
                  <c:v>0.96799999999999997</c:v>
                </c:pt>
                <c:pt idx="5929">
                  <c:v>0.114</c:v>
                </c:pt>
                <c:pt idx="5930">
                  <c:v>0.65900000000000003</c:v>
                </c:pt>
                <c:pt idx="5931">
                  <c:v>0.438</c:v>
                </c:pt>
                <c:pt idx="5932">
                  <c:v>0.47</c:v>
                </c:pt>
                <c:pt idx="5933">
                  <c:v>0.65</c:v>
                </c:pt>
                <c:pt idx="5934">
                  <c:v>0.64100000000000001</c:v>
                </c:pt>
                <c:pt idx="5935">
                  <c:v>0.68300000000000005</c:v>
                </c:pt>
                <c:pt idx="5936">
                  <c:v>0.38700000000000001</c:v>
                </c:pt>
                <c:pt idx="5937">
                  <c:v>0.43</c:v>
                </c:pt>
                <c:pt idx="5938">
                  <c:v>0.65200000000000002</c:v>
                </c:pt>
                <c:pt idx="5939">
                  <c:v>0.218</c:v>
                </c:pt>
                <c:pt idx="5940">
                  <c:v>0.60099999999999998</c:v>
                </c:pt>
                <c:pt idx="5941">
                  <c:v>0.5</c:v>
                </c:pt>
                <c:pt idx="5942">
                  <c:v>0.29299999999999998</c:v>
                </c:pt>
                <c:pt idx="5943">
                  <c:v>0.44500000000000001</c:v>
                </c:pt>
                <c:pt idx="5944">
                  <c:v>0.13400000000000001</c:v>
                </c:pt>
                <c:pt idx="5945">
                  <c:v>0.59399999999999997</c:v>
                </c:pt>
                <c:pt idx="5946">
                  <c:v>0.14199999999999999</c:v>
                </c:pt>
                <c:pt idx="5947">
                  <c:v>0.85599999999999998</c:v>
                </c:pt>
                <c:pt idx="5948">
                  <c:v>0.57099999999999995</c:v>
                </c:pt>
                <c:pt idx="5949">
                  <c:v>0.55400000000000005</c:v>
                </c:pt>
                <c:pt idx="5950">
                  <c:v>0.87</c:v>
                </c:pt>
                <c:pt idx="5951">
                  <c:v>0.109</c:v>
                </c:pt>
                <c:pt idx="5952">
                  <c:v>0.27600000000000002</c:v>
                </c:pt>
                <c:pt idx="5953">
                  <c:v>0.58399999999999996</c:v>
                </c:pt>
                <c:pt idx="5954">
                  <c:v>0.09</c:v>
                </c:pt>
                <c:pt idx="5955">
                  <c:v>0.2</c:v>
                </c:pt>
                <c:pt idx="5956">
                  <c:v>0.36299999999999999</c:v>
                </c:pt>
                <c:pt idx="5957">
                  <c:v>0.124</c:v>
                </c:pt>
                <c:pt idx="5958">
                  <c:v>0.63300000000000001</c:v>
                </c:pt>
                <c:pt idx="5959">
                  <c:v>0.68</c:v>
                </c:pt>
                <c:pt idx="5960">
                  <c:v>0.32700000000000001</c:v>
                </c:pt>
                <c:pt idx="5961">
                  <c:v>0.82399999999999995</c:v>
                </c:pt>
                <c:pt idx="5962">
                  <c:v>0.441</c:v>
                </c:pt>
                <c:pt idx="5963">
                  <c:v>0.72399999999999998</c:v>
                </c:pt>
                <c:pt idx="5964">
                  <c:v>0.16800000000000001</c:v>
                </c:pt>
                <c:pt idx="5965">
                  <c:v>0.24199999999999999</c:v>
                </c:pt>
                <c:pt idx="5966">
                  <c:v>0.58799999999999997</c:v>
                </c:pt>
                <c:pt idx="5967">
                  <c:v>0.50700000000000001</c:v>
                </c:pt>
                <c:pt idx="5968">
                  <c:v>6.4000000000000001E-2</c:v>
                </c:pt>
                <c:pt idx="5969">
                  <c:v>0.36499999999999999</c:v>
                </c:pt>
                <c:pt idx="5970">
                  <c:v>0.86599999999999999</c:v>
                </c:pt>
                <c:pt idx="5971">
                  <c:v>0.95799999999999996</c:v>
                </c:pt>
                <c:pt idx="5972">
                  <c:v>0.435</c:v>
                </c:pt>
                <c:pt idx="5973">
                  <c:v>0.38700000000000001</c:v>
                </c:pt>
                <c:pt idx="5974">
                  <c:v>0.115</c:v>
                </c:pt>
                <c:pt idx="5975">
                  <c:v>0.84799999999999998</c:v>
                </c:pt>
                <c:pt idx="5976">
                  <c:v>0.91200000000000003</c:v>
                </c:pt>
                <c:pt idx="5977">
                  <c:v>0.14599999999999999</c:v>
                </c:pt>
                <c:pt idx="5978">
                  <c:v>0.77200000000000002</c:v>
                </c:pt>
                <c:pt idx="5979">
                  <c:v>5.8000000000000003E-2</c:v>
                </c:pt>
                <c:pt idx="5980">
                  <c:v>0.77200000000000002</c:v>
                </c:pt>
                <c:pt idx="5981">
                  <c:v>0.41199999999999998</c:v>
                </c:pt>
                <c:pt idx="5982">
                  <c:v>0.46400000000000002</c:v>
                </c:pt>
                <c:pt idx="5983">
                  <c:v>0.47799999999999998</c:v>
                </c:pt>
                <c:pt idx="5984">
                  <c:v>0.73199999999999998</c:v>
                </c:pt>
                <c:pt idx="5985">
                  <c:v>0.75600000000000001</c:v>
                </c:pt>
                <c:pt idx="5986">
                  <c:v>0.70199999999999996</c:v>
                </c:pt>
                <c:pt idx="5987">
                  <c:v>0.71499999999999997</c:v>
                </c:pt>
                <c:pt idx="5988">
                  <c:v>0.70799999999999996</c:v>
                </c:pt>
                <c:pt idx="5989">
                  <c:v>0.71799999999999997</c:v>
                </c:pt>
                <c:pt idx="5990">
                  <c:v>0.85099999999999998</c:v>
                </c:pt>
                <c:pt idx="5991">
                  <c:v>0.23499999999999999</c:v>
                </c:pt>
                <c:pt idx="5992">
                  <c:v>0.70399999999999996</c:v>
                </c:pt>
                <c:pt idx="5993">
                  <c:v>0.56200000000000006</c:v>
                </c:pt>
                <c:pt idx="5994">
                  <c:v>0.50700000000000001</c:v>
                </c:pt>
                <c:pt idx="5995">
                  <c:v>0.45500000000000002</c:v>
                </c:pt>
                <c:pt idx="5996">
                  <c:v>0.443</c:v>
                </c:pt>
                <c:pt idx="5997">
                  <c:v>0.61099999999999999</c:v>
                </c:pt>
                <c:pt idx="5998">
                  <c:v>0.623</c:v>
                </c:pt>
                <c:pt idx="5999">
                  <c:v>0.4</c:v>
                </c:pt>
                <c:pt idx="6000">
                  <c:v>0.65600000000000003</c:v>
                </c:pt>
                <c:pt idx="6001">
                  <c:v>0.83699999999999997</c:v>
                </c:pt>
                <c:pt idx="6002">
                  <c:v>0.51900000000000002</c:v>
                </c:pt>
                <c:pt idx="6003">
                  <c:v>0.41399999999999998</c:v>
                </c:pt>
                <c:pt idx="6004">
                  <c:v>0.68400000000000005</c:v>
                </c:pt>
                <c:pt idx="6005">
                  <c:v>0.67800000000000005</c:v>
                </c:pt>
                <c:pt idx="6006">
                  <c:v>0.56899999999999995</c:v>
                </c:pt>
                <c:pt idx="6007">
                  <c:v>0.65700000000000003</c:v>
                </c:pt>
                <c:pt idx="6008">
                  <c:v>0.34</c:v>
                </c:pt>
                <c:pt idx="6009">
                  <c:v>0.58199999999999996</c:v>
                </c:pt>
                <c:pt idx="6010">
                  <c:v>0.92</c:v>
                </c:pt>
                <c:pt idx="6011">
                  <c:v>0.39400000000000002</c:v>
                </c:pt>
                <c:pt idx="6012">
                  <c:v>0.82199999999999995</c:v>
                </c:pt>
                <c:pt idx="6013">
                  <c:v>0.28799999999999998</c:v>
                </c:pt>
                <c:pt idx="6014">
                  <c:v>0.90400000000000003</c:v>
                </c:pt>
                <c:pt idx="6015">
                  <c:v>0.79700000000000004</c:v>
                </c:pt>
                <c:pt idx="6016">
                  <c:v>0.438</c:v>
                </c:pt>
                <c:pt idx="6017">
                  <c:v>0.79500000000000004</c:v>
                </c:pt>
                <c:pt idx="6018">
                  <c:v>0.312</c:v>
                </c:pt>
                <c:pt idx="6019">
                  <c:v>0.58699999999999997</c:v>
                </c:pt>
                <c:pt idx="6020">
                  <c:v>0.44700000000000001</c:v>
                </c:pt>
                <c:pt idx="6021">
                  <c:v>0.57999999999999996</c:v>
                </c:pt>
                <c:pt idx="6022">
                  <c:v>0.48099999999999998</c:v>
                </c:pt>
                <c:pt idx="6023">
                  <c:v>0.47399999999999998</c:v>
                </c:pt>
                <c:pt idx="6024">
                  <c:v>0.45800000000000002</c:v>
                </c:pt>
                <c:pt idx="6025">
                  <c:v>0.505</c:v>
                </c:pt>
                <c:pt idx="6026">
                  <c:v>0.72499999999999998</c:v>
                </c:pt>
                <c:pt idx="6027">
                  <c:v>0.23</c:v>
                </c:pt>
                <c:pt idx="6028">
                  <c:v>0.76600000000000001</c:v>
                </c:pt>
                <c:pt idx="6029">
                  <c:v>0.67</c:v>
                </c:pt>
                <c:pt idx="6030">
                  <c:v>0.32700000000000001</c:v>
                </c:pt>
                <c:pt idx="6031">
                  <c:v>0.85699999999999998</c:v>
                </c:pt>
                <c:pt idx="6032">
                  <c:v>0.61799999999999999</c:v>
                </c:pt>
                <c:pt idx="6033">
                  <c:v>0.79900000000000004</c:v>
                </c:pt>
                <c:pt idx="6034">
                  <c:v>0.41199999999999998</c:v>
                </c:pt>
                <c:pt idx="6035">
                  <c:v>0.88200000000000001</c:v>
                </c:pt>
                <c:pt idx="6036">
                  <c:v>0.77</c:v>
                </c:pt>
                <c:pt idx="6037">
                  <c:v>0.93500000000000005</c:v>
                </c:pt>
                <c:pt idx="6038">
                  <c:v>0.434</c:v>
                </c:pt>
                <c:pt idx="6039">
                  <c:v>0.20799999999999999</c:v>
                </c:pt>
                <c:pt idx="6040">
                  <c:v>0.72499999999999998</c:v>
                </c:pt>
                <c:pt idx="6041">
                  <c:v>0.61099999999999999</c:v>
                </c:pt>
                <c:pt idx="6042">
                  <c:v>0.56299999999999994</c:v>
                </c:pt>
                <c:pt idx="6043">
                  <c:v>0.746</c:v>
                </c:pt>
                <c:pt idx="6044">
                  <c:v>0.83699999999999997</c:v>
                </c:pt>
                <c:pt idx="6045">
                  <c:v>0.29499999999999998</c:v>
                </c:pt>
                <c:pt idx="6046">
                  <c:v>0.50600000000000001</c:v>
                </c:pt>
                <c:pt idx="6047">
                  <c:v>0.60899999999999999</c:v>
                </c:pt>
                <c:pt idx="6048">
                  <c:v>0.67</c:v>
                </c:pt>
                <c:pt idx="6049">
                  <c:v>0.78400000000000003</c:v>
                </c:pt>
                <c:pt idx="6050">
                  <c:v>0.92500000000000004</c:v>
                </c:pt>
                <c:pt idx="6051">
                  <c:v>0.97099999999999997</c:v>
                </c:pt>
                <c:pt idx="6052">
                  <c:v>0.56299999999999994</c:v>
                </c:pt>
                <c:pt idx="6053">
                  <c:v>0.56000000000000005</c:v>
                </c:pt>
                <c:pt idx="6054">
                  <c:v>0.69299999999999995</c:v>
                </c:pt>
                <c:pt idx="6055">
                  <c:v>0.27600000000000002</c:v>
                </c:pt>
                <c:pt idx="6056">
                  <c:v>0.47699999999999998</c:v>
                </c:pt>
                <c:pt idx="6057">
                  <c:v>0.49099999999999999</c:v>
                </c:pt>
                <c:pt idx="6058">
                  <c:v>0.32200000000000001</c:v>
                </c:pt>
                <c:pt idx="6059">
                  <c:v>0.311</c:v>
                </c:pt>
                <c:pt idx="6060">
                  <c:v>0.94799999999999995</c:v>
                </c:pt>
                <c:pt idx="6061">
                  <c:v>0.46800000000000003</c:v>
                </c:pt>
                <c:pt idx="6062">
                  <c:v>0.441</c:v>
                </c:pt>
                <c:pt idx="6063">
                  <c:v>0.54900000000000004</c:v>
                </c:pt>
                <c:pt idx="6064">
                  <c:v>0.84899999999999998</c:v>
                </c:pt>
                <c:pt idx="6065">
                  <c:v>0.29599999999999999</c:v>
                </c:pt>
                <c:pt idx="6066">
                  <c:v>0.48599999999999999</c:v>
                </c:pt>
                <c:pt idx="6067">
                  <c:v>0.29299999999999998</c:v>
                </c:pt>
                <c:pt idx="6068">
                  <c:v>0.216</c:v>
                </c:pt>
                <c:pt idx="6069">
                  <c:v>0.66400000000000003</c:v>
                </c:pt>
                <c:pt idx="6070">
                  <c:v>0.214</c:v>
                </c:pt>
                <c:pt idx="6071">
                  <c:v>0.24299999999999999</c:v>
                </c:pt>
                <c:pt idx="6072">
                  <c:v>0.86499999999999999</c:v>
                </c:pt>
                <c:pt idx="6073">
                  <c:v>7.6999999999999999E-2</c:v>
                </c:pt>
                <c:pt idx="6074">
                  <c:v>0.64</c:v>
                </c:pt>
                <c:pt idx="6075">
                  <c:v>0.86099999999999999</c:v>
                </c:pt>
                <c:pt idx="6076">
                  <c:v>0.95299999999999996</c:v>
                </c:pt>
                <c:pt idx="6077">
                  <c:v>7.6999999999999999E-2</c:v>
                </c:pt>
                <c:pt idx="6078">
                  <c:v>0.79600000000000004</c:v>
                </c:pt>
                <c:pt idx="6079">
                  <c:v>0.22800000000000001</c:v>
                </c:pt>
                <c:pt idx="6080">
                  <c:v>0.81599999999999995</c:v>
                </c:pt>
                <c:pt idx="6081">
                  <c:v>0.22800000000000001</c:v>
                </c:pt>
                <c:pt idx="6082">
                  <c:v>0.94</c:v>
                </c:pt>
                <c:pt idx="6083">
                  <c:v>0.128</c:v>
                </c:pt>
                <c:pt idx="6084">
                  <c:v>0.161</c:v>
                </c:pt>
                <c:pt idx="6085">
                  <c:v>0.41299999999999998</c:v>
                </c:pt>
                <c:pt idx="6086">
                  <c:v>0.65600000000000003</c:v>
                </c:pt>
                <c:pt idx="6087">
                  <c:v>0.36</c:v>
                </c:pt>
                <c:pt idx="6088">
                  <c:v>0.40799999999999997</c:v>
                </c:pt>
                <c:pt idx="6089">
                  <c:v>0.36899999999999999</c:v>
                </c:pt>
                <c:pt idx="6090">
                  <c:v>0.54400000000000004</c:v>
                </c:pt>
                <c:pt idx="6091">
                  <c:v>0.14399999999999999</c:v>
                </c:pt>
                <c:pt idx="6092">
                  <c:v>0.52200000000000002</c:v>
                </c:pt>
                <c:pt idx="6093">
                  <c:v>0.06</c:v>
                </c:pt>
                <c:pt idx="6094">
                  <c:v>0.29199999999999998</c:v>
                </c:pt>
                <c:pt idx="6095">
                  <c:v>0.57899999999999996</c:v>
                </c:pt>
                <c:pt idx="6096">
                  <c:v>0.56200000000000006</c:v>
                </c:pt>
                <c:pt idx="6097">
                  <c:v>0.379</c:v>
                </c:pt>
                <c:pt idx="6098">
                  <c:v>0.93799999999999994</c:v>
                </c:pt>
                <c:pt idx="6099">
                  <c:v>0.97399999999999998</c:v>
                </c:pt>
                <c:pt idx="6100">
                  <c:v>0.50800000000000001</c:v>
                </c:pt>
                <c:pt idx="6101">
                  <c:v>0.308</c:v>
                </c:pt>
                <c:pt idx="6102">
                  <c:v>0.81100000000000005</c:v>
                </c:pt>
                <c:pt idx="6103">
                  <c:v>0.51800000000000002</c:v>
                </c:pt>
                <c:pt idx="6104">
                  <c:v>0.11600000000000001</c:v>
                </c:pt>
                <c:pt idx="6105">
                  <c:v>0.61699999999999999</c:v>
                </c:pt>
                <c:pt idx="6106">
                  <c:v>0.10299999999999999</c:v>
                </c:pt>
                <c:pt idx="6107">
                  <c:v>0.51800000000000002</c:v>
                </c:pt>
                <c:pt idx="6108">
                  <c:v>0.186</c:v>
                </c:pt>
                <c:pt idx="6109">
                  <c:v>0.46600000000000003</c:v>
                </c:pt>
                <c:pt idx="6110">
                  <c:v>0.503</c:v>
                </c:pt>
                <c:pt idx="6111">
                  <c:v>0.41</c:v>
                </c:pt>
                <c:pt idx="6112">
                  <c:v>0.81499999999999995</c:v>
                </c:pt>
                <c:pt idx="6113">
                  <c:v>0.55500000000000005</c:v>
                </c:pt>
                <c:pt idx="6114">
                  <c:v>9.7000000000000003E-2</c:v>
                </c:pt>
                <c:pt idx="6115">
                  <c:v>0.55400000000000005</c:v>
                </c:pt>
                <c:pt idx="6116">
                  <c:v>0.63900000000000001</c:v>
                </c:pt>
                <c:pt idx="6117">
                  <c:v>0.53700000000000003</c:v>
                </c:pt>
                <c:pt idx="6118">
                  <c:v>0.67600000000000005</c:v>
                </c:pt>
                <c:pt idx="6119">
                  <c:v>0.42399999999999999</c:v>
                </c:pt>
                <c:pt idx="6120">
                  <c:v>0.875</c:v>
                </c:pt>
                <c:pt idx="6121">
                  <c:v>0.81699999999999995</c:v>
                </c:pt>
                <c:pt idx="6122">
                  <c:v>0.66700000000000004</c:v>
                </c:pt>
                <c:pt idx="6123">
                  <c:v>0.26500000000000001</c:v>
                </c:pt>
                <c:pt idx="6124">
                  <c:v>0.69199999999999995</c:v>
                </c:pt>
                <c:pt idx="6125">
                  <c:v>0.71799999999999997</c:v>
                </c:pt>
                <c:pt idx="6126">
                  <c:v>0.66800000000000004</c:v>
                </c:pt>
                <c:pt idx="6127">
                  <c:v>0.46899999999999997</c:v>
                </c:pt>
                <c:pt idx="6128">
                  <c:v>0.193</c:v>
                </c:pt>
                <c:pt idx="6129">
                  <c:v>0.158</c:v>
                </c:pt>
                <c:pt idx="6130">
                  <c:v>0.47099999999999997</c:v>
                </c:pt>
                <c:pt idx="6131">
                  <c:v>0.80600000000000005</c:v>
                </c:pt>
                <c:pt idx="6132">
                  <c:v>0.40699999999999997</c:v>
                </c:pt>
                <c:pt idx="6133">
                  <c:v>0.40899999999999997</c:v>
                </c:pt>
                <c:pt idx="6134">
                  <c:v>0.73599999999999999</c:v>
                </c:pt>
                <c:pt idx="6135">
                  <c:v>0.14099999999999999</c:v>
                </c:pt>
                <c:pt idx="6136">
                  <c:v>0.51200000000000001</c:v>
                </c:pt>
                <c:pt idx="6137">
                  <c:v>0.27200000000000002</c:v>
                </c:pt>
                <c:pt idx="6138">
                  <c:v>0.38800000000000001</c:v>
                </c:pt>
                <c:pt idx="6139">
                  <c:v>0.41299999999999998</c:v>
                </c:pt>
                <c:pt idx="6140">
                  <c:v>0.34499999999999997</c:v>
                </c:pt>
                <c:pt idx="6141">
                  <c:v>0.182</c:v>
                </c:pt>
                <c:pt idx="6142">
                  <c:v>0.55900000000000005</c:v>
                </c:pt>
                <c:pt idx="6143">
                  <c:v>0.17</c:v>
                </c:pt>
                <c:pt idx="6144">
                  <c:v>0.80300000000000005</c:v>
                </c:pt>
                <c:pt idx="6145">
                  <c:v>0.57099999999999995</c:v>
                </c:pt>
                <c:pt idx="6146">
                  <c:v>0.27100000000000002</c:v>
                </c:pt>
                <c:pt idx="6147">
                  <c:v>0.63500000000000001</c:v>
                </c:pt>
                <c:pt idx="6148">
                  <c:v>0.89100000000000001</c:v>
                </c:pt>
                <c:pt idx="6149">
                  <c:v>0.32400000000000001</c:v>
                </c:pt>
                <c:pt idx="6150">
                  <c:v>0.59399999999999997</c:v>
                </c:pt>
                <c:pt idx="6151">
                  <c:v>0.59</c:v>
                </c:pt>
                <c:pt idx="6152">
                  <c:v>0.32100000000000001</c:v>
                </c:pt>
                <c:pt idx="6153">
                  <c:v>0.60799999999999998</c:v>
                </c:pt>
                <c:pt idx="6154">
                  <c:v>0.11899999999999999</c:v>
                </c:pt>
                <c:pt idx="6155">
                  <c:v>0.504</c:v>
                </c:pt>
                <c:pt idx="6156">
                  <c:v>0.375</c:v>
                </c:pt>
                <c:pt idx="6157">
                  <c:v>0.61</c:v>
                </c:pt>
                <c:pt idx="6158">
                  <c:v>0.98699999999999999</c:v>
                </c:pt>
                <c:pt idx="6159">
                  <c:v>0.39400000000000002</c:v>
                </c:pt>
                <c:pt idx="6160">
                  <c:v>0.42</c:v>
                </c:pt>
                <c:pt idx="6161">
                  <c:v>0.628</c:v>
                </c:pt>
                <c:pt idx="6162">
                  <c:v>1</c:v>
                </c:pt>
                <c:pt idx="6163">
                  <c:v>0.42899999999999999</c:v>
                </c:pt>
                <c:pt idx="6164">
                  <c:v>0.60099999999999998</c:v>
                </c:pt>
                <c:pt idx="6165">
                  <c:v>0.81599999999999995</c:v>
                </c:pt>
                <c:pt idx="6166">
                  <c:v>0.20300000000000001</c:v>
                </c:pt>
                <c:pt idx="6167">
                  <c:v>0.30199999999999999</c:v>
                </c:pt>
                <c:pt idx="6168">
                  <c:v>0.16800000000000001</c:v>
                </c:pt>
                <c:pt idx="6169">
                  <c:v>0.16900000000000001</c:v>
                </c:pt>
                <c:pt idx="6170">
                  <c:v>0.8</c:v>
                </c:pt>
                <c:pt idx="6171">
                  <c:v>0.25700000000000001</c:v>
                </c:pt>
                <c:pt idx="6172">
                  <c:v>0.35499999999999998</c:v>
                </c:pt>
                <c:pt idx="6173">
                  <c:v>0.56000000000000005</c:v>
                </c:pt>
                <c:pt idx="6174">
                  <c:v>0.27200000000000002</c:v>
                </c:pt>
                <c:pt idx="6175">
                  <c:v>0.313</c:v>
                </c:pt>
                <c:pt idx="6176">
                  <c:v>0.39900000000000002</c:v>
                </c:pt>
                <c:pt idx="6177">
                  <c:v>0.42099999999999999</c:v>
                </c:pt>
                <c:pt idx="6178">
                  <c:v>0.38700000000000001</c:v>
                </c:pt>
                <c:pt idx="6179">
                  <c:v>0.41299999999999998</c:v>
                </c:pt>
                <c:pt idx="6180">
                  <c:v>0.89</c:v>
                </c:pt>
                <c:pt idx="6181">
                  <c:v>0.35699999999999998</c:v>
                </c:pt>
                <c:pt idx="6182">
                  <c:v>0.60899999999999999</c:v>
                </c:pt>
                <c:pt idx="6183">
                  <c:v>0.34799999999999998</c:v>
                </c:pt>
                <c:pt idx="6184">
                  <c:v>0.27100000000000002</c:v>
                </c:pt>
                <c:pt idx="6185">
                  <c:v>0.51100000000000001</c:v>
                </c:pt>
                <c:pt idx="6186">
                  <c:v>0.58099999999999996</c:v>
                </c:pt>
                <c:pt idx="6187">
                  <c:v>0.88200000000000001</c:v>
                </c:pt>
                <c:pt idx="6188">
                  <c:v>0.55900000000000005</c:v>
                </c:pt>
                <c:pt idx="6189">
                  <c:v>0.439</c:v>
                </c:pt>
                <c:pt idx="6190">
                  <c:v>0.36699999999999999</c:v>
                </c:pt>
                <c:pt idx="6191">
                  <c:v>0.16</c:v>
                </c:pt>
                <c:pt idx="6192">
                  <c:v>0.23400000000000001</c:v>
                </c:pt>
                <c:pt idx="6193">
                  <c:v>0.375</c:v>
                </c:pt>
                <c:pt idx="6194">
                  <c:v>0.33100000000000002</c:v>
                </c:pt>
                <c:pt idx="6195">
                  <c:v>0.35199999999999998</c:v>
                </c:pt>
                <c:pt idx="6196">
                  <c:v>0.61699999999999999</c:v>
                </c:pt>
                <c:pt idx="6197">
                  <c:v>0.65600000000000003</c:v>
                </c:pt>
                <c:pt idx="6198">
                  <c:v>0.71499999999999997</c:v>
                </c:pt>
                <c:pt idx="6199">
                  <c:v>0.73599999999999999</c:v>
                </c:pt>
                <c:pt idx="6200">
                  <c:v>0.32900000000000001</c:v>
                </c:pt>
                <c:pt idx="6201">
                  <c:v>0.48099999999999998</c:v>
                </c:pt>
                <c:pt idx="6202">
                  <c:v>0.67800000000000005</c:v>
                </c:pt>
                <c:pt idx="6203">
                  <c:v>0.80300000000000005</c:v>
                </c:pt>
                <c:pt idx="6204">
                  <c:v>0.11600000000000001</c:v>
                </c:pt>
                <c:pt idx="6205">
                  <c:v>0.68300000000000005</c:v>
                </c:pt>
                <c:pt idx="6206">
                  <c:v>0.39200000000000002</c:v>
                </c:pt>
                <c:pt idx="6207">
                  <c:v>0.34200000000000003</c:v>
                </c:pt>
                <c:pt idx="6208">
                  <c:v>5.5E-2</c:v>
                </c:pt>
                <c:pt idx="6209">
                  <c:v>0.57399999999999995</c:v>
                </c:pt>
                <c:pt idx="6210">
                  <c:v>0.67</c:v>
                </c:pt>
                <c:pt idx="6211">
                  <c:v>0.36199999999999999</c:v>
                </c:pt>
                <c:pt idx="6212">
                  <c:v>0.754</c:v>
                </c:pt>
                <c:pt idx="6213">
                  <c:v>0.436</c:v>
                </c:pt>
                <c:pt idx="6214">
                  <c:v>0.13</c:v>
                </c:pt>
                <c:pt idx="6215">
                  <c:v>5.8000000000000003E-2</c:v>
                </c:pt>
                <c:pt idx="6216">
                  <c:v>0.38900000000000001</c:v>
                </c:pt>
                <c:pt idx="6217">
                  <c:v>0.70499999999999996</c:v>
                </c:pt>
                <c:pt idx="6218">
                  <c:v>0.58899999999999997</c:v>
                </c:pt>
                <c:pt idx="6219">
                  <c:v>0.22700000000000001</c:v>
                </c:pt>
                <c:pt idx="6220">
                  <c:v>0.60399999999999998</c:v>
                </c:pt>
                <c:pt idx="6221">
                  <c:v>0.75</c:v>
                </c:pt>
                <c:pt idx="6222">
                  <c:v>0.108</c:v>
                </c:pt>
                <c:pt idx="6223">
                  <c:v>0.27400000000000002</c:v>
                </c:pt>
                <c:pt idx="6224">
                  <c:v>0.41799999999999998</c:v>
                </c:pt>
                <c:pt idx="6225">
                  <c:v>0.71299999999999997</c:v>
                </c:pt>
                <c:pt idx="6226">
                  <c:v>0.86399999999999999</c:v>
                </c:pt>
                <c:pt idx="6227">
                  <c:v>0.70699999999999996</c:v>
                </c:pt>
                <c:pt idx="6228">
                  <c:v>0.41</c:v>
                </c:pt>
                <c:pt idx="6229">
                  <c:v>0.41499999999999998</c:v>
                </c:pt>
                <c:pt idx="6230">
                  <c:v>0.71399999999999997</c:v>
                </c:pt>
                <c:pt idx="6231">
                  <c:v>0.499</c:v>
                </c:pt>
                <c:pt idx="6232">
                  <c:v>0.16</c:v>
                </c:pt>
                <c:pt idx="6233">
                  <c:v>0.71299999999999997</c:v>
                </c:pt>
                <c:pt idx="6234">
                  <c:v>0.497</c:v>
                </c:pt>
                <c:pt idx="6235">
                  <c:v>0.34699999999999998</c:v>
                </c:pt>
                <c:pt idx="6236">
                  <c:v>0.50800000000000001</c:v>
                </c:pt>
                <c:pt idx="6237">
                  <c:v>0.623</c:v>
                </c:pt>
                <c:pt idx="6238">
                  <c:v>0.95399999999999996</c:v>
                </c:pt>
                <c:pt idx="6239">
                  <c:v>0.69799999999999995</c:v>
                </c:pt>
                <c:pt idx="6240">
                  <c:v>0.53700000000000003</c:v>
                </c:pt>
                <c:pt idx="6241">
                  <c:v>0.246</c:v>
                </c:pt>
                <c:pt idx="6242">
                  <c:v>0.72499999999999998</c:v>
                </c:pt>
                <c:pt idx="6243">
                  <c:v>0.77700000000000002</c:v>
                </c:pt>
                <c:pt idx="6244">
                  <c:v>0.36</c:v>
                </c:pt>
                <c:pt idx="6245">
                  <c:v>0.17699999999999999</c:v>
                </c:pt>
                <c:pt idx="6246">
                  <c:v>0.153</c:v>
                </c:pt>
                <c:pt idx="6247">
                  <c:v>0.80700000000000005</c:v>
                </c:pt>
                <c:pt idx="6248">
                  <c:v>0.17</c:v>
                </c:pt>
                <c:pt idx="6249">
                  <c:v>0.69599999999999995</c:v>
                </c:pt>
                <c:pt idx="6250">
                  <c:v>9.4E-2</c:v>
                </c:pt>
                <c:pt idx="6251">
                  <c:v>0.92900000000000005</c:v>
                </c:pt>
                <c:pt idx="6252">
                  <c:v>0.98499999999999999</c:v>
                </c:pt>
                <c:pt idx="6253">
                  <c:v>5.8000000000000003E-2</c:v>
                </c:pt>
                <c:pt idx="6254">
                  <c:v>7.0999999999999994E-2</c:v>
                </c:pt>
                <c:pt idx="6255">
                  <c:v>0.93799999999999994</c:v>
                </c:pt>
                <c:pt idx="6256">
                  <c:v>0.27500000000000002</c:v>
                </c:pt>
                <c:pt idx="6257">
                  <c:v>0.108</c:v>
                </c:pt>
                <c:pt idx="6258">
                  <c:v>0.879</c:v>
                </c:pt>
                <c:pt idx="6259">
                  <c:v>0.64600000000000002</c:v>
                </c:pt>
                <c:pt idx="6260">
                  <c:v>0.47599999999999998</c:v>
                </c:pt>
                <c:pt idx="6261">
                  <c:v>0.96199999999999997</c:v>
                </c:pt>
                <c:pt idx="6262">
                  <c:v>0.218</c:v>
                </c:pt>
                <c:pt idx="6263">
                  <c:v>0.61099999999999999</c:v>
                </c:pt>
                <c:pt idx="6264">
                  <c:v>0.60299999999999998</c:v>
                </c:pt>
                <c:pt idx="6265">
                  <c:v>0.42899999999999999</c:v>
                </c:pt>
                <c:pt idx="6266">
                  <c:v>0.71599999999999997</c:v>
                </c:pt>
                <c:pt idx="6267">
                  <c:v>0.161</c:v>
                </c:pt>
                <c:pt idx="6268">
                  <c:v>0.26800000000000002</c:v>
                </c:pt>
                <c:pt idx="6269">
                  <c:v>0.42699999999999999</c:v>
                </c:pt>
                <c:pt idx="6270">
                  <c:v>0.30199999999999999</c:v>
                </c:pt>
                <c:pt idx="6271">
                  <c:v>0.23400000000000001</c:v>
                </c:pt>
                <c:pt idx="6272">
                  <c:v>0.749</c:v>
                </c:pt>
                <c:pt idx="6273">
                  <c:v>0.54300000000000004</c:v>
                </c:pt>
                <c:pt idx="6274">
                  <c:v>0.72299999999999998</c:v>
                </c:pt>
                <c:pt idx="6275">
                  <c:v>0.18099999999999999</c:v>
                </c:pt>
                <c:pt idx="6276">
                  <c:v>0.24099999999999999</c:v>
                </c:pt>
                <c:pt idx="6277">
                  <c:v>0.45200000000000001</c:v>
                </c:pt>
                <c:pt idx="6278">
                  <c:v>0.36699999999999999</c:v>
                </c:pt>
                <c:pt idx="6279">
                  <c:v>0.51400000000000001</c:v>
                </c:pt>
                <c:pt idx="6280">
                  <c:v>0.41799999999999998</c:v>
                </c:pt>
                <c:pt idx="6281">
                  <c:v>0.19</c:v>
                </c:pt>
                <c:pt idx="6282">
                  <c:v>5.8000000000000003E-2</c:v>
                </c:pt>
                <c:pt idx="6283">
                  <c:v>0.314</c:v>
                </c:pt>
                <c:pt idx="6284">
                  <c:v>0.54800000000000004</c:v>
                </c:pt>
                <c:pt idx="6285">
                  <c:v>0.377</c:v>
                </c:pt>
                <c:pt idx="6286">
                  <c:v>0.21199999999999999</c:v>
                </c:pt>
                <c:pt idx="6287">
                  <c:v>7.6999999999999999E-2</c:v>
                </c:pt>
                <c:pt idx="6288">
                  <c:v>0.433</c:v>
                </c:pt>
                <c:pt idx="6289">
                  <c:v>0.34599999999999997</c:v>
                </c:pt>
                <c:pt idx="6290">
                  <c:v>0.56999999999999995</c:v>
                </c:pt>
                <c:pt idx="6291">
                  <c:v>0.89</c:v>
                </c:pt>
                <c:pt idx="6292">
                  <c:v>0.56200000000000006</c:v>
                </c:pt>
                <c:pt idx="6293">
                  <c:v>0.70099999999999996</c:v>
                </c:pt>
                <c:pt idx="6294">
                  <c:v>0.53800000000000003</c:v>
                </c:pt>
                <c:pt idx="6295">
                  <c:v>0.626</c:v>
                </c:pt>
                <c:pt idx="6296">
                  <c:v>0.14899999999999999</c:v>
                </c:pt>
                <c:pt idx="6297">
                  <c:v>0.216</c:v>
                </c:pt>
                <c:pt idx="6298">
                  <c:v>0.69299999999999995</c:v>
                </c:pt>
                <c:pt idx="6299">
                  <c:v>0.82899999999999996</c:v>
                </c:pt>
                <c:pt idx="6300">
                  <c:v>0.32100000000000001</c:v>
                </c:pt>
                <c:pt idx="6301">
                  <c:v>0.55100000000000005</c:v>
                </c:pt>
                <c:pt idx="6302">
                  <c:v>0.59799999999999998</c:v>
                </c:pt>
                <c:pt idx="6303">
                  <c:v>0.95099999999999996</c:v>
                </c:pt>
                <c:pt idx="6304">
                  <c:v>0.32500000000000001</c:v>
                </c:pt>
                <c:pt idx="6305">
                  <c:v>0.97199999999999998</c:v>
                </c:pt>
                <c:pt idx="6306">
                  <c:v>0.47899999999999998</c:v>
                </c:pt>
                <c:pt idx="6307">
                  <c:v>0.60699999999999998</c:v>
                </c:pt>
                <c:pt idx="6308">
                  <c:v>0.91200000000000003</c:v>
                </c:pt>
                <c:pt idx="6309">
                  <c:v>0.441</c:v>
                </c:pt>
                <c:pt idx="6310">
                  <c:v>0.85299999999999998</c:v>
                </c:pt>
                <c:pt idx="6311">
                  <c:v>0.79700000000000004</c:v>
                </c:pt>
                <c:pt idx="6312">
                  <c:v>0.39900000000000002</c:v>
                </c:pt>
                <c:pt idx="6313">
                  <c:v>0.57899999999999996</c:v>
                </c:pt>
                <c:pt idx="6314">
                  <c:v>0.85499999999999998</c:v>
                </c:pt>
                <c:pt idx="6315">
                  <c:v>0.254</c:v>
                </c:pt>
                <c:pt idx="6316">
                  <c:v>0.64200000000000002</c:v>
                </c:pt>
                <c:pt idx="6317">
                  <c:v>0.90100000000000002</c:v>
                </c:pt>
                <c:pt idx="6318">
                  <c:v>0.17799999999999999</c:v>
                </c:pt>
                <c:pt idx="6319">
                  <c:v>0.64700000000000002</c:v>
                </c:pt>
                <c:pt idx="6320">
                  <c:v>0.38100000000000001</c:v>
                </c:pt>
                <c:pt idx="6321">
                  <c:v>0.112</c:v>
                </c:pt>
                <c:pt idx="6322">
                  <c:v>0.12</c:v>
                </c:pt>
                <c:pt idx="6323">
                  <c:v>0.20399999999999999</c:v>
                </c:pt>
                <c:pt idx="6324">
                  <c:v>0.88600000000000001</c:v>
                </c:pt>
                <c:pt idx="6325">
                  <c:v>0.89400000000000002</c:v>
                </c:pt>
                <c:pt idx="6326">
                  <c:v>0.9</c:v>
                </c:pt>
                <c:pt idx="6327">
                  <c:v>0.30199999999999999</c:v>
                </c:pt>
                <c:pt idx="6328">
                  <c:v>0.55000000000000004</c:v>
                </c:pt>
                <c:pt idx="6329">
                  <c:v>0.91300000000000003</c:v>
                </c:pt>
                <c:pt idx="6330">
                  <c:v>0.13600000000000001</c:v>
                </c:pt>
                <c:pt idx="6331">
                  <c:v>0.60599999999999998</c:v>
                </c:pt>
                <c:pt idx="6332">
                  <c:v>0.78100000000000003</c:v>
                </c:pt>
                <c:pt idx="6333">
                  <c:v>0.59</c:v>
                </c:pt>
                <c:pt idx="6334">
                  <c:v>0.47299999999999998</c:v>
                </c:pt>
                <c:pt idx="6335">
                  <c:v>0.57999999999999996</c:v>
                </c:pt>
                <c:pt idx="6336">
                  <c:v>0.39200000000000002</c:v>
                </c:pt>
                <c:pt idx="6337">
                  <c:v>0.14699999999999999</c:v>
                </c:pt>
                <c:pt idx="6338">
                  <c:v>0.504</c:v>
                </c:pt>
                <c:pt idx="6339">
                  <c:v>0.48699999999999999</c:v>
                </c:pt>
                <c:pt idx="6340">
                  <c:v>0.36</c:v>
                </c:pt>
                <c:pt idx="6341">
                  <c:v>0.97899999999999998</c:v>
                </c:pt>
                <c:pt idx="6342">
                  <c:v>0.90900000000000003</c:v>
                </c:pt>
                <c:pt idx="6343">
                  <c:v>0.14699999999999999</c:v>
                </c:pt>
                <c:pt idx="6344">
                  <c:v>0.21</c:v>
                </c:pt>
                <c:pt idx="6345">
                  <c:v>0.107</c:v>
                </c:pt>
                <c:pt idx="6346">
                  <c:v>0.15</c:v>
                </c:pt>
                <c:pt idx="6347">
                  <c:v>6.0999999999999999E-2</c:v>
                </c:pt>
                <c:pt idx="6348">
                  <c:v>0.50600000000000001</c:v>
                </c:pt>
                <c:pt idx="6349">
                  <c:v>0.64</c:v>
                </c:pt>
                <c:pt idx="6350">
                  <c:v>0.47899999999999998</c:v>
                </c:pt>
                <c:pt idx="6351">
                  <c:v>0.54500000000000004</c:v>
                </c:pt>
                <c:pt idx="6352">
                  <c:v>0.182</c:v>
                </c:pt>
                <c:pt idx="6353">
                  <c:v>0.84599999999999997</c:v>
                </c:pt>
                <c:pt idx="6354">
                  <c:v>0.61499999999999999</c:v>
                </c:pt>
                <c:pt idx="6355">
                  <c:v>0.97799999999999998</c:v>
                </c:pt>
                <c:pt idx="6356">
                  <c:v>0.126</c:v>
                </c:pt>
                <c:pt idx="6357">
                  <c:v>0.88900000000000001</c:v>
                </c:pt>
                <c:pt idx="6358">
                  <c:v>0.38500000000000001</c:v>
                </c:pt>
                <c:pt idx="6359">
                  <c:v>0.5</c:v>
                </c:pt>
                <c:pt idx="6360">
                  <c:v>0.39</c:v>
                </c:pt>
                <c:pt idx="6361">
                  <c:v>0.31900000000000001</c:v>
                </c:pt>
                <c:pt idx="6362">
                  <c:v>0.66200000000000003</c:v>
                </c:pt>
                <c:pt idx="6363">
                  <c:v>0.89100000000000001</c:v>
                </c:pt>
                <c:pt idx="6364">
                  <c:v>0.84199999999999997</c:v>
                </c:pt>
                <c:pt idx="6365">
                  <c:v>0.52200000000000002</c:v>
                </c:pt>
                <c:pt idx="6366">
                  <c:v>0.39500000000000002</c:v>
                </c:pt>
                <c:pt idx="6367">
                  <c:v>0.997</c:v>
                </c:pt>
                <c:pt idx="6368">
                  <c:v>0.45700000000000002</c:v>
                </c:pt>
                <c:pt idx="6369">
                  <c:v>0.67400000000000004</c:v>
                </c:pt>
                <c:pt idx="6370">
                  <c:v>0.32700000000000001</c:v>
                </c:pt>
                <c:pt idx="6371">
                  <c:v>0.28100000000000003</c:v>
                </c:pt>
                <c:pt idx="6372">
                  <c:v>0.72199999999999998</c:v>
                </c:pt>
                <c:pt idx="6373">
                  <c:v>0.374</c:v>
                </c:pt>
                <c:pt idx="6374">
                  <c:v>0.375</c:v>
                </c:pt>
                <c:pt idx="6375">
                  <c:v>0.21199999999999999</c:v>
                </c:pt>
                <c:pt idx="6376">
                  <c:v>0.51300000000000001</c:v>
                </c:pt>
                <c:pt idx="6377">
                  <c:v>0.84299999999999997</c:v>
                </c:pt>
                <c:pt idx="6378">
                  <c:v>0.26300000000000001</c:v>
                </c:pt>
                <c:pt idx="6379">
                  <c:v>0.65400000000000003</c:v>
                </c:pt>
                <c:pt idx="6380">
                  <c:v>0.38700000000000001</c:v>
                </c:pt>
                <c:pt idx="6381">
                  <c:v>0.442</c:v>
                </c:pt>
                <c:pt idx="6382">
                  <c:v>0.38100000000000001</c:v>
                </c:pt>
                <c:pt idx="6383">
                  <c:v>0.372</c:v>
                </c:pt>
                <c:pt idx="6384">
                  <c:v>0.873</c:v>
                </c:pt>
                <c:pt idx="6385">
                  <c:v>0.17699999999999999</c:v>
                </c:pt>
                <c:pt idx="6386">
                  <c:v>0.79100000000000004</c:v>
                </c:pt>
                <c:pt idx="6387">
                  <c:v>0.67400000000000004</c:v>
                </c:pt>
                <c:pt idx="6388">
                  <c:v>0.19400000000000001</c:v>
                </c:pt>
                <c:pt idx="6389">
                  <c:v>0.19500000000000001</c:v>
                </c:pt>
                <c:pt idx="6390">
                  <c:v>0.17</c:v>
                </c:pt>
                <c:pt idx="6391">
                  <c:v>4.9000000000000002E-2</c:v>
                </c:pt>
                <c:pt idx="6392">
                  <c:v>0.35199999999999998</c:v>
                </c:pt>
                <c:pt idx="6393">
                  <c:v>0.67700000000000005</c:v>
                </c:pt>
                <c:pt idx="6394">
                  <c:v>0.29399999999999998</c:v>
                </c:pt>
                <c:pt idx="6395">
                  <c:v>6.8000000000000005E-2</c:v>
                </c:pt>
                <c:pt idx="6396">
                  <c:v>0.14199999999999999</c:v>
                </c:pt>
                <c:pt idx="6397">
                  <c:v>0.432</c:v>
                </c:pt>
                <c:pt idx="6398">
                  <c:v>0.44900000000000001</c:v>
                </c:pt>
                <c:pt idx="6399">
                  <c:v>0.58299999999999996</c:v>
                </c:pt>
                <c:pt idx="6400">
                  <c:v>0.81899999999999995</c:v>
                </c:pt>
                <c:pt idx="6401">
                  <c:v>0.497</c:v>
                </c:pt>
                <c:pt idx="6402">
                  <c:v>0.33600000000000002</c:v>
                </c:pt>
                <c:pt idx="6403">
                  <c:v>0.54300000000000004</c:v>
                </c:pt>
                <c:pt idx="6404">
                  <c:v>0.434</c:v>
                </c:pt>
                <c:pt idx="6405">
                  <c:v>0.495</c:v>
                </c:pt>
                <c:pt idx="6406">
                  <c:v>0.26400000000000001</c:v>
                </c:pt>
                <c:pt idx="6407">
                  <c:v>5.6000000000000001E-2</c:v>
                </c:pt>
                <c:pt idx="6408">
                  <c:v>0.36199999999999999</c:v>
                </c:pt>
                <c:pt idx="6409">
                  <c:v>0.127</c:v>
                </c:pt>
                <c:pt idx="6410">
                  <c:v>0.46200000000000002</c:v>
                </c:pt>
                <c:pt idx="6411">
                  <c:v>0.72899999999999998</c:v>
                </c:pt>
                <c:pt idx="6412">
                  <c:v>0.10299999999999999</c:v>
                </c:pt>
                <c:pt idx="6413">
                  <c:v>0.23200000000000001</c:v>
                </c:pt>
                <c:pt idx="6414">
                  <c:v>0.63100000000000001</c:v>
                </c:pt>
                <c:pt idx="6415">
                  <c:v>0.55000000000000004</c:v>
                </c:pt>
                <c:pt idx="6416">
                  <c:v>0.442</c:v>
                </c:pt>
                <c:pt idx="6417">
                  <c:v>0.69</c:v>
                </c:pt>
                <c:pt idx="6418">
                  <c:v>0.27</c:v>
                </c:pt>
                <c:pt idx="6419">
                  <c:v>0.11</c:v>
                </c:pt>
                <c:pt idx="6420">
                  <c:v>0.45800000000000002</c:v>
                </c:pt>
                <c:pt idx="6421">
                  <c:v>0.66800000000000004</c:v>
                </c:pt>
                <c:pt idx="6422">
                  <c:v>0.32</c:v>
                </c:pt>
                <c:pt idx="6423">
                  <c:v>0.40300000000000002</c:v>
                </c:pt>
                <c:pt idx="6424">
                  <c:v>0.5</c:v>
                </c:pt>
                <c:pt idx="6425">
                  <c:v>0.189</c:v>
                </c:pt>
                <c:pt idx="6426">
                  <c:v>0.35799999999999998</c:v>
                </c:pt>
                <c:pt idx="6427">
                  <c:v>0.65700000000000003</c:v>
                </c:pt>
                <c:pt idx="6428">
                  <c:v>0.92200000000000004</c:v>
                </c:pt>
                <c:pt idx="6429">
                  <c:v>0.308</c:v>
                </c:pt>
                <c:pt idx="6430">
                  <c:v>0.78600000000000003</c:v>
                </c:pt>
                <c:pt idx="6431">
                  <c:v>0.875</c:v>
                </c:pt>
                <c:pt idx="6432">
                  <c:v>0.82799999999999996</c:v>
                </c:pt>
                <c:pt idx="6433">
                  <c:v>0.89700000000000002</c:v>
                </c:pt>
                <c:pt idx="6434">
                  <c:v>0.13700000000000001</c:v>
                </c:pt>
                <c:pt idx="6435">
                  <c:v>0.39200000000000002</c:v>
                </c:pt>
                <c:pt idx="6436">
                  <c:v>0.623</c:v>
                </c:pt>
                <c:pt idx="6437">
                  <c:v>0.622</c:v>
                </c:pt>
                <c:pt idx="6438">
                  <c:v>1</c:v>
                </c:pt>
                <c:pt idx="6439">
                  <c:v>0.104</c:v>
                </c:pt>
                <c:pt idx="6440">
                  <c:v>0.441</c:v>
                </c:pt>
                <c:pt idx="6441">
                  <c:v>0.41</c:v>
                </c:pt>
                <c:pt idx="6442">
                  <c:v>0.433</c:v>
                </c:pt>
                <c:pt idx="6443">
                  <c:v>0.31900000000000001</c:v>
                </c:pt>
                <c:pt idx="6444">
                  <c:v>0.46700000000000003</c:v>
                </c:pt>
                <c:pt idx="6445">
                  <c:v>0.23899999999999999</c:v>
                </c:pt>
                <c:pt idx="6446">
                  <c:v>0.495</c:v>
                </c:pt>
                <c:pt idx="6447">
                  <c:v>0.93600000000000005</c:v>
                </c:pt>
                <c:pt idx="6448">
                  <c:v>0.52400000000000002</c:v>
                </c:pt>
                <c:pt idx="6449">
                  <c:v>0.55100000000000005</c:v>
                </c:pt>
                <c:pt idx="6450">
                  <c:v>0.56200000000000006</c:v>
                </c:pt>
                <c:pt idx="6451">
                  <c:v>0.53</c:v>
                </c:pt>
                <c:pt idx="6452">
                  <c:v>0.32200000000000001</c:v>
                </c:pt>
                <c:pt idx="6453">
                  <c:v>0.51600000000000001</c:v>
                </c:pt>
                <c:pt idx="6454">
                  <c:v>0.52200000000000002</c:v>
                </c:pt>
                <c:pt idx="6455">
                  <c:v>0.78500000000000003</c:v>
                </c:pt>
                <c:pt idx="6456">
                  <c:v>0.67</c:v>
                </c:pt>
                <c:pt idx="6457">
                  <c:v>0.81899999999999995</c:v>
                </c:pt>
                <c:pt idx="6458">
                  <c:v>0.45800000000000002</c:v>
                </c:pt>
                <c:pt idx="6459">
                  <c:v>0.47299999999999998</c:v>
                </c:pt>
                <c:pt idx="6460">
                  <c:v>0.622</c:v>
                </c:pt>
                <c:pt idx="6461">
                  <c:v>0.39700000000000002</c:v>
                </c:pt>
                <c:pt idx="6462">
                  <c:v>6.0999999999999999E-2</c:v>
                </c:pt>
                <c:pt idx="6463">
                  <c:v>0.54300000000000004</c:v>
                </c:pt>
                <c:pt idx="6464">
                  <c:v>0.78100000000000003</c:v>
                </c:pt>
                <c:pt idx="6465">
                  <c:v>0.105</c:v>
                </c:pt>
                <c:pt idx="6466">
                  <c:v>0.40699999999999997</c:v>
                </c:pt>
                <c:pt idx="6467">
                  <c:v>0.14299999999999999</c:v>
                </c:pt>
                <c:pt idx="6468">
                  <c:v>0.45500000000000002</c:v>
                </c:pt>
                <c:pt idx="6469">
                  <c:v>0.193</c:v>
                </c:pt>
                <c:pt idx="6470">
                  <c:v>3.6999999999999998E-2</c:v>
                </c:pt>
                <c:pt idx="6471">
                  <c:v>0.93500000000000005</c:v>
                </c:pt>
                <c:pt idx="6472">
                  <c:v>0.23100000000000001</c:v>
                </c:pt>
                <c:pt idx="6473">
                  <c:v>0.104</c:v>
                </c:pt>
                <c:pt idx="6474">
                  <c:v>9.5000000000000001E-2</c:v>
                </c:pt>
                <c:pt idx="6475">
                  <c:v>0.55100000000000005</c:v>
                </c:pt>
                <c:pt idx="6476">
                  <c:v>0.41699999999999998</c:v>
                </c:pt>
                <c:pt idx="6477">
                  <c:v>0.84199999999999997</c:v>
                </c:pt>
                <c:pt idx="6478">
                  <c:v>0.33800000000000002</c:v>
                </c:pt>
                <c:pt idx="6479">
                  <c:v>0.46800000000000003</c:v>
                </c:pt>
                <c:pt idx="6480">
                  <c:v>0.104</c:v>
                </c:pt>
                <c:pt idx="6481">
                  <c:v>0.95699999999999996</c:v>
                </c:pt>
                <c:pt idx="6482">
                  <c:v>0.251</c:v>
                </c:pt>
                <c:pt idx="6483">
                  <c:v>0.89200000000000002</c:v>
                </c:pt>
                <c:pt idx="6484">
                  <c:v>0.93100000000000005</c:v>
                </c:pt>
                <c:pt idx="6485">
                  <c:v>0.36199999999999999</c:v>
                </c:pt>
                <c:pt idx="6486">
                  <c:v>0.115</c:v>
                </c:pt>
                <c:pt idx="6487">
                  <c:v>0.44</c:v>
                </c:pt>
                <c:pt idx="6488">
                  <c:v>0.32700000000000001</c:v>
                </c:pt>
                <c:pt idx="6489">
                  <c:v>0.26200000000000001</c:v>
                </c:pt>
                <c:pt idx="6490">
                  <c:v>0.12</c:v>
                </c:pt>
                <c:pt idx="6491">
                  <c:v>0.39500000000000002</c:v>
                </c:pt>
                <c:pt idx="6492">
                  <c:v>0.64100000000000001</c:v>
                </c:pt>
                <c:pt idx="6493">
                  <c:v>0.40600000000000003</c:v>
                </c:pt>
                <c:pt idx="6494">
                  <c:v>0.26800000000000002</c:v>
                </c:pt>
                <c:pt idx="6495">
                  <c:v>0.27900000000000003</c:v>
                </c:pt>
                <c:pt idx="6496">
                  <c:v>0.34300000000000003</c:v>
                </c:pt>
                <c:pt idx="6497">
                  <c:v>0.438</c:v>
                </c:pt>
                <c:pt idx="6498">
                  <c:v>0.84499999999999997</c:v>
                </c:pt>
                <c:pt idx="6499">
                  <c:v>0.67700000000000005</c:v>
                </c:pt>
                <c:pt idx="6500">
                  <c:v>0.59299999999999997</c:v>
                </c:pt>
                <c:pt idx="6501">
                  <c:v>0.45500000000000002</c:v>
                </c:pt>
                <c:pt idx="6502">
                  <c:v>0.50900000000000001</c:v>
                </c:pt>
                <c:pt idx="6503">
                  <c:v>0.47099999999999997</c:v>
                </c:pt>
                <c:pt idx="6504">
                  <c:v>0.503</c:v>
                </c:pt>
                <c:pt idx="6505">
                  <c:v>0.27800000000000002</c:v>
                </c:pt>
                <c:pt idx="6506">
                  <c:v>0.41199999999999998</c:v>
                </c:pt>
                <c:pt idx="6507">
                  <c:v>0.91500000000000004</c:v>
                </c:pt>
                <c:pt idx="6508">
                  <c:v>0.68500000000000005</c:v>
                </c:pt>
                <c:pt idx="6509">
                  <c:v>0.75800000000000001</c:v>
                </c:pt>
                <c:pt idx="6510">
                  <c:v>0.57499999999999996</c:v>
                </c:pt>
                <c:pt idx="6511">
                  <c:v>0.23200000000000001</c:v>
                </c:pt>
                <c:pt idx="6512">
                  <c:v>0.875</c:v>
                </c:pt>
                <c:pt idx="6513">
                  <c:v>0.36899999999999999</c:v>
                </c:pt>
                <c:pt idx="6514">
                  <c:v>0.95899999999999996</c:v>
                </c:pt>
                <c:pt idx="6515">
                  <c:v>0.78700000000000003</c:v>
                </c:pt>
                <c:pt idx="6516">
                  <c:v>0.318</c:v>
                </c:pt>
                <c:pt idx="6517">
                  <c:v>0.217</c:v>
                </c:pt>
                <c:pt idx="6518">
                  <c:v>0.60399999999999998</c:v>
                </c:pt>
                <c:pt idx="6519">
                  <c:v>0.95</c:v>
                </c:pt>
                <c:pt idx="6520">
                  <c:v>0.45400000000000001</c:v>
                </c:pt>
                <c:pt idx="6521">
                  <c:v>0.42699999999999999</c:v>
                </c:pt>
                <c:pt idx="6522">
                  <c:v>0.50900000000000001</c:v>
                </c:pt>
                <c:pt idx="6523">
                  <c:v>0.46700000000000003</c:v>
                </c:pt>
                <c:pt idx="6524">
                  <c:v>0.113</c:v>
                </c:pt>
                <c:pt idx="6525">
                  <c:v>0.44900000000000001</c:v>
                </c:pt>
                <c:pt idx="6526">
                  <c:v>0.78100000000000003</c:v>
                </c:pt>
                <c:pt idx="6527">
                  <c:v>0.91500000000000004</c:v>
                </c:pt>
                <c:pt idx="6528">
                  <c:v>0.38500000000000001</c:v>
                </c:pt>
                <c:pt idx="6529">
                  <c:v>0.52200000000000002</c:v>
                </c:pt>
                <c:pt idx="6530">
                  <c:v>0.152</c:v>
                </c:pt>
                <c:pt idx="6531">
                  <c:v>0.27100000000000002</c:v>
                </c:pt>
                <c:pt idx="6532">
                  <c:v>0.43099999999999999</c:v>
                </c:pt>
                <c:pt idx="6533">
                  <c:v>0.17899999999999999</c:v>
                </c:pt>
                <c:pt idx="6534">
                  <c:v>0.49299999999999999</c:v>
                </c:pt>
                <c:pt idx="6535">
                  <c:v>0.81100000000000005</c:v>
                </c:pt>
                <c:pt idx="6536">
                  <c:v>0.90700000000000003</c:v>
                </c:pt>
                <c:pt idx="6537">
                  <c:v>0.16800000000000001</c:v>
                </c:pt>
                <c:pt idx="6538">
                  <c:v>0.14799999999999999</c:v>
                </c:pt>
                <c:pt idx="6539">
                  <c:v>0.38700000000000001</c:v>
                </c:pt>
                <c:pt idx="6540">
                  <c:v>0.49299999999999999</c:v>
                </c:pt>
                <c:pt idx="6541">
                  <c:v>0.53400000000000003</c:v>
                </c:pt>
                <c:pt idx="6542">
                  <c:v>0.68600000000000005</c:v>
                </c:pt>
                <c:pt idx="6543">
                  <c:v>0.61299999999999999</c:v>
                </c:pt>
                <c:pt idx="6544">
                  <c:v>0.58599999999999997</c:v>
                </c:pt>
                <c:pt idx="6545">
                  <c:v>0.81399999999999995</c:v>
                </c:pt>
                <c:pt idx="6546">
                  <c:v>0.98</c:v>
                </c:pt>
                <c:pt idx="6547">
                  <c:v>0.439</c:v>
                </c:pt>
                <c:pt idx="6548">
                  <c:v>0.4</c:v>
                </c:pt>
                <c:pt idx="6549">
                  <c:v>0.95399999999999996</c:v>
                </c:pt>
                <c:pt idx="6550">
                  <c:v>0.33600000000000002</c:v>
                </c:pt>
                <c:pt idx="6551">
                  <c:v>0.317</c:v>
                </c:pt>
                <c:pt idx="6552">
                  <c:v>0.67300000000000004</c:v>
                </c:pt>
                <c:pt idx="6553">
                  <c:v>0.81799999999999995</c:v>
                </c:pt>
                <c:pt idx="6554">
                  <c:v>0.29599999999999999</c:v>
                </c:pt>
                <c:pt idx="6555">
                  <c:v>0.27300000000000002</c:v>
                </c:pt>
                <c:pt idx="6556">
                  <c:v>1</c:v>
                </c:pt>
                <c:pt idx="6557">
                  <c:v>0.53900000000000003</c:v>
                </c:pt>
                <c:pt idx="6558">
                  <c:v>0.41099999999999998</c:v>
                </c:pt>
                <c:pt idx="6559">
                  <c:v>0.70499999999999996</c:v>
                </c:pt>
                <c:pt idx="6560">
                  <c:v>0.14399999999999999</c:v>
                </c:pt>
                <c:pt idx="6561">
                  <c:v>0.77200000000000002</c:v>
                </c:pt>
                <c:pt idx="6562">
                  <c:v>0.218</c:v>
                </c:pt>
                <c:pt idx="6563">
                  <c:v>0.40200000000000002</c:v>
                </c:pt>
                <c:pt idx="6564">
                  <c:v>0.36699999999999999</c:v>
                </c:pt>
                <c:pt idx="6565">
                  <c:v>0.75</c:v>
                </c:pt>
                <c:pt idx="6566">
                  <c:v>0.67500000000000004</c:v>
                </c:pt>
                <c:pt idx="6567">
                  <c:v>0.45800000000000002</c:v>
                </c:pt>
                <c:pt idx="6568">
                  <c:v>0.95799999999999996</c:v>
                </c:pt>
                <c:pt idx="6569">
                  <c:v>0.29899999999999999</c:v>
                </c:pt>
                <c:pt idx="6570">
                  <c:v>0.73699999999999999</c:v>
                </c:pt>
                <c:pt idx="6571">
                  <c:v>0.53700000000000003</c:v>
                </c:pt>
                <c:pt idx="6572">
                  <c:v>0.78800000000000003</c:v>
                </c:pt>
                <c:pt idx="6573">
                  <c:v>0.5</c:v>
                </c:pt>
                <c:pt idx="6574">
                  <c:v>0.56100000000000005</c:v>
                </c:pt>
                <c:pt idx="6575">
                  <c:v>0.28899999999999998</c:v>
                </c:pt>
                <c:pt idx="6576">
                  <c:v>0.93700000000000006</c:v>
                </c:pt>
                <c:pt idx="6577">
                  <c:v>0.753</c:v>
                </c:pt>
                <c:pt idx="6578">
                  <c:v>0.52700000000000002</c:v>
                </c:pt>
                <c:pt idx="6579">
                  <c:v>0.496</c:v>
                </c:pt>
                <c:pt idx="6580">
                  <c:v>0.61099999999999999</c:v>
                </c:pt>
                <c:pt idx="6581">
                  <c:v>0.78200000000000003</c:v>
                </c:pt>
                <c:pt idx="6582">
                  <c:v>0.35399999999999998</c:v>
                </c:pt>
                <c:pt idx="6583">
                  <c:v>0.94099999999999995</c:v>
                </c:pt>
                <c:pt idx="6584">
                  <c:v>0.23300000000000001</c:v>
                </c:pt>
                <c:pt idx="6585">
                  <c:v>0.67100000000000004</c:v>
                </c:pt>
                <c:pt idx="6586">
                  <c:v>0.97599999999999998</c:v>
                </c:pt>
                <c:pt idx="6587">
                  <c:v>0.65800000000000003</c:v>
                </c:pt>
                <c:pt idx="6588">
                  <c:v>0.33300000000000002</c:v>
                </c:pt>
                <c:pt idx="6589">
                  <c:v>0.34899999999999998</c:v>
                </c:pt>
                <c:pt idx="6590">
                  <c:v>0.59599999999999997</c:v>
                </c:pt>
                <c:pt idx="6591">
                  <c:v>0.98399999999999999</c:v>
                </c:pt>
                <c:pt idx="6592">
                  <c:v>0.29699999999999999</c:v>
                </c:pt>
                <c:pt idx="6593">
                  <c:v>0.318</c:v>
                </c:pt>
                <c:pt idx="6594">
                  <c:v>0.57299999999999995</c:v>
                </c:pt>
                <c:pt idx="6595">
                  <c:v>0.28699999999999998</c:v>
                </c:pt>
                <c:pt idx="6596">
                  <c:v>0.91300000000000003</c:v>
                </c:pt>
                <c:pt idx="6597">
                  <c:v>6.3E-2</c:v>
                </c:pt>
                <c:pt idx="6598">
                  <c:v>0.23100000000000001</c:v>
                </c:pt>
                <c:pt idx="6599">
                  <c:v>0.4</c:v>
                </c:pt>
                <c:pt idx="6600">
                  <c:v>0.29699999999999999</c:v>
                </c:pt>
                <c:pt idx="6601">
                  <c:v>0.13800000000000001</c:v>
                </c:pt>
                <c:pt idx="6602">
                  <c:v>0.40600000000000003</c:v>
                </c:pt>
                <c:pt idx="6603">
                  <c:v>0.76600000000000001</c:v>
                </c:pt>
                <c:pt idx="6604">
                  <c:v>0.23400000000000001</c:v>
                </c:pt>
                <c:pt idx="6605">
                  <c:v>0.89500000000000002</c:v>
                </c:pt>
                <c:pt idx="6606">
                  <c:v>0.219</c:v>
                </c:pt>
                <c:pt idx="6607">
                  <c:v>0.41499999999999998</c:v>
                </c:pt>
                <c:pt idx="6608">
                  <c:v>0.86399999999999999</c:v>
                </c:pt>
                <c:pt idx="6609">
                  <c:v>0.152</c:v>
                </c:pt>
                <c:pt idx="6610">
                  <c:v>0.53800000000000003</c:v>
                </c:pt>
                <c:pt idx="6611">
                  <c:v>0.316</c:v>
                </c:pt>
                <c:pt idx="6612">
                  <c:v>0.20499999999999999</c:v>
                </c:pt>
                <c:pt idx="6613">
                  <c:v>0.48199999999999998</c:v>
                </c:pt>
                <c:pt idx="6614">
                  <c:v>0.72199999999999998</c:v>
                </c:pt>
                <c:pt idx="6615">
                  <c:v>0.40899999999999997</c:v>
                </c:pt>
                <c:pt idx="6616">
                  <c:v>0.68600000000000005</c:v>
                </c:pt>
                <c:pt idx="6617">
                  <c:v>0.752</c:v>
                </c:pt>
                <c:pt idx="6618">
                  <c:v>7.6999999999999999E-2</c:v>
                </c:pt>
                <c:pt idx="6619">
                  <c:v>0.27900000000000003</c:v>
                </c:pt>
                <c:pt idx="6620">
                  <c:v>0.5</c:v>
                </c:pt>
                <c:pt idx="6621">
                  <c:v>0.67</c:v>
                </c:pt>
                <c:pt idx="6622">
                  <c:v>0.88800000000000001</c:v>
                </c:pt>
                <c:pt idx="6623">
                  <c:v>0.311</c:v>
                </c:pt>
                <c:pt idx="6624">
                  <c:v>0.40500000000000003</c:v>
                </c:pt>
                <c:pt idx="6625">
                  <c:v>0.60399999999999998</c:v>
                </c:pt>
                <c:pt idx="6626">
                  <c:v>0.41</c:v>
                </c:pt>
                <c:pt idx="6627">
                  <c:v>0.53400000000000003</c:v>
                </c:pt>
                <c:pt idx="6628">
                  <c:v>0.55900000000000005</c:v>
                </c:pt>
                <c:pt idx="6629">
                  <c:v>0.23699999999999999</c:v>
                </c:pt>
                <c:pt idx="6630">
                  <c:v>3.3000000000000002E-2</c:v>
                </c:pt>
                <c:pt idx="6631">
                  <c:v>0.14099999999999999</c:v>
                </c:pt>
                <c:pt idx="6632">
                  <c:v>0.58299999999999996</c:v>
                </c:pt>
                <c:pt idx="6633">
                  <c:v>0.312</c:v>
                </c:pt>
                <c:pt idx="6634">
                  <c:v>0.35699999999999998</c:v>
                </c:pt>
                <c:pt idx="6635">
                  <c:v>0.66800000000000004</c:v>
                </c:pt>
                <c:pt idx="6636">
                  <c:v>0.46700000000000003</c:v>
                </c:pt>
                <c:pt idx="6637">
                  <c:v>0.58399999999999996</c:v>
                </c:pt>
                <c:pt idx="6638">
                  <c:v>0.254</c:v>
                </c:pt>
                <c:pt idx="6639">
                  <c:v>0.56299999999999994</c:v>
                </c:pt>
                <c:pt idx="6640">
                  <c:v>0.33800000000000002</c:v>
                </c:pt>
                <c:pt idx="6641">
                  <c:v>0.505</c:v>
                </c:pt>
                <c:pt idx="6642">
                  <c:v>0.22900000000000001</c:v>
                </c:pt>
                <c:pt idx="6643">
                  <c:v>0.23699999999999999</c:v>
                </c:pt>
                <c:pt idx="6644">
                  <c:v>0.68799999999999994</c:v>
                </c:pt>
                <c:pt idx="6645">
                  <c:v>0.58199999999999996</c:v>
                </c:pt>
                <c:pt idx="6646">
                  <c:v>0.27</c:v>
                </c:pt>
                <c:pt idx="6647">
                  <c:v>0.48199999999999998</c:v>
                </c:pt>
                <c:pt idx="6648">
                  <c:v>0.65100000000000002</c:v>
                </c:pt>
                <c:pt idx="6649">
                  <c:v>0.63600000000000001</c:v>
                </c:pt>
                <c:pt idx="6650">
                  <c:v>0.46500000000000002</c:v>
                </c:pt>
                <c:pt idx="6651">
                  <c:v>0.125</c:v>
                </c:pt>
                <c:pt idx="6652">
                  <c:v>0.63900000000000001</c:v>
                </c:pt>
                <c:pt idx="6653">
                  <c:v>0.70899999999999996</c:v>
                </c:pt>
                <c:pt idx="6654">
                  <c:v>0.28599999999999998</c:v>
                </c:pt>
                <c:pt idx="6655">
                  <c:v>0.20499999999999999</c:v>
                </c:pt>
                <c:pt idx="6656">
                  <c:v>0.15</c:v>
                </c:pt>
                <c:pt idx="6657">
                  <c:v>0.23300000000000001</c:v>
                </c:pt>
                <c:pt idx="6658">
                  <c:v>0.219</c:v>
                </c:pt>
                <c:pt idx="6659">
                  <c:v>0.218</c:v>
                </c:pt>
                <c:pt idx="6660">
                  <c:v>0.59599999999999997</c:v>
                </c:pt>
                <c:pt idx="6661">
                  <c:v>0.60099999999999998</c:v>
                </c:pt>
                <c:pt idx="6662">
                  <c:v>0.44900000000000001</c:v>
                </c:pt>
                <c:pt idx="6663">
                  <c:v>0.182</c:v>
                </c:pt>
                <c:pt idx="6664">
                  <c:v>0.375</c:v>
                </c:pt>
                <c:pt idx="6665">
                  <c:v>0.71899999999999997</c:v>
                </c:pt>
                <c:pt idx="6666">
                  <c:v>2.1999999999999999E-2</c:v>
                </c:pt>
                <c:pt idx="6667">
                  <c:v>0.51700000000000002</c:v>
                </c:pt>
                <c:pt idx="6668">
                  <c:v>0.35899999999999999</c:v>
                </c:pt>
                <c:pt idx="6669">
                  <c:v>0.56799999999999995</c:v>
                </c:pt>
                <c:pt idx="6670">
                  <c:v>0.33900000000000002</c:v>
                </c:pt>
                <c:pt idx="6671">
                  <c:v>0.33500000000000002</c:v>
                </c:pt>
                <c:pt idx="6672">
                  <c:v>0.46</c:v>
                </c:pt>
                <c:pt idx="6673">
                  <c:v>9.6000000000000002E-2</c:v>
                </c:pt>
                <c:pt idx="6674">
                  <c:v>0.622</c:v>
                </c:pt>
                <c:pt idx="6675">
                  <c:v>0.27100000000000002</c:v>
                </c:pt>
                <c:pt idx="6676">
                  <c:v>0.33300000000000002</c:v>
                </c:pt>
                <c:pt idx="6677">
                  <c:v>0.86399999999999999</c:v>
                </c:pt>
                <c:pt idx="6678">
                  <c:v>0.73299999999999998</c:v>
                </c:pt>
                <c:pt idx="6679">
                  <c:v>7.5999999999999998E-2</c:v>
                </c:pt>
                <c:pt idx="6680">
                  <c:v>0.91400000000000003</c:v>
                </c:pt>
                <c:pt idx="6681">
                  <c:v>0.254</c:v>
                </c:pt>
                <c:pt idx="6682">
                  <c:v>0.69099999999999995</c:v>
                </c:pt>
                <c:pt idx="6683">
                  <c:v>0.499</c:v>
                </c:pt>
                <c:pt idx="6684">
                  <c:v>0.31900000000000001</c:v>
                </c:pt>
                <c:pt idx="6685">
                  <c:v>0.23400000000000001</c:v>
                </c:pt>
                <c:pt idx="6686">
                  <c:v>0.67200000000000004</c:v>
                </c:pt>
                <c:pt idx="6687">
                  <c:v>0.432</c:v>
                </c:pt>
                <c:pt idx="6688">
                  <c:v>0.47699999999999998</c:v>
                </c:pt>
                <c:pt idx="6689">
                  <c:v>0.28999999999999998</c:v>
                </c:pt>
                <c:pt idx="6690">
                  <c:v>0.22700000000000001</c:v>
                </c:pt>
                <c:pt idx="6691">
                  <c:v>0.624</c:v>
                </c:pt>
                <c:pt idx="6692">
                  <c:v>0.439</c:v>
                </c:pt>
                <c:pt idx="6693">
                  <c:v>0.46600000000000003</c:v>
                </c:pt>
                <c:pt idx="6694">
                  <c:v>0.41399999999999998</c:v>
                </c:pt>
                <c:pt idx="6695">
                  <c:v>0.41199999999999998</c:v>
                </c:pt>
                <c:pt idx="6696">
                  <c:v>0.44600000000000001</c:v>
                </c:pt>
                <c:pt idx="6697">
                  <c:v>0.127</c:v>
                </c:pt>
                <c:pt idx="6698">
                  <c:v>0.38800000000000001</c:v>
                </c:pt>
                <c:pt idx="6699">
                  <c:v>0.16200000000000001</c:v>
                </c:pt>
                <c:pt idx="6700">
                  <c:v>0.60199999999999998</c:v>
                </c:pt>
                <c:pt idx="6701">
                  <c:v>0.13200000000000001</c:v>
                </c:pt>
                <c:pt idx="6702">
                  <c:v>0.51900000000000002</c:v>
                </c:pt>
                <c:pt idx="6703">
                  <c:v>0.55500000000000005</c:v>
                </c:pt>
                <c:pt idx="6704">
                  <c:v>0.40600000000000003</c:v>
                </c:pt>
                <c:pt idx="6705">
                  <c:v>0.47199999999999998</c:v>
                </c:pt>
                <c:pt idx="6706">
                  <c:v>0.10299999999999999</c:v>
                </c:pt>
                <c:pt idx="6707">
                  <c:v>0.32700000000000001</c:v>
                </c:pt>
                <c:pt idx="6708">
                  <c:v>0.63500000000000001</c:v>
                </c:pt>
                <c:pt idx="6709">
                  <c:v>0.87</c:v>
                </c:pt>
                <c:pt idx="6710">
                  <c:v>0.50900000000000001</c:v>
                </c:pt>
                <c:pt idx="6711">
                  <c:v>0.36299999999999999</c:v>
                </c:pt>
                <c:pt idx="6712">
                  <c:v>0.41699999999999998</c:v>
                </c:pt>
                <c:pt idx="6713">
                  <c:v>0.89300000000000002</c:v>
                </c:pt>
                <c:pt idx="6714">
                  <c:v>0.41299999999999998</c:v>
                </c:pt>
                <c:pt idx="6715">
                  <c:v>0.70099999999999996</c:v>
                </c:pt>
                <c:pt idx="6716">
                  <c:v>0.57399999999999995</c:v>
                </c:pt>
                <c:pt idx="6717">
                  <c:v>0.45100000000000001</c:v>
                </c:pt>
                <c:pt idx="6718">
                  <c:v>0.51400000000000001</c:v>
                </c:pt>
                <c:pt idx="6719">
                  <c:v>7.6999999999999999E-2</c:v>
                </c:pt>
                <c:pt idx="6720">
                  <c:v>0.27200000000000002</c:v>
                </c:pt>
                <c:pt idx="6721">
                  <c:v>0.40899999999999997</c:v>
                </c:pt>
                <c:pt idx="6722">
                  <c:v>6.0999999999999999E-2</c:v>
                </c:pt>
                <c:pt idx="6723">
                  <c:v>0.52100000000000002</c:v>
                </c:pt>
                <c:pt idx="6724">
                  <c:v>0.24099999999999999</c:v>
                </c:pt>
                <c:pt idx="6725">
                  <c:v>0.751</c:v>
                </c:pt>
                <c:pt idx="6726">
                  <c:v>0.68899999999999995</c:v>
                </c:pt>
                <c:pt idx="6727">
                  <c:v>0.23</c:v>
                </c:pt>
                <c:pt idx="6728">
                  <c:v>0.623</c:v>
                </c:pt>
                <c:pt idx="6729">
                  <c:v>0.216</c:v>
                </c:pt>
                <c:pt idx="6730">
                  <c:v>0.56999999999999995</c:v>
                </c:pt>
                <c:pt idx="6731">
                  <c:v>0.34699999999999998</c:v>
                </c:pt>
                <c:pt idx="6732">
                  <c:v>6.3E-2</c:v>
                </c:pt>
                <c:pt idx="6733">
                  <c:v>0.19500000000000001</c:v>
                </c:pt>
                <c:pt idx="6734">
                  <c:v>0.19600000000000001</c:v>
                </c:pt>
                <c:pt idx="6735">
                  <c:v>0.72299999999999998</c:v>
                </c:pt>
                <c:pt idx="6736">
                  <c:v>0.72199999999999998</c:v>
                </c:pt>
                <c:pt idx="6737">
                  <c:v>0.85499999999999998</c:v>
                </c:pt>
                <c:pt idx="6738">
                  <c:v>0.70099999999999996</c:v>
                </c:pt>
                <c:pt idx="6739">
                  <c:v>0.22600000000000001</c:v>
                </c:pt>
                <c:pt idx="6740">
                  <c:v>0.29499999999999998</c:v>
                </c:pt>
                <c:pt idx="6741">
                  <c:v>0.48699999999999999</c:v>
                </c:pt>
                <c:pt idx="6742">
                  <c:v>0.31900000000000001</c:v>
                </c:pt>
                <c:pt idx="6743">
                  <c:v>9.6000000000000002E-2</c:v>
                </c:pt>
                <c:pt idx="6744">
                  <c:v>0.30599999999999999</c:v>
                </c:pt>
                <c:pt idx="6745">
                  <c:v>0.58099999999999996</c:v>
                </c:pt>
                <c:pt idx="6746">
                  <c:v>0.34699999999999998</c:v>
                </c:pt>
                <c:pt idx="6747">
                  <c:v>0.38900000000000001</c:v>
                </c:pt>
                <c:pt idx="6748">
                  <c:v>0.40799999999999997</c:v>
                </c:pt>
                <c:pt idx="6749">
                  <c:v>0.58399999999999996</c:v>
                </c:pt>
                <c:pt idx="6750">
                  <c:v>0.63900000000000001</c:v>
                </c:pt>
                <c:pt idx="6751">
                  <c:v>0.34399999999999997</c:v>
                </c:pt>
                <c:pt idx="6752">
                  <c:v>0.505</c:v>
                </c:pt>
                <c:pt idx="6753">
                  <c:v>0.65100000000000002</c:v>
                </c:pt>
                <c:pt idx="6754">
                  <c:v>0.41299999999999998</c:v>
                </c:pt>
                <c:pt idx="6755">
                  <c:v>8.5999999999999993E-2</c:v>
                </c:pt>
                <c:pt idx="6756">
                  <c:v>0.03</c:v>
                </c:pt>
                <c:pt idx="6757">
                  <c:v>0.24299999999999999</c:v>
                </c:pt>
                <c:pt idx="6758">
                  <c:v>0.38700000000000001</c:v>
                </c:pt>
                <c:pt idx="6759">
                  <c:v>0.94799999999999995</c:v>
                </c:pt>
                <c:pt idx="6760">
                  <c:v>0.27900000000000003</c:v>
                </c:pt>
                <c:pt idx="6761">
                  <c:v>0.57599999999999996</c:v>
                </c:pt>
                <c:pt idx="6762">
                  <c:v>0.437</c:v>
                </c:pt>
                <c:pt idx="6763">
                  <c:v>0.745</c:v>
                </c:pt>
                <c:pt idx="6764">
                  <c:v>0.44400000000000001</c:v>
                </c:pt>
                <c:pt idx="6765">
                  <c:v>0.42199999999999999</c:v>
                </c:pt>
                <c:pt idx="6766">
                  <c:v>0.70799999999999996</c:v>
                </c:pt>
                <c:pt idx="6767">
                  <c:v>0.53200000000000003</c:v>
                </c:pt>
                <c:pt idx="6768">
                  <c:v>0.59899999999999998</c:v>
                </c:pt>
                <c:pt idx="6769">
                  <c:v>0.65100000000000002</c:v>
                </c:pt>
                <c:pt idx="6770">
                  <c:v>0.752</c:v>
                </c:pt>
                <c:pt idx="6771">
                  <c:v>0.55200000000000005</c:v>
                </c:pt>
                <c:pt idx="6772">
                  <c:v>0.879</c:v>
                </c:pt>
                <c:pt idx="6773">
                  <c:v>0.93700000000000006</c:v>
                </c:pt>
                <c:pt idx="6774">
                  <c:v>0.626</c:v>
                </c:pt>
                <c:pt idx="6775">
                  <c:v>0.38500000000000001</c:v>
                </c:pt>
                <c:pt idx="6776">
                  <c:v>0.66400000000000003</c:v>
                </c:pt>
                <c:pt idx="6777">
                  <c:v>0.747</c:v>
                </c:pt>
                <c:pt idx="6778">
                  <c:v>0.627</c:v>
                </c:pt>
                <c:pt idx="6779">
                  <c:v>0.152</c:v>
                </c:pt>
                <c:pt idx="6780">
                  <c:v>0.374</c:v>
                </c:pt>
                <c:pt idx="6781">
                  <c:v>0.628</c:v>
                </c:pt>
                <c:pt idx="6782">
                  <c:v>0.76300000000000001</c:v>
                </c:pt>
                <c:pt idx="6783">
                  <c:v>0.35699999999999998</c:v>
                </c:pt>
                <c:pt idx="6784">
                  <c:v>0.53200000000000003</c:v>
                </c:pt>
                <c:pt idx="6785">
                  <c:v>5.3999999999999999E-2</c:v>
                </c:pt>
                <c:pt idx="6786">
                  <c:v>0.21099999999999999</c:v>
                </c:pt>
                <c:pt idx="6787">
                  <c:v>0.41799999999999998</c:v>
                </c:pt>
                <c:pt idx="6788">
                  <c:v>0.92500000000000004</c:v>
                </c:pt>
                <c:pt idx="6789">
                  <c:v>0.221</c:v>
                </c:pt>
                <c:pt idx="6790">
                  <c:v>0.35</c:v>
                </c:pt>
                <c:pt idx="6791">
                  <c:v>0.36299999999999999</c:v>
                </c:pt>
                <c:pt idx="6792">
                  <c:v>0.745</c:v>
                </c:pt>
                <c:pt idx="6793">
                  <c:v>0.53600000000000003</c:v>
                </c:pt>
                <c:pt idx="6794">
                  <c:v>0.67900000000000005</c:v>
                </c:pt>
                <c:pt idx="6795">
                  <c:v>0.255</c:v>
                </c:pt>
                <c:pt idx="6796">
                  <c:v>0.63300000000000001</c:v>
                </c:pt>
                <c:pt idx="6797">
                  <c:v>0.63200000000000001</c:v>
                </c:pt>
                <c:pt idx="6798">
                  <c:v>0.505</c:v>
                </c:pt>
                <c:pt idx="6799">
                  <c:v>0.39700000000000002</c:v>
                </c:pt>
                <c:pt idx="6800">
                  <c:v>7.5999999999999998E-2</c:v>
                </c:pt>
                <c:pt idx="6801">
                  <c:v>0.35799999999999998</c:v>
                </c:pt>
                <c:pt idx="6802">
                  <c:v>0.51400000000000001</c:v>
                </c:pt>
                <c:pt idx="6803">
                  <c:v>0.52500000000000002</c:v>
                </c:pt>
                <c:pt idx="6804">
                  <c:v>0.55900000000000005</c:v>
                </c:pt>
                <c:pt idx="6805">
                  <c:v>5.0999999999999997E-2</c:v>
                </c:pt>
                <c:pt idx="6806">
                  <c:v>6.6000000000000003E-2</c:v>
                </c:pt>
                <c:pt idx="6807">
                  <c:v>0.36899999999999999</c:v>
                </c:pt>
                <c:pt idx="6808">
                  <c:v>0.58699999999999997</c:v>
                </c:pt>
                <c:pt idx="6809">
                  <c:v>0.65700000000000003</c:v>
                </c:pt>
                <c:pt idx="6810">
                  <c:v>0.75900000000000001</c:v>
                </c:pt>
                <c:pt idx="6811">
                  <c:v>0.161</c:v>
                </c:pt>
                <c:pt idx="6812">
                  <c:v>0.45500000000000002</c:v>
                </c:pt>
                <c:pt idx="6813">
                  <c:v>0.50800000000000001</c:v>
                </c:pt>
                <c:pt idx="6814">
                  <c:v>0.40400000000000003</c:v>
                </c:pt>
                <c:pt idx="6815">
                  <c:v>0.48599999999999999</c:v>
                </c:pt>
                <c:pt idx="6816">
                  <c:v>0.28299999999999997</c:v>
                </c:pt>
                <c:pt idx="6817">
                  <c:v>0.16400000000000001</c:v>
                </c:pt>
                <c:pt idx="6818">
                  <c:v>5.2999999999999999E-2</c:v>
                </c:pt>
                <c:pt idx="6819">
                  <c:v>0.17499999999999999</c:v>
                </c:pt>
                <c:pt idx="6820">
                  <c:v>0.69399999999999995</c:v>
                </c:pt>
                <c:pt idx="6821">
                  <c:v>0.95499999999999996</c:v>
                </c:pt>
                <c:pt idx="6822">
                  <c:v>0.88300000000000001</c:v>
                </c:pt>
                <c:pt idx="6823">
                  <c:v>0.39500000000000002</c:v>
                </c:pt>
                <c:pt idx="6824">
                  <c:v>0.80800000000000005</c:v>
                </c:pt>
                <c:pt idx="6825">
                  <c:v>0.57299999999999995</c:v>
                </c:pt>
                <c:pt idx="6826">
                  <c:v>0.36699999999999999</c:v>
                </c:pt>
                <c:pt idx="6827">
                  <c:v>0.46</c:v>
                </c:pt>
                <c:pt idx="6828">
                  <c:v>0.50600000000000001</c:v>
                </c:pt>
                <c:pt idx="6829">
                  <c:v>0.93400000000000005</c:v>
                </c:pt>
                <c:pt idx="6830">
                  <c:v>0.31900000000000001</c:v>
                </c:pt>
                <c:pt idx="6831">
                  <c:v>0.441</c:v>
                </c:pt>
                <c:pt idx="6832">
                  <c:v>0.35499999999999998</c:v>
                </c:pt>
                <c:pt idx="6833">
                  <c:v>0.39900000000000002</c:v>
                </c:pt>
                <c:pt idx="6834">
                  <c:v>0.14399999999999999</c:v>
                </c:pt>
                <c:pt idx="6835">
                  <c:v>0.74299999999999999</c:v>
                </c:pt>
                <c:pt idx="6836">
                  <c:v>0.252</c:v>
                </c:pt>
                <c:pt idx="6837">
                  <c:v>0.46800000000000003</c:v>
                </c:pt>
                <c:pt idx="6838">
                  <c:v>0.71499999999999997</c:v>
                </c:pt>
                <c:pt idx="6839">
                  <c:v>0.16600000000000001</c:v>
                </c:pt>
                <c:pt idx="6840">
                  <c:v>0.11600000000000001</c:v>
                </c:pt>
                <c:pt idx="6841">
                  <c:v>0.30199999999999999</c:v>
                </c:pt>
                <c:pt idx="6842">
                  <c:v>0.83499999999999996</c:v>
                </c:pt>
                <c:pt idx="6843">
                  <c:v>7.6999999999999999E-2</c:v>
                </c:pt>
                <c:pt idx="6844">
                  <c:v>0.75700000000000001</c:v>
                </c:pt>
                <c:pt idx="6845">
                  <c:v>9.6000000000000002E-2</c:v>
                </c:pt>
                <c:pt idx="6846">
                  <c:v>0.126</c:v>
                </c:pt>
                <c:pt idx="6847">
                  <c:v>0.36699999999999999</c:v>
                </c:pt>
                <c:pt idx="6848">
                  <c:v>0.192</c:v>
                </c:pt>
                <c:pt idx="6849">
                  <c:v>0.123</c:v>
                </c:pt>
                <c:pt idx="6850">
                  <c:v>0.379</c:v>
                </c:pt>
                <c:pt idx="6851">
                  <c:v>0.55900000000000005</c:v>
                </c:pt>
                <c:pt idx="6852">
                  <c:v>0.505</c:v>
                </c:pt>
                <c:pt idx="6853">
                  <c:v>1.2999999999999999E-2</c:v>
                </c:pt>
                <c:pt idx="6854">
                  <c:v>0.50700000000000001</c:v>
                </c:pt>
                <c:pt idx="6855">
                  <c:v>0.35799999999999998</c:v>
                </c:pt>
                <c:pt idx="6856">
                  <c:v>9.4E-2</c:v>
                </c:pt>
                <c:pt idx="6857">
                  <c:v>0.30399999999999999</c:v>
                </c:pt>
                <c:pt idx="6858">
                  <c:v>0.25600000000000001</c:v>
                </c:pt>
                <c:pt idx="6859">
                  <c:v>0.29799999999999999</c:v>
                </c:pt>
                <c:pt idx="6860">
                  <c:v>0.79100000000000004</c:v>
                </c:pt>
                <c:pt idx="6861">
                  <c:v>0.72499999999999998</c:v>
                </c:pt>
                <c:pt idx="6862">
                  <c:v>0.36399999999999999</c:v>
                </c:pt>
                <c:pt idx="6863">
                  <c:v>0.30599999999999999</c:v>
                </c:pt>
                <c:pt idx="6864">
                  <c:v>0.42899999999999999</c:v>
                </c:pt>
                <c:pt idx="6865">
                  <c:v>0.307</c:v>
                </c:pt>
                <c:pt idx="6866">
                  <c:v>0.29799999999999999</c:v>
                </c:pt>
                <c:pt idx="6867">
                  <c:v>0.51</c:v>
                </c:pt>
                <c:pt idx="6868">
                  <c:v>0.36199999999999999</c:v>
                </c:pt>
                <c:pt idx="6869">
                  <c:v>0.30099999999999999</c:v>
                </c:pt>
                <c:pt idx="6870">
                  <c:v>0.316</c:v>
                </c:pt>
                <c:pt idx="6871">
                  <c:v>0.57999999999999996</c:v>
                </c:pt>
                <c:pt idx="6872">
                  <c:v>0.152</c:v>
                </c:pt>
                <c:pt idx="6873">
                  <c:v>0.248</c:v>
                </c:pt>
                <c:pt idx="6874">
                  <c:v>0.40699999999999997</c:v>
                </c:pt>
                <c:pt idx="6875">
                  <c:v>0.221</c:v>
                </c:pt>
                <c:pt idx="6876">
                  <c:v>0.63200000000000001</c:v>
                </c:pt>
                <c:pt idx="6877">
                  <c:v>0.52700000000000002</c:v>
                </c:pt>
                <c:pt idx="6878">
                  <c:v>9.5000000000000001E-2</c:v>
                </c:pt>
                <c:pt idx="6879">
                  <c:v>0.71899999999999997</c:v>
                </c:pt>
                <c:pt idx="6880">
                  <c:v>0.46</c:v>
                </c:pt>
                <c:pt idx="6881">
                  <c:v>0.63100000000000001</c:v>
                </c:pt>
                <c:pt idx="6882">
                  <c:v>0.15</c:v>
                </c:pt>
                <c:pt idx="6883">
                  <c:v>0.88300000000000001</c:v>
                </c:pt>
                <c:pt idx="6884">
                  <c:v>0.80500000000000005</c:v>
                </c:pt>
                <c:pt idx="6885">
                  <c:v>6.3E-2</c:v>
                </c:pt>
                <c:pt idx="6886">
                  <c:v>0.40100000000000002</c:v>
                </c:pt>
                <c:pt idx="6887">
                  <c:v>0.14399999999999999</c:v>
                </c:pt>
                <c:pt idx="6888">
                  <c:v>0.97899999999999998</c:v>
                </c:pt>
                <c:pt idx="6889">
                  <c:v>0.307</c:v>
                </c:pt>
                <c:pt idx="6890">
                  <c:v>0.93600000000000005</c:v>
                </c:pt>
                <c:pt idx="6891">
                  <c:v>0.34899999999999998</c:v>
                </c:pt>
                <c:pt idx="6892">
                  <c:v>0.71599999999999997</c:v>
                </c:pt>
                <c:pt idx="6893">
                  <c:v>0.224</c:v>
                </c:pt>
                <c:pt idx="6894">
                  <c:v>0.84299999999999997</c:v>
                </c:pt>
                <c:pt idx="6895">
                  <c:v>0.59899999999999998</c:v>
                </c:pt>
                <c:pt idx="6896">
                  <c:v>2.8000000000000001E-2</c:v>
                </c:pt>
                <c:pt idx="6897">
                  <c:v>0.85599999999999998</c:v>
                </c:pt>
                <c:pt idx="6898">
                  <c:v>0.52200000000000002</c:v>
                </c:pt>
                <c:pt idx="6899">
                  <c:v>0.375</c:v>
                </c:pt>
                <c:pt idx="6900">
                  <c:v>0.69699999999999995</c:v>
                </c:pt>
                <c:pt idx="6901">
                  <c:v>0.59299999999999997</c:v>
                </c:pt>
                <c:pt idx="6902">
                  <c:v>0.44400000000000001</c:v>
                </c:pt>
                <c:pt idx="6903">
                  <c:v>3.5000000000000003E-2</c:v>
                </c:pt>
                <c:pt idx="6904">
                  <c:v>0.90300000000000002</c:v>
                </c:pt>
                <c:pt idx="6905">
                  <c:v>0.53700000000000003</c:v>
                </c:pt>
                <c:pt idx="6906">
                  <c:v>0.53500000000000003</c:v>
                </c:pt>
                <c:pt idx="6907">
                  <c:v>0.84799999999999998</c:v>
                </c:pt>
                <c:pt idx="6908">
                  <c:v>0.66</c:v>
                </c:pt>
                <c:pt idx="6909">
                  <c:v>0.81200000000000006</c:v>
                </c:pt>
                <c:pt idx="6910">
                  <c:v>0.27800000000000002</c:v>
                </c:pt>
                <c:pt idx="6911">
                  <c:v>0.28000000000000003</c:v>
                </c:pt>
                <c:pt idx="6912">
                  <c:v>0.18099999999999999</c:v>
                </c:pt>
                <c:pt idx="6913">
                  <c:v>0.55600000000000005</c:v>
                </c:pt>
                <c:pt idx="6914">
                  <c:v>0.14099999999999999</c:v>
                </c:pt>
                <c:pt idx="6915">
                  <c:v>0.51100000000000001</c:v>
                </c:pt>
                <c:pt idx="6916">
                  <c:v>0.57199999999999995</c:v>
                </c:pt>
                <c:pt idx="6917">
                  <c:v>0.42199999999999999</c:v>
                </c:pt>
                <c:pt idx="6918">
                  <c:v>0.89200000000000002</c:v>
                </c:pt>
                <c:pt idx="6919">
                  <c:v>0.52300000000000002</c:v>
                </c:pt>
                <c:pt idx="6920">
                  <c:v>0.48199999999999998</c:v>
                </c:pt>
                <c:pt idx="6921">
                  <c:v>0.185</c:v>
                </c:pt>
                <c:pt idx="6922">
                  <c:v>0.50700000000000001</c:v>
                </c:pt>
                <c:pt idx="6923">
                  <c:v>0.82699999999999996</c:v>
                </c:pt>
                <c:pt idx="6924">
                  <c:v>0.106</c:v>
                </c:pt>
                <c:pt idx="6925">
                  <c:v>0.35299999999999998</c:v>
                </c:pt>
                <c:pt idx="6926">
                  <c:v>0.184</c:v>
                </c:pt>
                <c:pt idx="6927">
                  <c:v>0.10199999999999999</c:v>
                </c:pt>
                <c:pt idx="6928">
                  <c:v>0.61099999999999999</c:v>
                </c:pt>
                <c:pt idx="6929">
                  <c:v>0.70699999999999996</c:v>
                </c:pt>
                <c:pt idx="6930">
                  <c:v>0.91300000000000003</c:v>
                </c:pt>
                <c:pt idx="6931">
                  <c:v>0.46500000000000002</c:v>
                </c:pt>
                <c:pt idx="6932">
                  <c:v>0.32100000000000001</c:v>
                </c:pt>
                <c:pt idx="6933">
                  <c:v>0.26500000000000001</c:v>
                </c:pt>
                <c:pt idx="6934">
                  <c:v>0.14299999999999999</c:v>
                </c:pt>
                <c:pt idx="6935">
                  <c:v>0.55700000000000005</c:v>
                </c:pt>
                <c:pt idx="6936">
                  <c:v>0.14699999999999999</c:v>
                </c:pt>
                <c:pt idx="6937">
                  <c:v>0.55400000000000005</c:v>
                </c:pt>
                <c:pt idx="6938">
                  <c:v>0.33300000000000002</c:v>
                </c:pt>
                <c:pt idx="6939">
                  <c:v>0.83799999999999997</c:v>
                </c:pt>
                <c:pt idx="6940">
                  <c:v>9.1999999999999998E-2</c:v>
                </c:pt>
                <c:pt idx="6941">
                  <c:v>0.26200000000000001</c:v>
                </c:pt>
                <c:pt idx="6942">
                  <c:v>0.93300000000000005</c:v>
                </c:pt>
                <c:pt idx="6943">
                  <c:v>0.90800000000000003</c:v>
                </c:pt>
                <c:pt idx="6944">
                  <c:v>0.123</c:v>
                </c:pt>
                <c:pt idx="6945">
                  <c:v>0.184</c:v>
                </c:pt>
                <c:pt idx="6946">
                  <c:v>0.76900000000000002</c:v>
                </c:pt>
                <c:pt idx="6947">
                  <c:v>0.58299999999999996</c:v>
                </c:pt>
                <c:pt idx="6948">
                  <c:v>0.45200000000000001</c:v>
                </c:pt>
                <c:pt idx="6949">
                  <c:v>0.318</c:v>
                </c:pt>
                <c:pt idx="6950">
                  <c:v>0.55100000000000005</c:v>
                </c:pt>
                <c:pt idx="6951">
                  <c:v>6.8000000000000005E-2</c:v>
                </c:pt>
                <c:pt idx="6952">
                  <c:v>0.29199999999999998</c:v>
                </c:pt>
                <c:pt idx="6953">
                  <c:v>0.55600000000000005</c:v>
                </c:pt>
                <c:pt idx="6954">
                  <c:v>0.4</c:v>
                </c:pt>
                <c:pt idx="6955">
                  <c:v>0.23599999999999999</c:v>
                </c:pt>
                <c:pt idx="6956">
                  <c:v>0.26600000000000001</c:v>
                </c:pt>
                <c:pt idx="6957">
                  <c:v>0.56599999999999995</c:v>
                </c:pt>
                <c:pt idx="6958">
                  <c:v>0.20699999999999999</c:v>
                </c:pt>
                <c:pt idx="6959">
                  <c:v>0.32100000000000001</c:v>
                </c:pt>
                <c:pt idx="6960">
                  <c:v>0.68300000000000005</c:v>
                </c:pt>
                <c:pt idx="6961">
                  <c:v>0.82399999999999995</c:v>
                </c:pt>
                <c:pt idx="6962">
                  <c:v>7.2999999999999995E-2</c:v>
                </c:pt>
                <c:pt idx="6963">
                  <c:v>0.29199999999999998</c:v>
                </c:pt>
                <c:pt idx="6964">
                  <c:v>9.6000000000000002E-2</c:v>
                </c:pt>
                <c:pt idx="6965">
                  <c:v>8.3000000000000004E-2</c:v>
                </c:pt>
                <c:pt idx="6966">
                  <c:v>0.16400000000000001</c:v>
                </c:pt>
                <c:pt idx="6967">
                  <c:v>0.42399999999999999</c:v>
                </c:pt>
                <c:pt idx="6968">
                  <c:v>0.13300000000000001</c:v>
                </c:pt>
                <c:pt idx="6969">
                  <c:v>7.1999999999999995E-2</c:v>
                </c:pt>
                <c:pt idx="6970">
                  <c:v>0.89200000000000002</c:v>
                </c:pt>
                <c:pt idx="6971">
                  <c:v>0.98899999999999999</c:v>
                </c:pt>
                <c:pt idx="6972">
                  <c:v>0.63100000000000001</c:v>
                </c:pt>
                <c:pt idx="6973">
                  <c:v>0.11600000000000001</c:v>
                </c:pt>
                <c:pt idx="6974">
                  <c:v>0.216</c:v>
                </c:pt>
                <c:pt idx="6975">
                  <c:v>0.67800000000000005</c:v>
                </c:pt>
                <c:pt idx="6976">
                  <c:v>0.51600000000000001</c:v>
                </c:pt>
                <c:pt idx="6977">
                  <c:v>0.1</c:v>
                </c:pt>
                <c:pt idx="6978">
                  <c:v>0.20200000000000001</c:v>
                </c:pt>
                <c:pt idx="6979">
                  <c:v>0.32200000000000001</c:v>
                </c:pt>
                <c:pt idx="6980">
                  <c:v>0.41899999999999998</c:v>
                </c:pt>
                <c:pt idx="6981">
                  <c:v>0.51900000000000002</c:v>
                </c:pt>
                <c:pt idx="6982">
                  <c:v>0.36599999999999999</c:v>
                </c:pt>
                <c:pt idx="6983">
                  <c:v>0.57299999999999995</c:v>
                </c:pt>
                <c:pt idx="6984">
                  <c:v>0.71799999999999997</c:v>
                </c:pt>
                <c:pt idx="6985">
                  <c:v>0.46700000000000003</c:v>
                </c:pt>
                <c:pt idx="6986">
                  <c:v>0.85399999999999998</c:v>
                </c:pt>
                <c:pt idx="6987">
                  <c:v>7.8E-2</c:v>
                </c:pt>
                <c:pt idx="6988">
                  <c:v>0.3</c:v>
                </c:pt>
                <c:pt idx="6989">
                  <c:v>0.55000000000000004</c:v>
                </c:pt>
                <c:pt idx="6990">
                  <c:v>0.22800000000000001</c:v>
                </c:pt>
                <c:pt idx="6991">
                  <c:v>0.374</c:v>
                </c:pt>
                <c:pt idx="6992">
                  <c:v>0.28299999999999997</c:v>
                </c:pt>
                <c:pt idx="6993">
                  <c:v>0.877</c:v>
                </c:pt>
                <c:pt idx="6994">
                  <c:v>7.9000000000000001E-2</c:v>
                </c:pt>
                <c:pt idx="6995">
                  <c:v>0.13</c:v>
                </c:pt>
                <c:pt idx="6996">
                  <c:v>0.16400000000000001</c:v>
                </c:pt>
                <c:pt idx="6997">
                  <c:v>7.6999999999999999E-2</c:v>
                </c:pt>
                <c:pt idx="6998">
                  <c:v>0.40300000000000002</c:v>
                </c:pt>
                <c:pt idx="6999">
                  <c:v>0.20499999999999999</c:v>
                </c:pt>
                <c:pt idx="7000">
                  <c:v>0.155</c:v>
                </c:pt>
                <c:pt idx="7001">
                  <c:v>0.63100000000000001</c:v>
                </c:pt>
                <c:pt idx="7002">
                  <c:v>0.97799999999999998</c:v>
                </c:pt>
                <c:pt idx="7003">
                  <c:v>0.89200000000000002</c:v>
                </c:pt>
                <c:pt idx="7004">
                  <c:v>0.39900000000000002</c:v>
                </c:pt>
                <c:pt idx="7005">
                  <c:v>0.39</c:v>
                </c:pt>
                <c:pt idx="7006">
                  <c:v>0.95799999999999996</c:v>
                </c:pt>
                <c:pt idx="7007">
                  <c:v>0.08</c:v>
                </c:pt>
                <c:pt idx="7008">
                  <c:v>0.53100000000000003</c:v>
                </c:pt>
                <c:pt idx="7009">
                  <c:v>0.246</c:v>
                </c:pt>
                <c:pt idx="7010">
                  <c:v>0.34799999999999998</c:v>
                </c:pt>
                <c:pt idx="7011">
                  <c:v>0.47099999999999997</c:v>
                </c:pt>
                <c:pt idx="7012">
                  <c:v>5.7000000000000002E-2</c:v>
                </c:pt>
                <c:pt idx="7013">
                  <c:v>0.44</c:v>
                </c:pt>
                <c:pt idx="7014">
                  <c:v>0.46600000000000003</c:v>
                </c:pt>
                <c:pt idx="7015">
                  <c:v>0.34599999999999997</c:v>
                </c:pt>
                <c:pt idx="7016">
                  <c:v>0.58399999999999996</c:v>
                </c:pt>
                <c:pt idx="7017">
                  <c:v>0.253</c:v>
                </c:pt>
                <c:pt idx="7018">
                  <c:v>0.54200000000000004</c:v>
                </c:pt>
                <c:pt idx="7019">
                  <c:v>0.40400000000000003</c:v>
                </c:pt>
                <c:pt idx="7020">
                  <c:v>0.60399999999999998</c:v>
                </c:pt>
                <c:pt idx="7021">
                  <c:v>0.374</c:v>
                </c:pt>
                <c:pt idx="7022">
                  <c:v>0.192</c:v>
                </c:pt>
                <c:pt idx="7023">
                  <c:v>0.42699999999999999</c:v>
                </c:pt>
                <c:pt idx="7024">
                  <c:v>0.30099999999999999</c:v>
                </c:pt>
                <c:pt idx="7025">
                  <c:v>0.91500000000000004</c:v>
                </c:pt>
                <c:pt idx="7026">
                  <c:v>0.182</c:v>
                </c:pt>
                <c:pt idx="7027">
                  <c:v>0.81200000000000006</c:v>
                </c:pt>
                <c:pt idx="7028">
                  <c:v>0.46700000000000003</c:v>
                </c:pt>
                <c:pt idx="7029">
                  <c:v>0.84799999999999998</c:v>
                </c:pt>
                <c:pt idx="7030">
                  <c:v>0.45200000000000001</c:v>
                </c:pt>
                <c:pt idx="7031">
                  <c:v>0.65900000000000003</c:v>
                </c:pt>
                <c:pt idx="7032">
                  <c:v>0.84799999999999998</c:v>
                </c:pt>
                <c:pt idx="7033">
                  <c:v>7.0999999999999994E-2</c:v>
                </c:pt>
                <c:pt idx="7034">
                  <c:v>9.5000000000000001E-2</c:v>
                </c:pt>
                <c:pt idx="7035">
                  <c:v>0.37</c:v>
                </c:pt>
                <c:pt idx="7036">
                  <c:v>7.0999999999999994E-2</c:v>
                </c:pt>
                <c:pt idx="7037">
                  <c:v>0.14000000000000001</c:v>
                </c:pt>
                <c:pt idx="7038">
                  <c:v>0.224</c:v>
                </c:pt>
                <c:pt idx="7039">
                  <c:v>0.03</c:v>
                </c:pt>
                <c:pt idx="7040">
                  <c:v>0.65400000000000003</c:v>
                </c:pt>
                <c:pt idx="7041">
                  <c:v>0.28299999999999997</c:v>
                </c:pt>
                <c:pt idx="7042">
                  <c:v>0.23300000000000001</c:v>
                </c:pt>
                <c:pt idx="7043">
                  <c:v>0.216</c:v>
                </c:pt>
                <c:pt idx="7044">
                  <c:v>0.49099999999999999</c:v>
                </c:pt>
                <c:pt idx="7045">
                  <c:v>0.33100000000000002</c:v>
                </c:pt>
                <c:pt idx="7046">
                  <c:v>0.13900000000000001</c:v>
                </c:pt>
                <c:pt idx="7047">
                  <c:v>0.25800000000000001</c:v>
                </c:pt>
                <c:pt idx="7048">
                  <c:v>6.0999999999999999E-2</c:v>
                </c:pt>
                <c:pt idx="7049">
                  <c:v>0.27500000000000002</c:v>
                </c:pt>
                <c:pt idx="7050">
                  <c:v>0.57199999999999995</c:v>
                </c:pt>
                <c:pt idx="7051">
                  <c:v>0.11600000000000001</c:v>
                </c:pt>
                <c:pt idx="7052">
                  <c:v>0.45700000000000002</c:v>
                </c:pt>
                <c:pt idx="7053">
                  <c:v>0.72299999999999998</c:v>
                </c:pt>
                <c:pt idx="7054">
                  <c:v>0.82399999999999995</c:v>
                </c:pt>
                <c:pt idx="7055">
                  <c:v>0.441</c:v>
                </c:pt>
                <c:pt idx="7056">
                  <c:v>0.311</c:v>
                </c:pt>
                <c:pt idx="7057">
                  <c:v>0.188</c:v>
                </c:pt>
                <c:pt idx="7058">
                  <c:v>0.47699999999999998</c:v>
                </c:pt>
                <c:pt idx="7059">
                  <c:v>0.57099999999999995</c:v>
                </c:pt>
                <c:pt idx="7060">
                  <c:v>4.1000000000000002E-2</c:v>
                </c:pt>
                <c:pt idx="7061">
                  <c:v>0.44500000000000001</c:v>
                </c:pt>
                <c:pt idx="7062">
                  <c:v>9.2999999999999999E-2</c:v>
                </c:pt>
                <c:pt idx="7063">
                  <c:v>0.44700000000000001</c:v>
                </c:pt>
                <c:pt idx="7064">
                  <c:v>0.23499999999999999</c:v>
                </c:pt>
                <c:pt idx="7065">
                  <c:v>0.35399999999999998</c:v>
                </c:pt>
                <c:pt idx="7066">
                  <c:v>0.30599999999999999</c:v>
                </c:pt>
                <c:pt idx="7067">
                  <c:v>7.0999999999999994E-2</c:v>
                </c:pt>
                <c:pt idx="7068">
                  <c:v>0.70699999999999996</c:v>
                </c:pt>
                <c:pt idx="7069">
                  <c:v>0.60599999999999998</c:v>
                </c:pt>
                <c:pt idx="7070">
                  <c:v>0.83199999999999996</c:v>
                </c:pt>
                <c:pt idx="7071">
                  <c:v>0.39800000000000002</c:v>
                </c:pt>
                <c:pt idx="7072">
                  <c:v>0.14199999999999999</c:v>
                </c:pt>
                <c:pt idx="7073">
                  <c:v>0.14099999999999999</c:v>
                </c:pt>
                <c:pt idx="7074">
                  <c:v>0.14299999999999999</c:v>
                </c:pt>
                <c:pt idx="7075">
                  <c:v>0.255</c:v>
                </c:pt>
                <c:pt idx="7076">
                  <c:v>0.83599999999999997</c:v>
                </c:pt>
                <c:pt idx="7077">
                  <c:v>0</c:v>
                </c:pt>
                <c:pt idx="7078">
                  <c:v>0.124</c:v>
                </c:pt>
                <c:pt idx="7079">
                  <c:v>0.18099999999999999</c:v>
                </c:pt>
                <c:pt idx="7080">
                  <c:v>0.123</c:v>
                </c:pt>
                <c:pt idx="7081">
                  <c:v>6.3E-2</c:v>
                </c:pt>
                <c:pt idx="7082">
                  <c:v>0.65200000000000002</c:v>
                </c:pt>
                <c:pt idx="7083">
                  <c:v>0.83099999999999996</c:v>
                </c:pt>
                <c:pt idx="7084">
                  <c:v>0.54600000000000004</c:v>
                </c:pt>
                <c:pt idx="7085">
                  <c:v>0.83899999999999997</c:v>
                </c:pt>
                <c:pt idx="7086">
                  <c:v>0.35</c:v>
                </c:pt>
                <c:pt idx="7087">
                  <c:v>0.12</c:v>
                </c:pt>
                <c:pt idx="7088">
                  <c:v>0.13100000000000001</c:v>
                </c:pt>
                <c:pt idx="7089">
                  <c:v>0.53500000000000003</c:v>
                </c:pt>
                <c:pt idx="7090">
                  <c:v>0.28599999999999998</c:v>
                </c:pt>
                <c:pt idx="7091">
                  <c:v>0.55500000000000005</c:v>
                </c:pt>
                <c:pt idx="7092">
                  <c:v>0.64400000000000002</c:v>
                </c:pt>
                <c:pt idx="7093">
                  <c:v>0.93700000000000006</c:v>
                </c:pt>
                <c:pt idx="7094">
                  <c:v>0.32400000000000001</c:v>
                </c:pt>
                <c:pt idx="7095">
                  <c:v>0.113</c:v>
                </c:pt>
                <c:pt idx="7096">
                  <c:v>0.47799999999999998</c:v>
                </c:pt>
                <c:pt idx="7097">
                  <c:v>0.55700000000000005</c:v>
                </c:pt>
                <c:pt idx="7098">
                  <c:v>8.4000000000000005E-2</c:v>
                </c:pt>
                <c:pt idx="7099">
                  <c:v>0.38400000000000001</c:v>
                </c:pt>
                <c:pt idx="7100">
                  <c:v>0.94399999999999995</c:v>
                </c:pt>
                <c:pt idx="7101">
                  <c:v>0.70599999999999996</c:v>
                </c:pt>
                <c:pt idx="7102">
                  <c:v>0.217</c:v>
                </c:pt>
                <c:pt idx="7103">
                  <c:v>0.80500000000000005</c:v>
                </c:pt>
                <c:pt idx="7104">
                  <c:v>0.96599999999999997</c:v>
                </c:pt>
                <c:pt idx="7105">
                  <c:v>0.376</c:v>
                </c:pt>
                <c:pt idx="7106">
                  <c:v>0.54400000000000004</c:v>
                </c:pt>
                <c:pt idx="7107">
                  <c:v>0.375</c:v>
                </c:pt>
                <c:pt idx="7108">
                  <c:v>0.183</c:v>
                </c:pt>
                <c:pt idx="7109">
                  <c:v>0.69499999999999995</c:v>
                </c:pt>
                <c:pt idx="7110">
                  <c:v>0.85799999999999998</c:v>
                </c:pt>
                <c:pt idx="7111">
                  <c:v>0.52300000000000002</c:v>
                </c:pt>
                <c:pt idx="7112">
                  <c:v>8.7999999999999995E-2</c:v>
                </c:pt>
                <c:pt idx="7113">
                  <c:v>0.44900000000000001</c:v>
                </c:pt>
                <c:pt idx="7114">
                  <c:v>0.86</c:v>
                </c:pt>
                <c:pt idx="7115">
                  <c:v>0.84199999999999997</c:v>
                </c:pt>
                <c:pt idx="7116">
                  <c:v>0.188</c:v>
                </c:pt>
                <c:pt idx="7117">
                  <c:v>0.16900000000000001</c:v>
                </c:pt>
                <c:pt idx="7118">
                  <c:v>0.57299999999999995</c:v>
                </c:pt>
                <c:pt idx="7119">
                  <c:v>0.73799999999999999</c:v>
                </c:pt>
                <c:pt idx="7120">
                  <c:v>0.13800000000000001</c:v>
                </c:pt>
                <c:pt idx="7121">
                  <c:v>4.5999999999999999E-2</c:v>
                </c:pt>
                <c:pt idx="7122">
                  <c:v>9.6000000000000002E-2</c:v>
                </c:pt>
                <c:pt idx="7123">
                  <c:v>0.94899999999999995</c:v>
                </c:pt>
                <c:pt idx="7124">
                  <c:v>0.109</c:v>
                </c:pt>
                <c:pt idx="7125">
                  <c:v>1.2999999999999999E-2</c:v>
                </c:pt>
                <c:pt idx="7126">
                  <c:v>0.34</c:v>
                </c:pt>
                <c:pt idx="7127">
                  <c:v>0.17</c:v>
                </c:pt>
                <c:pt idx="7128">
                  <c:v>0.52700000000000002</c:v>
                </c:pt>
                <c:pt idx="7129">
                  <c:v>0.41599999999999998</c:v>
                </c:pt>
                <c:pt idx="7130">
                  <c:v>0.16700000000000001</c:v>
                </c:pt>
                <c:pt idx="7131">
                  <c:v>0.20499999999999999</c:v>
                </c:pt>
                <c:pt idx="7132">
                  <c:v>0.53700000000000003</c:v>
                </c:pt>
                <c:pt idx="7133">
                  <c:v>6.3E-2</c:v>
                </c:pt>
                <c:pt idx="7134">
                  <c:v>0.31</c:v>
                </c:pt>
                <c:pt idx="7135">
                  <c:v>7.5999999999999998E-2</c:v>
                </c:pt>
                <c:pt idx="7136">
                  <c:v>0.20599999999999999</c:v>
                </c:pt>
                <c:pt idx="7137">
                  <c:v>0.79300000000000004</c:v>
                </c:pt>
                <c:pt idx="7138">
                  <c:v>0.79</c:v>
                </c:pt>
                <c:pt idx="7139">
                  <c:v>0.38600000000000001</c:v>
                </c:pt>
                <c:pt idx="7140">
                  <c:v>0.71499999999999997</c:v>
                </c:pt>
                <c:pt idx="7141">
                  <c:v>0.505</c:v>
                </c:pt>
                <c:pt idx="7142">
                  <c:v>0.42</c:v>
                </c:pt>
                <c:pt idx="7143">
                  <c:v>0.42199999999999999</c:v>
                </c:pt>
                <c:pt idx="7144">
                  <c:v>0.39600000000000002</c:v>
                </c:pt>
                <c:pt idx="7145">
                  <c:v>0.72599999999999998</c:v>
                </c:pt>
                <c:pt idx="7146">
                  <c:v>0.35299999999999998</c:v>
                </c:pt>
                <c:pt idx="7147">
                  <c:v>6.9000000000000006E-2</c:v>
                </c:pt>
                <c:pt idx="7148">
                  <c:v>0.45500000000000002</c:v>
                </c:pt>
                <c:pt idx="7149">
                  <c:v>0.83199999999999996</c:v>
                </c:pt>
                <c:pt idx="7150">
                  <c:v>0.40899999999999997</c:v>
                </c:pt>
                <c:pt idx="7151">
                  <c:v>0.183</c:v>
                </c:pt>
                <c:pt idx="7152">
                  <c:v>0.32600000000000001</c:v>
                </c:pt>
                <c:pt idx="7153">
                  <c:v>0.46800000000000003</c:v>
                </c:pt>
                <c:pt idx="7154">
                  <c:v>0.26100000000000001</c:v>
                </c:pt>
                <c:pt idx="7155">
                  <c:v>0.83199999999999996</c:v>
                </c:pt>
                <c:pt idx="7156">
                  <c:v>0.374</c:v>
                </c:pt>
                <c:pt idx="7157">
                  <c:v>0.45300000000000001</c:v>
                </c:pt>
                <c:pt idx="7158">
                  <c:v>0.878</c:v>
                </c:pt>
                <c:pt idx="7159">
                  <c:v>0.97699999999999998</c:v>
                </c:pt>
                <c:pt idx="7160">
                  <c:v>0.441</c:v>
                </c:pt>
                <c:pt idx="7161">
                  <c:v>0.75600000000000001</c:v>
                </c:pt>
                <c:pt idx="7162">
                  <c:v>0.16</c:v>
                </c:pt>
                <c:pt idx="7163">
                  <c:v>0.30499999999999999</c:v>
                </c:pt>
                <c:pt idx="7164">
                  <c:v>8.6999999999999994E-2</c:v>
                </c:pt>
                <c:pt idx="7165">
                  <c:v>0.14099999999999999</c:v>
                </c:pt>
                <c:pt idx="7166">
                  <c:v>0.84</c:v>
                </c:pt>
                <c:pt idx="7167">
                  <c:v>0.91300000000000003</c:v>
                </c:pt>
                <c:pt idx="7168">
                  <c:v>0.29199999999999998</c:v>
                </c:pt>
                <c:pt idx="7169">
                  <c:v>0.90600000000000003</c:v>
                </c:pt>
                <c:pt idx="7170">
                  <c:v>0.25600000000000001</c:v>
                </c:pt>
                <c:pt idx="7171">
                  <c:v>0.78600000000000003</c:v>
                </c:pt>
                <c:pt idx="7172">
                  <c:v>0.247</c:v>
                </c:pt>
                <c:pt idx="7173">
                  <c:v>0.20699999999999999</c:v>
                </c:pt>
                <c:pt idx="7174">
                  <c:v>0.79600000000000004</c:v>
                </c:pt>
                <c:pt idx="7175">
                  <c:v>0.71699999999999997</c:v>
                </c:pt>
                <c:pt idx="7176">
                  <c:v>0.35899999999999999</c:v>
                </c:pt>
                <c:pt idx="7177">
                  <c:v>0.55000000000000004</c:v>
                </c:pt>
                <c:pt idx="7178">
                  <c:v>0.22</c:v>
                </c:pt>
                <c:pt idx="7179">
                  <c:v>0.13900000000000001</c:v>
                </c:pt>
                <c:pt idx="7180">
                  <c:v>0.36499999999999999</c:v>
                </c:pt>
                <c:pt idx="7181">
                  <c:v>9.0999999999999998E-2</c:v>
                </c:pt>
                <c:pt idx="7182">
                  <c:v>0.106</c:v>
                </c:pt>
                <c:pt idx="7183">
                  <c:v>0.251</c:v>
                </c:pt>
                <c:pt idx="7184">
                  <c:v>0.47699999999999998</c:v>
                </c:pt>
                <c:pt idx="7185">
                  <c:v>0.47599999999999998</c:v>
                </c:pt>
                <c:pt idx="7186">
                  <c:v>0.44600000000000001</c:v>
                </c:pt>
                <c:pt idx="7187">
                  <c:v>0.30599999999999999</c:v>
                </c:pt>
                <c:pt idx="7188">
                  <c:v>0.63600000000000001</c:v>
                </c:pt>
                <c:pt idx="7189">
                  <c:v>0.373</c:v>
                </c:pt>
                <c:pt idx="7190">
                  <c:v>0.36499999999999999</c:v>
                </c:pt>
                <c:pt idx="7191">
                  <c:v>0.35</c:v>
                </c:pt>
                <c:pt idx="7192">
                  <c:v>0.46800000000000003</c:v>
                </c:pt>
                <c:pt idx="7193">
                  <c:v>0.73899999999999999</c:v>
                </c:pt>
                <c:pt idx="7194">
                  <c:v>0.39700000000000002</c:v>
                </c:pt>
                <c:pt idx="7195">
                  <c:v>0.89700000000000002</c:v>
                </c:pt>
                <c:pt idx="7196">
                  <c:v>0.26900000000000002</c:v>
                </c:pt>
                <c:pt idx="7197">
                  <c:v>0.19800000000000001</c:v>
                </c:pt>
                <c:pt idx="7198">
                  <c:v>0.59699999999999998</c:v>
                </c:pt>
                <c:pt idx="7199">
                  <c:v>0.623</c:v>
                </c:pt>
                <c:pt idx="7200">
                  <c:v>0.42099999999999999</c:v>
                </c:pt>
                <c:pt idx="7201">
                  <c:v>8.8999999999999996E-2</c:v>
                </c:pt>
                <c:pt idx="7202">
                  <c:v>0.13200000000000001</c:v>
                </c:pt>
                <c:pt idx="7203">
                  <c:v>0.57599999999999996</c:v>
                </c:pt>
                <c:pt idx="7204">
                  <c:v>0.49299999999999999</c:v>
                </c:pt>
                <c:pt idx="7205">
                  <c:v>0.26600000000000001</c:v>
                </c:pt>
                <c:pt idx="7206">
                  <c:v>0.36799999999999999</c:v>
                </c:pt>
                <c:pt idx="7207">
                  <c:v>8.5999999999999993E-2</c:v>
                </c:pt>
                <c:pt idx="7208">
                  <c:v>0.497</c:v>
                </c:pt>
                <c:pt idx="7209">
                  <c:v>0.27500000000000002</c:v>
                </c:pt>
                <c:pt idx="7210">
                  <c:v>0.41299999999999998</c:v>
                </c:pt>
                <c:pt idx="7211">
                  <c:v>0.36699999999999999</c:v>
                </c:pt>
                <c:pt idx="7212">
                  <c:v>0.2</c:v>
                </c:pt>
                <c:pt idx="7213">
                  <c:v>0.152</c:v>
                </c:pt>
                <c:pt idx="7214">
                  <c:v>0.21</c:v>
                </c:pt>
                <c:pt idx="7215">
                  <c:v>0.748</c:v>
                </c:pt>
                <c:pt idx="7216">
                  <c:v>0.34499999999999997</c:v>
                </c:pt>
                <c:pt idx="7217">
                  <c:v>0.25900000000000001</c:v>
                </c:pt>
                <c:pt idx="7218">
                  <c:v>0.158</c:v>
                </c:pt>
                <c:pt idx="7219">
                  <c:v>0.94499999999999995</c:v>
                </c:pt>
                <c:pt idx="7220">
                  <c:v>0.53900000000000003</c:v>
                </c:pt>
                <c:pt idx="7221">
                  <c:v>2.1000000000000001E-2</c:v>
                </c:pt>
                <c:pt idx="7222">
                  <c:v>0.58199999999999996</c:v>
                </c:pt>
                <c:pt idx="7223">
                  <c:v>0.45500000000000002</c:v>
                </c:pt>
                <c:pt idx="7224">
                  <c:v>0.435</c:v>
                </c:pt>
                <c:pt idx="7225">
                  <c:v>3.5999999999999997E-2</c:v>
                </c:pt>
                <c:pt idx="7226">
                  <c:v>0.60499999999999998</c:v>
                </c:pt>
                <c:pt idx="7227">
                  <c:v>0.36599999999999999</c:v>
                </c:pt>
                <c:pt idx="7228">
                  <c:v>0.19600000000000001</c:v>
                </c:pt>
                <c:pt idx="7229">
                  <c:v>0.03</c:v>
                </c:pt>
                <c:pt idx="7230">
                  <c:v>0.5</c:v>
                </c:pt>
                <c:pt idx="7231">
                  <c:v>0.51400000000000001</c:v>
                </c:pt>
                <c:pt idx="7232">
                  <c:v>0.23799999999999999</c:v>
                </c:pt>
                <c:pt idx="7233">
                  <c:v>0.46800000000000003</c:v>
                </c:pt>
                <c:pt idx="7234">
                  <c:v>0.32200000000000001</c:v>
                </c:pt>
                <c:pt idx="7235">
                  <c:v>0.246</c:v>
                </c:pt>
                <c:pt idx="7236">
                  <c:v>0.29099999999999998</c:v>
                </c:pt>
                <c:pt idx="7237">
                  <c:v>0.27900000000000003</c:v>
                </c:pt>
                <c:pt idx="7238">
                  <c:v>0.35599999999999998</c:v>
                </c:pt>
                <c:pt idx="7239">
                  <c:v>0.20599999999999999</c:v>
                </c:pt>
                <c:pt idx="7240">
                  <c:v>0.63</c:v>
                </c:pt>
                <c:pt idx="7241">
                  <c:v>0.23300000000000001</c:v>
                </c:pt>
                <c:pt idx="7242">
                  <c:v>0.13600000000000001</c:v>
                </c:pt>
                <c:pt idx="7243">
                  <c:v>0.47799999999999998</c:v>
                </c:pt>
                <c:pt idx="7244">
                  <c:v>0.45400000000000001</c:v>
                </c:pt>
                <c:pt idx="7245">
                  <c:v>0.57799999999999996</c:v>
                </c:pt>
                <c:pt idx="7246">
                  <c:v>0.73799999999999999</c:v>
                </c:pt>
                <c:pt idx="7247">
                  <c:v>0.11600000000000001</c:v>
                </c:pt>
                <c:pt idx="7248">
                  <c:v>0.25800000000000001</c:v>
                </c:pt>
                <c:pt idx="7249">
                  <c:v>6.3E-2</c:v>
                </c:pt>
                <c:pt idx="7250">
                  <c:v>0.48899999999999999</c:v>
                </c:pt>
                <c:pt idx="7251">
                  <c:v>0.51300000000000001</c:v>
                </c:pt>
                <c:pt idx="7252">
                  <c:v>0.113</c:v>
                </c:pt>
                <c:pt idx="7253">
                  <c:v>0.185</c:v>
                </c:pt>
                <c:pt idx="7254">
                  <c:v>0.27400000000000002</c:v>
                </c:pt>
                <c:pt idx="7255">
                  <c:v>0.11600000000000001</c:v>
                </c:pt>
                <c:pt idx="7256">
                  <c:v>0.29899999999999999</c:v>
                </c:pt>
                <c:pt idx="7257">
                  <c:v>0.95299999999999996</c:v>
                </c:pt>
                <c:pt idx="7258">
                  <c:v>0.32100000000000001</c:v>
                </c:pt>
                <c:pt idx="7259">
                  <c:v>0.25900000000000001</c:v>
                </c:pt>
                <c:pt idx="7260">
                  <c:v>0.39100000000000001</c:v>
                </c:pt>
                <c:pt idx="7261">
                  <c:v>0.439</c:v>
                </c:pt>
                <c:pt idx="7262">
                  <c:v>0.28499999999999998</c:v>
                </c:pt>
                <c:pt idx="7263">
                  <c:v>0.26100000000000001</c:v>
                </c:pt>
                <c:pt idx="7264">
                  <c:v>0.113</c:v>
                </c:pt>
                <c:pt idx="7265">
                  <c:v>0.56899999999999995</c:v>
                </c:pt>
                <c:pt idx="7266">
                  <c:v>0.27500000000000002</c:v>
                </c:pt>
                <c:pt idx="7267">
                  <c:v>0.72</c:v>
                </c:pt>
                <c:pt idx="7268">
                  <c:v>0.84399999999999997</c:v>
                </c:pt>
                <c:pt idx="7269">
                  <c:v>0.188</c:v>
                </c:pt>
                <c:pt idx="7270">
                  <c:v>0.495</c:v>
                </c:pt>
                <c:pt idx="7271">
                  <c:v>0.99299999999999999</c:v>
                </c:pt>
                <c:pt idx="7272">
                  <c:v>0.17699999999999999</c:v>
                </c:pt>
                <c:pt idx="7273">
                  <c:v>0.95199999999999996</c:v>
                </c:pt>
                <c:pt idx="7274">
                  <c:v>0.157</c:v>
                </c:pt>
                <c:pt idx="7275">
                  <c:v>0.58099999999999996</c:v>
                </c:pt>
                <c:pt idx="7276">
                  <c:v>0.40100000000000002</c:v>
                </c:pt>
                <c:pt idx="7277">
                  <c:v>0.46</c:v>
                </c:pt>
                <c:pt idx="7278">
                  <c:v>0.22700000000000001</c:v>
                </c:pt>
                <c:pt idx="7279">
                  <c:v>0.33500000000000002</c:v>
                </c:pt>
                <c:pt idx="7280">
                  <c:v>0.71399999999999997</c:v>
                </c:pt>
                <c:pt idx="7281">
                  <c:v>0.83599999999999997</c:v>
                </c:pt>
                <c:pt idx="7282">
                  <c:v>0.249</c:v>
                </c:pt>
                <c:pt idx="7283">
                  <c:v>0.54900000000000004</c:v>
                </c:pt>
                <c:pt idx="7284">
                  <c:v>0.19</c:v>
                </c:pt>
                <c:pt idx="7285">
                  <c:v>0.436</c:v>
                </c:pt>
                <c:pt idx="7286">
                  <c:v>9.6000000000000002E-2</c:v>
                </c:pt>
                <c:pt idx="7287">
                  <c:v>0.10100000000000001</c:v>
                </c:pt>
                <c:pt idx="7288">
                  <c:v>0.64300000000000002</c:v>
                </c:pt>
                <c:pt idx="7289">
                  <c:v>0.29099999999999998</c:v>
                </c:pt>
                <c:pt idx="7290">
                  <c:v>0.61799999999999999</c:v>
                </c:pt>
                <c:pt idx="7291">
                  <c:v>0.21299999999999999</c:v>
                </c:pt>
                <c:pt idx="7292">
                  <c:v>0.38100000000000001</c:v>
                </c:pt>
                <c:pt idx="7293">
                  <c:v>0.25900000000000001</c:v>
                </c:pt>
                <c:pt idx="7294">
                  <c:v>0.13700000000000001</c:v>
                </c:pt>
                <c:pt idx="7295">
                  <c:v>0.36</c:v>
                </c:pt>
                <c:pt idx="7296">
                  <c:v>0.34200000000000003</c:v>
                </c:pt>
                <c:pt idx="7297">
                  <c:v>0.51900000000000002</c:v>
                </c:pt>
                <c:pt idx="7298">
                  <c:v>0.29599999999999999</c:v>
                </c:pt>
                <c:pt idx="7299">
                  <c:v>0.11799999999999999</c:v>
                </c:pt>
                <c:pt idx="7300">
                  <c:v>0.32</c:v>
                </c:pt>
                <c:pt idx="7301">
                  <c:v>9.6000000000000002E-2</c:v>
                </c:pt>
                <c:pt idx="7302">
                  <c:v>0.14499999999999999</c:v>
                </c:pt>
                <c:pt idx="7303">
                  <c:v>0.64300000000000002</c:v>
                </c:pt>
                <c:pt idx="7304">
                  <c:v>0.252</c:v>
                </c:pt>
                <c:pt idx="7305">
                  <c:v>0.41</c:v>
                </c:pt>
                <c:pt idx="7306">
                  <c:v>7.0999999999999994E-2</c:v>
                </c:pt>
                <c:pt idx="7307">
                  <c:v>8.3000000000000004E-2</c:v>
                </c:pt>
                <c:pt idx="7308">
                  <c:v>0.53700000000000003</c:v>
                </c:pt>
                <c:pt idx="7309">
                  <c:v>9.0999999999999998E-2</c:v>
                </c:pt>
                <c:pt idx="7310">
                  <c:v>0.70499999999999996</c:v>
                </c:pt>
                <c:pt idx="7311">
                  <c:v>9.9000000000000005E-2</c:v>
                </c:pt>
                <c:pt idx="7312">
                  <c:v>0.14299999999999999</c:v>
                </c:pt>
                <c:pt idx="7313">
                  <c:v>0.84599999999999997</c:v>
                </c:pt>
                <c:pt idx="7314">
                  <c:v>9.9000000000000005E-2</c:v>
                </c:pt>
                <c:pt idx="7315">
                  <c:v>0.72</c:v>
                </c:pt>
                <c:pt idx="7316">
                  <c:v>0.42099999999999999</c:v>
                </c:pt>
                <c:pt idx="7317">
                  <c:v>0.47699999999999998</c:v>
                </c:pt>
                <c:pt idx="7318">
                  <c:v>0.24099999999999999</c:v>
                </c:pt>
                <c:pt idx="7319">
                  <c:v>0.13800000000000001</c:v>
                </c:pt>
                <c:pt idx="7320">
                  <c:v>0.52700000000000002</c:v>
                </c:pt>
                <c:pt idx="7321">
                  <c:v>0.69099999999999995</c:v>
                </c:pt>
                <c:pt idx="7322">
                  <c:v>0.126</c:v>
                </c:pt>
                <c:pt idx="7323">
                  <c:v>0.16700000000000001</c:v>
                </c:pt>
                <c:pt idx="7324">
                  <c:v>0.63600000000000001</c:v>
                </c:pt>
                <c:pt idx="7325">
                  <c:v>0.16500000000000001</c:v>
                </c:pt>
                <c:pt idx="7326">
                  <c:v>0.18099999999999999</c:v>
                </c:pt>
                <c:pt idx="7327">
                  <c:v>8.5999999999999993E-2</c:v>
                </c:pt>
                <c:pt idx="7328">
                  <c:v>0.34100000000000003</c:v>
                </c:pt>
                <c:pt idx="7329">
                  <c:v>9.7000000000000003E-2</c:v>
                </c:pt>
                <c:pt idx="7330">
                  <c:v>0.77600000000000002</c:v>
                </c:pt>
                <c:pt idx="7331">
                  <c:v>0.96699999999999997</c:v>
                </c:pt>
                <c:pt idx="7332">
                  <c:v>0.79600000000000004</c:v>
                </c:pt>
                <c:pt idx="7333">
                  <c:v>0.29699999999999999</c:v>
                </c:pt>
                <c:pt idx="7334">
                  <c:v>0.59</c:v>
                </c:pt>
                <c:pt idx="7335">
                  <c:v>0.14299999999999999</c:v>
                </c:pt>
                <c:pt idx="7336">
                  <c:v>0.125</c:v>
                </c:pt>
                <c:pt idx="7337">
                  <c:v>0.629</c:v>
                </c:pt>
                <c:pt idx="7338">
                  <c:v>0.85699999999999998</c:v>
                </c:pt>
                <c:pt idx="7339">
                  <c:v>0.127</c:v>
                </c:pt>
                <c:pt idx="7340">
                  <c:v>0.88500000000000001</c:v>
                </c:pt>
                <c:pt idx="7341">
                  <c:v>0.311</c:v>
                </c:pt>
                <c:pt idx="7342">
                  <c:v>0.45500000000000002</c:v>
                </c:pt>
                <c:pt idx="7343">
                  <c:v>0.29799999999999999</c:v>
                </c:pt>
                <c:pt idx="7344">
                  <c:v>0.92900000000000005</c:v>
                </c:pt>
                <c:pt idx="7345">
                  <c:v>4.4999999999999998E-2</c:v>
                </c:pt>
                <c:pt idx="7346">
                  <c:v>0.31900000000000001</c:v>
                </c:pt>
                <c:pt idx="7347">
                  <c:v>0.56100000000000005</c:v>
                </c:pt>
                <c:pt idx="7348">
                  <c:v>0.93600000000000005</c:v>
                </c:pt>
                <c:pt idx="7349">
                  <c:v>0.26900000000000002</c:v>
                </c:pt>
                <c:pt idx="7350">
                  <c:v>0.19</c:v>
                </c:pt>
                <c:pt idx="7351">
                  <c:v>0.77800000000000002</c:v>
                </c:pt>
                <c:pt idx="7352">
                  <c:v>0.45</c:v>
                </c:pt>
                <c:pt idx="7353">
                  <c:v>0.5</c:v>
                </c:pt>
                <c:pt idx="7354">
                  <c:v>0.224</c:v>
                </c:pt>
                <c:pt idx="7355">
                  <c:v>3.6999999999999998E-2</c:v>
                </c:pt>
                <c:pt idx="7356">
                  <c:v>0.20200000000000001</c:v>
                </c:pt>
                <c:pt idx="7357">
                  <c:v>0.26800000000000002</c:v>
                </c:pt>
                <c:pt idx="7358">
                  <c:v>0.90600000000000003</c:v>
                </c:pt>
                <c:pt idx="7359">
                  <c:v>0.52800000000000002</c:v>
                </c:pt>
                <c:pt idx="7360">
                  <c:v>0.34699999999999998</c:v>
                </c:pt>
                <c:pt idx="7361">
                  <c:v>6.6000000000000003E-2</c:v>
                </c:pt>
                <c:pt idx="7362">
                  <c:v>0.752</c:v>
                </c:pt>
                <c:pt idx="7363">
                  <c:v>0.19500000000000001</c:v>
                </c:pt>
                <c:pt idx="7364">
                  <c:v>0.17899999999999999</c:v>
                </c:pt>
                <c:pt idx="7365">
                  <c:v>0.23100000000000001</c:v>
                </c:pt>
                <c:pt idx="7366">
                  <c:v>0.38700000000000001</c:v>
                </c:pt>
                <c:pt idx="7367">
                  <c:v>0.72199999999999998</c:v>
                </c:pt>
                <c:pt idx="7368">
                  <c:v>0.68400000000000005</c:v>
                </c:pt>
                <c:pt idx="7369">
                  <c:v>0.216</c:v>
                </c:pt>
                <c:pt idx="7370">
                  <c:v>0.124</c:v>
                </c:pt>
                <c:pt idx="7371">
                  <c:v>9.7000000000000003E-2</c:v>
                </c:pt>
                <c:pt idx="7372">
                  <c:v>7.6999999999999999E-2</c:v>
                </c:pt>
                <c:pt idx="7373">
                  <c:v>6.3E-2</c:v>
                </c:pt>
                <c:pt idx="7374">
                  <c:v>0.39300000000000002</c:v>
                </c:pt>
                <c:pt idx="7375">
                  <c:v>0.318</c:v>
                </c:pt>
                <c:pt idx="7376">
                  <c:v>0.27200000000000002</c:v>
                </c:pt>
                <c:pt idx="7377">
                  <c:v>0.50900000000000001</c:v>
                </c:pt>
                <c:pt idx="7378">
                  <c:v>0.17100000000000001</c:v>
                </c:pt>
                <c:pt idx="7379">
                  <c:v>0.91300000000000003</c:v>
                </c:pt>
                <c:pt idx="7380">
                  <c:v>0.10199999999999999</c:v>
                </c:pt>
                <c:pt idx="7381">
                  <c:v>3.3000000000000002E-2</c:v>
                </c:pt>
                <c:pt idx="7382">
                  <c:v>5.2999999999999999E-2</c:v>
                </c:pt>
                <c:pt idx="7383">
                  <c:v>0.14599999999999999</c:v>
                </c:pt>
                <c:pt idx="7384">
                  <c:v>7.0999999999999994E-2</c:v>
                </c:pt>
                <c:pt idx="7385">
                  <c:v>0.49</c:v>
                </c:pt>
                <c:pt idx="7386">
                  <c:v>0.98799999999999999</c:v>
                </c:pt>
                <c:pt idx="7387">
                  <c:v>0.161</c:v>
                </c:pt>
                <c:pt idx="7388">
                  <c:v>0.20399999999999999</c:v>
                </c:pt>
                <c:pt idx="7389">
                  <c:v>0.13100000000000001</c:v>
                </c:pt>
                <c:pt idx="7390">
                  <c:v>0.124</c:v>
                </c:pt>
                <c:pt idx="7391">
                  <c:v>0.222</c:v>
                </c:pt>
                <c:pt idx="7392">
                  <c:v>0.16</c:v>
                </c:pt>
                <c:pt idx="7393">
                  <c:v>0.317</c:v>
                </c:pt>
                <c:pt idx="7394">
                  <c:v>9.4E-2</c:v>
                </c:pt>
                <c:pt idx="7395">
                  <c:v>0.155</c:v>
                </c:pt>
                <c:pt idx="7396">
                  <c:v>0.13300000000000001</c:v>
                </c:pt>
                <c:pt idx="7397">
                  <c:v>0.33500000000000002</c:v>
                </c:pt>
                <c:pt idx="7398">
                  <c:v>9.6000000000000002E-2</c:v>
                </c:pt>
                <c:pt idx="7399">
                  <c:v>0.94699999999999995</c:v>
                </c:pt>
                <c:pt idx="7400">
                  <c:v>0.107</c:v>
                </c:pt>
                <c:pt idx="7401">
                  <c:v>0.77200000000000002</c:v>
                </c:pt>
                <c:pt idx="7402">
                  <c:v>0.68500000000000005</c:v>
                </c:pt>
                <c:pt idx="7403">
                  <c:v>0.43</c:v>
                </c:pt>
                <c:pt idx="7404">
                  <c:v>0.247</c:v>
                </c:pt>
                <c:pt idx="7405">
                  <c:v>0.59799999999999998</c:v>
                </c:pt>
                <c:pt idx="7406">
                  <c:v>4.1000000000000002E-2</c:v>
                </c:pt>
                <c:pt idx="7407">
                  <c:v>0.186</c:v>
                </c:pt>
                <c:pt idx="7408">
                  <c:v>0.34699999999999998</c:v>
                </c:pt>
                <c:pt idx="7409">
                  <c:v>0.751</c:v>
                </c:pt>
                <c:pt idx="7410">
                  <c:v>0.52500000000000002</c:v>
                </c:pt>
                <c:pt idx="7411">
                  <c:v>3.5999999999999997E-2</c:v>
                </c:pt>
                <c:pt idx="7412">
                  <c:v>0.126</c:v>
                </c:pt>
                <c:pt idx="7413">
                  <c:v>0.25600000000000001</c:v>
                </c:pt>
                <c:pt idx="7414">
                  <c:v>0.38</c:v>
                </c:pt>
                <c:pt idx="7415">
                  <c:v>0.17599999999999999</c:v>
                </c:pt>
                <c:pt idx="7416">
                  <c:v>0.69</c:v>
                </c:pt>
                <c:pt idx="7417">
                  <c:v>0.79900000000000004</c:v>
                </c:pt>
                <c:pt idx="7418">
                  <c:v>0.27100000000000002</c:v>
                </c:pt>
                <c:pt idx="7419">
                  <c:v>0.45800000000000002</c:v>
                </c:pt>
                <c:pt idx="7420">
                  <c:v>0.35099999999999998</c:v>
                </c:pt>
                <c:pt idx="7421">
                  <c:v>7.6999999999999999E-2</c:v>
                </c:pt>
                <c:pt idx="7422">
                  <c:v>0.33300000000000002</c:v>
                </c:pt>
                <c:pt idx="7423">
                  <c:v>0.193</c:v>
                </c:pt>
                <c:pt idx="7424">
                  <c:v>0.88</c:v>
                </c:pt>
                <c:pt idx="7425">
                  <c:v>0.81599999999999995</c:v>
                </c:pt>
                <c:pt idx="7426">
                  <c:v>0.14099999999999999</c:v>
                </c:pt>
                <c:pt idx="7427">
                  <c:v>3.5000000000000003E-2</c:v>
                </c:pt>
                <c:pt idx="7428">
                  <c:v>0.44900000000000001</c:v>
                </c:pt>
                <c:pt idx="7429">
                  <c:v>0.39400000000000002</c:v>
                </c:pt>
                <c:pt idx="7430">
                  <c:v>9.2999999999999999E-2</c:v>
                </c:pt>
                <c:pt idx="7431">
                  <c:v>0.27600000000000002</c:v>
                </c:pt>
                <c:pt idx="7432">
                  <c:v>0.11899999999999999</c:v>
                </c:pt>
                <c:pt idx="7433">
                  <c:v>0.53700000000000003</c:v>
                </c:pt>
                <c:pt idx="7434">
                  <c:v>0.52900000000000003</c:v>
                </c:pt>
                <c:pt idx="7435">
                  <c:v>0.81399999999999995</c:v>
                </c:pt>
                <c:pt idx="7436">
                  <c:v>4.4999999999999998E-2</c:v>
                </c:pt>
                <c:pt idx="7437">
                  <c:v>0.63500000000000001</c:v>
                </c:pt>
                <c:pt idx="7438">
                  <c:v>0.9</c:v>
                </c:pt>
                <c:pt idx="7439">
                  <c:v>0.40300000000000002</c:v>
                </c:pt>
                <c:pt idx="7440">
                  <c:v>0.14699999999999999</c:v>
                </c:pt>
                <c:pt idx="7441">
                  <c:v>0.41899999999999998</c:v>
                </c:pt>
                <c:pt idx="7442">
                  <c:v>3.4000000000000002E-2</c:v>
                </c:pt>
                <c:pt idx="7443">
                  <c:v>1.7000000000000001E-2</c:v>
                </c:pt>
                <c:pt idx="7444">
                  <c:v>0.83399999999999996</c:v>
                </c:pt>
                <c:pt idx="7445">
                  <c:v>0.14499999999999999</c:v>
                </c:pt>
                <c:pt idx="7446">
                  <c:v>0.28599999999999998</c:v>
                </c:pt>
                <c:pt idx="7447">
                  <c:v>0.88900000000000001</c:v>
                </c:pt>
                <c:pt idx="7448">
                  <c:v>7.0999999999999994E-2</c:v>
                </c:pt>
                <c:pt idx="7449">
                  <c:v>0.21</c:v>
                </c:pt>
                <c:pt idx="7450">
                  <c:v>0.41899999999999998</c:v>
                </c:pt>
                <c:pt idx="7451">
                  <c:v>0.63</c:v>
                </c:pt>
                <c:pt idx="7452">
                  <c:v>0.127</c:v>
                </c:pt>
                <c:pt idx="7453">
                  <c:v>0.46600000000000003</c:v>
                </c:pt>
                <c:pt idx="7454">
                  <c:v>0.34899999999999998</c:v>
                </c:pt>
                <c:pt idx="7455">
                  <c:v>0.21099999999999999</c:v>
                </c:pt>
                <c:pt idx="7456">
                  <c:v>0.26900000000000002</c:v>
                </c:pt>
                <c:pt idx="7457">
                  <c:v>0.10299999999999999</c:v>
                </c:pt>
                <c:pt idx="7458">
                  <c:v>9.1999999999999998E-2</c:v>
                </c:pt>
                <c:pt idx="7459">
                  <c:v>0.14699999999999999</c:v>
                </c:pt>
                <c:pt idx="7460">
                  <c:v>0.246</c:v>
                </c:pt>
                <c:pt idx="7461">
                  <c:v>0.90300000000000002</c:v>
                </c:pt>
                <c:pt idx="7462">
                  <c:v>4.5999999999999999E-2</c:v>
                </c:pt>
                <c:pt idx="7463">
                  <c:v>0.16800000000000001</c:v>
                </c:pt>
                <c:pt idx="7464">
                  <c:v>0.91300000000000003</c:v>
                </c:pt>
                <c:pt idx="7465">
                  <c:v>9.7000000000000003E-2</c:v>
                </c:pt>
                <c:pt idx="7466">
                  <c:v>0.59299999999999997</c:v>
                </c:pt>
                <c:pt idx="7467">
                  <c:v>5.0999999999999997E-2</c:v>
                </c:pt>
                <c:pt idx="7468">
                  <c:v>0.374</c:v>
                </c:pt>
                <c:pt idx="7469">
                  <c:v>0.41699999999999998</c:v>
                </c:pt>
                <c:pt idx="7470">
                  <c:v>0.94799999999999995</c:v>
                </c:pt>
                <c:pt idx="7471">
                  <c:v>0.54</c:v>
                </c:pt>
                <c:pt idx="7472">
                  <c:v>0.1</c:v>
                </c:pt>
                <c:pt idx="7473">
                  <c:v>0.39400000000000002</c:v>
                </c:pt>
                <c:pt idx="7474">
                  <c:v>0.52200000000000002</c:v>
                </c:pt>
                <c:pt idx="7475">
                  <c:v>0.25800000000000001</c:v>
                </c:pt>
                <c:pt idx="7476">
                  <c:v>0.17499999999999999</c:v>
                </c:pt>
                <c:pt idx="7477">
                  <c:v>0.755</c:v>
                </c:pt>
                <c:pt idx="7478">
                  <c:v>0.105</c:v>
                </c:pt>
                <c:pt idx="7479">
                  <c:v>0.58099999999999996</c:v>
                </c:pt>
                <c:pt idx="7480">
                  <c:v>7.3999999999999996E-2</c:v>
                </c:pt>
                <c:pt idx="7481">
                  <c:v>0.79100000000000004</c:v>
                </c:pt>
                <c:pt idx="7482">
                  <c:v>0.50600000000000001</c:v>
                </c:pt>
                <c:pt idx="7483">
                  <c:v>0.90900000000000003</c:v>
                </c:pt>
                <c:pt idx="7484">
                  <c:v>5.8999999999999997E-2</c:v>
                </c:pt>
                <c:pt idx="7485">
                  <c:v>0.94599999999999995</c:v>
                </c:pt>
                <c:pt idx="7486">
                  <c:v>0.158</c:v>
                </c:pt>
                <c:pt idx="7487">
                  <c:v>8.5000000000000006E-2</c:v>
                </c:pt>
                <c:pt idx="7488">
                  <c:v>0.18</c:v>
                </c:pt>
                <c:pt idx="7489">
                  <c:v>7.2999999999999995E-2</c:v>
                </c:pt>
                <c:pt idx="7490">
                  <c:v>0.57199999999999995</c:v>
                </c:pt>
                <c:pt idx="7491">
                  <c:v>0.29899999999999999</c:v>
                </c:pt>
                <c:pt idx="7492">
                  <c:v>0.54400000000000004</c:v>
                </c:pt>
                <c:pt idx="7493">
                  <c:v>0.47199999999999998</c:v>
                </c:pt>
                <c:pt idx="7494">
                  <c:v>0.13700000000000001</c:v>
                </c:pt>
                <c:pt idx="7495">
                  <c:v>4.7E-2</c:v>
                </c:pt>
                <c:pt idx="7496">
                  <c:v>4.8000000000000001E-2</c:v>
                </c:pt>
                <c:pt idx="7497">
                  <c:v>0.23499999999999999</c:v>
                </c:pt>
                <c:pt idx="7498">
                  <c:v>0.105</c:v>
                </c:pt>
                <c:pt idx="7499">
                  <c:v>0.16200000000000001</c:v>
                </c:pt>
                <c:pt idx="7500">
                  <c:v>0.23699999999999999</c:v>
                </c:pt>
                <c:pt idx="7501">
                  <c:v>0.59</c:v>
                </c:pt>
                <c:pt idx="7502">
                  <c:v>0.64500000000000002</c:v>
                </c:pt>
                <c:pt idx="7503">
                  <c:v>0.54600000000000004</c:v>
                </c:pt>
                <c:pt idx="7504">
                  <c:v>1.9E-2</c:v>
                </c:pt>
                <c:pt idx="7505">
                  <c:v>0.69599999999999995</c:v>
                </c:pt>
                <c:pt idx="7506">
                  <c:v>5.3999999999999999E-2</c:v>
                </c:pt>
                <c:pt idx="7507">
                  <c:v>0.42099999999999999</c:v>
                </c:pt>
                <c:pt idx="7508">
                  <c:v>0.42299999999999999</c:v>
                </c:pt>
                <c:pt idx="7509">
                  <c:v>0.32500000000000001</c:v>
                </c:pt>
                <c:pt idx="7510">
                  <c:v>0.92800000000000005</c:v>
                </c:pt>
                <c:pt idx="7511">
                  <c:v>0.17299999999999999</c:v>
                </c:pt>
                <c:pt idx="7512">
                  <c:v>0.28799999999999998</c:v>
                </c:pt>
                <c:pt idx="7513">
                  <c:v>0.14199999999999999</c:v>
                </c:pt>
                <c:pt idx="7514">
                  <c:v>4.1000000000000002E-2</c:v>
                </c:pt>
                <c:pt idx="7515">
                  <c:v>5.8000000000000003E-2</c:v>
                </c:pt>
                <c:pt idx="7516">
                  <c:v>0.14399999999999999</c:v>
                </c:pt>
                <c:pt idx="7517">
                  <c:v>6.7000000000000004E-2</c:v>
                </c:pt>
                <c:pt idx="7518">
                  <c:v>9.4E-2</c:v>
                </c:pt>
                <c:pt idx="7519">
                  <c:v>0.185</c:v>
                </c:pt>
                <c:pt idx="7520">
                  <c:v>0.83399999999999996</c:v>
                </c:pt>
                <c:pt idx="7521">
                  <c:v>0.40300000000000002</c:v>
                </c:pt>
                <c:pt idx="7522">
                  <c:v>9.7000000000000003E-2</c:v>
                </c:pt>
                <c:pt idx="7523">
                  <c:v>0.56100000000000005</c:v>
                </c:pt>
                <c:pt idx="7524">
                  <c:v>2.7E-2</c:v>
                </c:pt>
                <c:pt idx="7525">
                  <c:v>0.214</c:v>
                </c:pt>
                <c:pt idx="7526">
                  <c:v>0.02</c:v>
                </c:pt>
                <c:pt idx="7527">
                  <c:v>4.7E-2</c:v>
                </c:pt>
                <c:pt idx="7528">
                  <c:v>0.248</c:v>
                </c:pt>
                <c:pt idx="7529">
                  <c:v>0.26500000000000001</c:v>
                </c:pt>
                <c:pt idx="7530">
                  <c:v>0.22</c:v>
                </c:pt>
                <c:pt idx="7531">
                  <c:v>0.47699999999999998</c:v>
                </c:pt>
                <c:pt idx="7532">
                  <c:v>0.54400000000000004</c:v>
                </c:pt>
                <c:pt idx="7533">
                  <c:v>0.123</c:v>
                </c:pt>
                <c:pt idx="7534">
                  <c:v>0.314</c:v>
                </c:pt>
                <c:pt idx="7535">
                  <c:v>0.04</c:v>
                </c:pt>
                <c:pt idx="7536">
                  <c:v>4.8000000000000001E-2</c:v>
                </c:pt>
                <c:pt idx="7537">
                  <c:v>0.879</c:v>
                </c:pt>
                <c:pt idx="7538">
                  <c:v>0.39700000000000002</c:v>
                </c:pt>
                <c:pt idx="7539">
                  <c:v>0.17</c:v>
                </c:pt>
                <c:pt idx="7540">
                  <c:v>0.223</c:v>
                </c:pt>
                <c:pt idx="7541">
                  <c:v>0.70499999999999996</c:v>
                </c:pt>
                <c:pt idx="7542">
                  <c:v>0.66</c:v>
                </c:pt>
                <c:pt idx="7543">
                  <c:v>0.32700000000000001</c:v>
                </c:pt>
                <c:pt idx="7544">
                  <c:v>7.0999999999999994E-2</c:v>
                </c:pt>
                <c:pt idx="7545">
                  <c:v>0.161</c:v>
                </c:pt>
                <c:pt idx="7546">
                  <c:v>0.10299999999999999</c:v>
                </c:pt>
                <c:pt idx="7547">
                  <c:v>0.29899999999999999</c:v>
                </c:pt>
                <c:pt idx="7548">
                  <c:v>0.23300000000000001</c:v>
                </c:pt>
                <c:pt idx="7549">
                  <c:v>0.124</c:v>
                </c:pt>
                <c:pt idx="7550">
                  <c:v>0.34799999999999998</c:v>
                </c:pt>
                <c:pt idx="7551">
                  <c:v>0.49399999999999999</c:v>
                </c:pt>
                <c:pt idx="7552">
                  <c:v>0.16700000000000001</c:v>
                </c:pt>
                <c:pt idx="7553">
                  <c:v>4.7E-2</c:v>
                </c:pt>
                <c:pt idx="7554">
                  <c:v>0.24199999999999999</c:v>
                </c:pt>
                <c:pt idx="7555">
                  <c:v>0.52500000000000002</c:v>
                </c:pt>
                <c:pt idx="7556">
                  <c:v>0.41799999999999998</c:v>
                </c:pt>
                <c:pt idx="7557">
                  <c:v>0.17899999999999999</c:v>
                </c:pt>
                <c:pt idx="7558">
                  <c:v>0.12</c:v>
                </c:pt>
                <c:pt idx="7559">
                  <c:v>0.54200000000000004</c:v>
                </c:pt>
                <c:pt idx="7560">
                  <c:v>0.129</c:v>
                </c:pt>
                <c:pt idx="7561">
                  <c:v>0.42499999999999999</c:v>
                </c:pt>
                <c:pt idx="7562">
                  <c:v>0.122</c:v>
                </c:pt>
                <c:pt idx="7563">
                  <c:v>7.3999999999999996E-2</c:v>
                </c:pt>
                <c:pt idx="7564">
                  <c:v>0.126</c:v>
                </c:pt>
                <c:pt idx="7565">
                  <c:v>0.5</c:v>
                </c:pt>
                <c:pt idx="7566">
                  <c:v>0.98399999999999999</c:v>
                </c:pt>
                <c:pt idx="7567">
                  <c:v>0.621</c:v>
                </c:pt>
                <c:pt idx="7568">
                  <c:v>7.2999999999999995E-2</c:v>
                </c:pt>
                <c:pt idx="7569">
                  <c:v>0.87</c:v>
                </c:pt>
                <c:pt idx="7570">
                  <c:v>9.5000000000000001E-2</c:v>
                </c:pt>
                <c:pt idx="7571">
                  <c:v>0.92500000000000004</c:v>
                </c:pt>
                <c:pt idx="7572">
                  <c:v>7.0000000000000001E-3</c:v>
                </c:pt>
                <c:pt idx="7573">
                  <c:v>0.92600000000000005</c:v>
                </c:pt>
                <c:pt idx="7574">
                  <c:v>0.66900000000000004</c:v>
                </c:pt>
                <c:pt idx="7575">
                  <c:v>0.5</c:v>
                </c:pt>
                <c:pt idx="7576">
                  <c:v>0.14099999999999999</c:v>
                </c:pt>
                <c:pt idx="7577">
                  <c:v>0.82799999999999996</c:v>
                </c:pt>
                <c:pt idx="7578">
                  <c:v>0.54</c:v>
                </c:pt>
                <c:pt idx="7579">
                  <c:v>0.123</c:v>
                </c:pt>
                <c:pt idx="7580">
                  <c:v>0.129</c:v>
                </c:pt>
                <c:pt idx="7581">
                  <c:v>8.5999999999999993E-2</c:v>
                </c:pt>
                <c:pt idx="7582">
                  <c:v>3.5999999999999997E-2</c:v>
                </c:pt>
                <c:pt idx="7583">
                  <c:v>0.54600000000000004</c:v>
                </c:pt>
                <c:pt idx="7584">
                  <c:v>5.8000000000000003E-2</c:v>
                </c:pt>
                <c:pt idx="7585">
                  <c:v>0.755</c:v>
                </c:pt>
                <c:pt idx="7586">
                  <c:v>0.22600000000000001</c:v>
                </c:pt>
                <c:pt idx="7587">
                  <c:v>3.3000000000000002E-2</c:v>
                </c:pt>
                <c:pt idx="7588">
                  <c:v>0.22700000000000001</c:v>
                </c:pt>
                <c:pt idx="7589">
                  <c:v>0.63200000000000001</c:v>
                </c:pt>
                <c:pt idx="7590">
                  <c:v>0.69399999999999995</c:v>
                </c:pt>
                <c:pt idx="7591">
                  <c:v>0.28599999999999998</c:v>
                </c:pt>
                <c:pt idx="7592">
                  <c:v>0.875</c:v>
                </c:pt>
                <c:pt idx="7593">
                  <c:v>7.6999999999999999E-2</c:v>
                </c:pt>
                <c:pt idx="7594">
                  <c:v>0.1</c:v>
                </c:pt>
                <c:pt idx="7595">
                  <c:v>3.7999999999999999E-2</c:v>
                </c:pt>
                <c:pt idx="7596">
                  <c:v>0.51600000000000001</c:v>
                </c:pt>
                <c:pt idx="7597">
                  <c:v>0.13500000000000001</c:v>
                </c:pt>
                <c:pt idx="7598">
                  <c:v>0.67</c:v>
                </c:pt>
                <c:pt idx="7599">
                  <c:v>0.98299999999999998</c:v>
                </c:pt>
                <c:pt idx="7600">
                  <c:v>2.8000000000000001E-2</c:v>
                </c:pt>
                <c:pt idx="7601">
                  <c:v>0.46600000000000003</c:v>
                </c:pt>
                <c:pt idx="7602">
                  <c:v>8.2000000000000003E-2</c:v>
                </c:pt>
                <c:pt idx="7603">
                  <c:v>0.65100000000000002</c:v>
                </c:pt>
                <c:pt idx="7604">
                  <c:v>0.96599999999999997</c:v>
                </c:pt>
                <c:pt idx="7605">
                  <c:v>0.13400000000000001</c:v>
                </c:pt>
                <c:pt idx="7606">
                  <c:v>0.90700000000000003</c:v>
                </c:pt>
                <c:pt idx="7607">
                  <c:v>0.129</c:v>
                </c:pt>
                <c:pt idx="7608">
                  <c:v>4.1000000000000002E-2</c:v>
                </c:pt>
                <c:pt idx="7609">
                  <c:v>9.9000000000000005E-2</c:v>
                </c:pt>
                <c:pt idx="7610">
                  <c:v>0.32400000000000001</c:v>
                </c:pt>
                <c:pt idx="7611">
                  <c:v>0.76100000000000001</c:v>
                </c:pt>
                <c:pt idx="7612">
                  <c:v>0.115</c:v>
                </c:pt>
                <c:pt idx="7613">
                  <c:v>0.755</c:v>
                </c:pt>
                <c:pt idx="7614">
                  <c:v>0.86599999999999999</c:v>
                </c:pt>
                <c:pt idx="7615">
                  <c:v>0.84199999999999997</c:v>
                </c:pt>
                <c:pt idx="7616">
                  <c:v>0.71199999999999997</c:v>
                </c:pt>
                <c:pt idx="7617">
                  <c:v>0.91900000000000004</c:v>
                </c:pt>
                <c:pt idx="7618">
                  <c:v>0.63600000000000001</c:v>
                </c:pt>
                <c:pt idx="7619">
                  <c:v>0.129</c:v>
                </c:pt>
                <c:pt idx="7620">
                  <c:v>0.20300000000000001</c:v>
                </c:pt>
                <c:pt idx="7621">
                  <c:v>6.0999999999999999E-2</c:v>
                </c:pt>
                <c:pt idx="7622">
                  <c:v>7.1999999999999995E-2</c:v>
                </c:pt>
                <c:pt idx="7623">
                  <c:v>0.63600000000000001</c:v>
                </c:pt>
                <c:pt idx="7624">
                  <c:v>0.74099999999999999</c:v>
                </c:pt>
                <c:pt idx="7625">
                  <c:v>0.44400000000000001</c:v>
                </c:pt>
                <c:pt idx="7626">
                  <c:v>0.1</c:v>
                </c:pt>
                <c:pt idx="7627">
                  <c:v>0.44400000000000001</c:v>
                </c:pt>
                <c:pt idx="7628">
                  <c:v>5.8999999999999997E-2</c:v>
                </c:pt>
                <c:pt idx="7629">
                  <c:v>0.68899999999999995</c:v>
                </c:pt>
                <c:pt idx="7630">
                  <c:v>3.3000000000000002E-2</c:v>
                </c:pt>
                <c:pt idx="7631">
                  <c:v>0.747</c:v>
                </c:pt>
                <c:pt idx="7632">
                  <c:v>2.9000000000000001E-2</c:v>
                </c:pt>
                <c:pt idx="7633">
                  <c:v>0.61899999999999999</c:v>
                </c:pt>
                <c:pt idx="7634">
                  <c:v>0.57799999999999996</c:v>
                </c:pt>
                <c:pt idx="7635">
                  <c:v>6.6000000000000003E-2</c:v>
                </c:pt>
                <c:pt idx="7636">
                  <c:v>0.83599999999999997</c:v>
                </c:pt>
                <c:pt idx="7637">
                  <c:v>1.0999999999999999E-2</c:v>
                </c:pt>
                <c:pt idx="7638">
                  <c:v>0.436</c:v>
                </c:pt>
                <c:pt idx="7639">
                  <c:v>0.28199999999999997</c:v>
                </c:pt>
                <c:pt idx="7640">
                  <c:v>0.80200000000000005</c:v>
                </c:pt>
                <c:pt idx="7641">
                  <c:v>0.59799999999999998</c:v>
                </c:pt>
                <c:pt idx="7642">
                  <c:v>8.5000000000000006E-2</c:v>
                </c:pt>
                <c:pt idx="7643">
                  <c:v>0.36399999999999999</c:v>
                </c:pt>
                <c:pt idx="7644">
                  <c:v>0.14699999999999999</c:v>
                </c:pt>
                <c:pt idx="7645">
                  <c:v>0.74</c:v>
                </c:pt>
                <c:pt idx="7646">
                  <c:v>0.91100000000000003</c:v>
                </c:pt>
                <c:pt idx="7647">
                  <c:v>0.79400000000000004</c:v>
                </c:pt>
                <c:pt idx="7648">
                  <c:v>0.29599999999999999</c:v>
                </c:pt>
                <c:pt idx="7649">
                  <c:v>0.68300000000000005</c:v>
                </c:pt>
                <c:pt idx="7650">
                  <c:v>0.248</c:v>
                </c:pt>
                <c:pt idx="7651">
                  <c:v>0.121</c:v>
                </c:pt>
                <c:pt idx="7652">
                  <c:v>0.86599999999999999</c:v>
                </c:pt>
                <c:pt idx="7653">
                  <c:v>0.751</c:v>
                </c:pt>
                <c:pt idx="7654">
                  <c:v>0.3</c:v>
                </c:pt>
                <c:pt idx="7655">
                  <c:v>0.93300000000000005</c:v>
                </c:pt>
                <c:pt idx="7656">
                  <c:v>0.86399999999999999</c:v>
                </c:pt>
                <c:pt idx="7657">
                  <c:v>0.75600000000000001</c:v>
                </c:pt>
                <c:pt idx="7658">
                  <c:v>0.79100000000000004</c:v>
                </c:pt>
                <c:pt idx="7659">
                  <c:v>0.154</c:v>
                </c:pt>
                <c:pt idx="7660">
                  <c:v>0.66</c:v>
                </c:pt>
                <c:pt idx="7661">
                  <c:v>0.82099999999999995</c:v>
                </c:pt>
                <c:pt idx="7662">
                  <c:v>0.44500000000000001</c:v>
                </c:pt>
                <c:pt idx="7663">
                  <c:v>0.72299999999999998</c:v>
                </c:pt>
                <c:pt idx="7664">
                  <c:v>0.48699999999999999</c:v>
                </c:pt>
                <c:pt idx="7665">
                  <c:v>7.9000000000000001E-2</c:v>
                </c:pt>
                <c:pt idx="7666">
                  <c:v>0.188</c:v>
                </c:pt>
                <c:pt idx="7667">
                  <c:v>0.182</c:v>
                </c:pt>
                <c:pt idx="7668">
                  <c:v>0.79100000000000004</c:v>
                </c:pt>
                <c:pt idx="7669">
                  <c:v>0.29799999999999999</c:v>
                </c:pt>
                <c:pt idx="7670">
                  <c:v>0.76600000000000001</c:v>
                </c:pt>
                <c:pt idx="7671">
                  <c:v>0.68700000000000006</c:v>
                </c:pt>
                <c:pt idx="7672">
                  <c:v>0.16700000000000001</c:v>
                </c:pt>
                <c:pt idx="7673">
                  <c:v>0.47799999999999998</c:v>
                </c:pt>
                <c:pt idx="7674">
                  <c:v>0.60299999999999998</c:v>
                </c:pt>
                <c:pt idx="7675">
                  <c:v>0.84</c:v>
                </c:pt>
                <c:pt idx="7676">
                  <c:v>0.71299999999999997</c:v>
                </c:pt>
                <c:pt idx="7677">
                  <c:v>0.28999999999999998</c:v>
                </c:pt>
                <c:pt idx="7678">
                  <c:v>0.47</c:v>
                </c:pt>
                <c:pt idx="7679">
                  <c:v>0.11899999999999999</c:v>
                </c:pt>
                <c:pt idx="7680">
                  <c:v>0.34300000000000003</c:v>
                </c:pt>
                <c:pt idx="7681">
                  <c:v>0.253</c:v>
                </c:pt>
                <c:pt idx="7682">
                  <c:v>0.41699999999999998</c:v>
                </c:pt>
                <c:pt idx="7683">
                  <c:v>0.27400000000000002</c:v>
                </c:pt>
                <c:pt idx="7684">
                  <c:v>0.83699999999999997</c:v>
                </c:pt>
                <c:pt idx="7685">
                  <c:v>0.66100000000000003</c:v>
                </c:pt>
                <c:pt idx="7686">
                  <c:v>0.34799999999999998</c:v>
                </c:pt>
              </c:numCache>
            </c:numRef>
          </c:xVal>
          <c:yVal>
            <c:numRef>
              <c:f>'EcoDis PS'!$C$3:$C$7759</c:f>
              <c:numCache>
                <c:formatCode>0%</c:formatCode>
                <c:ptCount val="7757"/>
                <c:pt idx="0">
                  <c:v>5.8479532163742704E-3</c:v>
                </c:pt>
                <c:pt idx="1">
                  <c:v>6.2893081761006301E-3</c:v>
                </c:pt>
                <c:pt idx="2">
                  <c:v>7.2463768115942004E-3</c:v>
                </c:pt>
                <c:pt idx="3">
                  <c:v>1.01010101010101E-2</c:v>
                </c:pt>
                <c:pt idx="4">
                  <c:v>1.05263157894737E-2</c:v>
                </c:pt>
                <c:pt idx="5">
                  <c:v>1.0752688172042999E-2</c:v>
                </c:pt>
                <c:pt idx="6">
                  <c:v>1.11731843575419E-2</c:v>
                </c:pt>
                <c:pt idx="7">
                  <c:v>1.3333333333333299E-2</c:v>
                </c:pt>
                <c:pt idx="8">
                  <c:v>1.3636363636363599E-2</c:v>
                </c:pt>
                <c:pt idx="9">
                  <c:v>1.4285714285714299E-2</c:v>
                </c:pt>
                <c:pt idx="10">
                  <c:v>1.4336917562724E-2</c:v>
                </c:pt>
                <c:pt idx="11">
                  <c:v>1.51515151515151E-2</c:v>
                </c:pt>
                <c:pt idx="12">
                  <c:v>1.5789473684210499E-2</c:v>
                </c:pt>
                <c:pt idx="13">
                  <c:v>1.58730158730159E-2</c:v>
                </c:pt>
                <c:pt idx="14">
                  <c:v>1.58730158730159E-2</c:v>
                </c:pt>
                <c:pt idx="15">
                  <c:v>1.6666666666666701E-2</c:v>
                </c:pt>
                <c:pt idx="16">
                  <c:v>1.7543859649122799E-2</c:v>
                </c:pt>
                <c:pt idx="17">
                  <c:v>1.7543859649122799E-2</c:v>
                </c:pt>
                <c:pt idx="18">
                  <c:v>1.7543859649122799E-2</c:v>
                </c:pt>
                <c:pt idx="19">
                  <c:v>1.8749999999999999E-2</c:v>
                </c:pt>
                <c:pt idx="20">
                  <c:v>1.9607843137254902E-2</c:v>
                </c:pt>
                <c:pt idx="21">
                  <c:v>2.04081632653061E-2</c:v>
                </c:pt>
                <c:pt idx="22">
                  <c:v>2.1052631578947399E-2</c:v>
                </c:pt>
                <c:pt idx="23">
                  <c:v>2.1276595744680799E-2</c:v>
                </c:pt>
                <c:pt idx="24">
                  <c:v>2.2875816993463999E-2</c:v>
                </c:pt>
                <c:pt idx="25">
                  <c:v>2.3529411764705899E-2</c:v>
                </c:pt>
                <c:pt idx="26">
                  <c:v>2.3809523809523801E-2</c:v>
                </c:pt>
                <c:pt idx="27">
                  <c:v>2.3904382470119501E-2</c:v>
                </c:pt>
                <c:pt idx="28">
                  <c:v>2.4793388429752101E-2</c:v>
                </c:pt>
                <c:pt idx="29">
                  <c:v>2.5510204081632602E-2</c:v>
                </c:pt>
                <c:pt idx="30">
                  <c:v>2.6315789473684199E-2</c:v>
                </c:pt>
                <c:pt idx="31">
                  <c:v>2.6785714285714302E-2</c:v>
                </c:pt>
                <c:pt idx="32">
                  <c:v>2.7522935779816501E-2</c:v>
                </c:pt>
                <c:pt idx="33">
                  <c:v>2.8571428571428598E-2</c:v>
                </c:pt>
                <c:pt idx="34">
                  <c:v>2.8846153846153799E-2</c:v>
                </c:pt>
                <c:pt idx="35">
                  <c:v>3.0100334448160501E-2</c:v>
                </c:pt>
                <c:pt idx="36">
                  <c:v>3.03030303030303E-2</c:v>
                </c:pt>
                <c:pt idx="37">
                  <c:v>3.06122448979592E-2</c:v>
                </c:pt>
                <c:pt idx="38">
                  <c:v>3.07017543859649E-2</c:v>
                </c:pt>
                <c:pt idx="39">
                  <c:v>3.0769230769230799E-2</c:v>
                </c:pt>
                <c:pt idx="40">
                  <c:v>3.0769230769230799E-2</c:v>
                </c:pt>
                <c:pt idx="41">
                  <c:v>3.1055900621118002E-2</c:v>
                </c:pt>
                <c:pt idx="42">
                  <c:v>3.1152647975077899E-2</c:v>
                </c:pt>
                <c:pt idx="43">
                  <c:v>3.1390134529148003E-2</c:v>
                </c:pt>
                <c:pt idx="44">
                  <c:v>3.2258064516128997E-2</c:v>
                </c:pt>
                <c:pt idx="45">
                  <c:v>3.2258064516128997E-2</c:v>
                </c:pt>
                <c:pt idx="46">
                  <c:v>3.3112582781456901E-2</c:v>
                </c:pt>
                <c:pt idx="47">
                  <c:v>3.3333333333333298E-2</c:v>
                </c:pt>
                <c:pt idx="48">
                  <c:v>3.37837837837838E-2</c:v>
                </c:pt>
                <c:pt idx="49">
                  <c:v>3.4482758620689599E-2</c:v>
                </c:pt>
                <c:pt idx="50">
                  <c:v>3.4482758620689599E-2</c:v>
                </c:pt>
                <c:pt idx="51">
                  <c:v>3.4883720930232599E-2</c:v>
                </c:pt>
                <c:pt idx="52">
                  <c:v>3.5502958579881699E-2</c:v>
                </c:pt>
                <c:pt idx="53">
                  <c:v>3.5714285714285698E-2</c:v>
                </c:pt>
                <c:pt idx="54">
                  <c:v>3.5714285714285698E-2</c:v>
                </c:pt>
                <c:pt idx="55">
                  <c:v>3.6231884057971002E-2</c:v>
                </c:pt>
                <c:pt idx="56">
                  <c:v>3.7037037037037E-2</c:v>
                </c:pt>
                <c:pt idx="57">
                  <c:v>3.7037037037037E-2</c:v>
                </c:pt>
                <c:pt idx="58">
                  <c:v>3.77358490566038E-2</c:v>
                </c:pt>
                <c:pt idx="59">
                  <c:v>3.77358490566038E-2</c:v>
                </c:pt>
                <c:pt idx="60">
                  <c:v>3.8043478260869602E-2</c:v>
                </c:pt>
                <c:pt idx="61">
                  <c:v>3.8461538461538498E-2</c:v>
                </c:pt>
                <c:pt idx="62">
                  <c:v>3.8461538461538498E-2</c:v>
                </c:pt>
                <c:pt idx="63">
                  <c:v>3.9215686274509803E-2</c:v>
                </c:pt>
                <c:pt idx="64">
                  <c:v>3.9215686274509803E-2</c:v>
                </c:pt>
                <c:pt idx="65">
                  <c:v>3.94736842105263E-2</c:v>
                </c:pt>
                <c:pt idx="66">
                  <c:v>3.9603960396039598E-2</c:v>
                </c:pt>
                <c:pt idx="67">
                  <c:v>0.04</c:v>
                </c:pt>
                <c:pt idx="68">
                  <c:v>0.04</c:v>
                </c:pt>
                <c:pt idx="69">
                  <c:v>4.0322580645161303E-2</c:v>
                </c:pt>
                <c:pt idx="70">
                  <c:v>4.0716612377850202E-2</c:v>
                </c:pt>
                <c:pt idx="71">
                  <c:v>4.08163265306122E-2</c:v>
                </c:pt>
                <c:pt idx="72">
                  <c:v>4.1025641025640998E-2</c:v>
                </c:pt>
                <c:pt idx="73">
                  <c:v>4.1666666666666699E-2</c:v>
                </c:pt>
                <c:pt idx="74">
                  <c:v>4.2553191489361701E-2</c:v>
                </c:pt>
                <c:pt idx="75">
                  <c:v>4.2553191489361701E-2</c:v>
                </c:pt>
                <c:pt idx="76">
                  <c:v>4.3478260869565202E-2</c:v>
                </c:pt>
                <c:pt idx="77">
                  <c:v>4.39024390243902E-2</c:v>
                </c:pt>
                <c:pt idx="78">
                  <c:v>4.4176706827309203E-2</c:v>
                </c:pt>
                <c:pt idx="79">
                  <c:v>4.4334975369458102E-2</c:v>
                </c:pt>
                <c:pt idx="80">
                  <c:v>4.54545454545454E-2</c:v>
                </c:pt>
                <c:pt idx="81">
                  <c:v>4.54545454545454E-2</c:v>
                </c:pt>
                <c:pt idx="82">
                  <c:v>4.57142857142857E-2</c:v>
                </c:pt>
                <c:pt idx="83">
                  <c:v>4.5977011494252901E-2</c:v>
                </c:pt>
                <c:pt idx="84">
                  <c:v>4.6875E-2</c:v>
                </c:pt>
                <c:pt idx="85">
                  <c:v>4.6875E-2</c:v>
                </c:pt>
                <c:pt idx="86">
                  <c:v>4.6979865771812103E-2</c:v>
                </c:pt>
                <c:pt idx="87">
                  <c:v>4.7619047619047603E-2</c:v>
                </c:pt>
                <c:pt idx="88">
                  <c:v>4.7619047619047603E-2</c:v>
                </c:pt>
                <c:pt idx="89">
                  <c:v>4.80769230769231E-2</c:v>
                </c:pt>
                <c:pt idx="90">
                  <c:v>4.8728813559322001E-2</c:v>
                </c:pt>
                <c:pt idx="91">
                  <c:v>4.8979591836734698E-2</c:v>
                </c:pt>
                <c:pt idx="92">
                  <c:v>4.9382716049382699E-2</c:v>
                </c:pt>
                <c:pt idx="93">
                  <c:v>4.9733570159857902E-2</c:v>
                </c:pt>
                <c:pt idx="94">
                  <c:v>0.05</c:v>
                </c:pt>
                <c:pt idx="95">
                  <c:v>0.05</c:v>
                </c:pt>
                <c:pt idx="96">
                  <c:v>5.0847457627118599E-2</c:v>
                </c:pt>
                <c:pt idx="97">
                  <c:v>5.0955414012738801E-2</c:v>
                </c:pt>
                <c:pt idx="98">
                  <c:v>5.10204081632653E-2</c:v>
                </c:pt>
                <c:pt idx="99">
                  <c:v>5.10204081632653E-2</c:v>
                </c:pt>
                <c:pt idx="100">
                  <c:v>5.1282051282051301E-2</c:v>
                </c:pt>
                <c:pt idx="101">
                  <c:v>5.1282051282051301E-2</c:v>
                </c:pt>
                <c:pt idx="102">
                  <c:v>5.1546391752577303E-2</c:v>
                </c:pt>
                <c:pt idx="103">
                  <c:v>5.2631578947368397E-2</c:v>
                </c:pt>
                <c:pt idx="104">
                  <c:v>5.2631578947368397E-2</c:v>
                </c:pt>
                <c:pt idx="105">
                  <c:v>5.2631578947368397E-2</c:v>
                </c:pt>
                <c:pt idx="106">
                  <c:v>5.2816901408450703E-2</c:v>
                </c:pt>
                <c:pt idx="107">
                  <c:v>5.3097345132743397E-2</c:v>
                </c:pt>
                <c:pt idx="108">
                  <c:v>5.3097345132743397E-2</c:v>
                </c:pt>
                <c:pt idx="109">
                  <c:v>5.32544378698225E-2</c:v>
                </c:pt>
                <c:pt idx="110">
                  <c:v>5.3398058252427202E-2</c:v>
                </c:pt>
                <c:pt idx="111">
                  <c:v>5.4054054054054002E-2</c:v>
                </c:pt>
                <c:pt idx="112">
                  <c:v>5.4347826086956499E-2</c:v>
                </c:pt>
                <c:pt idx="113">
                  <c:v>5.5555555555555497E-2</c:v>
                </c:pt>
                <c:pt idx="114">
                  <c:v>5.5555555555555497E-2</c:v>
                </c:pt>
                <c:pt idx="115">
                  <c:v>5.5555555555555497E-2</c:v>
                </c:pt>
                <c:pt idx="116">
                  <c:v>5.5555555555555497E-2</c:v>
                </c:pt>
                <c:pt idx="117">
                  <c:v>5.5718475073313803E-2</c:v>
                </c:pt>
                <c:pt idx="118">
                  <c:v>5.60747663551402E-2</c:v>
                </c:pt>
                <c:pt idx="119">
                  <c:v>5.63380281690141E-2</c:v>
                </c:pt>
                <c:pt idx="120">
                  <c:v>5.7553956834532398E-2</c:v>
                </c:pt>
                <c:pt idx="121">
                  <c:v>5.8035714285714302E-2</c:v>
                </c:pt>
                <c:pt idx="122">
                  <c:v>5.83657587548638E-2</c:v>
                </c:pt>
                <c:pt idx="123">
                  <c:v>5.8823529411764698E-2</c:v>
                </c:pt>
                <c:pt idx="124">
                  <c:v>5.9748427672956003E-2</c:v>
                </c:pt>
                <c:pt idx="125">
                  <c:v>6.0126582278481E-2</c:v>
                </c:pt>
                <c:pt idx="126">
                  <c:v>6.0606060606060601E-2</c:v>
                </c:pt>
                <c:pt idx="127">
                  <c:v>6.08108108108108E-2</c:v>
                </c:pt>
                <c:pt idx="128">
                  <c:v>6.13496932515337E-2</c:v>
                </c:pt>
                <c:pt idx="129">
                  <c:v>6.1728395061728399E-2</c:v>
                </c:pt>
                <c:pt idx="130">
                  <c:v>6.1728395061728399E-2</c:v>
                </c:pt>
                <c:pt idx="131">
                  <c:v>6.18556701030928E-2</c:v>
                </c:pt>
                <c:pt idx="132">
                  <c:v>6.25E-2</c:v>
                </c:pt>
                <c:pt idx="133">
                  <c:v>6.25E-2</c:v>
                </c:pt>
                <c:pt idx="134">
                  <c:v>6.2857142857142806E-2</c:v>
                </c:pt>
                <c:pt idx="135">
                  <c:v>6.3069908814589695E-2</c:v>
                </c:pt>
                <c:pt idx="136">
                  <c:v>6.3636363636363602E-2</c:v>
                </c:pt>
                <c:pt idx="137">
                  <c:v>6.3920454545454503E-2</c:v>
                </c:pt>
                <c:pt idx="138">
                  <c:v>6.4285714285714293E-2</c:v>
                </c:pt>
                <c:pt idx="139">
                  <c:v>6.4516129032257993E-2</c:v>
                </c:pt>
                <c:pt idx="140">
                  <c:v>6.50406504065041E-2</c:v>
                </c:pt>
                <c:pt idx="141">
                  <c:v>6.6574202496532606E-2</c:v>
                </c:pt>
                <c:pt idx="142">
                  <c:v>6.6666666666666693E-2</c:v>
                </c:pt>
                <c:pt idx="143">
                  <c:v>6.6666666666666693E-2</c:v>
                </c:pt>
                <c:pt idx="144">
                  <c:v>6.6666666666666693E-2</c:v>
                </c:pt>
                <c:pt idx="145">
                  <c:v>6.7164179104477598E-2</c:v>
                </c:pt>
                <c:pt idx="146">
                  <c:v>6.7632850241545903E-2</c:v>
                </c:pt>
                <c:pt idx="147">
                  <c:v>6.7669172932330796E-2</c:v>
                </c:pt>
                <c:pt idx="148">
                  <c:v>6.7924528301886805E-2</c:v>
                </c:pt>
                <c:pt idx="149">
                  <c:v>6.8062827225130906E-2</c:v>
                </c:pt>
                <c:pt idx="150">
                  <c:v>6.8376068376068397E-2</c:v>
                </c:pt>
                <c:pt idx="151">
                  <c:v>6.9037656903765704E-2</c:v>
                </c:pt>
                <c:pt idx="152">
                  <c:v>7.0000000000000007E-2</c:v>
                </c:pt>
                <c:pt idx="153">
                  <c:v>7.0329670329670302E-2</c:v>
                </c:pt>
                <c:pt idx="154">
                  <c:v>7.0422535211267595E-2</c:v>
                </c:pt>
                <c:pt idx="155">
                  <c:v>7.0881226053639806E-2</c:v>
                </c:pt>
                <c:pt idx="156">
                  <c:v>7.1428571428571397E-2</c:v>
                </c:pt>
                <c:pt idx="157">
                  <c:v>7.1428571428571397E-2</c:v>
                </c:pt>
                <c:pt idx="158">
                  <c:v>7.1856287425149698E-2</c:v>
                </c:pt>
                <c:pt idx="159">
                  <c:v>7.2463768115942004E-2</c:v>
                </c:pt>
                <c:pt idx="160">
                  <c:v>7.2992700729927001E-2</c:v>
                </c:pt>
                <c:pt idx="161">
                  <c:v>7.3170731707317097E-2</c:v>
                </c:pt>
                <c:pt idx="162">
                  <c:v>7.3684210526315796E-2</c:v>
                </c:pt>
                <c:pt idx="163">
                  <c:v>7.3684210526315796E-2</c:v>
                </c:pt>
                <c:pt idx="164">
                  <c:v>7.421875E-2</c:v>
                </c:pt>
                <c:pt idx="165">
                  <c:v>7.4705111402359095E-2</c:v>
                </c:pt>
                <c:pt idx="166">
                  <c:v>7.5342465753424598E-2</c:v>
                </c:pt>
                <c:pt idx="167">
                  <c:v>7.5471698113207503E-2</c:v>
                </c:pt>
                <c:pt idx="168">
                  <c:v>7.5471698113207503E-2</c:v>
                </c:pt>
                <c:pt idx="169">
                  <c:v>7.5471698113207503E-2</c:v>
                </c:pt>
                <c:pt idx="170">
                  <c:v>7.5757575757575801E-2</c:v>
                </c:pt>
                <c:pt idx="171">
                  <c:v>7.6530612244898003E-2</c:v>
                </c:pt>
                <c:pt idx="172">
                  <c:v>7.69230769230769E-2</c:v>
                </c:pt>
                <c:pt idx="173">
                  <c:v>7.69230769230769E-2</c:v>
                </c:pt>
                <c:pt idx="174">
                  <c:v>7.69230769230769E-2</c:v>
                </c:pt>
                <c:pt idx="175">
                  <c:v>7.7399380804953594E-2</c:v>
                </c:pt>
                <c:pt idx="176">
                  <c:v>7.7586206896551699E-2</c:v>
                </c:pt>
                <c:pt idx="177">
                  <c:v>7.8947368421052599E-2</c:v>
                </c:pt>
                <c:pt idx="178">
                  <c:v>7.9034028540065804E-2</c:v>
                </c:pt>
                <c:pt idx="179">
                  <c:v>7.9545454545454503E-2</c:v>
                </c:pt>
                <c:pt idx="180">
                  <c:v>7.9678814082767099E-2</c:v>
                </c:pt>
                <c:pt idx="181">
                  <c:v>7.9754601226993904E-2</c:v>
                </c:pt>
                <c:pt idx="182">
                  <c:v>7.9861111111111105E-2</c:v>
                </c:pt>
                <c:pt idx="183">
                  <c:v>0.08</c:v>
                </c:pt>
                <c:pt idx="184">
                  <c:v>0.08</c:v>
                </c:pt>
                <c:pt idx="185">
                  <c:v>8.0246913580246895E-2</c:v>
                </c:pt>
                <c:pt idx="186">
                  <c:v>8.0808080808080801E-2</c:v>
                </c:pt>
                <c:pt idx="187">
                  <c:v>8.1632653061224497E-2</c:v>
                </c:pt>
                <c:pt idx="188">
                  <c:v>8.1818181818181804E-2</c:v>
                </c:pt>
                <c:pt idx="189">
                  <c:v>8.2016553799849498E-2</c:v>
                </c:pt>
                <c:pt idx="190">
                  <c:v>8.2474226804123696E-2</c:v>
                </c:pt>
                <c:pt idx="191">
                  <c:v>8.2531645569620199E-2</c:v>
                </c:pt>
                <c:pt idx="192">
                  <c:v>8.2608695652173894E-2</c:v>
                </c:pt>
                <c:pt idx="193">
                  <c:v>8.3333333333333301E-2</c:v>
                </c:pt>
                <c:pt idx="194">
                  <c:v>8.3333333333333301E-2</c:v>
                </c:pt>
                <c:pt idx="195">
                  <c:v>8.3333333333333301E-2</c:v>
                </c:pt>
                <c:pt idx="196">
                  <c:v>8.3333333333333301E-2</c:v>
                </c:pt>
                <c:pt idx="197">
                  <c:v>8.3720930232558097E-2</c:v>
                </c:pt>
                <c:pt idx="198">
                  <c:v>8.4112149532710304E-2</c:v>
                </c:pt>
                <c:pt idx="199">
                  <c:v>8.4461637653127003E-2</c:v>
                </c:pt>
                <c:pt idx="200">
                  <c:v>8.4548104956268202E-2</c:v>
                </c:pt>
                <c:pt idx="201">
                  <c:v>8.4745762711864403E-2</c:v>
                </c:pt>
                <c:pt idx="202">
                  <c:v>8.5106382978723402E-2</c:v>
                </c:pt>
                <c:pt idx="203">
                  <c:v>8.5227272727272693E-2</c:v>
                </c:pt>
                <c:pt idx="204">
                  <c:v>8.5501858736059505E-2</c:v>
                </c:pt>
                <c:pt idx="205">
                  <c:v>8.5547290116896907E-2</c:v>
                </c:pt>
                <c:pt idx="206">
                  <c:v>8.5714285714285701E-2</c:v>
                </c:pt>
                <c:pt idx="207">
                  <c:v>8.6021505376344107E-2</c:v>
                </c:pt>
                <c:pt idx="208">
                  <c:v>8.6247086247086199E-2</c:v>
                </c:pt>
                <c:pt idx="209">
                  <c:v>8.6677367576244002E-2</c:v>
                </c:pt>
                <c:pt idx="210">
                  <c:v>8.6705202312138699E-2</c:v>
                </c:pt>
                <c:pt idx="211">
                  <c:v>8.6956521739130405E-2</c:v>
                </c:pt>
                <c:pt idx="212">
                  <c:v>8.6956521739130405E-2</c:v>
                </c:pt>
                <c:pt idx="213">
                  <c:v>8.7248322147651006E-2</c:v>
                </c:pt>
                <c:pt idx="214">
                  <c:v>8.7248322147651006E-2</c:v>
                </c:pt>
                <c:pt idx="215">
                  <c:v>8.7452471482889704E-2</c:v>
                </c:pt>
                <c:pt idx="216">
                  <c:v>8.8235294117646995E-2</c:v>
                </c:pt>
                <c:pt idx="217">
                  <c:v>8.8235294117646995E-2</c:v>
                </c:pt>
                <c:pt idx="218">
                  <c:v>8.8607594936708806E-2</c:v>
                </c:pt>
                <c:pt idx="219">
                  <c:v>8.9108910891089105E-2</c:v>
                </c:pt>
                <c:pt idx="220">
                  <c:v>8.9278752436647194E-2</c:v>
                </c:pt>
                <c:pt idx="221">
                  <c:v>8.9385474860335198E-2</c:v>
                </c:pt>
                <c:pt idx="222">
                  <c:v>8.98876404494382E-2</c:v>
                </c:pt>
                <c:pt idx="223">
                  <c:v>0.09</c:v>
                </c:pt>
                <c:pt idx="224">
                  <c:v>9.0163934426229497E-2</c:v>
                </c:pt>
                <c:pt idx="225">
                  <c:v>9.0318388564002594E-2</c:v>
                </c:pt>
                <c:pt idx="226">
                  <c:v>9.0452261306532597E-2</c:v>
                </c:pt>
                <c:pt idx="227">
                  <c:v>9.0909090909090898E-2</c:v>
                </c:pt>
                <c:pt idx="228">
                  <c:v>9.0909090909090898E-2</c:v>
                </c:pt>
                <c:pt idx="229">
                  <c:v>9.0909090909090898E-2</c:v>
                </c:pt>
                <c:pt idx="230">
                  <c:v>9.0909090909090898E-2</c:v>
                </c:pt>
                <c:pt idx="231">
                  <c:v>9.0909090909090898E-2</c:v>
                </c:pt>
                <c:pt idx="232">
                  <c:v>9.0909090909090898E-2</c:v>
                </c:pt>
                <c:pt idx="233">
                  <c:v>9.1346153846153799E-2</c:v>
                </c:pt>
                <c:pt idx="234">
                  <c:v>9.1743119266054995E-2</c:v>
                </c:pt>
                <c:pt idx="235">
                  <c:v>9.2123769338959202E-2</c:v>
                </c:pt>
                <c:pt idx="236">
                  <c:v>9.2221331194867695E-2</c:v>
                </c:pt>
                <c:pt idx="237">
                  <c:v>9.2592592592592601E-2</c:v>
                </c:pt>
                <c:pt idx="238">
                  <c:v>9.2592592592592601E-2</c:v>
                </c:pt>
                <c:pt idx="239">
                  <c:v>9.2997811816192502E-2</c:v>
                </c:pt>
                <c:pt idx="240">
                  <c:v>9.3023255813953501E-2</c:v>
                </c:pt>
                <c:pt idx="241">
                  <c:v>9.3023255813953501E-2</c:v>
                </c:pt>
                <c:pt idx="242">
                  <c:v>9.375E-2</c:v>
                </c:pt>
                <c:pt idx="243">
                  <c:v>9.375E-2</c:v>
                </c:pt>
                <c:pt idx="244">
                  <c:v>9.375E-2</c:v>
                </c:pt>
                <c:pt idx="245">
                  <c:v>9.4076655052264799E-2</c:v>
                </c:pt>
                <c:pt idx="246">
                  <c:v>9.4097519247219805E-2</c:v>
                </c:pt>
                <c:pt idx="247">
                  <c:v>9.41176470588235E-2</c:v>
                </c:pt>
                <c:pt idx="248">
                  <c:v>9.41176470588235E-2</c:v>
                </c:pt>
                <c:pt idx="249">
                  <c:v>9.4758064516129004E-2</c:v>
                </c:pt>
                <c:pt idx="250">
                  <c:v>9.4827586206896505E-2</c:v>
                </c:pt>
                <c:pt idx="251">
                  <c:v>9.4989561586638793E-2</c:v>
                </c:pt>
                <c:pt idx="252">
                  <c:v>9.5238095238095205E-2</c:v>
                </c:pt>
                <c:pt idx="253">
                  <c:v>9.5238095238095205E-2</c:v>
                </c:pt>
                <c:pt idx="254">
                  <c:v>9.5632183908045995E-2</c:v>
                </c:pt>
                <c:pt idx="255">
                  <c:v>9.5890410958904104E-2</c:v>
                </c:pt>
                <c:pt idx="256">
                  <c:v>9.5918367346938704E-2</c:v>
                </c:pt>
                <c:pt idx="257">
                  <c:v>9.6000000000000002E-2</c:v>
                </c:pt>
                <c:pt idx="258">
                  <c:v>9.6153846153846104E-2</c:v>
                </c:pt>
                <c:pt idx="259">
                  <c:v>9.6153846153846104E-2</c:v>
                </c:pt>
                <c:pt idx="260">
                  <c:v>9.6385542168674704E-2</c:v>
                </c:pt>
                <c:pt idx="261">
                  <c:v>9.6774193548387094E-2</c:v>
                </c:pt>
                <c:pt idx="262">
                  <c:v>9.6774193548387094E-2</c:v>
                </c:pt>
                <c:pt idx="263">
                  <c:v>9.7744360902255606E-2</c:v>
                </c:pt>
                <c:pt idx="264">
                  <c:v>9.8108747044917205E-2</c:v>
                </c:pt>
                <c:pt idx="265">
                  <c:v>9.8214285714285698E-2</c:v>
                </c:pt>
                <c:pt idx="266">
                  <c:v>9.8290598290598302E-2</c:v>
                </c:pt>
                <c:pt idx="267">
                  <c:v>9.85915492957746E-2</c:v>
                </c:pt>
                <c:pt idx="268">
                  <c:v>9.8684210526315805E-2</c:v>
                </c:pt>
                <c:pt idx="269">
                  <c:v>9.9065420560747602E-2</c:v>
                </c:pt>
                <c:pt idx="270">
                  <c:v>9.90990990990991E-2</c:v>
                </c:pt>
                <c:pt idx="271">
                  <c:v>9.9290780141843907E-2</c:v>
                </c:pt>
                <c:pt idx="272">
                  <c:v>0.1</c:v>
                </c:pt>
                <c:pt idx="273">
                  <c:v>0.100156494522692</c:v>
                </c:pt>
                <c:pt idx="274">
                  <c:v>0.10027100271002699</c:v>
                </c:pt>
                <c:pt idx="275">
                  <c:v>0.100478468899522</c:v>
                </c:pt>
                <c:pt idx="276">
                  <c:v>0.100591715976331</c:v>
                </c:pt>
                <c:pt idx="277">
                  <c:v>0.100591715976331</c:v>
                </c:pt>
                <c:pt idx="278">
                  <c:v>0.10062893081761</c:v>
                </c:pt>
                <c:pt idx="279">
                  <c:v>0.10092687950566399</c:v>
                </c:pt>
                <c:pt idx="280">
                  <c:v>0.10103626943005201</c:v>
                </c:pt>
                <c:pt idx="281">
                  <c:v>0.101123595505618</c:v>
                </c:pt>
                <c:pt idx="282">
                  <c:v>0.10114192495921701</c:v>
                </c:pt>
                <c:pt idx="283">
                  <c:v>0.10158311345646399</c:v>
                </c:pt>
                <c:pt idx="284">
                  <c:v>0.10160427807486599</c:v>
                </c:pt>
                <c:pt idx="285">
                  <c:v>0.101679104477612</c:v>
                </c:pt>
                <c:pt idx="286">
                  <c:v>0.101910828025478</c:v>
                </c:pt>
                <c:pt idx="287">
                  <c:v>0.102040816326531</c:v>
                </c:pt>
                <c:pt idx="288">
                  <c:v>0.102083333333333</c:v>
                </c:pt>
                <c:pt idx="289">
                  <c:v>0.102620087336245</c:v>
                </c:pt>
                <c:pt idx="290">
                  <c:v>0.102649006622517</c:v>
                </c:pt>
                <c:pt idx="291">
                  <c:v>0.102702702702703</c:v>
                </c:pt>
                <c:pt idx="292">
                  <c:v>0.102831594634873</c:v>
                </c:pt>
                <c:pt idx="293">
                  <c:v>0.10300429184549401</c:v>
                </c:pt>
                <c:pt idx="294">
                  <c:v>0.103030303030303</c:v>
                </c:pt>
                <c:pt idx="295">
                  <c:v>0.103244837758112</c:v>
                </c:pt>
                <c:pt idx="296">
                  <c:v>0.103316326530612</c:v>
                </c:pt>
                <c:pt idx="297">
                  <c:v>0.10344827586206901</c:v>
                </c:pt>
                <c:pt idx="298">
                  <c:v>0.103589743589744</c:v>
                </c:pt>
                <c:pt idx="299">
                  <c:v>0.10377358490565999</c:v>
                </c:pt>
                <c:pt idx="300">
                  <c:v>0.103865677469738</c:v>
                </c:pt>
                <c:pt idx="301">
                  <c:v>0.10411622276029101</c:v>
                </c:pt>
                <c:pt idx="302">
                  <c:v>0.10412051395657999</c:v>
                </c:pt>
                <c:pt idx="303">
                  <c:v>0.104166666666667</c:v>
                </c:pt>
                <c:pt idx="304">
                  <c:v>0.104609929078014</c:v>
                </c:pt>
                <c:pt idx="305">
                  <c:v>0.104651162790698</c:v>
                </c:pt>
                <c:pt idx="306">
                  <c:v>0.104738154613466</c:v>
                </c:pt>
                <c:pt idx="307">
                  <c:v>0.10486891385767801</c:v>
                </c:pt>
                <c:pt idx="308">
                  <c:v>0.104878048780488</c:v>
                </c:pt>
                <c:pt idx="309">
                  <c:v>0.10497237569060799</c:v>
                </c:pt>
                <c:pt idx="310">
                  <c:v>0.105058365758755</c:v>
                </c:pt>
                <c:pt idx="311">
                  <c:v>0.105065666041276</c:v>
                </c:pt>
                <c:pt idx="312">
                  <c:v>0.105232216343327</c:v>
                </c:pt>
                <c:pt idx="313">
                  <c:v>0.105263157894737</c:v>
                </c:pt>
                <c:pt idx="314">
                  <c:v>0.105263157894737</c:v>
                </c:pt>
                <c:pt idx="315">
                  <c:v>0.105263157894737</c:v>
                </c:pt>
                <c:pt idx="316">
                  <c:v>0.105345911949686</c:v>
                </c:pt>
                <c:pt idx="317">
                  <c:v>0.105504587155963</c:v>
                </c:pt>
                <c:pt idx="318">
                  <c:v>0.105726872246696</c:v>
                </c:pt>
                <c:pt idx="319">
                  <c:v>0.105882352941176</c:v>
                </c:pt>
                <c:pt idx="320">
                  <c:v>0.10606060606060599</c:v>
                </c:pt>
                <c:pt idx="321">
                  <c:v>0.106145251396648</c:v>
                </c:pt>
                <c:pt idx="322">
                  <c:v>0.10638297872340401</c:v>
                </c:pt>
                <c:pt idx="323">
                  <c:v>0.10638297872340401</c:v>
                </c:pt>
                <c:pt idx="324">
                  <c:v>0.10638297872340401</c:v>
                </c:pt>
                <c:pt idx="325">
                  <c:v>0.106571936056838</c:v>
                </c:pt>
                <c:pt idx="326">
                  <c:v>0.10662824207492801</c:v>
                </c:pt>
                <c:pt idx="327">
                  <c:v>0.10666666666666701</c:v>
                </c:pt>
                <c:pt idx="328">
                  <c:v>0.107003891050584</c:v>
                </c:pt>
                <c:pt idx="329">
                  <c:v>0.107969151670951</c:v>
                </c:pt>
                <c:pt idx="330">
                  <c:v>0.10798816568047299</c:v>
                </c:pt>
                <c:pt idx="331">
                  <c:v>0.108247422680412</c:v>
                </c:pt>
                <c:pt idx="332">
                  <c:v>0.108383233532934</c:v>
                </c:pt>
                <c:pt idx="333">
                  <c:v>0.10863005431502699</c:v>
                </c:pt>
                <c:pt idx="334">
                  <c:v>0.108695652173913</c:v>
                </c:pt>
                <c:pt idx="335">
                  <c:v>0.108974358974359</c:v>
                </c:pt>
                <c:pt idx="336">
                  <c:v>0.109243697478992</c:v>
                </c:pt>
                <c:pt idx="337">
                  <c:v>0.109375</c:v>
                </c:pt>
                <c:pt idx="338">
                  <c:v>0.109375</c:v>
                </c:pt>
                <c:pt idx="339">
                  <c:v>0.10958904109589</c:v>
                </c:pt>
                <c:pt idx="340">
                  <c:v>0.109603340292276</c:v>
                </c:pt>
                <c:pt idx="341">
                  <c:v>0.10989010989011</c:v>
                </c:pt>
                <c:pt idx="342">
                  <c:v>0.110169491525424</c:v>
                </c:pt>
                <c:pt idx="343">
                  <c:v>0.110497237569061</c:v>
                </c:pt>
                <c:pt idx="344">
                  <c:v>0.11079136690647499</c:v>
                </c:pt>
                <c:pt idx="345">
                  <c:v>0.11111111111111099</c:v>
                </c:pt>
                <c:pt idx="346">
                  <c:v>0.11111111111111099</c:v>
                </c:pt>
                <c:pt idx="347">
                  <c:v>0.11111111111111099</c:v>
                </c:pt>
                <c:pt idx="348">
                  <c:v>0.11111111111111099</c:v>
                </c:pt>
                <c:pt idx="349">
                  <c:v>0.11111111111111099</c:v>
                </c:pt>
                <c:pt idx="350">
                  <c:v>0.111295681063123</c:v>
                </c:pt>
                <c:pt idx="351">
                  <c:v>0.111498257839721</c:v>
                </c:pt>
                <c:pt idx="352">
                  <c:v>0.111668757841907</c:v>
                </c:pt>
                <c:pt idx="353">
                  <c:v>0.111880046136101</c:v>
                </c:pt>
                <c:pt idx="354">
                  <c:v>0.111975116640746</c:v>
                </c:pt>
                <c:pt idx="355">
                  <c:v>0.11206896551724101</c:v>
                </c:pt>
                <c:pt idx="356">
                  <c:v>0.112171837708831</c:v>
                </c:pt>
                <c:pt idx="357">
                  <c:v>0.112254443405051</c:v>
                </c:pt>
                <c:pt idx="358">
                  <c:v>0.112307692307692</c:v>
                </c:pt>
                <c:pt idx="359">
                  <c:v>0.11271676300578</c:v>
                </c:pt>
                <c:pt idx="360">
                  <c:v>0.112781954887218</c:v>
                </c:pt>
                <c:pt idx="361">
                  <c:v>0.112852664576803</c:v>
                </c:pt>
                <c:pt idx="362">
                  <c:v>0.11304347826087</c:v>
                </c:pt>
                <c:pt idx="363">
                  <c:v>0.11304347826087</c:v>
                </c:pt>
                <c:pt idx="364">
                  <c:v>0.113207547169811</c:v>
                </c:pt>
                <c:pt idx="365">
                  <c:v>0.113207547169811</c:v>
                </c:pt>
                <c:pt idx="366">
                  <c:v>0.11360000000000001</c:v>
                </c:pt>
                <c:pt idx="367">
                  <c:v>0.113785557986871</c:v>
                </c:pt>
                <c:pt idx="368">
                  <c:v>0.11386593204775</c:v>
                </c:pt>
                <c:pt idx="369">
                  <c:v>0.11415525114155201</c:v>
                </c:pt>
                <c:pt idx="370">
                  <c:v>0.114245416078984</c:v>
                </c:pt>
                <c:pt idx="371">
                  <c:v>0.114285714285714</c:v>
                </c:pt>
                <c:pt idx="372">
                  <c:v>0.114285714285714</c:v>
                </c:pt>
                <c:pt idx="373">
                  <c:v>0.114341085271318</c:v>
                </c:pt>
                <c:pt idx="374">
                  <c:v>0.114345114345114</c:v>
                </c:pt>
                <c:pt idx="375">
                  <c:v>0.114982578397213</c:v>
                </c:pt>
                <c:pt idx="376">
                  <c:v>0.115384615384615</c:v>
                </c:pt>
                <c:pt idx="377">
                  <c:v>0.11555555555555599</c:v>
                </c:pt>
                <c:pt idx="378">
                  <c:v>0.11562500000000001</c:v>
                </c:pt>
                <c:pt idx="379">
                  <c:v>0.115646258503401</c:v>
                </c:pt>
                <c:pt idx="380">
                  <c:v>0.115658362989324</c:v>
                </c:pt>
                <c:pt idx="381">
                  <c:v>0.11567476948868401</c:v>
                </c:pt>
                <c:pt idx="382">
                  <c:v>0.115740740740741</c:v>
                </c:pt>
                <c:pt idx="383">
                  <c:v>0.116022099447514</c:v>
                </c:pt>
                <c:pt idx="384">
                  <c:v>0.11612903225806499</c:v>
                </c:pt>
                <c:pt idx="385">
                  <c:v>0.11623246492986</c:v>
                </c:pt>
                <c:pt idx="386">
                  <c:v>0.116379310344828</c:v>
                </c:pt>
                <c:pt idx="387">
                  <c:v>0.116504854368932</c:v>
                </c:pt>
                <c:pt idx="388">
                  <c:v>0.116788321167883</c:v>
                </c:pt>
                <c:pt idx="389">
                  <c:v>0.116809116809117</c:v>
                </c:pt>
                <c:pt idx="390">
                  <c:v>0.11683848797250899</c:v>
                </c:pt>
                <c:pt idx="391">
                  <c:v>0.117021276595745</c:v>
                </c:pt>
                <c:pt idx="392">
                  <c:v>0.117056856187291</c:v>
                </c:pt>
                <c:pt idx="393">
                  <c:v>0.11706102117061</c:v>
                </c:pt>
                <c:pt idx="394">
                  <c:v>0.117117117117117</c:v>
                </c:pt>
                <c:pt idx="395">
                  <c:v>0.11764705882352899</c:v>
                </c:pt>
                <c:pt idx="396">
                  <c:v>0.11785714285714299</c:v>
                </c:pt>
                <c:pt idx="397">
                  <c:v>0.118012422360248</c:v>
                </c:pt>
                <c:pt idx="398">
                  <c:v>0.118118118118118</c:v>
                </c:pt>
                <c:pt idx="399">
                  <c:v>0.118131868131868</c:v>
                </c:pt>
                <c:pt idx="400">
                  <c:v>0.118314424635332</c:v>
                </c:pt>
                <c:pt idx="401">
                  <c:v>0.11847672778561399</c:v>
                </c:pt>
                <c:pt idx="402">
                  <c:v>0.118796992481203</c:v>
                </c:pt>
                <c:pt idx="403">
                  <c:v>0.119047619047619</c:v>
                </c:pt>
                <c:pt idx="404">
                  <c:v>0.119284294234592</c:v>
                </c:pt>
                <c:pt idx="405">
                  <c:v>0.119357306809487</c:v>
                </c:pt>
                <c:pt idx="406">
                  <c:v>0.119565217391304</c:v>
                </c:pt>
                <c:pt idx="407">
                  <c:v>0.11968085106383</c:v>
                </c:pt>
                <c:pt idx="408">
                  <c:v>0.11969111969111999</c:v>
                </c:pt>
                <c:pt idx="409">
                  <c:v>0.119760479041916</c:v>
                </c:pt>
                <c:pt idx="410">
                  <c:v>0.12</c:v>
                </c:pt>
                <c:pt idx="411">
                  <c:v>0.12</c:v>
                </c:pt>
                <c:pt idx="412">
                  <c:v>0.120089786756453</c:v>
                </c:pt>
                <c:pt idx="413">
                  <c:v>0.120141342756184</c:v>
                </c:pt>
                <c:pt idx="414">
                  <c:v>0.12021857923497301</c:v>
                </c:pt>
                <c:pt idx="415">
                  <c:v>0.12028985507246399</c:v>
                </c:pt>
                <c:pt idx="416">
                  <c:v>0.120481927710843</c:v>
                </c:pt>
                <c:pt idx="417">
                  <c:v>0.120603015075377</c:v>
                </c:pt>
                <c:pt idx="418">
                  <c:v>0.120813397129187</c:v>
                </c:pt>
                <c:pt idx="419">
                  <c:v>0.121052631578947</c:v>
                </c:pt>
                <c:pt idx="420">
                  <c:v>0.12121212121212099</c:v>
                </c:pt>
                <c:pt idx="421">
                  <c:v>0.12121212121212099</c:v>
                </c:pt>
                <c:pt idx="422">
                  <c:v>0.121301775147929</c:v>
                </c:pt>
                <c:pt idx="423">
                  <c:v>0.121379310344828</c:v>
                </c:pt>
                <c:pt idx="424">
                  <c:v>0.121405750798722</c:v>
                </c:pt>
                <c:pt idx="425">
                  <c:v>0.121739130434783</c:v>
                </c:pt>
                <c:pt idx="426">
                  <c:v>0.121758737316798</c:v>
                </c:pt>
                <c:pt idx="427">
                  <c:v>0.121900826446281</c:v>
                </c:pt>
                <c:pt idx="428">
                  <c:v>0.122055674518201</c:v>
                </c:pt>
                <c:pt idx="429">
                  <c:v>0.122340425531915</c:v>
                </c:pt>
                <c:pt idx="430">
                  <c:v>0.122448979591837</c:v>
                </c:pt>
                <c:pt idx="431">
                  <c:v>0.122448979591837</c:v>
                </c:pt>
                <c:pt idx="432">
                  <c:v>0.122448979591837</c:v>
                </c:pt>
                <c:pt idx="433">
                  <c:v>0.12276214833759599</c:v>
                </c:pt>
                <c:pt idx="434">
                  <c:v>0.122775800711744</c:v>
                </c:pt>
                <c:pt idx="435">
                  <c:v>0.123015873015873</c:v>
                </c:pt>
                <c:pt idx="436">
                  <c:v>0.123050259965338</c:v>
                </c:pt>
                <c:pt idx="437">
                  <c:v>0.12317327766179501</c:v>
                </c:pt>
                <c:pt idx="438">
                  <c:v>0.1235</c:v>
                </c:pt>
                <c:pt idx="439">
                  <c:v>0.123579545454545</c:v>
                </c:pt>
                <c:pt idx="440">
                  <c:v>0.12380952380952399</c:v>
                </c:pt>
                <c:pt idx="441">
                  <c:v>0.12380952380952399</c:v>
                </c:pt>
                <c:pt idx="442">
                  <c:v>0.12390670553935899</c:v>
                </c:pt>
                <c:pt idx="443">
                  <c:v>0.124031007751938</c:v>
                </c:pt>
                <c:pt idx="444">
                  <c:v>0.124161073825503</c:v>
                </c:pt>
                <c:pt idx="445">
                  <c:v>0.124761904761905</c:v>
                </c:pt>
                <c:pt idx="446">
                  <c:v>0.12484548825710801</c:v>
                </c:pt>
                <c:pt idx="447">
                  <c:v>0.125</c:v>
                </c:pt>
                <c:pt idx="448">
                  <c:v>0.125</c:v>
                </c:pt>
                <c:pt idx="449">
                  <c:v>0.125</c:v>
                </c:pt>
                <c:pt idx="450">
                  <c:v>0.125</c:v>
                </c:pt>
                <c:pt idx="451">
                  <c:v>0.125</c:v>
                </c:pt>
                <c:pt idx="452">
                  <c:v>0.125</c:v>
                </c:pt>
                <c:pt idx="453">
                  <c:v>0.125</c:v>
                </c:pt>
                <c:pt idx="454">
                  <c:v>0.125</c:v>
                </c:pt>
                <c:pt idx="455">
                  <c:v>0.12519319938176199</c:v>
                </c:pt>
                <c:pt idx="456">
                  <c:v>0.12542759407069601</c:v>
                </c:pt>
                <c:pt idx="457">
                  <c:v>0.12580645161290299</c:v>
                </c:pt>
                <c:pt idx="458">
                  <c:v>0.12589928057554001</c:v>
                </c:pt>
                <c:pt idx="459">
                  <c:v>0.125925925925926</c:v>
                </c:pt>
                <c:pt idx="460">
                  <c:v>0.12594458438287201</c:v>
                </c:pt>
                <c:pt idx="461">
                  <c:v>0.126126126126126</c:v>
                </c:pt>
                <c:pt idx="462">
                  <c:v>0.12616822429906499</c:v>
                </c:pt>
                <c:pt idx="463">
                  <c:v>0.12653061224489801</c:v>
                </c:pt>
                <c:pt idx="464">
                  <c:v>0.12676056338028199</c:v>
                </c:pt>
                <c:pt idx="465">
                  <c:v>0.12681912681912699</c:v>
                </c:pt>
                <c:pt idx="466">
                  <c:v>0.12707182320442001</c:v>
                </c:pt>
                <c:pt idx="467">
                  <c:v>0.12711864406779699</c:v>
                </c:pt>
                <c:pt idx="468">
                  <c:v>0.127197518097208</c:v>
                </c:pt>
                <c:pt idx="469">
                  <c:v>0.12740141557128401</c:v>
                </c:pt>
                <c:pt idx="470">
                  <c:v>0.12759643916913899</c:v>
                </c:pt>
                <c:pt idx="471">
                  <c:v>0.12765957446808501</c:v>
                </c:pt>
                <c:pt idx="472">
                  <c:v>0.127731092436975</c:v>
                </c:pt>
                <c:pt idx="473">
                  <c:v>0.12780656303972401</c:v>
                </c:pt>
                <c:pt idx="474">
                  <c:v>0.12781954887218</c:v>
                </c:pt>
                <c:pt idx="475">
                  <c:v>0.12784090909090901</c:v>
                </c:pt>
                <c:pt idx="476">
                  <c:v>0.127906976744186</c:v>
                </c:pt>
                <c:pt idx="477">
                  <c:v>0.12791828793774301</c:v>
                </c:pt>
                <c:pt idx="478">
                  <c:v>0.12798264642082399</c:v>
                </c:pt>
                <c:pt idx="479">
                  <c:v>0.12826086956521701</c:v>
                </c:pt>
                <c:pt idx="480">
                  <c:v>0.12835249042145599</c:v>
                </c:pt>
                <c:pt idx="481">
                  <c:v>0.12842465753424701</c:v>
                </c:pt>
                <c:pt idx="482">
                  <c:v>0.128837443381983</c:v>
                </c:pt>
                <c:pt idx="483">
                  <c:v>0.12886597938144301</c:v>
                </c:pt>
                <c:pt idx="484">
                  <c:v>0.12890625</c:v>
                </c:pt>
                <c:pt idx="485">
                  <c:v>0.12891344383057099</c:v>
                </c:pt>
                <c:pt idx="486">
                  <c:v>0.129172714078374</c:v>
                </c:pt>
                <c:pt idx="487">
                  <c:v>0.12944162436548201</c:v>
                </c:pt>
                <c:pt idx="488">
                  <c:v>0.12987012987013</c:v>
                </c:pt>
                <c:pt idx="489">
                  <c:v>0.13</c:v>
                </c:pt>
                <c:pt idx="490">
                  <c:v>0.13018867924528299</c:v>
                </c:pt>
                <c:pt idx="491">
                  <c:v>0.13022508038585201</c:v>
                </c:pt>
                <c:pt idx="492">
                  <c:v>0.130346232179226</c:v>
                </c:pt>
                <c:pt idx="493">
                  <c:v>0.13043478260869601</c:v>
                </c:pt>
                <c:pt idx="494">
                  <c:v>0.13043478260869601</c:v>
                </c:pt>
                <c:pt idx="495">
                  <c:v>0.13043478260869601</c:v>
                </c:pt>
                <c:pt idx="496">
                  <c:v>0.130794701986755</c:v>
                </c:pt>
                <c:pt idx="497">
                  <c:v>0.13080168776371301</c:v>
                </c:pt>
                <c:pt idx="498">
                  <c:v>0.130808950086059</c:v>
                </c:pt>
                <c:pt idx="499">
                  <c:v>0.13101604278074899</c:v>
                </c:pt>
                <c:pt idx="500">
                  <c:v>0.13125845737483099</c:v>
                </c:pt>
                <c:pt idx="501">
                  <c:v>0.131268436578171</c:v>
                </c:pt>
                <c:pt idx="502">
                  <c:v>0.13131313131313099</c:v>
                </c:pt>
                <c:pt idx="503">
                  <c:v>0.13138686131386901</c:v>
                </c:pt>
                <c:pt idx="504">
                  <c:v>0.13157894736842099</c:v>
                </c:pt>
                <c:pt idx="505">
                  <c:v>0.13171449595290699</c:v>
                </c:pt>
                <c:pt idx="506">
                  <c:v>0.13173652694610799</c:v>
                </c:pt>
                <c:pt idx="507">
                  <c:v>0.13186813186813201</c:v>
                </c:pt>
                <c:pt idx="508">
                  <c:v>0.132106339468303</c:v>
                </c:pt>
                <c:pt idx="509">
                  <c:v>0.13215859030836999</c:v>
                </c:pt>
                <c:pt idx="510">
                  <c:v>0.13248766737138801</c:v>
                </c:pt>
                <c:pt idx="511">
                  <c:v>0.13250000000000001</c:v>
                </c:pt>
                <c:pt idx="512">
                  <c:v>0.13265306122449</c:v>
                </c:pt>
                <c:pt idx="513">
                  <c:v>0.13270142180094799</c:v>
                </c:pt>
                <c:pt idx="514">
                  <c:v>0.13294797687861301</c:v>
                </c:pt>
                <c:pt idx="515">
                  <c:v>0.13309352517985601</c:v>
                </c:pt>
                <c:pt idx="516">
                  <c:v>0.13325867861142199</c:v>
                </c:pt>
                <c:pt idx="517">
                  <c:v>0.133333333333333</c:v>
                </c:pt>
                <c:pt idx="518">
                  <c:v>0.133402275077559</c:v>
                </c:pt>
                <c:pt idx="519">
                  <c:v>0.133445945945946</c:v>
                </c:pt>
                <c:pt idx="520">
                  <c:v>0.13349814585908501</c:v>
                </c:pt>
                <c:pt idx="521">
                  <c:v>0.13359528487229899</c:v>
                </c:pt>
                <c:pt idx="522">
                  <c:v>0.13382899628252801</c:v>
                </c:pt>
                <c:pt idx="523">
                  <c:v>0.133874239350913</c:v>
                </c:pt>
                <c:pt idx="524">
                  <c:v>0.13407821229050301</c:v>
                </c:pt>
                <c:pt idx="525">
                  <c:v>0.134146341463415</c:v>
                </c:pt>
                <c:pt idx="526">
                  <c:v>0.13417721518987299</c:v>
                </c:pt>
                <c:pt idx="527">
                  <c:v>0.13448275862069001</c:v>
                </c:pt>
                <c:pt idx="528">
                  <c:v>0.13455882352941201</c:v>
                </c:pt>
                <c:pt idx="529">
                  <c:v>0.134615384615385</c:v>
                </c:pt>
                <c:pt idx="530">
                  <c:v>0.13471502590673601</c:v>
                </c:pt>
                <c:pt idx="531">
                  <c:v>0.13471971066907801</c:v>
                </c:pt>
                <c:pt idx="532">
                  <c:v>0.134751773049645</c:v>
                </c:pt>
                <c:pt idx="533">
                  <c:v>0.134863701578192</c:v>
                </c:pt>
                <c:pt idx="534">
                  <c:v>0.13500000000000001</c:v>
                </c:pt>
                <c:pt idx="535">
                  <c:v>0.135135135135135</c:v>
                </c:pt>
                <c:pt idx="536">
                  <c:v>0.135306553911205</c:v>
                </c:pt>
                <c:pt idx="537">
                  <c:v>0.13544018058690699</c:v>
                </c:pt>
                <c:pt idx="538">
                  <c:v>0.13559322033898299</c:v>
                </c:pt>
                <c:pt idx="539">
                  <c:v>0.13582677165354301</c:v>
                </c:pt>
                <c:pt idx="540">
                  <c:v>0.13589503280224899</c:v>
                </c:pt>
                <c:pt idx="541">
                  <c:v>0.13592233009708701</c:v>
                </c:pt>
                <c:pt idx="542">
                  <c:v>0.136069114470842</c:v>
                </c:pt>
                <c:pt idx="543">
                  <c:v>0.13609467455621299</c:v>
                </c:pt>
                <c:pt idx="544">
                  <c:v>0.13736263736263701</c:v>
                </c:pt>
                <c:pt idx="545">
                  <c:v>0.13762811127379199</c:v>
                </c:pt>
                <c:pt idx="546">
                  <c:v>0.13776435045317201</c:v>
                </c:pt>
                <c:pt idx="547">
                  <c:v>0.137791286727457</c:v>
                </c:pt>
                <c:pt idx="548">
                  <c:v>0.13779527559055099</c:v>
                </c:pt>
                <c:pt idx="549">
                  <c:v>0.13793103448275901</c:v>
                </c:pt>
                <c:pt idx="550">
                  <c:v>0.138107416879795</c:v>
                </c:pt>
                <c:pt idx="551">
                  <c:v>0.13813813813813799</c:v>
                </c:pt>
                <c:pt idx="552">
                  <c:v>0.13824884792626699</c:v>
                </c:pt>
                <c:pt idx="553">
                  <c:v>0.13835376532399299</c:v>
                </c:pt>
                <c:pt idx="554">
                  <c:v>0.138461538461538</c:v>
                </c:pt>
                <c:pt idx="555">
                  <c:v>0.138461538461538</c:v>
                </c:pt>
                <c:pt idx="556">
                  <c:v>0.138476755687438</c:v>
                </c:pt>
                <c:pt idx="557">
                  <c:v>0.13848631239935599</c:v>
                </c:pt>
                <c:pt idx="558">
                  <c:v>0.138568129330254</c:v>
                </c:pt>
                <c:pt idx="559">
                  <c:v>0.13888888888888901</c:v>
                </c:pt>
                <c:pt idx="560">
                  <c:v>0.13888888888888901</c:v>
                </c:pt>
                <c:pt idx="561">
                  <c:v>0.13888888888888901</c:v>
                </c:pt>
                <c:pt idx="562">
                  <c:v>0.13888888888888901</c:v>
                </c:pt>
                <c:pt idx="563">
                  <c:v>0.13888888888888901</c:v>
                </c:pt>
                <c:pt idx="564">
                  <c:v>0.13888888888888901</c:v>
                </c:pt>
                <c:pt idx="565">
                  <c:v>0.13905622489959801</c:v>
                </c:pt>
                <c:pt idx="566">
                  <c:v>0.13919052319842101</c:v>
                </c:pt>
                <c:pt idx="567">
                  <c:v>0.139253809774041</c:v>
                </c:pt>
                <c:pt idx="568">
                  <c:v>0.139372822299652</c:v>
                </c:pt>
                <c:pt idx="569">
                  <c:v>0.13939393939393899</c:v>
                </c:pt>
                <c:pt idx="570">
                  <c:v>0.13941480206540399</c:v>
                </c:pt>
                <c:pt idx="571">
                  <c:v>0.13942307692307701</c:v>
                </c:pt>
                <c:pt idx="572">
                  <c:v>0.13953488372093001</c:v>
                </c:pt>
                <c:pt idx="573">
                  <c:v>0.13953488372093001</c:v>
                </c:pt>
                <c:pt idx="574">
                  <c:v>0.13953488372093001</c:v>
                </c:pt>
                <c:pt idx="575">
                  <c:v>0.13953488372093001</c:v>
                </c:pt>
                <c:pt idx="576">
                  <c:v>0.13953488372093001</c:v>
                </c:pt>
                <c:pt idx="577">
                  <c:v>0.13966480446927401</c:v>
                </c:pt>
                <c:pt idx="578">
                  <c:v>0.13979416809605499</c:v>
                </c:pt>
                <c:pt idx="579">
                  <c:v>0.13982300884955801</c:v>
                </c:pt>
                <c:pt idx="580">
                  <c:v>0.13988657844990501</c:v>
                </c:pt>
                <c:pt idx="581">
                  <c:v>0.14008518693800301</c:v>
                </c:pt>
                <c:pt idx="582">
                  <c:v>0.14028776978417301</c:v>
                </c:pt>
                <c:pt idx="583">
                  <c:v>0.140625</c:v>
                </c:pt>
                <c:pt idx="584">
                  <c:v>0.140740740740741</c:v>
                </c:pt>
                <c:pt idx="585">
                  <c:v>0.14089347079037801</c:v>
                </c:pt>
                <c:pt idx="586">
                  <c:v>0.14093959731543601</c:v>
                </c:pt>
                <c:pt idx="587">
                  <c:v>0.140952380952381</c:v>
                </c:pt>
                <c:pt idx="588">
                  <c:v>0.14095744680851099</c:v>
                </c:pt>
                <c:pt idx="589">
                  <c:v>0.14105263157894701</c:v>
                </c:pt>
                <c:pt idx="590">
                  <c:v>0.14109985528220001</c:v>
                </c:pt>
                <c:pt idx="591">
                  <c:v>0.14117647058823499</c:v>
                </c:pt>
                <c:pt idx="592">
                  <c:v>0.14142194744976799</c:v>
                </c:pt>
                <c:pt idx="593">
                  <c:v>0.14149821640903701</c:v>
                </c:pt>
                <c:pt idx="594">
                  <c:v>0.141552511415525</c:v>
                </c:pt>
                <c:pt idx="595">
                  <c:v>0.14162561576354701</c:v>
                </c:pt>
                <c:pt idx="596">
                  <c:v>0.14163090128755401</c:v>
                </c:pt>
                <c:pt idx="597">
                  <c:v>0.14173228346456701</c:v>
                </c:pt>
                <c:pt idx="598">
                  <c:v>0.141809290953545</c:v>
                </c:pt>
                <c:pt idx="599">
                  <c:v>0.141809290953545</c:v>
                </c:pt>
                <c:pt idx="600">
                  <c:v>0.14191419141914199</c:v>
                </c:pt>
                <c:pt idx="601">
                  <c:v>0.14210526315789501</c:v>
                </c:pt>
                <c:pt idx="602">
                  <c:v>0.14218009478672999</c:v>
                </c:pt>
                <c:pt idx="603">
                  <c:v>0.142292490118577</c:v>
                </c:pt>
                <c:pt idx="604">
                  <c:v>0.14230019493177401</c:v>
                </c:pt>
                <c:pt idx="605">
                  <c:v>0.14244604316546799</c:v>
                </c:pt>
                <c:pt idx="606">
                  <c:v>0.142493638676845</c:v>
                </c:pt>
                <c:pt idx="607">
                  <c:v>0.14255319148936199</c:v>
                </c:pt>
                <c:pt idx="608">
                  <c:v>0.142604596346494</c:v>
                </c:pt>
                <c:pt idx="609">
                  <c:v>0.14263803680981599</c:v>
                </c:pt>
                <c:pt idx="610">
                  <c:v>0.14285714285714299</c:v>
                </c:pt>
                <c:pt idx="611">
                  <c:v>0.14285714285714299</c:v>
                </c:pt>
                <c:pt idx="612">
                  <c:v>0.14285714285714299</c:v>
                </c:pt>
                <c:pt idx="613">
                  <c:v>0.14312617702448199</c:v>
                </c:pt>
                <c:pt idx="614">
                  <c:v>0.14318181818181799</c:v>
                </c:pt>
                <c:pt idx="615">
                  <c:v>0.14319526627218901</c:v>
                </c:pt>
                <c:pt idx="616">
                  <c:v>0.143250688705234</c:v>
                </c:pt>
                <c:pt idx="617">
                  <c:v>0.14325842696629201</c:v>
                </c:pt>
                <c:pt idx="618">
                  <c:v>0.14362657091561901</c:v>
                </c:pt>
                <c:pt idx="619">
                  <c:v>0.14372163388804801</c:v>
                </c:pt>
                <c:pt idx="620">
                  <c:v>0.143814747105424</c:v>
                </c:pt>
                <c:pt idx="621">
                  <c:v>0.14385964912280699</c:v>
                </c:pt>
                <c:pt idx="622">
                  <c:v>0.14393939393939401</c:v>
                </c:pt>
                <c:pt idx="623">
                  <c:v>0.144082332761578</c:v>
                </c:pt>
                <c:pt idx="624">
                  <c:v>0.144508670520231</c:v>
                </c:pt>
                <c:pt idx="625">
                  <c:v>0.144607843137255</c:v>
                </c:pt>
                <c:pt idx="626">
                  <c:v>0.144736842105263</c:v>
                </c:pt>
                <c:pt idx="627">
                  <c:v>0.144736842105263</c:v>
                </c:pt>
                <c:pt idx="628">
                  <c:v>0.144796380090498</c:v>
                </c:pt>
                <c:pt idx="629">
                  <c:v>0.14482758620689701</c:v>
                </c:pt>
                <c:pt idx="630">
                  <c:v>0.14499252615844499</c:v>
                </c:pt>
                <c:pt idx="631">
                  <c:v>0.14516129032258099</c:v>
                </c:pt>
                <c:pt idx="632">
                  <c:v>0.14516129032258099</c:v>
                </c:pt>
                <c:pt idx="633">
                  <c:v>0.14516129032258099</c:v>
                </c:pt>
                <c:pt idx="634">
                  <c:v>0.14519774011299399</c:v>
                </c:pt>
                <c:pt idx="635">
                  <c:v>0.14525139664804501</c:v>
                </c:pt>
                <c:pt idx="636">
                  <c:v>0.14532019704433499</c:v>
                </c:pt>
                <c:pt idx="637">
                  <c:v>0.145390070921986</c:v>
                </c:pt>
                <c:pt idx="638">
                  <c:v>0.14542483660130701</c:v>
                </c:pt>
                <c:pt idx="639">
                  <c:v>0.145454545454545</c:v>
                </c:pt>
                <c:pt idx="640">
                  <c:v>0.14560352978253999</c:v>
                </c:pt>
                <c:pt idx="641">
                  <c:v>0.14580031695721099</c:v>
                </c:pt>
                <c:pt idx="642">
                  <c:v>0.14583333333333301</c:v>
                </c:pt>
                <c:pt idx="643">
                  <c:v>0.14583333333333301</c:v>
                </c:pt>
                <c:pt idx="644">
                  <c:v>0.14602587800369701</c:v>
                </c:pt>
                <c:pt idx="645">
                  <c:v>0.14606741573033699</c:v>
                </c:pt>
                <c:pt idx="646">
                  <c:v>0.146082337317397</c:v>
                </c:pt>
                <c:pt idx="647">
                  <c:v>0.146164021164021</c:v>
                </c:pt>
                <c:pt idx="648">
                  <c:v>0.14622641509434001</c:v>
                </c:pt>
                <c:pt idx="649">
                  <c:v>0.146341463414634</c:v>
                </c:pt>
                <c:pt idx="650">
                  <c:v>0.146341463414634</c:v>
                </c:pt>
                <c:pt idx="651">
                  <c:v>0.14640522875817</c:v>
                </c:pt>
                <c:pt idx="652">
                  <c:v>0.146634615384615</c:v>
                </c:pt>
                <c:pt idx="653">
                  <c:v>0.14673913043478301</c:v>
                </c:pt>
                <c:pt idx="654">
                  <c:v>0.146926536731634</c:v>
                </c:pt>
                <c:pt idx="655">
                  <c:v>0.146942017474186</c:v>
                </c:pt>
                <c:pt idx="656">
                  <c:v>0.146969696969697</c:v>
                </c:pt>
                <c:pt idx="657">
                  <c:v>0.14701130856219699</c:v>
                </c:pt>
                <c:pt idx="658">
                  <c:v>0.14705882352941199</c:v>
                </c:pt>
                <c:pt idx="659">
                  <c:v>0.14705882352941199</c:v>
                </c:pt>
                <c:pt idx="660">
                  <c:v>0.14705882352941199</c:v>
                </c:pt>
                <c:pt idx="661">
                  <c:v>0.14705882352941199</c:v>
                </c:pt>
                <c:pt idx="662">
                  <c:v>0.14736842105263201</c:v>
                </c:pt>
                <c:pt idx="663">
                  <c:v>0.14736842105263201</c:v>
                </c:pt>
                <c:pt idx="664">
                  <c:v>0.147410358565737</c:v>
                </c:pt>
                <c:pt idx="665">
                  <c:v>0.147435897435897</c:v>
                </c:pt>
                <c:pt idx="666">
                  <c:v>0.14772727272727301</c:v>
                </c:pt>
                <c:pt idx="667">
                  <c:v>0.14772727272727301</c:v>
                </c:pt>
                <c:pt idx="668">
                  <c:v>0.14772727272727301</c:v>
                </c:pt>
                <c:pt idx="669">
                  <c:v>0.147826086956522</c:v>
                </c:pt>
                <c:pt idx="670">
                  <c:v>0.14786967418546401</c:v>
                </c:pt>
                <c:pt idx="671">
                  <c:v>0.147964796479648</c:v>
                </c:pt>
                <c:pt idx="672">
                  <c:v>0.14798206278026901</c:v>
                </c:pt>
                <c:pt idx="673">
                  <c:v>0.14803625377643501</c:v>
                </c:pt>
                <c:pt idx="674">
                  <c:v>0.14803625377643501</c:v>
                </c:pt>
                <c:pt idx="675">
                  <c:v>0.148148148148148</c:v>
                </c:pt>
                <c:pt idx="676">
                  <c:v>0.148148148148148</c:v>
                </c:pt>
                <c:pt idx="677">
                  <c:v>0.148199445983379</c:v>
                </c:pt>
                <c:pt idx="678">
                  <c:v>0.148392415498763</c:v>
                </c:pt>
                <c:pt idx="679">
                  <c:v>0.148562300319489</c:v>
                </c:pt>
                <c:pt idx="680">
                  <c:v>0.14861460957178799</c:v>
                </c:pt>
                <c:pt idx="681">
                  <c:v>0.14871794871794899</c:v>
                </c:pt>
                <c:pt idx="682">
                  <c:v>0.148727984344423</c:v>
                </c:pt>
                <c:pt idx="683">
                  <c:v>0.14876033057851201</c:v>
                </c:pt>
                <c:pt idx="684">
                  <c:v>0.148864592094197</c:v>
                </c:pt>
                <c:pt idx="685">
                  <c:v>0.14893617021276601</c:v>
                </c:pt>
                <c:pt idx="686">
                  <c:v>0.14893617021276601</c:v>
                </c:pt>
                <c:pt idx="687">
                  <c:v>0.14898177920686001</c:v>
                </c:pt>
                <c:pt idx="688">
                  <c:v>0.14905660377358501</c:v>
                </c:pt>
                <c:pt idx="689">
                  <c:v>0.14911903738719401</c:v>
                </c:pt>
                <c:pt idx="690">
                  <c:v>0.14920634920634901</c:v>
                </c:pt>
                <c:pt idx="691">
                  <c:v>0.14935064935064901</c:v>
                </c:pt>
                <c:pt idx="692">
                  <c:v>0.14953271028037399</c:v>
                </c:pt>
                <c:pt idx="693">
                  <c:v>0.14960629921259799</c:v>
                </c:pt>
                <c:pt idx="694">
                  <c:v>0.14965986394557801</c:v>
                </c:pt>
                <c:pt idx="695">
                  <c:v>0.14976133651551299</c:v>
                </c:pt>
                <c:pt idx="696">
                  <c:v>0.149922720247295</c:v>
                </c:pt>
                <c:pt idx="697">
                  <c:v>0.15</c:v>
                </c:pt>
                <c:pt idx="698">
                  <c:v>0.15</c:v>
                </c:pt>
                <c:pt idx="699">
                  <c:v>0.15</c:v>
                </c:pt>
                <c:pt idx="700">
                  <c:v>0.15</c:v>
                </c:pt>
                <c:pt idx="701">
                  <c:v>0.150068212824011</c:v>
                </c:pt>
                <c:pt idx="702">
                  <c:v>0.15006947660954101</c:v>
                </c:pt>
                <c:pt idx="703">
                  <c:v>0.15009041591320099</c:v>
                </c:pt>
                <c:pt idx="704">
                  <c:v>0.150105708245243</c:v>
                </c:pt>
                <c:pt idx="705">
                  <c:v>0.15045871559633001</c:v>
                </c:pt>
                <c:pt idx="706">
                  <c:v>0.15053763440860199</c:v>
                </c:pt>
                <c:pt idx="707">
                  <c:v>0.150684931506849</c:v>
                </c:pt>
                <c:pt idx="708">
                  <c:v>0.150746268656716</c:v>
                </c:pt>
                <c:pt idx="709">
                  <c:v>0.15094339622641501</c:v>
                </c:pt>
                <c:pt idx="710">
                  <c:v>0.1509705248023</c:v>
                </c:pt>
                <c:pt idx="711">
                  <c:v>0.15112540192925999</c:v>
                </c:pt>
                <c:pt idx="712">
                  <c:v>0.15116279069767399</c:v>
                </c:pt>
                <c:pt idx="713">
                  <c:v>0.15116279069767399</c:v>
                </c:pt>
                <c:pt idx="714">
                  <c:v>0.151260504201681</c:v>
                </c:pt>
                <c:pt idx="715">
                  <c:v>0.15127388535031799</c:v>
                </c:pt>
                <c:pt idx="716">
                  <c:v>0.15131578947368399</c:v>
                </c:pt>
                <c:pt idx="717">
                  <c:v>0.151394422310757</c:v>
                </c:pt>
                <c:pt idx="718">
                  <c:v>0.151428571428571</c:v>
                </c:pt>
                <c:pt idx="719">
                  <c:v>0.151658767772512</c:v>
                </c:pt>
                <c:pt idx="720">
                  <c:v>0.151685393258427</c:v>
                </c:pt>
                <c:pt idx="721">
                  <c:v>0.15172413793103401</c:v>
                </c:pt>
                <c:pt idx="722">
                  <c:v>0.15172413793103401</c:v>
                </c:pt>
                <c:pt idx="723">
                  <c:v>0.15204678362573101</c:v>
                </c:pt>
                <c:pt idx="724">
                  <c:v>0.15217391304347799</c:v>
                </c:pt>
                <c:pt idx="725">
                  <c:v>0.15217391304347799</c:v>
                </c:pt>
                <c:pt idx="726">
                  <c:v>0.15231400117164601</c:v>
                </c:pt>
                <c:pt idx="727">
                  <c:v>0.15231788079470199</c:v>
                </c:pt>
                <c:pt idx="728">
                  <c:v>0.15238095238095201</c:v>
                </c:pt>
                <c:pt idx="729">
                  <c:v>0.152592592592593</c:v>
                </c:pt>
                <c:pt idx="730">
                  <c:v>0.15263157894736801</c:v>
                </c:pt>
                <c:pt idx="731">
                  <c:v>0.15267175572519101</c:v>
                </c:pt>
                <c:pt idx="732">
                  <c:v>0.15268817204301099</c:v>
                </c:pt>
                <c:pt idx="733">
                  <c:v>0.152709359605911</c:v>
                </c:pt>
                <c:pt idx="734">
                  <c:v>0.15272727272727299</c:v>
                </c:pt>
                <c:pt idx="735">
                  <c:v>0.15282012195121999</c:v>
                </c:pt>
                <c:pt idx="736">
                  <c:v>0.152902698282911</c:v>
                </c:pt>
                <c:pt idx="737">
                  <c:v>0.15296495956873299</c:v>
                </c:pt>
                <c:pt idx="738">
                  <c:v>0.15301724137931</c:v>
                </c:pt>
                <c:pt idx="739">
                  <c:v>0.153284671532847</c:v>
                </c:pt>
                <c:pt idx="740">
                  <c:v>0.153563218390805</c:v>
                </c:pt>
                <c:pt idx="741">
                  <c:v>0.15364238410596001</c:v>
                </c:pt>
                <c:pt idx="742">
                  <c:v>0.153795811518325</c:v>
                </c:pt>
                <c:pt idx="743">
                  <c:v>0.15384615384615399</c:v>
                </c:pt>
                <c:pt idx="744">
                  <c:v>0.15384615384615399</c:v>
                </c:pt>
                <c:pt idx="745">
                  <c:v>0.15384615384615399</c:v>
                </c:pt>
                <c:pt idx="746">
                  <c:v>0.15384615384615399</c:v>
                </c:pt>
                <c:pt idx="747">
                  <c:v>0.15417457305502799</c:v>
                </c:pt>
                <c:pt idx="748">
                  <c:v>0.15421303656597801</c:v>
                </c:pt>
                <c:pt idx="749">
                  <c:v>0.15424164524421599</c:v>
                </c:pt>
                <c:pt idx="750">
                  <c:v>0.154285714285714</c:v>
                </c:pt>
                <c:pt idx="751">
                  <c:v>0.15433403805496801</c:v>
                </c:pt>
                <c:pt idx="752">
                  <c:v>0.15436241610738299</c:v>
                </c:pt>
                <c:pt idx="753">
                  <c:v>0.154407294832827</c:v>
                </c:pt>
                <c:pt idx="754">
                  <c:v>0.154471544715447</c:v>
                </c:pt>
                <c:pt idx="755">
                  <c:v>0.15471698113207499</c:v>
                </c:pt>
                <c:pt idx="756">
                  <c:v>0.15472779369627501</c:v>
                </c:pt>
                <c:pt idx="757">
                  <c:v>0.154929577464789</c:v>
                </c:pt>
                <c:pt idx="758">
                  <c:v>0.15494296577946801</c:v>
                </c:pt>
                <c:pt idx="759">
                  <c:v>0.15503875968992201</c:v>
                </c:pt>
                <c:pt idx="760">
                  <c:v>0.15503875968992201</c:v>
                </c:pt>
                <c:pt idx="761">
                  <c:v>0.15507411630558701</c:v>
                </c:pt>
                <c:pt idx="762">
                  <c:v>0.15512820512820499</c:v>
                </c:pt>
                <c:pt idx="763">
                  <c:v>0.155196304849885</c:v>
                </c:pt>
                <c:pt idx="764">
                  <c:v>0.15521628498727699</c:v>
                </c:pt>
                <c:pt idx="765">
                  <c:v>0.15527950310558999</c:v>
                </c:pt>
                <c:pt idx="766">
                  <c:v>0.155292479108635</c:v>
                </c:pt>
                <c:pt idx="767">
                  <c:v>0.15531335149863801</c:v>
                </c:pt>
                <c:pt idx="768">
                  <c:v>0.155425219941349</c:v>
                </c:pt>
                <c:pt idx="769">
                  <c:v>0.155555555555556</c:v>
                </c:pt>
                <c:pt idx="770">
                  <c:v>0.155555555555556</c:v>
                </c:pt>
                <c:pt idx="771">
                  <c:v>0.15584415584415601</c:v>
                </c:pt>
                <c:pt idx="772">
                  <c:v>0.15584415584415601</c:v>
                </c:pt>
                <c:pt idx="773">
                  <c:v>0.155864197530864</c:v>
                </c:pt>
                <c:pt idx="774">
                  <c:v>0.15592203898050999</c:v>
                </c:pt>
                <c:pt idx="775">
                  <c:v>0.15601023017902799</c:v>
                </c:pt>
                <c:pt idx="776">
                  <c:v>0.156046814044213</c:v>
                </c:pt>
                <c:pt idx="777">
                  <c:v>0.15625</c:v>
                </c:pt>
                <c:pt idx="778">
                  <c:v>0.15625</c:v>
                </c:pt>
                <c:pt idx="779">
                  <c:v>0.15625</c:v>
                </c:pt>
                <c:pt idx="780">
                  <c:v>0.156351791530945</c:v>
                </c:pt>
                <c:pt idx="781">
                  <c:v>0.15636363636363601</c:v>
                </c:pt>
                <c:pt idx="782">
                  <c:v>0.156448202959831</c:v>
                </c:pt>
                <c:pt idx="783">
                  <c:v>0.156462585034014</c:v>
                </c:pt>
                <c:pt idx="784">
                  <c:v>0.15656565656565699</c:v>
                </c:pt>
                <c:pt idx="785">
                  <c:v>0.15658747300216</c:v>
                </c:pt>
                <c:pt idx="786">
                  <c:v>0.15660377358490599</c:v>
                </c:pt>
                <c:pt idx="787">
                  <c:v>0.156706507304117</c:v>
                </c:pt>
                <c:pt idx="788">
                  <c:v>0.15675675675675699</c:v>
                </c:pt>
                <c:pt idx="789">
                  <c:v>0.15675675675675699</c:v>
                </c:pt>
                <c:pt idx="790">
                  <c:v>0.15684882895670699</c:v>
                </c:pt>
                <c:pt idx="791">
                  <c:v>0.15686274509803899</c:v>
                </c:pt>
                <c:pt idx="792">
                  <c:v>0.15695067264574</c:v>
                </c:pt>
                <c:pt idx="793">
                  <c:v>0.15702891326021901</c:v>
                </c:pt>
                <c:pt idx="794">
                  <c:v>0.157079646017699</c:v>
                </c:pt>
                <c:pt idx="795">
                  <c:v>0.15709969788519601</c:v>
                </c:pt>
                <c:pt idx="796">
                  <c:v>0.157142857142857</c:v>
                </c:pt>
                <c:pt idx="797">
                  <c:v>0.157156220767072</c:v>
                </c:pt>
                <c:pt idx="798">
                  <c:v>0.157200811359026</c:v>
                </c:pt>
                <c:pt idx="799">
                  <c:v>0.15726495726495701</c:v>
                </c:pt>
                <c:pt idx="800">
                  <c:v>0.15727002967358999</c:v>
                </c:pt>
                <c:pt idx="801">
                  <c:v>0.15729047072330701</c:v>
                </c:pt>
                <c:pt idx="802">
                  <c:v>0.15730337078651699</c:v>
                </c:pt>
                <c:pt idx="803">
                  <c:v>0.157446808510638</c:v>
                </c:pt>
                <c:pt idx="804">
                  <c:v>0.15746971736204601</c:v>
                </c:pt>
                <c:pt idx="805">
                  <c:v>0.15748031496063</c:v>
                </c:pt>
                <c:pt idx="806">
                  <c:v>0.15752461322081601</c:v>
                </c:pt>
                <c:pt idx="807">
                  <c:v>0.157563025210084</c:v>
                </c:pt>
                <c:pt idx="808">
                  <c:v>0.157563025210084</c:v>
                </c:pt>
                <c:pt idx="809">
                  <c:v>0.15765765765765799</c:v>
                </c:pt>
                <c:pt idx="810">
                  <c:v>0.15766164747564201</c:v>
                </c:pt>
                <c:pt idx="811">
                  <c:v>0.15776699029126201</c:v>
                </c:pt>
                <c:pt idx="812">
                  <c:v>0.157894736842105</c:v>
                </c:pt>
                <c:pt idx="813">
                  <c:v>0.157894736842105</c:v>
                </c:pt>
                <c:pt idx="814">
                  <c:v>0.157971014492754</c:v>
                </c:pt>
                <c:pt idx="815">
                  <c:v>0.158031088082902</c:v>
                </c:pt>
                <c:pt idx="816">
                  <c:v>0.15809523809523801</c:v>
                </c:pt>
                <c:pt idx="817">
                  <c:v>0.158102766798419</c:v>
                </c:pt>
                <c:pt idx="818">
                  <c:v>0.15817694369973201</c:v>
                </c:pt>
                <c:pt idx="819">
                  <c:v>0.158282208588957</c:v>
                </c:pt>
                <c:pt idx="820">
                  <c:v>0.15831134564643801</c:v>
                </c:pt>
                <c:pt idx="821">
                  <c:v>0.15833333333333299</c:v>
                </c:pt>
                <c:pt idx="822">
                  <c:v>0.15846994535519099</c:v>
                </c:pt>
                <c:pt idx="823">
                  <c:v>0.15850903614457801</c:v>
                </c:pt>
                <c:pt idx="824">
                  <c:v>0.15853658536585399</c:v>
                </c:pt>
                <c:pt idx="825">
                  <c:v>0.15856236786469299</c:v>
                </c:pt>
                <c:pt idx="826">
                  <c:v>0.15859564164648901</c:v>
                </c:pt>
                <c:pt idx="827">
                  <c:v>0.15866388308977</c:v>
                </c:pt>
                <c:pt idx="828">
                  <c:v>0.15870570107858201</c:v>
                </c:pt>
                <c:pt idx="829">
                  <c:v>0.158730158730159</c:v>
                </c:pt>
                <c:pt idx="830">
                  <c:v>0.158774373259053</c:v>
                </c:pt>
                <c:pt idx="831">
                  <c:v>0.15909090909090901</c:v>
                </c:pt>
                <c:pt idx="832">
                  <c:v>0.15910780669145</c:v>
                </c:pt>
                <c:pt idx="833">
                  <c:v>0.15912208504801101</c:v>
                </c:pt>
                <c:pt idx="834">
                  <c:v>0.159153005464481</c:v>
                </c:pt>
                <c:pt idx="835">
                  <c:v>0.15917602996254701</c:v>
                </c:pt>
                <c:pt idx="836">
                  <c:v>0.159199237368923</c:v>
                </c:pt>
                <c:pt idx="837">
                  <c:v>0.15923566878980899</c:v>
                </c:pt>
                <c:pt idx="838">
                  <c:v>0.159340659340659</c:v>
                </c:pt>
                <c:pt idx="839">
                  <c:v>0.15936952714535901</c:v>
                </c:pt>
                <c:pt idx="840">
                  <c:v>0.15938303341902299</c:v>
                </c:pt>
                <c:pt idx="841">
                  <c:v>0.15956284153005501</c:v>
                </c:pt>
                <c:pt idx="842">
                  <c:v>0.159574468085106</c:v>
                </c:pt>
                <c:pt idx="843">
                  <c:v>0.159574468085106</c:v>
                </c:pt>
                <c:pt idx="844">
                  <c:v>0.159574468085106</c:v>
                </c:pt>
                <c:pt idx="845">
                  <c:v>0.159592529711375</c:v>
                </c:pt>
                <c:pt idx="846">
                  <c:v>0.159613059250302</c:v>
                </c:pt>
                <c:pt idx="847">
                  <c:v>0.159903089036947</c:v>
                </c:pt>
                <c:pt idx="848">
                  <c:v>0.15993788819875801</c:v>
                </c:pt>
                <c:pt idx="849">
                  <c:v>0.16</c:v>
                </c:pt>
                <c:pt idx="850">
                  <c:v>0.16022099447513799</c:v>
                </c:pt>
                <c:pt idx="851">
                  <c:v>0.16022099447513799</c:v>
                </c:pt>
                <c:pt idx="852">
                  <c:v>0.16034082106893899</c:v>
                </c:pt>
                <c:pt idx="853">
                  <c:v>0.160377358490566</c:v>
                </c:pt>
                <c:pt idx="854">
                  <c:v>0.160377358490566</c:v>
                </c:pt>
                <c:pt idx="855">
                  <c:v>0.16040955631399301</c:v>
                </c:pt>
                <c:pt idx="856">
                  <c:v>0.16049382716049401</c:v>
                </c:pt>
                <c:pt idx="857">
                  <c:v>0.16057233704292501</c:v>
                </c:pt>
                <c:pt idx="858">
                  <c:v>0.16064981949458501</c:v>
                </c:pt>
                <c:pt idx="859">
                  <c:v>0.16066066066066101</c:v>
                </c:pt>
                <c:pt idx="860">
                  <c:v>0.16079812206572799</c:v>
                </c:pt>
                <c:pt idx="861">
                  <c:v>0.160818713450292</c:v>
                </c:pt>
                <c:pt idx="862">
                  <c:v>0.16088328075709801</c:v>
                </c:pt>
                <c:pt idx="863">
                  <c:v>0.160919540229885</c:v>
                </c:pt>
                <c:pt idx="864">
                  <c:v>0.16099071207430299</c:v>
                </c:pt>
                <c:pt idx="865">
                  <c:v>0.16118421052631601</c:v>
                </c:pt>
                <c:pt idx="866">
                  <c:v>0.16129032258064499</c:v>
                </c:pt>
                <c:pt idx="867">
                  <c:v>0.16153846153846199</c:v>
                </c:pt>
                <c:pt idx="868">
                  <c:v>0.16157205240174699</c:v>
                </c:pt>
                <c:pt idx="869">
                  <c:v>0.16161616161616199</c:v>
                </c:pt>
                <c:pt idx="870">
                  <c:v>0.16165413533834599</c:v>
                </c:pt>
                <c:pt idx="871">
                  <c:v>0.16165413533834599</c:v>
                </c:pt>
                <c:pt idx="872">
                  <c:v>0.16181229773462799</c:v>
                </c:pt>
                <c:pt idx="873">
                  <c:v>0.16184971098265899</c:v>
                </c:pt>
                <c:pt idx="874">
                  <c:v>0.16186485070717699</c:v>
                </c:pt>
                <c:pt idx="875">
                  <c:v>0.161993769470405</c:v>
                </c:pt>
                <c:pt idx="876">
                  <c:v>0.162109375</c:v>
                </c:pt>
                <c:pt idx="877">
                  <c:v>0.162162162162162</c:v>
                </c:pt>
                <c:pt idx="878">
                  <c:v>0.162162162162162</c:v>
                </c:pt>
                <c:pt idx="879">
                  <c:v>0.16222760290556901</c:v>
                </c:pt>
                <c:pt idx="880">
                  <c:v>0.16234887737478401</c:v>
                </c:pt>
                <c:pt idx="881">
                  <c:v>0.162454873646209</c:v>
                </c:pt>
                <c:pt idx="882">
                  <c:v>0.16250000000000001</c:v>
                </c:pt>
                <c:pt idx="883">
                  <c:v>0.16254416961130699</c:v>
                </c:pt>
                <c:pt idx="884">
                  <c:v>0.16274864376130199</c:v>
                </c:pt>
                <c:pt idx="885">
                  <c:v>0.162765957446809</c:v>
                </c:pt>
                <c:pt idx="886">
                  <c:v>0.162790697674419</c:v>
                </c:pt>
                <c:pt idx="887">
                  <c:v>0.162790697674419</c:v>
                </c:pt>
                <c:pt idx="888">
                  <c:v>0.16284403669724801</c:v>
                </c:pt>
                <c:pt idx="889">
                  <c:v>0.162921348314607</c:v>
                </c:pt>
                <c:pt idx="890">
                  <c:v>0.16302186878727601</c:v>
                </c:pt>
                <c:pt idx="891">
                  <c:v>0.163064833005894</c:v>
                </c:pt>
                <c:pt idx="892">
                  <c:v>0.163065843621399</c:v>
                </c:pt>
                <c:pt idx="893">
                  <c:v>0.16316639741518599</c:v>
                </c:pt>
                <c:pt idx="894">
                  <c:v>0.163179916317992</c:v>
                </c:pt>
                <c:pt idx="895">
                  <c:v>0.16318785578747599</c:v>
                </c:pt>
                <c:pt idx="896">
                  <c:v>0.16321839080459799</c:v>
                </c:pt>
                <c:pt idx="897">
                  <c:v>0.16335740072202201</c:v>
                </c:pt>
                <c:pt idx="898">
                  <c:v>0.163385826771654</c:v>
                </c:pt>
                <c:pt idx="899">
                  <c:v>0.16339869281045799</c:v>
                </c:pt>
                <c:pt idx="900">
                  <c:v>0.16352201257861601</c:v>
                </c:pt>
                <c:pt idx="901">
                  <c:v>0.163586315375541</c:v>
                </c:pt>
                <c:pt idx="902">
                  <c:v>0.163636363636364</c:v>
                </c:pt>
                <c:pt idx="903">
                  <c:v>0.163636363636364</c:v>
                </c:pt>
                <c:pt idx="904">
                  <c:v>0.163636363636364</c:v>
                </c:pt>
                <c:pt idx="905">
                  <c:v>0.163636363636364</c:v>
                </c:pt>
                <c:pt idx="906">
                  <c:v>0.163661581137309</c:v>
                </c:pt>
                <c:pt idx="907">
                  <c:v>0.16374269005847999</c:v>
                </c:pt>
                <c:pt idx="908">
                  <c:v>0.163787587971849</c:v>
                </c:pt>
                <c:pt idx="909">
                  <c:v>0.16396396396396401</c:v>
                </c:pt>
                <c:pt idx="910">
                  <c:v>0.16415410385259599</c:v>
                </c:pt>
                <c:pt idx="911">
                  <c:v>0.16427104722792599</c:v>
                </c:pt>
                <c:pt idx="912">
                  <c:v>0.16431924882629101</c:v>
                </c:pt>
                <c:pt idx="913">
                  <c:v>0.164351851851852</c:v>
                </c:pt>
                <c:pt idx="914">
                  <c:v>0.164383561643836</c:v>
                </c:pt>
                <c:pt idx="915">
                  <c:v>0.164556962025316</c:v>
                </c:pt>
                <c:pt idx="916">
                  <c:v>0.16463414634146301</c:v>
                </c:pt>
                <c:pt idx="917">
                  <c:v>0.16469194312796201</c:v>
                </c:pt>
                <c:pt idx="918">
                  <c:v>0.16470588235294101</c:v>
                </c:pt>
                <c:pt idx="919">
                  <c:v>0.164739884393064</c:v>
                </c:pt>
                <c:pt idx="920">
                  <c:v>0.16475095785440599</c:v>
                </c:pt>
                <c:pt idx="921">
                  <c:v>0.16477857878475799</c:v>
                </c:pt>
                <c:pt idx="922">
                  <c:v>0.16478873239436601</c:v>
                </c:pt>
                <c:pt idx="923">
                  <c:v>0.16486902927580899</c:v>
                </c:pt>
                <c:pt idx="924">
                  <c:v>0.164902506963788</c:v>
                </c:pt>
                <c:pt idx="925">
                  <c:v>0.164926931106472</c:v>
                </c:pt>
                <c:pt idx="926">
                  <c:v>0.165075800112296</c:v>
                </c:pt>
                <c:pt idx="927">
                  <c:v>0.165103189493433</c:v>
                </c:pt>
                <c:pt idx="928">
                  <c:v>0.16513761467889901</c:v>
                </c:pt>
                <c:pt idx="929">
                  <c:v>0.16515151515151499</c:v>
                </c:pt>
                <c:pt idx="930">
                  <c:v>0.16525423728813601</c:v>
                </c:pt>
                <c:pt idx="931">
                  <c:v>0.16544655929721799</c:v>
                </c:pt>
                <c:pt idx="932">
                  <c:v>0.165510864539991</c:v>
                </c:pt>
                <c:pt idx="933">
                  <c:v>0.16557591623036599</c:v>
                </c:pt>
                <c:pt idx="934">
                  <c:v>0.16560509554140099</c:v>
                </c:pt>
                <c:pt idx="935">
                  <c:v>0.16573348264277701</c:v>
                </c:pt>
                <c:pt idx="936">
                  <c:v>0.16580310880829</c:v>
                </c:pt>
                <c:pt idx="937">
                  <c:v>0.16582914572864299</c:v>
                </c:pt>
                <c:pt idx="938">
                  <c:v>0.16620111731843601</c:v>
                </c:pt>
                <c:pt idx="939">
                  <c:v>0.16630196936542699</c:v>
                </c:pt>
                <c:pt idx="940">
                  <c:v>0.166358595194085</c:v>
                </c:pt>
                <c:pt idx="941">
                  <c:v>0.16636363636363599</c:v>
                </c:pt>
                <c:pt idx="942">
                  <c:v>0.16637323943662</c:v>
                </c:pt>
                <c:pt idx="943">
                  <c:v>0.16640746500777601</c:v>
                </c:pt>
                <c:pt idx="944">
                  <c:v>0.16643929058663001</c:v>
                </c:pt>
                <c:pt idx="945">
                  <c:v>0.16644993498049401</c:v>
                </c:pt>
                <c:pt idx="946">
                  <c:v>0.16666666666666699</c:v>
                </c:pt>
                <c:pt idx="947">
                  <c:v>0.16666666666666699</c:v>
                </c:pt>
                <c:pt idx="948">
                  <c:v>0.16666666666666699</c:v>
                </c:pt>
                <c:pt idx="949">
                  <c:v>0.16666666666666699</c:v>
                </c:pt>
                <c:pt idx="950">
                  <c:v>0.16666666666666699</c:v>
                </c:pt>
                <c:pt idx="951">
                  <c:v>0.16666666666666699</c:v>
                </c:pt>
                <c:pt idx="952">
                  <c:v>0.16666666666666699</c:v>
                </c:pt>
                <c:pt idx="953">
                  <c:v>0.16666666666666699</c:v>
                </c:pt>
                <c:pt idx="954">
                  <c:v>0.16666666666666699</c:v>
                </c:pt>
                <c:pt idx="955">
                  <c:v>0.16666666666666699</c:v>
                </c:pt>
                <c:pt idx="956">
                  <c:v>0.16666666666666699</c:v>
                </c:pt>
                <c:pt idx="957">
                  <c:v>0.166755177907594</c:v>
                </c:pt>
                <c:pt idx="958">
                  <c:v>0.166781056966369</c:v>
                </c:pt>
                <c:pt idx="959">
                  <c:v>0.16701902748414399</c:v>
                </c:pt>
                <c:pt idx="960">
                  <c:v>0.167173252279635</c:v>
                </c:pt>
                <c:pt idx="961">
                  <c:v>0.16720257234726699</c:v>
                </c:pt>
                <c:pt idx="962">
                  <c:v>0.16721581548599701</c:v>
                </c:pt>
                <c:pt idx="963">
                  <c:v>0.167400881057269</c:v>
                </c:pt>
                <c:pt idx="964">
                  <c:v>0.16742375081116201</c:v>
                </c:pt>
                <c:pt idx="965">
                  <c:v>0.16747572815534001</c:v>
                </c:pt>
                <c:pt idx="966">
                  <c:v>0.16761363636363599</c:v>
                </c:pt>
                <c:pt idx="967">
                  <c:v>0.16764705882352901</c:v>
                </c:pt>
                <c:pt idx="968">
                  <c:v>0.167657550535077</c:v>
                </c:pt>
                <c:pt idx="969">
                  <c:v>0.167682926829268</c:v>
                </c:pt>
                <c:pt idx="970">
                  <c:v>0.167701863354037</c:v>
                </c:pt>
                <c:pt idx="971">
                  <c:v>0.16774193548387101</c:v>
                </c:pt>
                <c:pt idx="972">
                  <c:v>0.16783216783216801</c:v>
                </c:pt>
                <c:pt idx="973">
                  <c:v>0.16783216783216801</c:v>
                </c:pt>
                <c:pt idx="974">
                  <c:v>0.16790123456790099</c:v>
                </c:pt>
                <c:pt idx="975">
                  <c:v>0.16790123456790099</c:v>
                </c:pt>
                <c:pt idx="976">
                  <c:v>0.167919799498747</c:v>
                </c:pt>
                <c:pt idx="977">
                  <c:v>0.16796267496112</c:v>
                </c:pt>
                <c:pt idx="978">
                  <c:v>0.16806722689075601</c:v>
                </c:pt>
                <c:pt idx="979">
                  <c:v>0.168079096045198</c:v>
                </c:pt>
                <c:pt idx="980">
                  <c:v>0.16808149405772499</c:v>
                </c:pt>
                <c:pt idx="981">
                  <c:v>0.16809605488850801</c:v>
                </c:pt>
                <c:pt idx="982">
                  <c:v>0.16814159292035399</c:v>
                </c:pt>
                <c:pt idx="983">
                  <c:v>0.16817359855334499</c:v>
                </c:pt>
                <c:pt idx="984">
                  <c:v>0.16831683168316799</c:v>
                </c:pt>
                <c:pt idx="985">
                  <c:v>0.168421052631579</c:v>
                </c:pt>
                <c:pt idx="986">
                  <c:v>0.16853932584269701</c:v>
                </c:pt>
                <c:pt idx="987">
                  <c:v>0.16867469879518099</c:v>
                </c:pt>
                <c:pt idx="988">
                  <c:v>0.16876122082585299</c:v>
                </c:pt>
                <c:pt idx="989">
                  <c:v>0.16876122082585299</c:v>
                </c:pt>
                <c:pt idx="990">
                  <c:v>0.16877637130801701</c:v>
                </c:pt>
                <c:pt idx="991">
                  <c:v>0.168937329700272</c:v>
                </c:pt>
                <c:pt idx="992">
                  <c:v>0.169014084507042</c:v>
                </c:pt>
                <c:pt idx="993">
                  <c:v>0.16903633491311201</c:v>
                </c:pt>
                <c:pt idx="994">
                  <c:v>0.16913946587537099</c:v>
                </c:pt>
                <c:pt idx="995">
                  <c:v>0.16926713947990499</c:v>
                </c:pt>
                <c:pt idx="996">
                  <c:v>0.16935483870967699</c:v>
                </c:pt>
                <c:pt idx="997">
                  <c:v>0.16937669376693801</c:v>
                </c:pt>
                <c:pt idx="998">
                  <c:v>0.169491525423729</c:v>
                </c:pt>
                <c:pt idx="999">
                  <c:v>0.169556840077071</c:v>
                </c:pt>
                <c:pt idx="1000">
                  <c:v>0.16959798994974901</c:v>
                </c:pt>
                <c:pt idx="1001">
                  <c:v>0.169722614010343</c:v>
                </c:pt>
                <c:pt idx="1002">
                  <c:v>0.17004048582995901</c:v>
                </c:pt>
                <c:pt idx="1003">
                  <c:v>0.17006802721088399</c:v>
                </c:pt>
                <c:pt idx="1004">
                  <c:v>0.170172084130019</c:v>
                </c:pt>
                <c:pt idx="1005">
                  <c:v>0.170212765957447</c:v>
                </c:pt>
                <c:pt idx="1006">
                  <c:v>0.170212765957447</c:v>
                </c:pt>
                <c:pt idx="1007">
                  <c:v>0.170258620689655</c:v>
                </c:pt>
                <c:pt idx="1008">
                  <c:v>0.17027863777089799</c:v>
                </c:pt>
                <c:pt idx="1009">
                  <c:v>0.170289855072464</c:v>
                </c:pt>
                <c:pt idx="1010">
                  <c:v>0.17030567685589501</c:v>
                </c:pt>
                <c:pt idx="1011">
                  <c:v>0.170353982300885</c:v>
                </c:pt>
                <c:pt idx="1012">
                  <c:v>0.17035775127768299</c:v>
                </c:pt>
                <c:pt idx="1013">
                  <c:v>0.17037037037037001</c:v>
                </c:pt>
                <c:pt idx="1014">
                  <c:v>0.170454545454545</c:v>
                </c:pt>
                <c:pt idx="1015">
                  <c:v>0.170454545454545</c:v>
                </c:pt>
                <c:pt idx="1016">
                  <c:v>0.170698924731183</c:v>
                </c:pt>
                <c:pt idx="1017">
                  <c:v>0.17073170731707299</c:v>
                </c:pt>
                <c:pt idx="1018">
                  <c:v>0.17081850533807799</c:v>
                </c:pt>
                <c:pt idx="1019">
                  <c:v>0.17082294264339101</c:v>
                </c:pt>
                <c:pt idx="1020">
                  <c:v>0.170833333333333</c:v>
                </c:pt>
                <c:pt idx="1021">
                  <c:v>0.170844327176781</c:v>
                </c:pt>
                <c:pt idx="1022">
                  <c:v>0.17084639498432599</c:v>
                </c:pt>
                <c:pt idx="1023">
                  <c:v>0.17086092715231799</c:v>
                </c:pt>
                <c:pt idx="1024">
                  <c:v>0.17096018735363</c:v>
                </c:pt>
                <c:pt idx="1025">
                  <c:v>0.17097170971709699</c:v>
                </c:pt>
                <c:pt idx="1026">
                  <c:v>0.17105263157894701</c:v>
                </c:pt>
                <c:pt idx="1027">
                  <c:v>0.17111459968602799</c:v>
                </c:pt>
                <c:pt idx="1028">
                  <c:v>0.17115902964959601</c:v>
                </c:pt>
                <c:pt idx="1029">
                  <c:v>0.171195652173913</c:v>
                </c:pt>
                <c:pt idx="1030">
                  <c:v>0.171211160431198</c:v>
                </c:pt>
                <c:pt idx="1031">
                  <c:v>0.171314741035857</c:v>
                </c:pt>
                <c:pt idx="1032">
                  <c:v>0.17134629229661599</c:v>
                </c:pt>
                <c:pt idx="1033">
                  <c:v>0.17136329017517099</c:v>
                </c:pt>
                <c:pt idx="1034">
                  <c:v>0.17138599105812199</c:v>
                </c:pt>
                <c:pt idx="1035">
                  <c:v>0.17142857142857101</c:v>
                </c:pt>
                <c:pt idx="1036">
                  <c:v>0.17142857142857101</c:v>
                </c:pt>
                <c:pt idx="1037">
                  <c:v>0.171469740634006</c:v>
                </c:pt>
                <c:pt idx="1038">
                  <c:v>0.171597633136095</c:v>
                </c:pt>
                <c:pt idx="1039">
                  <c:v>0.17171717171717199</c:v>
                </c:pt>
                <c:pt idx="1040">
                  <c:v>0.17198275862069001</c:v>
                </c:pt>
                <c:pt idx="1041">
                  <c:v>0.17206477732793499</c:v>
                </c:pt>
                <c:pt idx="1042">
                  <c:v>0.17208413001912001</c:v>
                </c:pt>
                <c:pt idx="1043">
                  <c:v>0.17209302325581399</c:v>
                </c:pt>
                <c:pt idx="1044">
                  <c:v>0.17211328976034901</c:v>
                </c:pt>
                <c:pt idx="1045">
                  <c:v>0.172195303764443</c:v>
                </c:pt>
                <c:pt idx="1046">
                  <c:v>0.17224880382775101</c:v>
                </c:pt>
                <c:pt idx="1047">
                  <c:v>0.17232597623090001</c:v>
                </c:pt>
                <c:pt idx="1048">
                  <c:v>0.17241379310344801</c:v>
                </c:pt>
                <c:pt idx="1049">
                  <c:v>0.17241379310344801</c:v>
                </c:pt>
                <c:pt idx="1050">
                  <c:v>0.17241379310344801</c:v>
                </c:pt>
                <c:pt idx="1051">
                  <c:v>0.17249999999999999</c:v>
                </c:pt>
                <c:pt idx="1052">
                  <c:v>0.172566371681416</c:v>
                </c:pt>
                <c:pt idx="1053">
                  <c:v>0.17264573991031401</c:v>
                </c:pt>
                <c:pt idx="1054">
                  <c:v>0.17272727272727301</c:v>
                </c:pt>
                <c:pt idx="1055">
                  <c:v>0.17272727272727301</c:v>
                </c:pt>
                <c:pt idx="1056">
                  <c:v>0.172732524552282</c:v>
                </c:pt>
                <c:pt idx="1057">
                  <c:v>0.172762645914397</c:v>
                </c:pt>
                <c:pt idx="1058">
                  <c:v>0.17280701754385999</c:v>
                </c:pt>
                <c:pt idx="1059">
                  <c:v>0.17282127031019201</c:v>
                </c:pt>
                <c:pt idx="1060">
                  <c:v>0.17289719626168201</c:v>
                </c:pt>
                <c:pt idx="1061">
                  <c:v>0.17295980511571299</c:v>
                </c:pt>
                <c:pt idx="1062">
                  <c:v>0.17296222664015901</c:v>
                </c:pt>
                <c:pt idx="1063">
                  <c:v>0.17307692307692299</c:v>
                </c:pt>
                <c:pt idx="1064">
                  <c:v>0.17307692307692299</c:v>
                </c:pt>
                <c:pt idx="1065">
                  <c:v>0.17312072892938499</c:v>
                </c:pt>
                <c:pt idx="1066">
                  <c:v>0.17316017316017299</c:v>
                </c:pt>
                <c:pt idx="1067">
                  <c:v>0.17316017316017299</c:v>
                </c:pt>
                <c:pt idx="1068">
                  <c:v>0.17321428571428599</c:v>
                </c:pt>
                <c:pt idx="1069">
                  <c:v>0.17322834645669299</c:v>
                </c:pt>
                <c:pt idx="1070">
                  <c:v>0.173295454545455</c:v>
                </c:pt>
                <c:pt idx="1071">
                  <c:v>0.17339901477832501</c:v>
                </c:pt>
                <c:pt idx="1072">
                  <c:v>0.17357762777242</c:v>
                </c:pt>
                <c:pt idx="1073">
                  <c:v>0.17359050445103899</c:v>
                </c:pt>
                <c:pt idx="1074">
                  <c:v>0.17360114777618399</c:v>
                </c:pt>
                <c:pt idx="1075">
                  <c:v>0.173684210526316</c:v>
                </c:pt>
                <c:pt idx="1076">
                  <c:v>0.17369308600337299</c:v>
                </c:pt>
                <c:pt idx="1077">
                  <c:v>0.17372881355932199</c:v>
                </c:pt>
                <c:pt idx="1078">
                  <c:v>0.173913043478261</c:v>
                </c:pt>
                <c:pt idx="1079">
                  <c:v>0.173913043478261</c:v>
                </c:pt>
                <c:pt idx="1080">
                  <c:v>0.173913043478261</c:v>
                </c:pt>
                <c:pt idx="1081">
                  <c:v>0.173913043478261</c:v>
                </c:pt>
                <c:pt idx="1082">
                  <c:v>0.173913043478261</c:v>
                </c:pt>
                <c:pt idx="1083">
                  <c:v>0.17393238434163699</c:v>
                </c:pt>
                <c:pt idx="1084">
                  <c:v>0.17395264116575601</c:v>
                </c:pt>
                <c:pt idx="1085">
                  <c:v>0.17400419287211699</c:v>
                </c:pt>
                <c:pt idx="1086">
                  <c:v>0.17402826855123699</c:v>
                </c:pt>
                <c:pt idx="1087">
                  <c:v>0.17410714285714299</c:v>
                </c:pt>
                <c:pt idx="1088">
                  <c:v>0.174157303370787</c:v>
                </c:pt>
                <c:pt idx="1089">
                  <c:v>0.17416378316032299</c:v>
                </c:pt>
                <c:pt idx="1090">
                  <c:v>0.174216027874564</c:v>
                </c:pt>
                <c:pt idx="1091">
                  <c:v>0.17427385892116201</c:v>
                </c:pt>
                <c:pt idx="1092">
                  <c:v>0.17445185891325099</c:v>
                </c:pt>
                <c:pt idx="1093">
                  <c:v>0.17447916666666699</c:v>
                </c:pt>
                <c:pt idx="1094">
                  <c:v>0.174493554327808</c:v>
                </c:pt>
                <c:pt idx="1095">
                  <c:v>0.17449664429530201</c:v>
                </c:pt>
                <c:pt idx="1096">
                  <c:v>0.17449664429530201</c:v>
                </c:pt>
                <c:pt idx="1097">
                  <c:v>0.17456359102244401</c:v>
                </c:pt>
                <c:pt idx="1098">
                  <c:v>0.17462686567164201</c:v>
                </c:pt>
                <c:pt idx="1099">
                  <c:v>0.17466307277627999</c:v>
                </c:pt>
                <c:pt idx="1100">
                  <c:v>0.17482517482517501</c:v>
                </c:pt>
                <c:pt idx="1101">
                  <c:v>0.17487266553480499</c:v>
                </c:pt>
                <c:pt idx="1102">
                  <c:v>0.17487684729063999</c:v>
                </c:pt>
                <c:pt idx="1103">
                  <c:v>0.17487834549878301</c:v>
                </c:pt>
                <c:pt idx="1104">
                  <c:v>0.17495711835334499</c:v>
                </c:pt>
                <c:pt idx="1105">
                  <c:v>0.17502917152858799</c:v>
                </c:pt>
                <c:pt idx="1106">
                  <c:v>0.17503805175038001</c:v>
                </c:pt>
                <c:pt idx="1107">
                  <c:v>0.17504332755632601</c:v>
                </c:pt>
                <c:pt idx="1108">
                  <c:v>0.17508417508417501</c:v>
                </c:pt>
                <c:pt idx="1109">
                  <c:v>0.175156389633601</c:v>
                </c:pt>
                <c:pt idx="1110">
                  <c:v>0.175206611570248</c:v>
                </c:pt>
                <c:pt idx="1111">
                  <c:v>0.175206611570248</c:v>
                </c:pt>
                <c:pt idx="1112">
                  <c:v>0.17521367521367501</c:v>
                </c:pt>
                <c:pt idx="1113">
                  <c:v>0.17529215358931599</c:v>
                </c:pt>
                <c:pt idx="1114">
                  <c:v>0.17532467532467499</c:v>
                </c:pt>
                <c:pt idx="1115">
                  <c:v>0.17557251908396901</c:v>
                </c:pt>
                <c:pt idx="1116">
                  <c:v>0.17567567567567599</c:v>
                </c:pt>
                <c:pt idx="1117">
                  <c:v>0.17567567567567599</c:v>
                </c:pt>
                <c:pt idx="1118">
                  <c:v>0.17573221757322199</c:v>
                </c:pt>
                <c:pt idx="1119">
                  <c:v>0.17578125</c:v>
                </c:pt>
                <c:pt idx="1120">
                  <c:v>0.175836030204962</c:v>
                </c:pt>
                <c:pt idx="1121">
                  <c:v>0.17592592592592601</c:v>
                </c:pt>
                <c:pt idx="1122">
                  <c:v>0.17597292724196301</c:v>
                </c:pt>
                <c:pt idx="1123">
                  <c:v>0.17601547388781399</c:v>
                </c:pt>
                <c:pt idx="1124">
                  <c:v>0.176056338028169</c:v>
                </c:pt>
                <c:pt idx="1125">
                  <c:v>0.17617554858934201</c:v>
                </c:pt>
                <c:pt idx="1126">
                  <c:v>0.17619047619047601</c:v>
                </c:pt>
                <c:pt idx="1127">
                  <c:v>0.17623762376237601</c:v>
                </c:pt>
                <c:pt idx="1128">
                  <c:v>0.17624999999999999</c:v>
                </c:pt>
                <c:pt idx="1129">
                  <c:v>0.17625899280575499</c:v>
                </c:pt>
                <c:pt idx="1130">
                  <c:v>0.17625899280575499</c:v>
                </c:pt>
                <c:pt idx="1131">
                  <c:v>0.17627677100494199</c:v>
                </c:pt>
                <c:pt idx="1132">
                  <c:v>0.176287051482059</c:v>
                </c:pt>
                <c:pt idx="1133">
                  <c:v>0.17647058823529399</c:v>
                </c:pt>
                <c:pt idx="1134">
                  <c:v>0.17647058823529399</c:v>
                </c:pt>
                <c:pt idx="1135">
                  <c:v>0.176541717049577</c:v>
                </c:pt>
                <c:pt idx="1136">
                  <c:v>0.17661691542288599</c:v>
                </c:pt>
                <c:pt idx="1137">
                  <c:v>0.17661691542288599</c:v>
                </c:pt>
                <c:pt idx="1138">
                  <c:v>0.176625659050967</c:v>
                </c:pt>
                <c:pt idx="1139">
                  <c:v>0.17664233576642299</c:v>
                </c:pt>
                <c:pt idx="1140">
                  <c:v>0.17669172932330801</c:v>
                </c:pt>
                <c:pt idx="1141">
                  <c:v>0.17669172932330801</c:v>
                </c:pt>
                <c:pt idx="1142">
                  <c:v>0.17673179396092401</c:v>
                </c:pt>
                <c:pt idx="1143">
                  <c:v>0.17679558011049701</c:v>
                </c:pt>
                <c:pt idx="1144">
                  <c:v>0.17679558011049701</c:v>
                </c:pt>
                <c:pt idx="1145">
                  <c:v>0.17681159420289899</c:v>
                </c:pt>
                <c:pt idx="1146">
                  <c:v>0.176966292134831</c:v>
                </c:pt>
                <c:pt idx="1147">
                  <c:v>0.17701149425287399</c:v>
                </c:pt>
                <c:pt idx="1148">
                  <c:v>0.17709923664122099</c:v>
                </c:pt>
                <c:pt idx="1149">
                  <c:v>0.177111716621253</c:v>
                </c:pt>
                <c:pt idx="1150">
                  <c:v>0.17716535433070901</c:v>
                </c:pt>
                <c:pt idx="1151">
                  <c:v>0.177272727272727</c:v>
                </c:pt>
                <c:pt idx="1152">
                  <c:v>0.17730496453900699</c:v>
                </c:pt>
                <c:pt idx="1153">
                  <c:v>0.17731029301277201</c:v>
                </c:pt>
                <c:pt idx="1154">
                  <c:v>0.177358490566038</c:v>
                </c:pt>
                <c:pt idx="1155">
                  <c:v>0.17744543249797901</c:v>
                </c:pt>
                <c:pt idx="1156">
                  <c:v>0.17747440273037501</c:v>
                </c:pt>
                <c:pt idx="1157">
                  <c:v>0.177506775067751</c:v>
                </c:pt>
                <c:pt idx="1158">
                  <c:v>0.177554438860972</c:v>
                </c:pt>
                <c:pt idx="1159">
                  <c:v>0.17766497461928901</c:v>
                </c:pt>
                <c:pt idx="1160">
                  <c:v>0.17771883289124699</c:v>
                </c:pt>
                <c:pt idx="1161">
                  <c:v>0.17792068595927099</c:v>
                </c:pt>
                <c:pt idx="1162">
                  <c:v>0.177978883861237</c:v>
                </c:pt>
                <c:pt idx="1163">
                  <c:v>0.177993527508091</c:v>
                </c:pt>
                <c:pt idx="1164">
                  <c:v>0.178041543026706</c:v>
                </c:pt>
                <c:pt idx="1165">
                  <c:v>0.17816091954023</c:v>
                </c:pt>
                <c:pt idx="1166">
                  <c:v>0.17821782178217799</c:v>
                </c:pt>
                <c:pt idx="1167">
                  <c:v>0.17821782178217799</c:v>
                </c:pt>
                <c:pt idx="1168">
                  <c:v>0.17822736030828501</c:v>
                </c:pt>
                <c:pt idx="1169">
                  <c:v>0.178260869565217</c:v>
                </c:pt>
                <c:pt idx="1170">
                  <c:v>0.178269617706237</c:v>
                </c:pt>
                <c:pt idx="1171">
                  <c:v>0.17831325301204801</c:v>
                </c:pt>
                <c:pt idx="1172">
                  <c:v>0.178419711129991</c:v>
                </c:pt>
                <c:pt idx="1173">
                  <c:v>0.17846607669616499</c:v>
                </c:pt>
                <c:pt idx="1174">
                  <c:v>0.17857142857142899</c:v>
                </c:pt>
                <c:pt idx="1175">
                  <c:v>0.17857142857142899</c:v>
                </c:pt>
                <c:pt idx="1176">
                  <c:v>0.17857142857142899</c:v>
                </c:pt>
                <c:pt idx="1177">
                  <c:v>0.17857142857142899</c:v>
                </c:pt>
                <c:pt idx="1178">
                  <c:v>0.178617992177314</c:v>
                </c:pt>
                <c:pt idx="1179">
                  <c:v>0.17870722433460101</c:v>
                </c:pt>
                <c:pt idx="1180">
                  <c:v>0.17873510540788301</c:v>
                </c:pt>
                <c:pt idx="1181">
                  <c:v>0.17877094972067001</c:v>
                </c:pt>
                <c:pt idx="1182">
                  <c:v>0.178787878787879</c:v>
                </c:pt>
                <c:pt idx="1183">
                  <c:v>0.178794178794179</c:v>
                </c:pt>
                <c:pt idx="1184">
                  <c:v>0.17882352941176499</c:v>
                </c:pt>
                <c:pt idx="1185">
                  <c:v>0.17882919005613501</c:v>
                </c:pt>
                <c:pt idx="1186">
                  <c:v>0.17886178861788599</c:v>
                </c:pt>
                <c:pt idx="1187">
                  <c:v>0.178966789667897</c:v>
                </c:pt>
                <c:pt idx="1188">
                  <c:v>0.17928286852589601</c:v>
                </c:pt>
                <c:pt idx="1189">
                  <c:v>0.17931034482758601</c:v>
                </c:pt>
                <c:pt idx="1190">
                  <c:v>0.17932148626817401</c:v>
                </c:pt>
                <c:pt idx="1191">
                  <c:v>0.17948717948717899</c:v>
                </c:pt>
                <c:pt idx="1192">
                  <c:v>0.17948717948717899</c:v>
                </c:pt>
                <c:pt idx="1193">
                  <c:v>0.179640718562874</c:v>
                </c:pt>
                <c:pt idx="1194">
                  <c:v>0.17977528089887601</c:v>
                </c:pt>
                <c:pt idx="1195">
                  <c:v>0.179902755267423</c:v>
                </c:pt>
                <c:pt idx="1196">
                  <c:v>0.17993079584775101</c:v>
                </c:pt>
                <c:pt idx="1197">
                  <c:v>0.17994858611825201</c:v>
                </c:pt>
                <c:pt idx="1198">
                  <c:v>0.18</c:v>
                </c:pt>
                <c:pt idx="1199">
                  <c:v>0.18012422360248401</c:v>
                </c:pt>
                <c:pt idx="1200">
                  <c:v>0.180152671755725</c:v>
                </c:pt>
                <c:pt idx="1201">
                  <c:v>0.18023255813953501</c:v>
                </c:pt>
                <c:pt idx="1202">
                  <c:v>0.18032786885245899</c:v>
                </c:pt>
                <c:pt idx="1203">
                  <c:v>0.180451127819549</c:v>
                </c:pt>
                <c:pt idx="1204">
                  <c:v>0.18048505358149999</c:v>
                </c:pt>
                <c:pt idx="1205">
                  <c:v>0.180487804878049</c:v>
                </c:pt>
                <c:pt idx="1206">
                  <c:v>0.18051771117166199</c:v>
                </c:pt>
                <c:pt idx="1207">
                  <c:v>0.180555555555556</c:v>
                </c:pt>
                <c:pt idx="1208">
                  <c:v>0.180555555555556</c:v>
                </c:pt>
                <c:pt idx="1209">
                  <c:v>0.18057142857142899</c:v>
                </c:pt>
                <c:pt idx="1210">
                  <c:v>0.18060200668896301</c:v>
                </c:pt>
                <c:pt idx="1211">
                  <c:v>0.18079096045197701</c:v>
                </c:pt>
                <c:pt idx="1212">
                  <c:v>0.18082191780821899</c:v>
                </c:pt>
                <c:pt idx="1213">
                  <c:v>0.180851063829787</c:v>
                </c:pt>
                <c:pt idx="1214">
                  <c:v>0.18093819806403599</c:v>
                </c:pt>
                <c:pt idx="1215">
                  <c:v>0.18097014925373101</c:v>
                </c:pt>
                <c:pt idx="1216">
                  <c:v>0.180987202925046</c:v>
                </c:pt>
                <c:pt idx="1217">
                  <c:v>0.18099861303744799</c:v>
                </c:pt>
                <c:pt idx="1218">
                  <c:v>0.181034482758621</c:v>
                </c:pt>
                <c:pt idx="1219">
                  <c:v>0.181102362204724</c:v>
                </c:pt>
                <c:pt idx="1220">
                  <c:v>0.18117977528089901</c:v>
                </c:pt>
                <c:pt idx="1221">
                  <c:v>0.18120805369127499</c:v>
                </c:pt>
                <c:pt idx="1222">
                  <c:v>0.18120805369127499</c:v>
                </c:pt>
                <c:pt idx="1223">
                  <c:v>0.18123393316195399</c:v>
                </c:pt>
                <c:pt idx="1224">
                  <c:v>0.18124341412012601</c:v>
                </c:pt>
                <c:pt idx="1225">
                  <c:v>0.18126428027418101</c:v>
                </c:pt>
                <c:pt idx="1226">
                  <c:v>0.18126888217522699</c:v>
                </c:pt>
                <c:pt idx="1227">
                  <c:v>0.181372549019608</c:v>
                </c:pt>
                <c:pt idx="1228">
                  <c:v>0.18145695364238401</c:v>
                </c:pt>
                <c:pt idx="1229">
                  <c:v>0.18146718146718099</c:v>
                </c:pt>
                <c:pt idx="1230">
                  <c:v>0.18149466192170799</c:v>
                </c:pt>
                <c:pt idx="1231">
                  <c:v>0.181506849315068</c:v>
                </c:pt>
                <c:pt idx="1232">
                  <c:v>0.18181818181818199</c:v>
                </c:pt>
                <c:pt idx="1233">
                  <c:v>0.18181818181818199</c:v>
                </c:pt>
                <c:pt idx="1234">
                  <c:v>0.18181818181818199</c:v>
                </c:pt>
                <c:pt idx="1235">
                  <c:v>0.18181818181818199</c:v>
                </c:pt>
                <c:pt idx="1236">
                  <c:v>0.18181818181818199</c:v>
                </c:pt>
                <c:pt idx="1237">
                  <c:v>0.18196457326892099</c:v>
                </c:pt>
                <c:pt idx="1238">
                  <c:v>0.18198198198198201</c:v>
                </c:pt>
                <c:pt idx="1239">
                  <c:v>0.18201284796573899</c:v>
                </c:pt>
                <c:pt idx="1240">
                  <c:v>0.18205804749340401</c:v>
                </c:pt>
                <c:pt idx="1241">
                  <c:v>0.18217054263565899</c:v>
                </c:pt>
                <c:pt idx="1242">
                  <c:v>0.18220338983050799</c:v>
                </c:pt>
                <c:pt idx="1243">
                  <c:v>0.18225419664268599</c:v>
                </c:pt>
                <c:pt idx="1244">
                  <c:v>0.18228279386712101</c:v>
                </c:pt>
                <c:pt idx="1245">
                  <c:v>0.18229801055623199</c:v>
                </c:pt>
                <c:pt idx="1246">
                  <c:v>0.18231046931407899</c:v>
                </c:pt>
                <c:pt idx="1247">
                  <c:v>0.18232044198895</c:v>
                </c:pt>
                <c:pt idx="1248">
                  <c:v>0.182444061962134</c:v>
                </c:pt>
                <c:pt idx="1249">
                  <c:v>0.18279569892473099</c:v>
                </c:pt>
                <c:pt idx="1250">
                  <c:v>0.182835820895522</c:v>
                </c:pt>
                <c:pt idx="1251">
                  <c:v>0.182835820895522</c:v>
                </c:pt>
                <c:pt idx="1252">
                  <c:v>0.18300653594771199</c:v>
                </c:pt>
                <c:pt idx="1253">
                  <c:v>0.18306636155606401</c:v>
                </c:pt>
                <c:pt idx="1254">
                  <c:v>0.183098591549296</c:v>
                </c:pt>
                <c:pt idx="1255">
                  <c:v>0.183098591549296</c:v>
                </c:pt>
                <c:pt idx="1256">
                  <c:v>0.183098591549296</c:v>
                </c:pt>
                <c:pt idx="1257">
                  <c:v>0.183098591549296</c:v>
                </c:pt>
                <c:pt idx="1258">
                  <c:v>0.18311403508771901</c:v>
                </c:pt>
                <c:pt idx="1259">
                  <c:v>0.18332022029897699</c:v>
                </c:pt>
                <c:pt idx="1260">
                  <c:v>0.18341307814992</c:v>
                </c:pt>
                <c:pt idx="1261">
                  <c:v>0.18347010550996501</c:v>
                </c:pt>
                <c:pt idx="1262">
                  <c:v>0.18348623853210999</c:v>
                </c:pt>
                <c:pt idx="1263">
                  <c:v>0.183544303797468</c:v>
                </c:pt>
                <c:pt idx="1264">
                  <c:v>0.18355359765051399</c:v>
                </c:pt>
                <c:pt idx="1265">
                  <c:v>0.18358208955223901</c:v>
                </c:pt>
                <c:pt idx="1266">
                  <c:v>0.183589743589744</c:v>
                </c:pt>
                <c:pt idx="1267">
                  <c:v>0.18359375</c:v>
                </c:pt>
                <c:pt idx="1268">
                  <c:v>0.183856502242152</c:v>
                </c:pt>
                <c:pt idx="1269">
                  <c:v>0.18396226415094299</c:v>
                </c:pt>
                <c:pt idx="1270">
                  <c:v>0.18396591789310601</c:v>
                </c:pt>
                <c:pt idx="1271">
                  <c:v>0.184</c:v>
                </c:pt>
                <c:pt idx="1272">
                  <c:v>0.18402777777777801</c:v>
                </c:pt>
                <c:pt idx="1273">
                  <c:v>0.18409159385356999</c:v>
                </c:pt>
                <c:pt idx="1274">
                  <c:v>0.18416206261510101</c:v>
                </c:pt>
                <c:pt idx="1275">
                  <c:v>0.18421052631578899</c:v>
                </c:pt>
                <c:pt idx="1276">
                  <c:v>0.18421052631578899</c:v>
                </c:pt>
                <c:pt idx="1277">
                  <c:v>0.184254606365159</c:v>
                </c:pt>
                <c:pt idx="1278">
                  <c:v>0.184254606365159</c:v>
                </c:pt>
                <c:pt idx="1279">
                  <c:v>0.18426501035196699</c:v>
                </c:pt>
                <c:pt idx="1280">
                  <c:v>0.184339314845024</c:v>
                </c:pt>
                <c:pt idx="1281">
                  <c:v>0.18437500000000001</c:v>
                </c:pt>
                <c:pt idx="1282">
                  <c:v>0.184388444990781</c:v>
                </c:pt>
                <c:pt idx="1283">
                  <c:v>0.18442622950819701</c:v>
                </c:pt>
                <c:pt idx="1284">
                  <c:v>0.18444444444444399</c:v>
                </c:pt>
                <c:pt idx="1285">
                  <c:v>0.18449389806173699</c:v>
                </c:pt>
                <c:pt idx="1286">
                  <c:v>0.18461538461538499</c:v>
                </c:pt>
                <c:pt idx="1287">
                  <c:v>0.18461538461538499</c:v>
                </c:pt>
                <c:pt idx="1288">
                  <c:v>0.18461538461538499</c:v>
                </c:pt>
                <c:pt idx="1289">
                  <c:v>0.184639663335087</c:v>
                </c:pt>
                <c:pt idx="1290">
                  <c:v>0.18464730290456399</c:v>
                </c:pt>
                <c:pt idx="1291">
                  <c:v>0.18472222222222201</c:v>
                </c:pt>
                <c:pt idx="1292">
                  <c:v>0.184796854521625</c:v>
                </c:pt>
                <c:pt idx="1293">
                  <c:v>0.184859154929577</c:v>
                </c:pt>
                <c:pt idx="1294">
                  <c:v>0.184931506849315</c:v>
                </c:pt>
                <c:pt idx="1295">
                  <c:v>0.184971098265896</c:v>
                </c:pt>
                <c:pt idx="1296">
                  <c:v>0.18518518518518501</c:v>
                </c:pt>
                <c:pt idx="1297">
                  <c:v>0.18518518518518501</c:v>
                </c:pt>
                <c:pt idx="1298">
                  <c:v>0.18518518518518501</c:v>
                </c:pt>
                <c:pt idx="1299">
                  <c:v>0.18526315789473699</c:v>
                </c:pt>
                <c:pt idx="1300">
                  <c:v>0.185414091470952</c:v>
                </c:pt>
                <c:pt idx="1301">
                  <c:v>0.18548387096774199</c:v>
                </c:pt>
                <c:pt idx="1302">
                  <c:v>0.18548387096774199</c:v>
                </c:pt>
                <c:pt idx="1303">
                  <c:v>0.18550724637681201</c:v>
                </c:pt>
                <c:pt idx="1304">
                  <c:v>0.18551236749116601</c:v>
                </c:pt>
                <c:pt idx="1305">
                  <c:v>0.18552774755168699</c:v>
                </c:pt>
                <c:pt idx="1306">
                  <c:v>0.18567251461988299</c:v>
                </c:pt>
                <c:pt idx="1307">
                  <c:v>0.18568232662192399</c:v>
                </c:pt>
                <c:pt idx="1308">
                  <c:v>0.185714285714286</c:v>
                </c:pt>
                <c:pt idx="1309">
                  <c:v>0.185714285714286</c:v>
                </c:pt>
                <c:pt idx="1310">
                  <c:v>0.185714285714286</c:v>
                </c:pt>
                <c:pt idx="1311">
                  <c:v>0.185738444193912</c:v>
                </c:pt>
                <c:pt idx="1312">
                  <c:v>0.18575063613231499</c:v>
                </c:pt>
                <c:pt idx="1313">
                  <c:v>0.185770750988142</c:v>
                </c:pt>
                <c:pt idx="1314">
                  <c:v>0.18577777777777801</c:v>
                </c:pt>
                <c:pt idx="1315">
                  <c:v>0.18582541054451199</c:v>
                </c:pt>
                <c:pt idx="1316">
                  <c:v>0.18589743589743599</c:v>
                </c:pt>
                <c:pt idx="1317">
                  <c:v>0.185929648241206</c:v>
                </c:pt>
                <c:pt idx="1318">
                  <c:v>0.185964912280702</c:v>
                </c:pt>
                <c:pt idx="1319">
                  <c:v>0.18598382749326101</c:v>
                </c:pt>
                <c:pt idx="1320">
                  <c:v>0.186046511627907</c:v>
                </c:pt>
                <c:pt idx="1321">
                  <c:v>0.186046511627907</c:v>
                </c:pt>
                <c:pt idx="1322">
                  <c:v>0.18617021276595699</c:v>
                </c:pt>
                <c:pt idx="1323">
                  <c:v>0.186180422264875</c:v>
                </c:pt>
                <c:pt idx="1324">
                  <c:v>0.18624467437614101</c:v>
                </c:pt>
                <c:pt idx="1325">
                  <c:v>0.18635607321131401</c:v>
                </c:pt>
                <c:pt idx="1326">
                  <c:v>0.186379928315412</c:v>
                </c:pt>
                <c:pt idx="1327">
                  <c:v>0.186413902053712</c:v>
                </c:pt>
                <c:pt idx="1328">
                  <c:v>0.186440677966102</c:v>
                </c:pt>
                <c:pt idx="1329">
                  <c:v>0.186440677966102</c:v>
                </c:pt>
                <c:pt idx="1330">
                  <c:v>0.18653846153846201</c:v>
                </c:pt>
                <c:pt idx="1331">
                  <c:v>0.18668831168831199</c:v>
                </c:pt>
                <c:pt idx="1332">
                  <c:v>0.186746987951807</c:v>
                </c:pt>
                <c:pt idx="1333">
                  <c:v>0.186746987951807</c:v>
                </c:pt>
                <c:pt idx="1334">
                  <c:v>0.18686868686868699</c:v>
                </c:pt>
                <c:pt idx="1335">
                  <c:v>0.18699186991869901</c:v>
                </c:pt>
                <c:pt idx="1336">
                  <c:v>0.18699186991869901</c:v>
                </c:pt>
                <c:pt idx="1337">
                  <c:v>0.187087307410125</c:v>
                </c:pt>
                <c:pt idx="1338">
                  <c:v>0.187245590230665</c:v>
                </c:pt>
                <c:pt idx="1339">
                  <c:v>0.18727915194346301</c:v>
                </c:pt>
                <c:pt idx="1340">
                  <c:v>0.18744662681468799</c:v>
                </c:pt>
                <c:pt idx="1341">
                  <c:v>0.1875</c:v>
                </c:pt>
                <c:pt idx="1342">
                  <c:v>0.1875</c:v>
                </c:pt>
                <c:pt idx="1343">
                  <c:v>0.1875</c:v>
                </c:pt>
                <c:pt idx="1344">
                  <c:v>0.1875</c:v>
                </c:pt>
                <c:pt idx="1345">
                  <c:v>0.1875</c:v>
                </c:pt>
                <c:pt idx="1346">
                  <c:v>0.187604690117253</c:v>
                </c:pt>
                <c:pt idx="1347">
                  <c:v>0.187607573149742</c:v>
                </c:pt>
                <c:pt idx="1348">
                  <c:v>0.18786464410735099</c:v>
                </c:pt>
                <c:pt idx="1349">
                  <c:v>0.18796992481203001</c:v>
                </c:pt>
                <c:pt idx="1350">
                  <c:v>0.187995469988675</c:v>
                </c:pt>
                <c:pt idx="1351">
                  <c:v>0.18804920913883999</c:v>
                </c:pt>
                <c:pt idx="1352">
                  <c:v>0.18808411214953299</c:v>
                </c:pt>
                <c:pt idx="1353">
                  <c:v>0.18817204301075299</c:v>
                </c:pt>
                <c:pt idx="1354">
                  <c:v>0.188176519567027</c:v>
                </c:pt>
                <c:pt idx="1355">
                  <c:v>0.18825722273998099</c:v>
                </c:pt>
                <c:pt idx="1356">
                  <c:v>0.188316151202749</c:v>
                </c:pt>
                <c:pt idx="1357">
                  <c:v>0.188372093023256</c:v>
                </c:pt>
                <c:pt idx="1358">
                  <c:v>0.188405797101449</c:v>
                </c:pt>
                <c:pt idx="1359">
                  <c:v>0.188405797101449</c:v>
                </c:pt>
                <c:pt idx="1360">
                  <c:v>0.188427299703264</c:v>
                </c:pt>
                <c:pt idx="1361">
                  <c:v>0.188505747126437</c:v>
                </c:pt>
                <c:pt idx="1362">
                  <c:v>0.188559322033898</c:v>
                </c:pt>
                <c:pt idx="1363">
                  <c:v>0.18861209964412801</c:v>
                </c:pt>
                <c:pt idx="1364">
                  <c:v>0.18863049095607201</c:v>
                </c:pt>
                <c:pt idx="1365">
                  <c:v>0.188644688644689</c:v>
                </c:pt>
                <c:pt idx="1366">
                  <c:v>0.18867924528301899</c:v>
                </c:pt>
                <c:pt idx="1367">
                  <c:v>0.18867924528301899</c:v>
                </c:pt>
                <c:pt idx="1368">
                  <c:v>0.18874332848132</c:v>
                </c:pt>
                <c:pt idx="1369">
                  <c:v>0.18877551020408201</c:v>
                </c:pt>
                <c:pt idx="1370">
                  <c:v>0.18879056047197601</c:v>
                </c:pt>
                <c:pt idx="1371">
                  <c:v>0.18879056047197601</c:v>
                </c:pt>
                <c:pt idx="1372">
                  <c:v>0.18898240244835501</c:v>
                </c:pt>
                <c:pt idx="1373">
                  <c:v>0.18910256410256401</c:v>
                </c:pt>
                <c:pt idx="1374">
                  <c:v>0.18911174785100299</c:v>
                </c:pt>
                <c:pt idx="1375">
                  <c:v>0.18918918918918901</c:v>
                </c:pt>
                <c:pt idx="1376">
                  <c:v>0.18918918918918901</c:v>
                </c:pt>
                <c:pt idx="1377">
                  <c:v>0.18918918918918901</c:v>
                </c:pt>
                <c:pt idx="1378">
                  <c:v>0.18918918918918901</c:v>
                </c:pt>
                <c:pt idx="1379">
                  <c:v>0.18918918918918901</c:v>
                </c:pt>
                <c:pt idx="1380">
                  <c:v>0.18918918918918901</c:v>
                </c:pt>
                <c:pt idx="1381">
                  <c:v>0.18925831202046001</c:v>
                </c:pt>
                <c:pt idx="1382">
                  <c:v>0.18930041152263399</c:v>
                </c:pt>
                <c:pt idx="1383">
                  <c:v>0.18930481283422501</c:v>
                </c:pt>
                <c:pt idx="1384">
                  <c:v>0.18944519621109601</c:v>
                </c:pt>
                <c:pt idx="1385">
                  <c:v>0.189723320158103</c:v>
                </c:pt>
                <c:pt idx="1386">
                  <c:v>0.18978102189780999</c:v>
                </c:pt>
                <c:pt idx="1387">
                  <c:v>0.18981481481481499</c:v>
                </c:pt>
                <c:pt idx="1388">
                  <c:v>0.18981481481481499</c:v>
                </c:pt>
                <c:pt idx="1389">
                  <c:v>0.18983957219251299</c:v>
                </c:pt>
                <c:pt idx="1390">
                  <c:v>0.18985215053763399</c:v>
                </c:pt>
                <c:pt idx="1391">
                  <c:v>0.18991416309012901</c:v>
                </c:pt>
                <c:pt idx="1392">
                  <c:v>0.19008264462809901</c:v>
                </c:pt>
                <c:pt idx="1393">
                  <c:v>0.19008264462809901</c:v>
                </c:pt>
                <c:pt idx="1394">
                  <c:v>0.19011082693947101</c:v>
                </c:pt>
                <c:pt idx="1395">
                  <c:v>0.19012345679012299</c:v>
                </c:pt>
                <c:pt idx="1396">
                  <c:v>0.190240889437925</c:v>
                </c:pt>
                <c:pt idx="1397">
                  <c:v>0.19029126213592201</c:v>
                </c:pt>
                <c:pt idx="1398">
                  <c:v>0.190317195325543</c:v>
                </c:pt>
                <c:pt idx="1399">
                  <c:v>0.190348525469169</c:v>
                </c:pt>
                <c:pt idx="1400">
                  <c:v>0.19039145907473301</c:v>
                </c:pt>
                <c:pt idx="1401">
                  <c:v>0.19047619047618999</c:v>
                </c:pt>
                <c:pt idx="1402">
                  <c:v>0.19047619047618999</c:v>
                </c:pt>
                <c:pt idx="1403">
                  <c:v>0.19047619047618999</c:v>
                </c:pt>
                <c:pt idx="1404">
                  <c:v>0.19053549190535499</c:v>
                </c:pt>
                <c:pt idx="1405">
                  <c:v>0.19056603773584899</c:v>
                </c:pt>
                <c:pt idx="1406">
                  <c:v>0.19060773480663001</c:v>
                </c:pt>
                <c:pt idx="1407">
                  <c:v>0.19072164948453599</c:v>
                </c:pt>
                <c:pt idx="1408">
                  <c:v>0.190781049935979</c:v>
                </c:pt>
                <c:pt idx="1409">
                  <c:v>0.190806591500434</c:v>
                </c:pt>
                <c:pt idx="1410">
                  <c:v>0.190883190883191</c:v>
                </c:pt>
                <c:pt idx="1411">
                  <c:v>0.190909090909091</c:v>
                </c:pt>
                <c:pt idx="1412">
                  <c:v>0.19094922737306799</c:v>
                </c:pt>
                <c:pt idx="1413">
                  <c:v>0.19104716227018401</c:v>
                </c:pt>
                <c:pt idx="1414">
                  <c:v>0.19109195402298801</c:v>
                </c:pt>
                <c:pt idx="1415">
                  <c:v>0.19113924050632899</c:v>
                </c:pt>
                <c:pt idx="1416">
                  <c:v>0.19135802469135799</c:v>
                </c:pt>
                <c:pt idx="1417">
                  <c:v>0.191383595691798</c:v>
                </c:pt>
                <c:pt idx="1418">
                  <c:v>0.19148936170212799</c:v>
                </c:pt>
                <c:pt idx="1419">
                  <c:v>0.19148936170212799</c:v>
                </c:pt>
                <c:pt idx="1420">
                  <c:v>0.19151670951156799</c:v>
                </c:pt>
                <c:pt idx="1421">
                  <c:v>0.191601049868766</c:v>
                </c:pt>
                <c:pt idx="1422">
                  <c:v>0.19168173598553301</c:v>
                </c:pt>
                <c:pt idx="1423">
                  <c:v>0.191685912240185</c:v>
                </c:pt>
                <c:pt idx="1424">
                  <c:v>0.191693290734824</c:v>
                </c:pt>
                <c:pt idx="1425">
                  <c:v>0.191729323308271</c:v>
                </c:pt>
                <c:pt idx="1426">
                  <c:v>0.19178082191780799</c:v>
                </c:pt>
                <c:pt idx="1427">
                  <c:v>0.19180633147113599</c:v>
                </c:pt>
                <c:pt idx="1428">
                  <c:v>0.191823899371069</c:v>
                </c:pt>
                <c:pt idx="1429">
                  <c:v>0.19184290030211501</c:v>
                </c:pt>
                <c:pt idx="1430">
                  <c:v>0.19186652763295101</c:v>
                </c:pt>
                <c:pt idx="1431">
                  <c:v>0.19188191881918801</c:v>
                </c:pt>
                <c:pt idx="1432">
                  <c:v>0.19195046439628499</c:v>
                </c:pt>
                <c:pt idx="1433">
                  <c:v>0.191964285714286</c:v>
                </c:pt>
                <c:pt idx="1434">
                  <c:v>0.19197896120972999</c:v>
                </c:pt>
                <c:pt idx="1435">
                  <c:v>0.19205298013245001</c:v>
                </c:pt>
                <c:pt idx="1436">
                  <c:v>0.19205298013245001</c:v>
                </c:pt>
                <c:pt idx="1437">
                  <c:v>0.19209039548022599</c:v>
                </c:pt>
                <c:pt idx="1438">
                  <c:v>0.192164179104478</c:v>
                </c:pt>
                <c:pt idx="1439">
                  <c:v>0.19228210246174299</c:v>
                </c:pt>
                <c:pt idx="1440">
                  <c:v>0.19229103508012099</c:v>
                </c:pt>
                <c:pt idx="1441">
                  <c:v>0.19230769230769201</c:v>
                </c:pt>
                <c:pt idx="1442">
                  <c:v>0.19230769230769201</c:v>
                </c:pt>
                <c:pt idx="1443">
                  <c:v>0.19230769230769201</c:v>
                </c:pt>
                <c:pt idx="1444">
                  <c:v>0.19230769230769201</c:v>
                </c:pt>
                <c:pt idx="1445">
                  <c:v>0.19233186675047101</c:v>
                </c:pt>
                <c:pt idx="1446">
                  <c:v>0.19238476953907799</c:v>
                </c:pt>
                <c:pt idx="1447">
                  <c:v>0.192393736017897</c:v>
                </c:pt>
                <c:pt idx="1448">
                  <c:v>0.192393736017897</c:v>
                </c:pt>
                <c:pt idx="1449">
                  <c:v>0.19245283018867901</c:v>
                </c:pt>
                <c:pt idx="1450">
                  <c:v>0.19251336898395699</c:v>
                </c:pt>
                <c:pt idx="1451">
                  <c:v>0.19259259259259301</c:v>
                </c:pt>
                <c:pt idx="1452">
                  <c:v>0.19262981574539401</c:v>
                </c:pt>
                <c:pt idx="1453">
                  <c:v>0.19263456090651601</c:v>
                </c:pt>
                <c:pt idx="1454">
                  <c:v>0.192660550458716</c:v>
                </c:pt>
                <c:pt idx="1455">
                  <c:v>0.192697768762677</c:v>
                </c:pt>
                <c:pt idx="1456">
                  <c:v>0.19270833333333301</c:v>
                </c:pt>
                <c:pt idx="1457">
                  <c:v>0.19273743016759801</c:v>
                </c:pt>
                <c:pt idx="1458">
                  <c:v>0.19275461380724501</c:v>
                </c:pt>
                <c:pt idx="1459">
                  <c:v>0.19275549805950801</c:v>
                </c:pt>
                <c:pt idx="1460">
                  <c:v>0.192857142857143</c:v>
                </c:pt>
                <c:pt idx="1461">
                  <c:v>0.192857142857143</c:v>
                </c:pt>
                <c:pt idx="1462">
                  <c:v>0.19289340101522801</c:v>
                </c:pt>
                <c:pt idx="1463">
                  <c:v>0.19298245614035101</c:v>
                </c:pt>
                <c:pt idx="1464">
                  <c:v>0.19305856832971799</c:v>
                </c:pt>
                <c:pt idx="1465">
                  <c:v>0.19306930693069299</c:v>
                </c:pt>
                <c:pt idx="1466">
                  <c:v>0.19310344827586201</c:v>
                </c:pt>
                <c:pt idx="1467">
                  <c:v>0.193129062209842</c:v>
                </c:pt>
                <c:pt idx="1468">
                  <c:v>0.19315403422982899</c:v>
                </c:pt>
                <c:pt idx="1469">
                  <c:v>0.19318181818181801</c:v>
                </c:pt>
                <c:pt idx="1470">
                  <c:v>0.19320987654321001</c:v>
                </c:pt>
                <c:pt idx="1471">
                  <c:v>0.19327731092437</c:v>
                </c:pt>
                <c:pt idx="1472">
                  <c:v>0.19341563786008201</c:v>
                </c:pt>
                <c:pt idx="1473">
                  <c:v>0.193426042983565</c:v>
                </c:pt>
                <c:pt idx="1474">
                  <c:v>0.19345238095238099</c:v>
                </c:pt>
                <c:pt idx="1475">
                  <c:v>0.19354838709677399</c:v>
                </c:pt>
                <c:pt idx="1476">
                  <c:v>0.19354838709677399</c:v>
                </c:pt>
                <c:pt idx="1477">
                  <c:v>0.193656093489149</c:v>
                </c:pt>
                <c:pt idx="1478">
                  <c:v>0.19371282922684799</c:v>
                </c:pt>
                <c:pt idx="1479">
                  <c:v>0.19377729257641901</c:v>
                </c:pt>
                <c:pt idx="1480">
                  <c:v>0.193808882907133</c:v>
                </c:pt>
                <c:pt idx="1481">
                  <c:v>0.19382504288164701</c:v>
                </c:pt>
                <c:pt idx="1482">
                  <c:v>0.19383259911894299</c:v>
                </c:pt>
                <c:pt idx="1483">
                  <c:v>0.19383886255924199</c:v>
                </c:pt>
                <c:pt idx="1484">
                  <c:v>0.193887297039159</c:v>
                </c:pt>
                <c:pt idx="1485">
                  <c:v>0.193998309382925</c:v>
                </c:pt>
                <c:pt idx="1486">
                  <c:v>0.19402985074626899</c:v>
                </c:pt>
                <c:pt idx="1487">
                  <c:v>0.19402985074626899</c:v>
                </c:pt>
                <c:pt idx="1488">
                  <c:v>0.19402985074626899</c:v>
                </c:pt>
                <c:pt idx="1489">
                  <c:v>0.19405940594059401</c:v>
                </c:pt>
                <c:pt idx="1490">
                  <c:v>0.19413092550790101</c:v>
                </c:pt>
                <c:pt idx="1491">
                  <c:v>0.194154488517745</c:v>
                </c:pt>
                <c:pt idx="1492">
                  <c:v>0.19417475728155301</c:v>
                </c:pt>
                <c:pt idx="1493">
                  <c:v>0.194244604316547</c:v>
                </c:pt>
                <c:pt idx="1494">
                  <c:v>0.194244604316547</c:v>
                </c:pt>
                <c:pt idx="1495">
                  <c:v>0.194267515923567</c:v>
                </c:pt>
                <c:pt idx="1496">
                  <c:v>0.19431554524361899</c:v>
                </c:pt>
                <c:pt idx="1497">
                  <c:v>0.19439252336448601</c:v>
                </c:pt>
                <c:pt idx="1498">
                  <c:v>0.194444444444444</c:v>
                </c:pt>
                <c:pt idx="1499">
                  <c:v>0.194444444444444</c:v>
                </c:pt>
                <c:pt idx="1500">
                  <c:v>0.194444444444444</c:v>
                </c:pt>
                <c:pt idx="1501">
                  <c:v>0.194444444444444</c:v>
                </c:pt>
                <c:pt idx="1502">
                  <c:v>0.19446704637917001</c:v>
                </c:pt>
                <c:pt idx="1503">
                  <c:v>0.194477791116447</c:v>
                </c:pt>
                <c:pt idx="1504">
                  <c:v>0.19464285714285701</c:v>
                </c:pt>
                <c:pt idx="1505">
                  <c:v>0.19465648854961801</c:v>
                </c:pt>
                <c:pt idx="1506">
                  <c:v>0.19468085106383001</c:v>
                </c:pt>
                <c:pt idx="1507">
                  <c:v>0.19469026548672599</c:v>
                </c:pt>
                <c:pt idx="1508">
                  <c:v>0.19469026548672599</c:v>
                </c:pt>
                <c:pt idx="1509">
                  <c:v>0.194698354661792</c:v>
                </c:pt>
                <c:pt idx="1510">
                  <c:v>0.19480519480519501</c:v>
                </c:pt>
                <c:pt idx="1511">
                  <c:v>0.194819212088505</c:v>
                </c:pt>
                <c:pt idx="1512">
                  <c:v>0.19485294117647101</c:v>
                </c:pt>
                <c:pt idx="1513">
                  <c:v>0.19487179487179501</c:v>
                </c:pt>
                <c:pt idx="1514">
                  <c:v>0.19496855345911901</c:v>
                </c:pt>
                <c:pt idx="1515">
                  <c:v>0.19500000000000001</c:v>
                </c:pt>
                <c:pt idx="1516">
                  <c:v>0.19502868068833601</c:v>
                </c:pt>
                <c:pt idx="1517">
                  <c:v>0.19509345794392499</c:v>
                </c:pt>
                <c:pt idx="1518">
                  <c:v>0.19512195121951201</c:v>
                </c:pt>
                <c:pt idx="1519">
                  <c:v>0.19512195121951201</c:v>
                </c:pt>
                <c:pt idx="1520">
                  <c:v>0.19514767932489399</c:v>
                </c:pt>
                <c:pt idx="1521">
                  <c:v>0.19515774027879701</c:v>
                </c:pt>
                <c:pt idx="1522">
                  <c:v>0.19525801952580199</c:v>
                </c:pt>
                <c:pt idx="1523">
                  <c:v>0.19534050179211501</c:v>
                </c:pt>
                <c:pt idx="1524">
                  <c:v>0.19534145050291199</c:v>
                </c:pt>
                <c:pt idx="1525">
                  <c:v>0.19534883720930199</c:v>
                </c:pt>
                <c:pt idx="1526">
                  <c:v>0.19534883720930199</c:v>
                </c:pt>
                <c:pt idx="1527">
                  <c:v>0.19559585492227999</c:v>
                </c:pt>
                <c:pt idx="1528">
                  <c:v>0.19565217391304299</c:v>
                </c:pt>
                <c:pt idx="1529">
                  <c:v>0.19565217391304299</c:v>
                </c:pt>
                <c:pt idx="1530">
                  <c:v>0.19565217391304299</c:v>
                </c:pt>
                <c:pt idx="1531">
                  <c:v>0.19565217391304299</c:v>
                </c:pt>
                <c:pt idx="1532">
                  <c:v>0.19577308120133499</c:v>
                </c:pt>
                <c:pt idx="1533">
                  <c:v>0.19587628865979401</c:v>
                </c:pt>
                <c:pt idx="1534">
                  <c:v>0.19589552238805999</c:v>
                </c:pt>
                <c:pt idx="1535">
                  <c:v>0.19605077574047999</c:v>
                </c:pt>
                <c:pt idx="1536">
                  <c:v>0.19605568445475599</c:v>
                </c:pt>
                <c:pt idx="1537">
                  <c:v>0.19608908202064099</c:v>
                </c:pt>
                <c:pt idx="1538">
                  <c:v>0.19613259668508301</c:v>
                </c:pt>
                <c:pt idx="1539">
                  <c:v>0.196141479099678</c:v>
                </c:pt>
                <c:pt idx="1540">
                  <c:v>0.196273291925466</c:v>
                </c:pt>
                <c:pt idx="1541">
                  <c:v>0.19634703196347</c:v>
                </c:pt>
                <c:pt idx="1542">
                  <c:v>0.19642857142857101</c:v>
                </c:pt>
                <c:pt idx="1543">
                  <c:v>0.19642857142857101</c:v>
                </c:pt>
                <c:pt idx="1544">
                  <c:v>0.19646526921496099</c:v>
                </c:pt>
                <c:pt idx="1545">
                  <c:v>0.19647355163728</c:v>
                </c:pt>
                <c:pt idx="1546">
                  <c:v>0.196544276457883</c:v>
                </c:pt>
                <c:pt idx="1547">
                  <c:v>0.19655667144906699</c:v>
                </c:pt>
                <c:pt idx="1548">
                  <c:v>0.19665271966527201</c:v>
                </c:pt>
                <c:pt idx="1549">
                  <c:v>0.19665271966527201</c:v>
                </c:pt>
                <c:pt idx="1550">
                  <c:v>0.19677419354838699</c:v>
                </c:pt>
                <c:pt idx="1551">
                  <c:v>0.19678217821782201</c:v>
                </c:pt>
                <c:pt idx="1552">
                  <c:v>0.196850393700787</c:v>
                </c:pt>
                <c:pt idx="1553">
                  <c:v>0.19689119170984501</c:v>
                </c:pt>
                <c:pt idx="1554">
                  <c:v>0.19691119691119699</c:v>
                </c:pt>
                <c:pt idx="1555">
                  <c:v>0.19696969696969699</c:v>
                </c:pt>
                <c:pt idx="1556">
                  <c:v>0.19696969696969699</c:v>
                </c:pt>
                <c:pt idx="1557">
                  <c:v>0.197002141327623</c:v>
                </c:pt>
                <c:pt idx="1558">
                  <c:v>0.197006277160792</c:v>
                </c:pt>
                <c:pt idx="1559">
                  <c:v>0.197014925373134</c:v>
                </c:pt>
                <c:pt idx="1560">
                  <c:v>0.19705882352941201</c:v>
                </c:pt>
                <c:pt idx="1561">
                  <c:v>0.19708029197080301</c:v>
                </c:pt>
                <c:pt idx="1562">
                  <c:v>0.19718309859154901</c:v>
                </c:pt>
                <c:pt idx="1563">
                  <c:v>0.19719953325554301</c:v>
                </c:pt>
                <c:pt idx="1564">
                  <c:v>0.197333333333333</c:v>
                </c:pt>
                <c:pt idx="1565">
                  <c:v>0.19734151329243399</c:v>
                </c:pt>
                <c:pt idx="1566">
                  <c:v>0.19735006973500699</c:v>
                </c:pt>
                <c:pt idx="1567">
                  <c:v>0.19735503560529</c:v>
                </c:pt>
                <c:pt idx="1568">
                  <c:v>0.197357555739059</c:v>
                </c:pt>
                <c:pt idx="1569">
                  <c:v>0.197383390216155</c:v>
                </c:pt>
                <c:pt idx="1570">
                  <c:v>0.19742883379247</c:v>
                </c:pt>
                <c:pt idx="1571">
                  <c:v>0.19749652294854</c:v>
                </c:pt>
                <c:pt idx="1572">
                  <c:v>0.19753086419753099</c:v>
                </c:pt>
                <c:pt idx="1573">
                  <c:v>0.19753086419753099</c:v>
                </c:pt>
                <c:pt idx="1574">
                  <c:v>0.197560975609756</c:v>
                </c:pt>
                <c:pt idx="1575">
                  <c:v>0.19764279238440599</c:v>
                </c:pt>
                <c:pt idx="1576">
                  <c:v>0.19767441860465099</c:v>
                </c:pt>
                <c:pt idx="1577">
                  <c:v>0.19780219780219799</c:v>
                </c:pt>
                <c:pt idx="1578">
                  <c:v>0.19786368260427301</c:v>
                </c:pt>
                <c:pt idx="1579">
                  <c:v>0.19788918205804701</c:v>
                </c:pt>
                <c:pt idx="1580">
                  <c:v>0.19793814432989701</c:v>
                </c:pt>
                <c:pt idx="1581">
                  <c:v>0.19800000000000001</c:v>
                </c:pt>
                <c:pt idx="1582">
                  <c:v>0.198019801980198</c:v>
                </c:pt>
                <c:pt idx="1583">
                  <c:v>0.198019801980198</c:v>
                </c:pt>
                <c:pt idx="1584">
                  <c:v>0.19807692307692301</c:v>
                </c:pt>
                <c:pt idx="1585">
                  <c:v>0.19812426729191099</c:v>
                </c:pt>
                <c:pt idx="1586">
                  <c:v>0.19816138917262499</c:v>
                </c:pt>
                <c:pt idx="1587">
                  <c:v>0.19817351598173499</c:v>
                </c:pt>
                <c:pt idx="1588">
                  <c:v>0.198189134808853</c:v>
                </c:pt>
                <c:pt idx="1589">
                  <c:v>0.19819819819819801</c:v>
                </c:pt>
                <c:pt idx="1590">
                  <c:v>0.198237885462555</c:v>
                </c:pt>
                <c:pt idx="1591">
                  <c:v>0.198237885462555</c:v>
                </c:pt>
                <c:pt idx="1592">
                  <c:v>0.19825072886297401</c:v>
                </c:pt>
                <c:pt idx="1593">
                  <c:v>0.198290598290598</c:v>
                </c:pt>
                <c:pt idx="1594">
                  <c:v>0.19830028328611901</c:v>
                </c:pt>
                <c:pt idx="1595">
                  <c:v>0.19831223628691999</c:v>
                </c:pt>
                <c:pt idx="1596">
                  <c:v>0.19839999999999999</c:v>
                </c:pt>
                <c:pt idx="1597">
                  <c:v>0.19846596356663501</c:v>
                </c:pt>
                <c:pt idx="1598">
                  <c:v>0.19855595667869999</c:v>
                </c:pt>
                <c:pt idx="1599">
                  <c:v>0.19856630824372801</c:v>
                </c:pt>
                <c:pt idx="1600">
                  <c:v>0.198653198653199</c:v>
                </c:pt>
                <c:pt idx="1601">
                  <c:v>0.19867549668874199</c:v>
                </c:pt>
                <c:pt idx="1602">
                  <c:v>0.19875776397515499</c:v>
                </c:pt>
                <c:pt idx="1603">
                  <c:v>0.19902319902319901</c:v>
                </c:pt>
                <c:pt idx="1604">
                  <c:v>0.19908466819222001</c:v>
                </c:pt>
                <c:pt idx="1605">
                  <c:v>0.199134199134199</c:v>
                </c:pt>
                <c:pt idx="1606">
                  <c:v>0.19915254237288099</c:v>
                </c:pt>
                <c:pt idx="1607">
                  <c:v>0.19916267942583701</c:v>
                </c:pt>
                <c:pt idx="1608">
                  <c:v>0.199167244968772</c:v>
                </c:pt>
                <c:pt idx="1609">
                  <c:v>0.19920318725099601</c:v>
                </c:pt>
                <c:pt idx="1610">
                  <c:v>0.19921104536489101</c:v>
                </c:pt>
                <c:pt idx="1611">
                  <c:v>0.19929660023446699</c:v>
                </c:pt>
                <c:pt idx="1612">
                  <c:v>0.19938650306748501</c:v>
                </c:pt>
                <c:pt idx="1613">
                  <c:v>0.199438202247191</c:v>
                </c:pt>
                <c:pt idx="1614">
                  <c:v>0.19944444444444401</c:v>
                </c:pt>
                <c:pt idx="1615">
                  <c:v>0.19945167923235099</c:v>
                </c:pt>
                <c:pt idx="1616">
                  <c:v>0.199460916442048</c:v>
                </c:pt>
                <c:pt idx="1617">
                  <c:v>0.19946236559139799</c:v>
                </c:pt>
                <c:pt idx="1618">
                  <c:v>0.199498117942284</c:v>
                </c:pt>
                <c:pt idx="1619">
                  <c:v>0.2</c:v>
                </c:pt>
                <c:pt idx="1620">
                  <c:v>0.2</c:v>
                </c:pt>
                <c:pt idx="1621">
                  <c:v>0.2</c:v>
                </c:pt>
                <c:pt idx="1622">
                  <c:v>0.2</c:v>
                </c:pt>
                <c:pt idx="1623">
                  <c:v>0.2</c:v>
                </c:pt>
                <c:pt idx="1624">
                  <c:v>0.2</c:v>
                </c:pt>
                <c:pt idx="1625">
                  <c:v>0.2</c:v>
                </c:pt>
                <c:pt idx="1626">
                  <c:v>0.2</c:v>
                </c:pt>
                <c:pt idx="1627">
                  <c:v>0.2</c:v>
                </c:pt>
                <c:pt idx="1628">
                  <c:v>0.2</c:v>
                </c:pt>
                <c:pt idx="1629">
                  <c:v>0.2</c:v>
                </c:pt>
                <c:pt idx="1630">
                  <c:v>0.2</c:v>
                </c:pt>
                <c:pt idx="1631">
                  <c:v>0.2</c:v>
                </c:pt>
                <c:pt idx="1632">
                  <c:v>0.2</c:v>
                </c:pt>
                <c:pt idx="1633">
                  <c:v>0.2</c:v>
                </c:pt>
                <c:pt idx="1634">
                  <c:v>0.2</c:v>
                </c:pt>
                <c:pt idx="1635">
                  <c:v>0.2</c:v>
                </c:pt>
                <c:pt idx="1636">
                  <c:v>0.2</c:v>
                </c:pt>
                <c:pt idx="1637">
                  <c:v>0.20022002200219999</c:v>
                </c:pt>
                <c:pt idx="1638">
                  <c:v>0.200239808153477</c:v>
                </c:pt>
                <c:pt idx="1639">
                  <c:v>0.200250312891114</c:v>
                </c:pt>
                <c:pt idx="1640">
                  <c:v>0.20033955857385399</c:v>
                </c:pt>
                <c:pt idx="1641">
                  <c:v>0.200354609929078</c:v>
                </c:pt>
                <c:pt idx="1642">
                  <c:v>0.200354609929078</c:v>
                </c:pt>
                <c:pt idx="1643">
                  <c:v>0.20040899795500999</c:v>
                </c:pt>
                <c:pt idx="1644">
                  <c:v>0.200455580865604</c:v>
                </c:pt>
                <c:pt idx="1645">
                  <c:v>0.20046082949308799</c:v>
                </c:pt>
                <c:pt idx="1646">
                  <c:v>0.20057581573896399</c:v>
                </c:pt>
                <c:pt idx="1647">
                  <c:v>0.20062695924764901</c:v>
                </c:pt>
                <c:pt idx="1648">
                  <c:v>0.20062695924764901</c:v>
                </c:pt>
                <c:pt idx="1649">
                  <c:v>0.20065252854812399</c:v>
                </c:pt>
                <c:pt idx="1650">
                  <c:v>0.20078354554358499</c:v>
                </c:pt>
                <c:pt idx="1651">
                  <c:v>0.20081967213114801</c:v>
                </c:pt>
                <c:pt idx="1652">
                  <c:v>0.20089786756453401</c:v>
                </c:pt>
                <c:pt idx="1653">
                  <c:v>0.200923787528868</c:v>
                </c:pt>
                <c:pt idx="1654">
                  <c:v>0.20093823299452701</c:v>
                </c:pt>
                <c:pt idx="1655">
                  <c:v>0.201030927835052</c:v>
                </c:pt>
                <c:pt idx="1656">
                  <c:v>0.201030927835052</c:v>
                </c:pt>
                <c:pt idx="1657">
                  <c:v>0.201035375323555</c:v>
                </c:pt>
                <c:pt idx="1658">
                  <c:v>0.20114394661582499</c:v>
                </c:pt>
                <c:pt idx="1659">
                  <c:v>0.201156069364162</c:v>
                </c:pt>
                <c:pt idx="1660">
                  <c:v>0.20121951219512199</c:v>
                </c:pt>
                <c:pt idx="1661">
                  <c:v>0.20121951219512199</c:v>
                </c:pt>
                <c:pt idx="1662">
                  <c:v>0.201244813278008</c:v>
                </c:pt>
                <c:pt idx="1663">
                  <c:v>0.20125786163522</c:v>
                </c:pt>
                <c:pt idx="1664">
                  <c:v>0.20125786163522</c:v>
                </c:pt>
                <c:pt idx="1665">
                  <c:v>0.20133111480865201</c:v>
                </c:pt>
                <c:pt idx="1666">
                  <c:v>0.20134228187919501</c:v>
                </c:pt>
                <c:pt idx="1667">
                  <c:v>0.20134228187919501</c:v>
                </c:pt>
                <c:pt idx="1668">
                  <c:v>0.20138888888888901</c:v>
                </c:pt>
                <c:pt idx="1669">
                  <c:v>0.20142602495543699</c:v>
                </c:pt>
                <c:pt idx="1670">
                  <c:v>0.20148247978436701</c:v>
                </c:pt>
                <c:pt idx="1671">
                  <c:v>0.201492537313433</c:v>
                </c:pt>
                <c:pt idx="1672">
                  <c:v>0.20159151193634001</c:v>
                </c:pt>
                <c:pt idx="1673">
                  <c:v>0.20162932790224</c:v>
                </c:pt>
                <c:pt idx="1674">
                  <c:v>0.201716738197425</c:v>
                </c:pt>
                <c:pt idx="1675">
                  <c:v>0.20173535791757</c:v>
                </c:pt>
                <c:pt idx="1676">
                  <c:v>0.20175438596491199</c:v>
                </c:pt>
                <c:pt idx="1677">
                  <c:v>0.20175438596491199</c:v>
                </c:pt>
                <c:pt idx="1678">
                  <c:v>0.201834862385321</c:v>
                </c:pt>
                <c:pt idx="1679">
                  <c:v>0.2018779342723</c:v>
                </c:pt>
                <c:pt idx="1680">
                  <c:v>0.201900237529691</c:v>
                </c:pt>
                <c:pt idx="1681">
                  <c:v>0.20192307692307701</c:v>
                </c:pt>
                <c:pt idx="1682">
                  <c:v>0.20194384449244099</c:v>
                </c:pt>
                <c:pt idx="1683">
                  <c:v>0.201946472019465</c:v>
                </c:pt>
                <c:pt idx="1684">
                  <c:v>0.20198675496688701</c:v>
                </c:pt>
                <c:pt idx="1685">
                  <c:v>0.20202020202020199</c:v>
                </c:pt>
                <c:pt idx="1686">
                  <c:v>0.20204081632653101</c:v>
                </c:pt>
                <c:pt idx="1687">
                  <c:v>0.20204402515723299</c:v>
                </c:pt>
                <c:pt idx="1688">
                  <c:v>0.20212765957446799</c:v>
                </c:pt>
                <c:pt idx="1689">
                  <c:v>0.20216049382716</c:v>
                </c:pt>
                <c:pt idx="1690">
                  <c:v>0.202166064981949</c:v>
                </c:pt>
                <c:pt idx="1691">
                  <c:v>0.202185792349727</c:v>
                </c:pt>
                <c:pt idx="1692">
                  <c:v>0.20220082530949099</c:v>
                </c:pt>
                <c:pt idx="1693">
                  <c:v>0.202229299363057</c:v>
                </c:pt>
                <c:pt idx="1694">
                  <c:v>0.20227272727272699</c:v>
                </c:pt>
                <c:pt idx="1695">
                  <c:v>0.202349869451697</c:v>
                </c:pt>
                <c:pt idx="1696">
                  <c:v>0.20235294117647101</c:v>
                </c:pt>
                <c:pt idx="1697">
                  <c:v>0.202399582681273</c:v>
                </c:pt>
                <c:pt idx="1698">
                  <c:v>0.20240963855421701</c:v>
                </c:pt>
                <c:pt idx="1699">
                  <c:v>0.20250000000000001</c:v>
                </c:pt>
                <c:pt idx="1700">
                  <c:v>0.202597402597403</c:v>
                </c:pt>
                <c:pt idx="1701">
                  <c:v>0.20262390670553901</c:v>
                </c:pt>
                <c:pt idx="1702">
                  <c:v>0.20265780730897001</c:v>
                </c:pt>
                <c:pt idx="1703">
                  <c:v>0.20266272189349099</c:v>
                </c:pt>
                <c:pt idx="1704">
                  <c:v>0.20270270270270299</c:v>
                </c:pt>
                <c:pt idx="1705">
                  <c:v>0.20273972602739701</c:v>
                </c:pt>
                <c:pt idx="1706">
                  <c:v>0.202764976958525</c:v>
                </c:pt>
                <c:pt idx="1707">
                  <c:v>0.202764976958525</c:v>
                </c:pt>
                <c:pt idx="1708">
                  <c:v>0.20279720279720301</c:v>
                </c:pt>
                <c:pt idx="1709">
                  <c:v>0.202842377260982</c:v>
                </c:pt>
                <c:pt idx="1710">
                  <c:v>0.20286195286195299</c:v>
                </c:pt>
                <c:pt idx="1711">
                  <c:v>0.202898550724638</c:v>
                </c:pt>
                <c:pt idx="1712">
                  <c:v>0.202898550724638</c:v>
                </c:pt>
                <c:pt idx="1713">
                  <c:v>0.202898550724638</c:v>
                </c:pt>
                <c:pt idx="1714">
                  <c:v>0.20297029702970301</c:v>
                </c:pt>
                <c:pt idx="1715">
                  <c:v>0.203007518796992</c:v>
                </c:pt>
                <c:pt idx="1716">
                  <c:v>0.20303030303030301</c:v>
                </c:pt>
                <c:pt idx="1717">
                  <c:v>0.20305781175346399</c:v>
                </c:pt>
                <c:pt idx="1718">
                  <c:v>0.20306513409961699</c:v>
                </c:pt>
                <c:pt idx="1719">
                  <c:v>0.20307405682347501</c:v>
                </c:pt>
                <c:pt idx="1720">
                  <c:v>0.203125</c:v>
                </c:pt>
                <c:pt idx="1721">
                  <c:v>0.20314173509460901</c:v>
                </c:pt>
                <c:pt idx="1722">
                  <c:v>0.20317246034424599</c:v>
                </c:pt>
                <c:pt idx="1723">
                  <c:v>0.203180212014134</c:v>
                </c:pt>
                <c:pt idx="1724">
                  <c:v>0.20318725099601601</c:v>
                </c:pt>
                <c:pt idx="1725">
                  <c:v>0.20319634703196299</c:v>
                </c:pt>
                <c:pt idx="1726">
                  <c:v>0.203252032520325</c:v>
                </c:pt>
                <c:pt idx="1727">
                  <c:v>0.20326936744847199</c:v>
                </c:pt>
                <c:pt idx="1728">
                  <c:v>0.20329670329670299</c:v>
                </c:pt>
                <c:pt idx="1729">
                  <c:v>0.20336391437308901</c:v>
                </c:pt>
                <c:pt idx="1730">
                  <c:v>0.20338983050847501</c:v>
                </c:pt>
                <c:pt idx="1731">
                  <c:v>0.20338983050847501</c:v>
                </c:pt>
                <c:pt idx="1732">
                  <c:v>0.20345744680851099</c:v>
                </c:pt>
                <c:pt idx="1733">
                  <c:v>0.203483768804434</c:v>
                </c:pt>
                <c:pt idx="1734">
                  <c:v>0.20348837209302301</c:v>
                </c:pt>
                <c:pt idx="1735">
                  <c:v>0.20348837209302301</c:v>
                </c:pt>
                <c:pt idx="1736">
                  <c:v>0.20355951056729699</c:v>
                </c:pt>
                <c:pt idx="1737">
                  <c:v>0.20357142857142899</c:v>
                </c:pt>
                <c:pt idx="1738">
                  <c:v>0.20358235037134101</c:v>
                </c:pt>
                <c:pt idx="1739">
                  <c:v>0.20359281437125701</c:v>
                </c:pt>
                <c:pt idx="1740">
                  <c:v>0.203631647211414</c:v>
                </c:pt>
                <c:pt idx="1741">
                  <c:v>0.203703703703704</c:v>
                </c:pt>
                <c:pt idx="1742">
                  <c:v>0.203703703703704</c:v>
                </c:pt>
                <c:pt idx="1743">
                  <c:v>0.20377019748653499</c:v>
                </c:pt>
                <c:pt idx="1744">
                  <c:v>0.20383779869659699</c:v>
                </c:pt>
                <c:pt idx="1745">
                  <c:v>0.20394736842105299</c:v>
                </c:pt>
                <c:pt idx="1746">
                  <c:v>0.20396776193428401</c:v>
                </c:pt>
                <c:pt idx="1747">
                  <c:v>0.20398009950248799</c:v>
                </c:pt>
                <c:pt idx="1748">
                  <c:v>0.20404040404040399</c:v>
                </c:pt>
                <c:pt idx="1749">
                  <c:v>0.20408163265306101</c:v>
                </c:pt>
                <c:pt idx="1750">
                  <c:v>0.20408163265306101</c:v>
                </c:pt>
                <c:pt idx="1751">
                  <c:v>0.204113924050633</c:v>
                </c:pt>
                <c:pt idx="1752">
                  <c:v>0.20412371134020599</c:v>
                </c:pt>
                <c:pt idx="1753">
                  <c:v>0.20413026211278801</c:v>
                </c:pt>
                <c:pt idx="1754">
                  <c:v>0.20415224913494801</c:v>
                </c:pt>
                <c:pt idx="1755">
                  <c:v>0.204166666666667</c:v>
                </c:pt>
                <c:pt idx="1756">
                  <c:v>0.20417124039517001</c:v>
                </c:pt>
                <c:pt idx="1757">
                  <c:v>0.20423412204234101</c:v>
                </c:pt>
                <c:pt idx="1758">
                  <c:v>0.20425531914893599</c:v>
                </c:pt>
                <c:pt idx="1759">
                  <c:v>0.204301075268817</c:v>
                </c:pt>
                <c:pt idx="1760">
                  <c:v>0.204353083434099</c:v>
                </c:pt>
                <c:pt idx="1761">
                  <c:v>0.204424103737605</c:v>
                </c:pt>
                <c:pt idx="1762">
                  <c:v>0.20443349753694601</c:v>
                </c:pt>
                <c:pt idx="1763">
                  <c:v>0.204481792717087</c:v>
                </c:pt>
                <c:pt idx="1764">
                  <c:v>0.20451339915373801</c:v>
                </c:pt>
                <c:pt idx="1765">
                  <c:v>0.20451339915373801</c:v>
                </c:pt>
                <c:pt idx="1766">
                  <c:v>0.204545454545455</c:v>
                </c:pt>
                <c:pt idx="1767">
                  <c:v>0.204545454545455</c:v>
                </c:pt>
                <c:pt idx="1768">
                  <c:v>0.204545454545455</c:v>
                </c:pt>
                <c:pt idx="1769">
                  <c:v>0.20460704607046101</c:v>
                </c:pt>
                <c:pt idx="1770">
                  <c:v>0.204783258594918</c:v>
                </c:pt>
                <c:pt idx="1771">
                  <c:v>0.20483870967741899</c:v>
                </c:pt>
                <c:pt idx="1772">
                  <c:v>0.204841713221601</c:v>
                </c:pt>
                <c:pt idx="1773">
                  <c:v>0.20484581497797399</c:v>
                </c:pt>
                <c:pt idx="1774">
                  <c:v>0.20485584218512901</c:v>
                </c:pt>
                <c:pt idx="1775">
                  <c:v>0.204918032786885</c:v>
                </c:pt>
                <c:pt idx="1776">
                  <c:v>0.204946996466431</c:v>
                </c:pt>
                <c:pt idx="1777">
                  <c:v>0.20499999999999999</c:v>
                </c:pt>
                <c:pt idx="1778">
                  <c:v>0.20512820512820501</c:v>
                </c:pt>
                <c:pt idx="1779">
                  <c:v>0.20512820512820501</c:v>
                </c:pt>
                <c:pt idx="1780">
                  <c:v>0.205164992826399</c:v>
                </c:pt>
                <c:pt idx="1781">
                  <c:v>0.20520673813170001</c:v>
                </c:pt>
                <c:pt idx="1782">
                  <c:v>0.20522388059701499</c:v>
                </c:pt>
                <c:pt idx="1783">
                  <c:v>0.20532319391635001</c:v>
                </c:pt>
                <c:pt idx="1784">
                  <c:v>0.20535714285714299</c:v>
                </c:pt>
                <c:pt idx="1785">
                  <c:v>0.205405405405405</c:v>
                </c:pt>
                <c:pt idx="1786">
                  <c:v>0.205410821643287</c:v>
                </c:pt>
                <c:pt idx="1787">
                  <c:v>0.20544918998527201</c:v>
                </c:pt>
                <c:pt idx="1788">
                  <c:v>0.20547945205479401</c:v>
                </c:pt>
                <c:pt idx="1789">
                  <c:v>0.205496828752643</c:v>
                </c:pt>
                <c:pt idx="1790">
                  <c:v>0.20549927641099899</c:v>
                </c:pt>
                <c:pt idx="1791">
                  <c:v>0.20550458715596301</c:v>
                </c:pt>
                <c:pt idx="1792">
                  <c:v>0.20552147239263799</c:v>
                </c:pt>
                <c:pt idx="1793">
                  <c:v>0.20552677029360999</c:v>
                </c:pt>
                <c:pt idx="1794">
                  <c:v>0.20555555555555599</c:v>
                </c:pt>
                <c:pt idx="1795">
                  <c:v>0.20555555555555599</c:v>
                </c:pt>
                <c:pt idx="1796">
                  <c:v>0.20562770562770599</c:v>
                </c:pt>
                <c:pt idx="1797">
                  <c:v>0.205663189269747</c:v>
                </c:pt>
                <c:pt idx="1798">
                  <c:v>0.20568070519098899</c:v>
                </c:pt>
                <c:pt idx="1799">
                  <c:v>0.205755395683453</c:v>
                </c:pt>
                <c:pt idx="1800">
                  <c:v>0.205821205821206</c:v>
                </c:pt>
                <c:pt idx="1801">
                  <c:v>0.20588235294117599</c:v>
                </c:pt>
                <c:pt idx="1802">
                  <c:v>0.20588235294117599</c:v>
                </c:pt>
                <c:pt idx="1803">
                  <c:v>0.206081081081081</c:v>
                </c:pt>
                <c:pt idx="1804">
                  <c:v>0.20612117426608401</c:v>
                </c:pt>
                <c:pt idx="1805">
                  <c:v>0.20612813370473501</c:v>
                </c:pt>
                <c:pt idx="1806">
                  <c:v>0.206180589087397</c:v>
                </c:pt>
                <c:pt idx="1807">
                  <c:v>0.20621931260229101</c:v>
                </c:pt>
                <c:pt idx="1808">
                  <c:v>0.206244864420707</c:v>
                </c:pt>
                <c:pt idx="1809">
                  <c:v>0.20627062706270599</c:v>
                </c:pt>
                <c:pt idx="1810">
                  <c:v>0.206451612903226</c:v>
                </c:pt>
                <c:pt idx="1811">
                  <c:v>0.20653789004457601</c:v>
                </c:pt>
                <c:pt idx="1812">
                  <c:v>0.20656370656370701</c:v>
                </c:pt>
                <c:pt idx="1813">
                  <c:v>0.206611570247934</c:v>
                </c:pt>
                <c:pt idx="1814">
                  <c:v>0.206666666666667</c:v>
                </c:pt>
                <c:pt idx="1815">
                  <c:v>0.206666666666667</c:v>
                </c:pt>
                <c:pt idx="1816">
                  <c:v>0.20669110907424401</c:v>
                </c:pt>
                <c:pt idx="1817">
                  <c:v>0.206703910614525</c:v>
                </c:pt>
                <c:pt idx="1818">
                  <c:v>0.20679012345678999</c:v>
                </c:pt>
                <c:pt idx="1819">
                  <c:v>0.20679012345678999</c:v>
                </c:pt>
                <c:pt idx="1820">
                  <c:v>0.20679886685552401</c:v>
                </c:pt>
                <c:pt idx="1821">
                  <c:v>0.20683453237410099</c:v>
                </c:pt>
                <c:pt idx="1822">
                  <c:v>0.206859592711683</c:v>
                </c:pt>
                <c:pt idx="1823">
                  <c:v>0.20688259109311699</c:v>
                </c:pt>
                <c:pt idx="1824">
                  <c:v>0.20689655172413801</c:v>
                </c:pt>
                <c:pt idx="1825">
                  <c:v>0.20689655172413801</c:v>
                </c:pt>
                <c:pt idx="1826">
                  <c:v>0.20693641618497099</c:v>
                </c:pt>
                <c:pt idx="1827">
                  <c:v>0.20694444444444399</c:v>
                </c:pt>
                <c:pt idx="1828">
                  <c:v>0.20695020746887999</c:v>
                </c:pt>
                <c:pt idx="1829">
                  <c:v>0.20696142991533401</c:v>
                </c:pt>
                <c:pt idx="1830">
                  <c:v>0.20700152207001499</c:v>
                </c:pt>
                <c:pt idx="1831">
                  <c:v>0.20715350223546899</c:v>
                </c:pt>
                <c:pt idx="1832">
                  <c:v>0.20720720720720701</c:v>
                </c:pt>
                <c:pt idx="1833">
                  <c:v>0.20720720720720701</c:v>
                </c:pt>
                <c:pt idx="1834">
                  <c:v>0.20720720720720701</c:v>
                </c:pt>
                <c:pt idx="1835">
                  <c:v>0.207219251336898</c:v>
                </c:pt>
                <c:pt idx="1836">
                  <c:v>0.20725075528700901</c:v>
                </c:pt>
                <c:pt idx="1837">
                  <c:v>0.207256046705588</c:v>
                </c:pt>
                <c:pt idx="1838">
                  <c:v>0.20730738681493199</c:v>
                </c:pt>
                <c:pt idx="1839">
                  <c:v>0.207317073170732</c:v>
                </c:pt>
                <c:pt idx="1840">
                  <c:v>0.207317073170732</c:v>
                </c:pt>
                <c:pt idx="1841">
                  <c:v>0.20735027223230501</c:v>
                </c:pt>
                <c:pt idx="1842">
                  <c:v>0.20738137082601099</c:v>
                </c:pt>
                <c:pt idx="1843">
                  <c:v>0.20743639921722101</c:v>
                </c:pt>
                <c:pt idx="1844">
                  <c:v>0.207538601271571</c:v>
                </c:pt>
                <c:pt idx="1845">
                  <c:v>0.207612456747405</c:v>
                </c:pt>
                <c:pt idx="1846">
                  <c:v>0.207612456747405</c:v>
                </c:pt>
                <c:pt idx="1847">
                  <c:v>0.20768940821711299</c:v>
                </c:pt>
                <c:pt idx="1848">
                  <c:v>0.20769230769230801</c:v>
                </c:pt>
                <c:pt idx="1849">
                  <c:v>0.207858048162231</c:v>
                </c:pt>
                <c:pt idx="1850">
                  <c:v>0.20787401574803099</c:v>
                </c:pt>
                <c:pt idx="1851">
                  <c:v>0.207955338450803</c:v>
                </c:pt>
                <c:pt idx="1852">
                  <c:v>0.20799999999999999</c:v>
                </c:pt>
                <c:pt idx="1853">
                  <c:v>0.20799999999999999</c:v>
                </c:pt>
                <c:pt idx="1854">
                  <c:v>0.20799999999999999</c:v>
                </c:pt>
                <c:pt idx="1855">
                  <c:v>0.20802005012531299</c:v>
                </c:pt>
                <c:pt idx="1856">
                  <c:v>0.20802005012531299</c:v>
                </c:pt>
                <c:pt idx="1857">
                  <c:v>0.20802919708029199</c:v>
                </c:pt>
                <c:pt idx="1858">
                  <c:v>0.20803782505910201</c:v>
                </c:pt>
                <c:pt idx="1859">
                  <c:v>0.20803782505910201</c:v>
                </c:pt>
                <c:pt idx="1860">
                  <c:v>0.20804794520547901</c:v>
                </c:pt>
                <c:pt idx="1861">
                  <c:v>0.20805369127516801</c:v>
                </c:pt>
                <c:pt idx="1862">
                  <c:v>0.20805369127516801</c:v>
                </c:pt>
                <c:pt idx="1863">
                  <c:v>0.20820668693009101</c:v>
                </c:pt>
                <c:pt idx="1864">
                  <c:v>0.20822942643391501</c:v>
                </c:pt>
                <c:pt idx="1865">
                  <c:v>0.20825688073394499</c:v>
                </c:pt>
                <c:pt idx="1866">
                  <c:v>0.20833333333333301</c:v>
                </c:pt>
                <c:pt idx="1867">
                  <c:v>0.20833333333333301</c:v>
                </c:pt>
                <c:pt idx="1868">
                  <c:v>0.20833333333333301</c:v>
                </c:pt>
                <c:pt idx="1869">
                  <c:v>0.20833333333333301</c:v>
                </c:pt>
                <c:pt idx="1870">
                  <c:v>0.20833333333333301</c:v>
                </c:pt>
                <c:pt idx="1871">
                  <c:v>0.208361429534727</c:v>
                </c:pt>
                <c:pt idx="1872">
                  <c:v>0.20844686648501401</c:v>
                </c:pt>
                <c:pt idx="1873">
                  <c:v>0.208465189873418</c:v>
                </c:pt>
                <c:pt idx="1874">
                  <c:v>0.208519068845963</c:v>
                </c:pt>
                <c:pt idx="1875">
                  <c:v>0.20860495436766599</c:v>
                </c:pt>
                <c:pt idx="1876">
                  <c:v>0.208695652173913</c:v>
                </c:pt>
                <c:pt idx="1877">
                  <c:v>0.208695652173913</c:v>
                </c:pt>
                <c:pt idx="1878">
                  <c:v>0.208754208754209</c:v>
                </c:pt>
                <c:pt idx="1879">
                  <c:v>0.208835341365462</c:v>
                </c:pt>
                <c:pt idx="1880">
                  <c:v>0.20895522388059701</c:v>
                </c:pt>
                <c:pt idx="1881">
                  <c:v>0.20895522388059701</c:v>
                </c:pt>
                <c:pt idx="1882">
                  <c:v>0.209039548022599</c:v>
                </c:pt>
                <c:pt idx="1883">
                  <c:v>0.20911528150134001</c:v>
                </c:pt>
                <c:pt idx="1884">
                  <c:v>0.209134615384615</c:v>
                </c:pt>
                <c:pt idx="1885">
                  <c:v>0.20915032679738599</c:v>
                </c:pt>
                <c:pt idx="1886">
                  <c:v>0.20916162489196199</c:v>
                </c:pt>
                <c:pt idx="1887">
                  <c:v>0.209205020920502</c:v>
                </c:pt>
                <c:pt idx="1888">
                  <c:v>0.209205020920502</c:v>
                </c:pt>
                <c:pt idx="1889">
                  <c:v>0.209246901811249</c:v>
                </c:pt>
                <c:pt idx="1890">
                  <c:v>0.209302325581395</c:v>
                </c:pt>
                <c:pt idx="1891">
                  <c:v>0.20937500000000001</c:v>
                </c:pt>
                <c:pt idx="1892">
                  <c:v>0.20937500000000001</c:v>
                </c:pt>
                <c:pt idx="1893">
                  <c:v>0.209382151029748</c:v>
                </c:pt>
                <c:pt idx="1894">
                  <c:v>0.209497206703911</c:v>
                </c:pt>
                <c:pt idx="1895">
                  <c:v>0.209537572254335</c:v>
                </c:pt>
                <c:pt idx="1896">
                  <c:v>0.20955315870570099</c:v>
                </c:pt>
                <c:pt idx="1897">
                  <c:v>0.209580838323353</c:v>
                </c:pt>
                <c:pt idx="1898">
                  <c:v>0.20962732919254701</c:v>
                </c:pt>
                <c:pt idx="1899">
                  <c:v>0.20979020979021001</c:v>
                </c:pt>
                <c:pt idx="1900">
                  <c:v>0.20983606557376999</c:v>
                </c:pt>
                <c:pt idx="1901">
                  <c:v>0.20986687548942801</c:v>
                </c:pt>
                <c:pt idx="1902">
                  <c:v>0.209876543209877</c:v>
                </c:pt>
                <c:pt idx="1903">
                  <c:v>0.209964412811388</c:v>
                </c:pt>
                <c:pt idx="1904">
                  <c:v>0.209964412811388</c:v>
                </c:pt>
                <c:pt idx="1905">
                  <c:v>0.21001221001220999</c:v>
                </c:pt>
                <c:pt idx="1906">
                  <c:v>0.210045662100457</c:v>
                </c:pt>
                <c:pt idx="1907">
                  <c:v>0.210069444444444</c:v>
                </c:pt>
                <c:pt idx="1908">
                  <c:v>0.210169491525424</c:v>
                </c:pt>
                <c:pt idx="1909">
                  <c:v>0.21018593371058999</c:v>
                </c:pt>
                <c:pt idx="1910">
                  <c:v>0.21033868092691599</c:v>
                </c:pt>
                <c:pt idx="1911">
                  <c:v>0.21036846615252799</c:v>
                </c:pt>
                <c:pt idx="1912">
                  <c:v>0.210374639769452</c:v>
                </c:pt>
                <c:pt idx="1913">
                  <c:v>0.21052631578947401</c:v>
                </c:pt>
                <c:pt idx="1914">
                  <c:v>0.21052631578947401</c:v>
                </c:pt>
                <c:pt idx="1915">
                  <c:v>0.21052631578947401</c:v>
                </c:pt>
                <c:pt idx="1916">
                  <c:v>0.21063122923588001</c:v>
                </c:pt>
                <c:pt idx="1917">
                  <c:v>0.21068702290076299</c:v>
                </c:pt>
                <c:pt idx="1918">
                  <c:v>0.21069182389937099</c:v>
                </c:pt>
                <c:pt idx="1919">
                  <c:v>0.21071428571428599</c:v>
                </c:pt>
                <c:pt idx="1920">
                  <c:v>0.21076233183856499</c:v>
                </c:pt>
                <c:pt idx="1921">
                  <c:v>0.21076233183856499</c:v>
                </c:pt>
                <c:pt idx="1922">
                  <c:v>0.21076923076923099</c:v>
                </c:pt>
                <c:pt idx="1923">
                  <c:v>0.210843373493976</c:v>
                </c:pt>
                <c:pt idx="1924">
                  <c:v>0.21089808274470201</c:v>
                </c:pt>
                <c:pt idx="1925">
                  <c:v>0.21093372036768299</c:v>
                </c:pt>
                <c:pt idx="1926">
                  <c:v>0.21096345514950199</c:v>
                </c:pt>
                <c:pt idx="1927">
                  <c:v>0.21097046413502099</c:v>
                </c:pt>
                <c:pt idx="1928">
                  <c:v>0.21098901098901099</c:v>
                </c:pt>
                <c:pt idx="1929">
                  <c:v>0.21100917431192701</c:v>
                </c:pt>
                <c:pt idx="1930">
                  <c:v>0.21115537848605601</c:v>
                </c:pt>
                <c:pt idx="1931">
                  <c:v>0.21118012422360199</c:v>
                </c:pt>
                <c:pt idx="1932">
                  <c:v>0.21118012422360199</c:v>
                </c:pt>
                <c:pt idx="1933">
                  <c:v>0.21126760563380301</c:v>
                </c:pt>
                <c:pt idx="1934">
                  <c:v>0.21131447587354399</c:v>
                </c:pt>
                <c:pt idx="1935">
                  <c:v>0.21132596685082899</c:v>
                </c:pt>
                <c:pt idx="1936">
                  <c:v>0.21134020618556701</c:v>
                </c:pt>
                <c:pt idx="1937">
                  <c:v>0.21135646687697199</c:v>
                </c:pt>
                <c:pt idx="1938">
                  <c:v>0.21135831381733</c:v>
                </c:pt>
                <c:pt idx="1939">
                  <c:v>0.21148459383753501</c:v>
                </c:pt>
                <c:pt idx="1940">
                  <c:v>0.21153846153846201</c:v>
                </c:pt>
                <c:pt idx="1941">
                  <c:v>0.21153846153846201</c:v>
                </c:pt>
                <c:pt idx="1942">
                  <c:v>0.21153846153846201</c:v>
                </c:pt>
                <c:pt idx="1943">
                  <c:v>0.21153846153846201</c:v>
                </c:pt>
                <c:pt idx="1944">
                  <c:v>0.21161825726141101</c:v>
                </c:pt>
                <c:pt idx="1945">
                  <c:v>0.21171171171171199</c:v>
                </c:pt>
                <c:pt idx="1946">
                  <c:v>0.21176470588235299</c:v>
                </c:pt>
                <c:pt idx="1947">
                  <c:v>0.21184510250569499</c:v>
                </c:pt>
                <c:pt idx="1948">
                  <c:v>0.21186440677966101</c:v>
                </c:pt>
                <c:pt idx="1949">
                  <c:v>0.21186440677966101</c:v>
                </c:pt>
                <c:pt idx="1950">
                  <c:v>0.21191680719505299</c:v>
                </c:pt>
                <c:pt idx="1951">
                  <c:v>0.212034383954155</c:v>
                </c:pt>
                <c:pt idx="1952">
                  <c:v>0.212034383954155</c:v>
                </c:pt>
                <c:pt idx="1953">
                  <c:v>0.21209858103061999</c:v>
                </c:pt>
                <c:pt idx="1954">
                  <c:v>0.21210191082802499</c:v>
                </c:pt>
                <c:pt idx="1955">
                  <c:v>0.21212121212121199</c:v>
                </c:pt>
                <c:pt idx="1956">
                  <c:v>0.21216617210682501</c:v>
                </c:pt>
                <c:pt idx="1957">
                  <c:v>0.212307692307692</c:v>
                </c:pt>
                <c:pt idx="1958">
                  <c:v>0.212389380530973</c:v>
                </c:pt>
                <c:pt idx="1959">
                  <c:v>0.212389380530973</c:v>
                </c:pt>
                <c:pt idx="1960">
                  <c:v>0.21242484969939901</c:v>
                </c:pt>
                <c:pt idx="1961">
                  <c:v>0.21249999999999999</c:v>
                </c:pt>
                <c:pt idx="1962">
                  <c:v>0.21249999999999999</c:v>
                </c:pt>
                <c:pt idx="1963">
                  <c:v>0.212543554006969</c:v>
                </c:pt>
                <c:pt idx="1964">
                  <c:v>0.21256038647343001</c:v>
                </c:pt>
                <c:pt idx="1965">
                  <c:v>0.21259842519684999</c:v>
                </c:pt>
                <c:pt idx="1966">
                  <c:v>0.21264367816092</c:v>
                </c:pt>
                <c:pt idx="1967">
                  <c:v>0.21266968325791899</c:v>
                </c:pt>
                <c:pt idx="1968">
                  <c:v>0.212678936605317</c:v>
                </c:pt>
                <c:pt idx="1969">
                  <c:v>0.212686567164179</c:v>
                </c:pt>
                <c:pt idx="1970">
                  <c:v>0.212686567164179</c:v>
                </c:pt>
                <c:pt idx="1971">
                  <c:v>0.212703101920236</c:v>
                </c:pt>
                <c:pt idx="1972">
                  <c:v>0.212844036697248</c:v>
                </c:pt>
                <c:pt idx="1973">
                  <c:v>0.21285140562249</c:v>
                </c:pt>
                <c:pt idx="1974">
                  <c:v>0.21296296296296299</c:v>
                </c:pt>
                <c:pt idx="1975">
                  <c:v>0.21301775147929</c:v>
                </c:pt>
                <c:pt idx="1976">
                  <c:v>0.21301775147929</c:v>
                </c:pt>
                <c:pt idx="1977">
                  <c:v>0.213114754098361</c:v>
                </c:pt>
                <c:pt idx="1978">
                  <c:v>0.213114754098361</c:v>
                </c:pt>
                <c:pt idx="1979">
                  <c:v>0.21314741035856599</c:v>
                </c:pt>
                <c:pt idx="1980">
                  <c:v>0.21316614420062699</c:v>
                </c:pt>
                <c:pt idx="1981">
                  <c:v>0.213173119715176</c:v>
                </c:pt>
                <c:pt idx="1982">
                  <c:v>0.21317829457364301</c:v>
                </c:pt>
                <c:pt idx="1983">
                  <c:v>0.21319796954314699</c:v>
                </c:pt>
                <c:pt idx="1984">
                  <c:v>0.21334503950834099</c:v>
                </c:pt>
                <c:pt idx="1985">
                  <c:v>0.21336760925449899</c:v>
                </c:pt>
                <c:pt idx="1986">
                  <c:v>0.21338155515370699</c:v>
                </c:pt>
                <c:pt idx="1987">
                  <c:v>0.213406292749658</c:v>
                </c:pt>
                <c:pt idx="1988">
                  <c:v>0.21346153846153801</c:v>
                </c:pt>
                <c:pt idx="1989">
                  <c:v>0.213483146067416</c:v>
                </c:pt>
                <c:pt idx="1990">
                  <c:v>0.21354166666666699</c:v>
                </c:pt>
                <c:pt idx="1991">
                  <c:v>0.21356783919597999</c:v>
                </c:pt>
                <c:pt idx="1992">
                  <c:v>0.213592233009709</c:v>
                </c:pt>
                <c:pt idx="1993">
                  <c:v>0.213592233009709</c:v>
                </c:pt>
                <c:pt idx="1994">
                  <c:v>0.213592233009709</c:v>
                </c:pt>
                <c:pt idx="1995">
                  <c:v>0.213592233009709</c:v>
                </c:pt>
                <c:pt idx="1996">
                  <c:v>0.21370967741935501</c:v>
                </c:pt>
                <c:pt idx="1997">
                  <c:v>0.213776722090261</c:v>
                </c:pt>
                <c:pt idx="1998">
                  <c:v>0.21381578947368399</c:v>
                </c:pt>
                <c:pt idx="1999">
                  <c:v>0.21390374331550799</c:v>
                </c:pt>
                <c:pt idx="2000">
                  <c:v>0.21392190152801399</c:v>
                </c:pt>
                <c:pt idx="2001">
                  <c:v>0.21393034825870599</c:v>
                </c:pt>
                <c:pt idx="2002">
                  <c:v>0.21393034825870599</c:v>
                </c:pt>
                <c:pt idx="2003">
                  <c:v>0.21394230769230799</c:v>
                </c:pt>
                <c:pt idx="2004">
                  <c:v>0.213973799126638</c:v>
                </c:pt>
                <c:pt idx="2005">
                  <c:v>0.21401515151515199</c:v>
                </c:pt>
                <c:pt idx="2006">
                  <c:v>0.214067278287462</c:v>
                </c:pt>
                <c:pt idx="2007">
                  <c:v>0.21409214092140899</c:v>
                </c:pt>
                <c:pt idx="2008">
                  <c:v>0.21409574468085099</c:v>
                </c:pt>
                <c:pt idx="2009">
                  <c:v>0.21418439716312099</c:v>
                </c:pt>
                <c:pt idx="2010">
                  <c:v>0.214285714285714</c:v>
                </c:pt>
                <c:pt idx="2011">
                  <c:v>0.214285714285714</c:v>
                </c:pt>
                <c:pt idx="2012">
                  <c:v>0.214285714285714</c:v>
                </c:pt>
                <c:pt idx="2013">
                  <c:v>0.214285714285714</c:v>
                </c:pt>
                <c:pt idx="2014">
                  <c:v>0.214285714285714</c:v>
                </c:pt>
                <c:pt idx="2015">
                  <c:v>0.214285714285714</c:v>
                </c:pt>
                <c:pt idx="2016">
                  <c:v>0.214285714285714</c:v>
                </c:pt>
                <c:pt idx="2017">
                  <c:v>0.214285714285714</c:v>
                </c:pt>
                <c:pt idx="2018">
                  <c:v>0.214285714285714</c:v>
                </c:pt>
                <c:pt idx="2019">
                  <c:v>0.214285714285714</c:v>
                </c:pt>
                <c:pt idx="2020">
                  <c:v>0.214285714285714</c:v>
                </c:pt>
                <c:pt idx="2021">
                  <c:v>0.214285714285714</c:v>
                </c:pt>
                <c:pt idx="2022">
                  <c:v>0.21436004162330899</c:v>
                </c:pt>
                <c:pt idx="2023">
                  <c:v>0.214482126489459</c:v>
                </c:pt>
                <c:pt idx="2024">
                  <c:v>0.214511041009464</c:v>
                </c:pt>
                <c:pt idx="2025">
                  <c:v>0.21453287197231799</c:v>
                </c:pt>
                <c:pt idx="2026">
                  <c:v>0.214539007092199</c:v>
                </c:pt>
                <c:pt idx="2027">
                  <c:v>0.21455223880596999</c:v>
                </c:pt>
                <c:pt idx="2028">
                  <c:v>0.21456364647026099</c:v>
                </c:pt>
                <c:pt idx="2029">
                  <c:v>0.21457489878542499</c:v>
                </c:pt>
                <c:pt idx="2030">
                  <c:v>0.214622641509434</c:v>
                </c:pt>
                <c:pt idx="2031">
                  <c:v>0.21464393179538599</c:v>
                </c:pt>
                <c:pt idx="2032">
                  <c:v>0.21467391304347799</c:v>
                </c:pt>
                <c:pt idx="2033">
                  <c:v>0.21468298109010001</c:v>
                </c:pt>
                <c:pt idx="2034">
                  <c:v>0.21476510067114099</c:v>
                </c:pt>
                <c:pt idx="2035">
                  <c:v>0.21478873239436599</c:v>
                </c:pt>
                <c:pt idx="2036">
                  <c:v>0.21480709071949899</c:v>
                </c:pt>
                <c:pt idx="2037">
                  <c:v>0.214876033057851</c:v>
                </c:pt>
                <c:pt idx="2038">
                  <c:v>0.214876033057851</c:v>
                </c:pt>
                <c:pt idx="2039">
                  <c:v>0.214876033057851</c:v>
                </c:pt>
                <c:pt idx="2040">
                  <c:v>0.21495327102803699</c:v>
                </c:pt>
                <c:pt idx="2041">
                  <c:v>0.21505376344086</c:v>
                </c:pt>
                <c:pt idx="2042">
                  <c:v>0.21505376344086</c:v>
                </c:pt>
                <c:pt idx="2043">
                  <c:v>0.215189873417722</c:v>
                </c:pt>
                <c:pt idx="2044">
                  <c:v>0.21524201853759001</c:v>
                </c:pt>
                <c:pt idx="2045">
                  <c:v>0.21527777777777801</c:v>
                </c:pt>
                <c:pt idx="2046">
                  <c:v>0.21527777777777801</c:v>
                </c:pt>
                <c:pt idx="2047">
                  <c:v>0.21527777777777801</c:v>
                </c:pt>
                <c:pt idx="2048">
                  <c:v>0.21531100478468901</c:v>
                </c:pt>
                <c:pt idx="2049">
                  <c:v>0.21533258173618899</c:v>
                </c:pt>
                <c:pt idx="2050">
                  <c:v>0.21533923303834801</c:v>
                </c:pt>
                <c:pt idx="2051">
                  <c:v>0.215439856373429</c:v>
                </c:pt>
                <c:pt idx="2052">
                  <c:v>0.21551724137931</c:v>
                </c:pt>
                <c:pt idx="2053">
                  <c:v>0.215538847117794</c:v>
                </c:pt>
                <c:pt idx="2054">
                  <c:v>0.215568862275449</c:v>
                </c:pt>
                <c:pt idx="2055">
                  <c:v>0.21557971014492799</c:v>
                </c:pt>
                <c:pt idx="2056">
                  <c:v>0.215608465608466</c:v>
                </c:pt>
                <c:pt idx="2057">
                  <c:v>0.21563088512241099</c:v>
                </c:pt>
                <c:pt idx="2058">
                  <c:v>0.215633423180593</c:v>
                </c:pt>
                <c:pt idx="2059">
                  <c:v>0.21563981042654001</c:v>
                </c:pt>
                <c:pt idx="2060">
                  <c:v>0.215753424657534</c:v>
                </c:pt>
                <c:pt idx="2061">
                  <c:v>0.21589561091340401</c:v>
                </c:pt>
                <c:pt idx="2062">
                  <c:v>0.21594684385382101</c:v>
                </c:pt>
                <c:pt idx="2063">
                  <c:v>0.215962441314554</c:v>
                </c:pt>
                <c:pt idx="2064">
                  <c:v>0.216</c:v>
                </c:pt>
                <c:pt idx="2065">
                  <c:v>0.21601489757914299</c:v>
                </c:pt>
                <c:pt idx="2066">
                  <c:v>0.21602288984263199</c:v>
                </c:pt>
                <c:pt idx="2067">
                  <c:v>0.21608832807570999</c:v>
                </c:pt>
                <c:pt idx="2068">
                  <c:v>0.21611721611721599</c:v>
                </c:pt>
                <c:pt idx="2069">
                  <c:v>0.21614035087719299</c:v>
                </c:pt>
                <c:pt idx="2070">
                  <c:v>0.21621621621621601</c:v>
                </c:pt>
                <c:pt idx="2071">
                  <c:v>0.21627050552393701</c:v>
                </c:pt>
                <c:pt idx="2072">
                  <c:v>0.21627906976744199</c:v>
                </c:pt>
                <c:pt idx="2073">
                  <c:v>0.216322517207473</c:v>
                </c:pt>
                <c:pt idx="2074">
                  <c:v>0.216432865731463</c:v>
                </c:pt>
                <c:pt idx="2075">
                  <c:v>0.21652421652421699</c:v>
                </c:pt>
                <c:pt idx="2076">
                  <c:v>0.21656050955414</c:v>
                </c:pt>
                <c:pt idx="2077">
                  <c:v>0.216572504708098</c:v>
                </c:pt>
                <c:pt idx="2078">
                  <c:v>0.21661721068249301</c:v>
                </c:pt>
                <c:pt idx="2079">
                  <c:v>0.21663778162911601</c:v>
                </c:pt>
                <c:pt idx="2080">
                  <c:v>0.21663778162911601</c:v>
                </c:pt>
                <c:pt idx="2081">
                  <c:v>0.21666666666666701</c:v>
                </c:pt>
                <c:pt idx="2082">
                  <c:v>0.216796875</c:v>
                </c:pt>
                <c:pt idx="2083">
                  <c:v>0.216911764705882</c:v>
                </c:pt>
                <c:pt idx="2084">
                  <c:v>0.21702127659574499</c:v>
                </c:pt>
                <c:pt idx="2085">
                  <c:v>0.21704297159504701</c:v>
                </c:pt>
                <c:pt idx="2086">
                  <c:v>0.217105263157895</c:v>
                </c:pt>
                <c:pt idx="2087">
                  <c:v>0.21717877094972099</c:v>
                </c:pt>
                <c:pt idx="2088">
                  <c:v>0.21721311475409799</c:v>
                </c:pt>
                <c:pt idx="2089">
                  <c:v>0.21726862302483099</c:v>
                </c:pt>
                <c:pt idx="2090">
                  <c:v>0.21731123388581999</c:v>
                </c:pt>
                <c:pt idx="2091">
                  <c:v>0.21734939759036101</c:v>
                </c:pt>
                <c:pt idx="2092">
                  <c:v>0.217391304347826</c:v>
                </c:pt>
                <c:pt idx="2093">
                  <c:v>0.217391304347826</c:v>
                </c:pt>
                <c:pt idx="2094">
                  <c:v>0.217391304347826</c:v>
                </c:pt>
                <c:pt idx="2095">
                  <c:v>0.217391304347826</c:v>
                </c:pt>
                <c:pt idx="2096">
                  <c:v>0.217391304347826</c:v>
                </c:pt>
                <c:pt idx="2097">
                  <c:v>0.217391304347826</c:v>
                </c:pt>
                <c:pt idx="2098">
                  <c:v>0.21756487025948101</c:v>
                </c:pt>
                <c:pt idx="2099">
                  <c:v>0.21757322175732199</c:v>
                </c:pt>
                <c:pt idx="2100">
                  <c:v>0.217647058823529</c:v>
                </c:pt>
                <c:pt idx="2101">
                  <c:v>0.21772639691714801</c:v>
                </c:pt>
                <c:pt idx="2102">
                  <c:v>0.21776259607173401</c:v>
                </c:pt>
                <c:pt idx="2103">
                  <c:v>0.21780303030303</c:v>
                </c:pt>
                <c:pt idx="2104">
                  <c:v>0.217914438502674</c:v>
                </c:pt>
                <c:pt idx="2105">
                  <c:v>0.217936354869817</c:v>
                </c:pt>
                <c:pt idx="2106">
                  <c:v>0.21796071094480801</c:v>
                </c:pt>
                <c:pt idx="2107">
                  <c:v>0.21798365122615801</c:v>
                </c:pt>
                <c:pt idx="2108">
                  <c:v>0.21802518223989401</c:v>
                </c:pt>
                <c:pt idx="2109">
                  <c:v>0.21806167400881099</c:v>
                </c:pt>
                <c:pt idx="2110">
                  <c:v>0.21807747489239601</c:v>
                </c:pt>
                <c:pt idx="2111">
                  <c:v>0.21808510638297901</c:v>
                </c:pt>
                <c:pt idx="2112">
                  <c:v>0.218092566619916</c:v>
                </c:pt>
                <c:pt idx="2113">
                  <c:v>0.21812080536912701</c:v>
                </c:pt>
                <c:pt idx="2114">
                  <c:v>0.218181818181818</c:v>
                </c:pt>
                <c:pt idx="2115">
                  <c:v>0.218181818181818</c:v>
                </c:pt>
                <c:pt idx="2116">
                  <c:v>0.218274111675127</c:v>
                </c:pt>
                <c:pt idx="2117">
                  <c:v>0.21827861579414401</c:v>
                </c:pt>
                <c:pt idx="2118">
                  <c:v>0.21829268292682899</c:v>
                </c:pt>
                <c:pt idx="2119">
                  <c:v>0.21842105263157899</c:v>
                </c:pt>
                <c:pt idx="2120">
                  <c:v>0.218430034129693</c:v>
                </c:pt>
                <c:pt idx="2121">
                  <c:v>0.218500797448166</c:v>
                </c:pt>
                <c:pt idx="2122">
                  <c:v>0.218556701030928</c:v>
                </c:pt>
                <c:pt idx="2123">
                  <c:v>0.21863799283154101</c:v>
                </c:pt>
                <c:pt idx="2124">
                  <c:v>0.21875</c:v>
                </c:pt>
                <c:pt idx="2125">
                  <c:v>0.21875</c:v>
                </c:pt>
                <c:pt idx="2126">
                  <c:v>0.218823529411765</c:v>
                </c:pt>
                <c:pt idx="2127">
                  <c:v>0.218855218855219</c:v>
                </c:pt>
                <c:pt idx="2128">
                  <c:v>0.218867924528302</c:v>
                </c:pt>
                <c:pt idx="2129">
                  <c:v>0.21891311022413301</c:v>
                </c:pt>
                <c:pt idx="2130">
                  <c:v>0.21892393320964701</c:v>
                </c:pt>
                <c:pt idx="2131">
                  <c:v>0.218992248062015</c:v>
                </c:pt>
                <c:pt idx="2132">
                  <c:v>0.21900161030595799</c:v>
                </c:pt>
                <c:pt idx="2133">
                  <c:v>0.219015280135823</c:v>
                </c:pt>
                <c:pt idx="2134">
                  <c:v>0.219020172910663</c:v>
                </c:pt>
                <c:pt idx="2135">
                  <c:v>0.219064535227946</c:v>
                </c:pt>
                <c:pt idx="2136">
                  <c:v>0.21910415542363701</c:v>
                </c:pt>
                <c:pt idx="2137">
                  <c:v>0.21911262798634801</c:v>
                </c:pt>
                <c:pt idx="2138">
                  <c:v>0.21914480077745399</c:v>
                </c:pt>
                <c:pt idx="2139">
                  <c:v>0.21925754060324801</c:v>
                </c:pt>
                <c:pt idx="2140">
                  <c:v>0.21926910299003299</c:v>
                </c:pt>
                <c:pt idx="2141">
                  <c:v>0.21945701357466099</c:v>
                </c:pt>
                <c:pt idx="2142">
                  <c:v>0.219512195121951</c:v>
                </c:pt>
                <c:pt idx="2143">
                  <c:v>0.219512195121951</c:v>
                </c:pt>
                <c:pt idx="2144">
                  <c:v>0.21955128205128199</c:v>
                </c:pt>
                <c:pt idx="2145">
                  <c:v>0.219554030874786</c:v>
                </c:pt>
                <c:pt idx="2146">
                  <c:v>0.21968365553602801</c:v>
                </c:pt>
                <c:pt idx="2147">
                  <c:v>0.21969696969697</c:v>
                </c:pt>
                <c:pt idx="2148">
                  <c:v>0.21976744186046501</c:v>
                </c:pt>
                <c:pt idx="2149">
                  <c:v>0.21978021978022</c:v>
                </c:pt>
                <c:pt idx="2150">
                  <c:v>0.21978021978022</c:v>
                </c:pt>
                <c:pt idx="2151">
                  <c:v>0.22003284072249599</c:v>
                </c:pt>
                <c:pt idx="2152">
                  <c:v>0.220055710306407</c:v>
                </c:pt>
                <c:pt idx="2153">
                  <c:v>0.22029702970296999</c:v>
                </c:pt>
                <c:pt idx="2154">
                  <c:v>0.22030981067125599</c:v>
                </c:pt>
                <c:pt idx="2155">
                  <c:v>0.22033898305084701</c:v>
                </c:pt>
                <c:pt idx="2156">
                  <c:v>0.22038567493112901</c:v>
                </c:pt>
                <c:pt idx="2157">
                  <c:v>0.220472440944882</c:v>
                </c:pt>
                <c:pt idx="2158">
                  <c:v>0.220472440944882</c:v>
                </c:pt>
                <c:pt idx="2159">
                  <c:v>0.22051282051282001</c:v>
                </c:pt>
                <c:pt idx="2160">
                  <c:v>0.22051773729626101</c:v>
                </c:pt>
                <c:pt idx="2161">
                  <c:v>0.22054380664652601</c:v>
                </c:pt>
                <c:pt idx="2162">
                  <c:v>0.220588235294118</c:v>
                </c:pt>
                <c:pt idx="2163">
                  <c:v>0.220661157024793</c:v>
                </c:pt>
                <c:pt idx="2164">
                  <c:v>0.22072072072072099</c:v>
                </c:pt>
                <c:pt idx="2165">
                  <c:v>0.22072936660268699</c:v>
                </c:pt>
                <c:pt idx="2166">
                  <c:v>0.22077922077922099</c:v>
                </c:pt>
                <c:pt idx="2167">
                  <c:v>0.22077922077922099</c:v>
                </c:pt>
                <c:pt idx="2168">
                  <c:v>0.22083333333333299</c:v>
                </c:pt>
                <c:pt idx="2169">
                  <c:v>0.22085308056871999</c:v>
                </c:pt>
                <c:pt idx="2170">
                  <c:v>0.22089947089947101</c:v>
                </c:pt>
                <c:pt idx="2171">
                  <c:v>0.22090261282660301</c:v>
                </c:pt>
                <c:pt idx="2172">
                  <c:v>0.22093023255814001</c:v>
                </c:pt>
                <c:pt idx="2173">
                  <c:v>0.22093023255814001</c:v>
                </c:pt>
                <c:pt idx="2174">
                  <c:v>0.22093023255814001</c:v>
                </c:pt>
                <c:pt idx="2175">
                  <c:v>0.220949263502455</c:v>
                </c:pt>
                <c:pt idx="2176">
                  <c:v>0.221052631578947</c:v>
                </c:pt>
                <c:pt idx="2177">
                  <c:v>0.221052631578947</c:v>
                </c:pt>
                <c:pt idx="2178">
                  <c:v>0.221070811744387</c:v>
                </c:pt>
                <c:pt idx="2179">
                  <c:v>0.22108843537414999</c:v>
                </c:pt>
                <c:pt idx="2180">
                  <c:v>0.221176470588235</c:v>
                </c:pt>
                <c:pt idx="2181">
                  <c:v>0.221179624664879</c:v>
                </c:pt>
                <c:pt idx="2182">
                  <c:v>0.22124863088718499</c:v>
                </c:pt>
                <c:pt idx="2183">
                  <c:v>0.22125813449023901</c:v>
                </c:pt>
                <c:pt idx="2184">
                  <c:v>0.22135922330097099</c:v>
                </c:pt>
                <c:pt idx="2185">
                  <c:v>0.221374045801527</c:v>
                </c:pt>
                <c:pt idx="2186">
                  <c:v>0.22148394241417499</c:v>
                </c:pt>
                <c:pt idx="2187">
                  <c:v>0.22162162162162199</c:v>
                </c:pt>
                <c:pt idx="2188">
                  <c:v>0.22166246851385399</c:v>
                </c:pt>
                <c:pt idx="2189">
                  <c:v>0.22168087697929401</c:v>
                </c:pt>
                <c:pt idx="2190">
                  <c:v>0.22171945701357501</c:v>
                </c:pt>
                <c:pt idx="2191">
                  <c:v>0.22172949002217299</c:v>
                </c:pt>
                <c:pt idx="2192">
                  <c:v>0.221748400852878</c:v>
                </c:pt>
                <c:pt idx="2193">
                  <c:v>0.221763085399449</c:v>
                </c:pt>
                <c:pt idx="2194">
                  <c:v>0.22178988326848201</c:v>
                </c:pt>
                <c:pt idx="2195">
                  <c:v>0.221818181818182</c:v>
                </c:pt>
                <c:pt idx="2196">
                  <c:v>0.221830985915493</c:v>
                </c:pt>
                <c:pt idx="2197">
                  <c:v>0.221941992433796</c:v>
                </c:pt>
                <c:pt idx="2198">
                  <c:v>0.22199170124481299</c:v>
                </c:pt>
                <c:pt idx="2199">
                  <c:v>0.22200895713371699</c:v>
                </c:pt>
                <c:pt idx="2200">
                  <c:v>0.22208883553421399</c:v>
                </c:pt>
                <c:pt idx="2201">
                  <c:v>0.22211004543160001</c:v>
                </c:pt>
                <c:pt idx="2202">
                  <c:v>0.22222222222222199</c:v>
                </c:pt>
                <c:pt idx="2203">
                  <c:v>0.22222222222222199</c:v>
                </c:pt>
                <c:pt idx="2204">
                  <c:v>0.22222222222222199</c:v>
                </c:pt>
                <c:pt idx="2205">
                  <c:v>0.22222222222222199</c:v>
                </c:pt>
                <c:pt idx="2206">
                  <c:v>0.22222222222222199</c:v>
                </c:pt>
                <c:pt idx="2207">
                  <c:v>0.22222222222222199</c:v>
                </c:pt>
                <c:pt idx="2208">
                  <c:v>0.22222222222222199</c:v>
                </c:pt>
                <c:pt idx="2209">
                  <c:v>0.22239263803681</c:v>
                </c:pt>
                <c:pt idx="2210">
                  <c:v>0.222457627118644</c:v>
                </c:pt>
                <c:pt idx="2211">
                  <c:v>0.22264770240700199</c:v>
                </c:pt>
                <c:pt idx="2212">
                  <c:v>0.22267206477732801</c:v>
                </c:pt>
                <c:pt idx="2213">
                  <c:v>0.222689075630252</c:v>
                </c:pt>
                <c:pt idx="2214">
                  <c:v>0.222689075630252</c:v>
                </c:pt>
                <c:pt idx="2215">
                  <c:v>0.22271517302573199</c:v>
                </c:pt>
                <c:pt idx="2216">
                  <c:v>0.222780569514238</c:v>
                </c:pt>
                <c:pt idx="2217">
                  <c:v>0.22279792746113999</c:v>
                </c:pt>
                <c:pt idx="2218">
                  <c:v>0.222857142857143</c:v>
                </c:pt>
                <c:pt idx="2219">
                  <c:v>0.222857142857143</c:v>
                </c:pt>
                <c:pt idx="2220">
                  <c:v>0.222857142857143</c:v>
                </c:pt>
                <c:pt idx="2221">
                  <c:v>0.22289156626505999</c:v>
                </c:pt>
                <c:pt idx="2222">
                  <c:v>0.22291904218928199</c:v>
                </c:pt>
                <c:pt idx="2223">
                  <c:v>0.222932651321398</c:v>
                </c:pt>
                <c:pt idx="2224">
                  <c:v>0.22300884955752201</c:v>
                </c:pt>
                <c:pt idx="2225">
                  <c:v>0.223118279569892</c:v>
                </c:pt>
                <c:pt idx="2226">
                  <c:v>0.223196881091618</c:v>
                </c:pt>
                <c:pt idx="2227">
                  <c:v>0.223214285714286</c:v>
                </c:pt>
                <c:pt idx="2228">
                  <c:v>0.223227752639517</c:v>
                </c:pt>
                <c:pt idx="2229">
                  <c:v>0.223300970873786</c:v>
                </c:pt>
                <c:pt idx="2230">
                  <c:v>0.223306894447834</c:v>
                </c:pt>
                <c:pt idx="2231">
                  <c:v>0.22334293948126799</c:v>
                </c:pt>
                <c:pt idx="2232">
                  <c:v>0.22340425531914901</c:v>
                </c:pt>
                <c:pt idx="2233">
                  <c:v>0.22340425531914901</c:v>
                </c:pt>
                <c:pt idx="2234">
                  <c:v>0.22340425531914901</c:v>
                </c:pt>
                <c:pt idx="2235">
                  <c:v>0.223423423423423</c:v>
                </c:pt>
                <c:pt idx="2236">
                  <c:v>0.223502304147465</c:v>
                </c:pt>
                <c:pt idx="2237">
                  <c:v>0.223570190641248</c:v>
                </c:pt>
                <c:pt idx="2238">
                  <c:v>0.223580158159597</c:v>
                </c:pt>
                <c:pt idx="2239">
                  <c:v>0.22362869198312199</c:v>
                </c:pt>
                <c:pt idx="2240">
                  <c:v>0.22365591397849499</c:v>
                </c:pt>
                <c:pt idx="2241">
                  <c:v>0.22368421052631601</c:v>
                </c:pt>
                <c:pt idx="2242">
                  <c:v>0.22368421052631601</c:v>
                </c:pt>
                <c:pt idx="2243">
                  <c:v>0.22368421052631601</c:v>
                </c:pt>
                <c:pt idx="2244">
                  <c:v>0.22382198952879601</c:v>
                </c:pt>
                <c:pt idx="2245">
                  <c:v>0.223856209150327</c:v>
                </c:pt>
                <c:pt idx="2246">
                  <c:v>0.22388059701492499</c:v>
                </c:pt>
                <c:pt idx="2247">
                  <c:v>0.22395833333333301</c:v>
                </c:pt>
                <c:pt idx="2248">
                  <c:v>0.224</c:v>
                </c:pt>
                <c:pt idx="2249">
                  <c:v>0.22401847575057701</c:v>
                </c:pt>
                <c:pt idx="2250">
                  <c:v>0.22404371584699501</c:v>
                </c:pt>
                <c:pt idx="2251">
                  <c:v>0.22413793103448301</c:v>
                </c:pt>
                <c:pt idx="2252">
                  <c:v>0.22413793103448301</c:v>
                </c:pt>
                <c:pt idx="2253">
                  <c:v>0.22413793103448301</c:v>
                </c:pt>
                <c:pt idx="2254">
                  <c:v>0.22413793103448301</c:v>
                </c:pt>
                <c:pt idx="2255">
                  <c:v>0.22413793103448301</c:v>
                </c:pt>
                <c:pt idx="2256">
                  <c:v>0.224165341812401</c:v>
                </c:pt>
                <c:pt idx="2257">
                  <c:v>0.22417582417582399</c:v>
                </c:pt>
                <c:pt idx="2258">
                  <c:v>0.224188790560472</c:v>
                </c:pt>
                <c:pt idx="2259">
                  <c:v>0.22429906542056099</c:v>
                </c:pt>
                <c:pt idx="2260">
                  <c:v>0.22432701894317</c:v>
                </c:pt>
                <c:pt idx="2261">
                  <c:v>0.22452504317789301</c:v>
                </c:pt>
                <c:pt idx="2262">
                  <c:v>0.224586288416076</c:v>
                </c:pt>
                <c:pt idx="2263">
                  <c:v>0.22459893048128299</c:v>
                </c:pt>
                <c:pt idx="2264">
                  <c:v>0.22459893048128299</c:v>
                </c:pt>
                <c:pt idx="2265">
                  <c:v>0.22466960352422899</c:v>
                </c:pt>
                <c:pt idx="2266">
                  <c:v>0.224719101123595</c:v>
                </c:pt>
                <c:pt idx="2267">
                  <c:v>0.224719101123595</c:v>
                </c:pt>
                <c:pt idx="2268">
                  <c:v>0.224738675958188</c:v>
                </c:pt>
                <c:pt idx="2269">
                  <c:v>0.224761904761905</c:v>
                </c:pt>
                <c:pt idx="2270">
                  <c:v>0.22482014388489199</c:v>
                </c:pt>
                <c:pt idx="2271">
                  <c:v>0.22486772486772499</c:v>
                </c:pt>
                <c:pt idx="2272">
                  <c:v>0.22492836676217801</c:v>
                </c:pt>
                <c:pt idx="2273">
                  <c:v>0.22500000000000001</c:v>
                </c:pt>
                <c:pt idx="2274">
                  <c:v>0.22500000000000001</c:v>
                </c:pt>
                <c:pt idx="2275">
                  <c:v>0.22503082614056699</c:v>
                </c:pt>
                <c:pt idx="2276">
                  <c:v>0.22508038585209</c:v>
                </c:pt>
                <c:pt idx="2277">
                  <c:v>0.225247524752475</c:v>
                </c:pt>
                <c:pt idx="2278">
                  <c:v>0.22526737967914401</c:v>
                </c:pt>
                <c:pt idx="2279">
                  <c:v>0.22527158376215001</c:v>
                </c:pt>
                <c:pt idx="2280">
                  <c:v>0.225274725274725</c:v>
                </c:pt>
                <c:pt idx="2281">
                  <c:v>0.22535211267605601</c:v>
                </c:pt>
                <c:pt idx="2282">
                  <c:v>0.22540983606557399</c:v>
                </c:pt>
                <c:pt idx="2283">
                  <c:v>0.22542204568023799</c:v>
                </c:pt>
                <c:pt idx="2284">
                  <c:v>0.22546012269938601</c:v>
                </c:pt>
                <c:pt idx="2285">
                  <c:v>0.22550432276657101</c:v>
                </c:pt>
                <c:pt idx="2286">
                  <c:v>0.22551928783382799</c:v>
                </c:pt>
                <c:pt idx="2287">
                  <c:v>0.22559999999999999</c:v>
                </c:pt>
                <c:pt idx="2288">
                  <c:v>0.225663716814159</c:v>
                </c:pt>
                <c:pt idx="2289">
                  <c:v>0.22575640031031799</c:v>
                </c:pt>
                <c:pt idx="2290">
                  <c:v>0.22575757575757599</c:v>
                </c:pt>
                <c:pt idx="2291">
                  <c:v>0.225806451612903</c:v>
                </c:pt>
                <c:pt idx="2292">
                  <c:v>0.225806451612903</c:v>
                </c:pt>
                <c:pt idx="2293">
                  <c:v>0.225806451612903</c:v>
                </c:pt>
                <c:pt idx="2294">
                  <c:v>0.225806451612903</c:v>
                </c:pt>
                <c:pt idx="2295">
                  <c:v>0.225806451612903</c:v>
                </c:pt>
                <c:pt idx="2296">
                  <c:v>0.225806451612903</c:v>
                </c:pt>
                <c:pt idx="2297">
                  <c:v>0.225806451612903</c:v>
                </c:pt>
                <c:pt idx="2298">
                  <c:v>0.225925925925926</c:v>
                </c:pt>
                <c:pt idx="2299">
                  <c:v>0.225988700564972</c:v>
                </c:pt>
                <c:pt idx="2300">
                  <c:v>0.22602739726027399</c:v>
                </c:pt>
                <c:pt idx="2301">
                  <c:v>0.226123595505618</c:v>
                </c:pt>
                <c:pt idx="2302">
                  <c:v>0.226130653266332</c:v>
                </c:pt>
                <c:pt idx="2303">
                  <c:v>0.22616033755274301</c:v>
                </c:pt>
                <c:pt idx="2304">
                  <c:v>0.22617124394184199</c:v>
                </c:pt>
                <c:pt idx="2305">
                  <c:v>0.22636815920398001</c:v>
                </c:pt>
                <c:pt idx="2306">
                  <c:v>0.226377952755905</c:v>
                </c:pt>
                <c:pt idx="2307">
                  <c:v>0.22637889688249399</c:v>
                </c:pt>
                <c:pt idx="2308">
                  <c:v>0.22641509433962301</c:v>
                </c:pt>
                <c:pt idx="2309">
                  <c:v>0.22651933701657501</c:v>
                </c:pt>
                <c:pt idx="2310">
                  <c:v>0.2265625</c:v>
                </c:pt>
                <c:pt idx="2311">
                  <c:v>0.22662889518413601</c:v>
                </c:pt>
                <c:pt idx="2312">
                  <c:v>0.22666666666666699</c:v>
                </c:pt>
                <c:pt idx="2313">
                  <c:v>0.22666666666666699</c:v>
                </c:pt>
                <c:pt idx="2314">
                  <c:v>0.22675736961451201</c:v>
                </c:pt>
                <c:pt idx="2315">
                  <c:v>0.226765799256506</c:v>
                </c:pt>
                <c:pt idx="2316">
                  <c:v>0.22677925211097699</c:v>
                </c:pt>
                <c:pt idx="2317">
                  <c:v>0.226781857451404</c:v>
                </c:pt>
                <c:pt idx="2318">
                  <c:v>0.22680412371134001</c:v>
                </c:pt>
                <c:pt idx="2319">
                  <c:v>0.22683706070287499</c:v>
                </c:pt>
                <c:pt idx="2320">
                  <c:v>0.226851851851852</c:v>
                </c:pt>
                <c:pt idx="2321">
                  <c:v>0.22690058479532199</c:v>
                </c:pt>
                <c:pt idx="2322">
                  <c:v>0.22690763052208801</c:v>
                </c:pt>
                <c:pt idx="2323">
                  <c:v>0.226932668329177</c:v>
                </c:pt>
                <c:pt idx="2324">
                  <c:v>0.22694174757281599</c:v>
                </c:pt>
                <c:pt idx="2325">
                  <c:v>0.22697368421052599</c:v>
                </c:pt>
                <c:pt idx="2326">
                  <c:v>0.22700054436581399</c:v>
                </c:pt>
                <c:pt idx="2327">
                  <c:v>0.22702702702702701</c:v>
                </c:pt>
                <c:pt idx="2328">
                  <c:v>0.22707423580785999</c:v>
                </c:pt>
                <c:pt idx="2329">
                  <c:v>0.227087576374745</c:v>
                </c:pt>
                <c:pt idx="2330">
                  <c:v>0.22725663716814201</c:v>
                </c:pt>
                <c:pt idx="2331">
                  <c:v>0.22727272727272699</c:v>
                </c:pt>
                <c:pt idx="2332">
                  <c:v>0.22727272727272699</c:v>
                </c:pt>
                <c:pt idx="2333">
                  <c:v>0.22727272727272699</c:v>
                </c:pt>
                <c:pt idx="2334">
                  <c:v>0.22727272727272699</c:v>
                </c:pt>
                <c:pt idx="2335">
                  <c:v>0.22727272727272699</c:v>
                </c:pt>
                <c:pt idx="2336">
                  <c:v>0.22727272727272699</c:v>
                </c:pt>
                <c:pt idx="2337">
                  <c:v>0.22727272727272699</c:v>
                </c:pt>
                <c:pt idx="2338">
                  <c:v>0.22727272727272699</c:v>
                </c:pt>
                <c:pt idx="2339">
                  <c:v>0.22736030828516399</c:v>
                </c:pt>
                <c:pt idx="2340">
                  <c:v>0.22737068965517199</c:v>
                </c:pt>
                <c:pt idx="2341">
                  <c:v>0.227397260273973</c:v>
                </c:pt>
                <c:pt idx="2342">
                  <c:v>0.22744128553770099</c:v>
                </c:pt>
                <c:pt idx="2343">
                  <c:v>0.22754491017964101</c:v>
                </c:pt>
                <c:pt idx="2344">
                  <c:v>0.22767857142857101</c:v>
                </c:pt>
                <c:pt idx="2345">
                  <c:v>0.22767857142857101</c:v>
                </c:pt>
                <c:pt idx="2346">
                  <c:v>0.22772277227722801</c:v>
                </c:pt>
                <c:pt idx="2347">
                  <c:v>0.227739726027397</c:v>
                </c:pt>
                <c:pt idx="2348">
                  <c:v>0.22774659182036899</c:v>
                </c:pt>
                <c:pt idx="2349">
                  <c:v>0.227848101265823</c:v>
                </c:pt>
                <c:pt idx="2350">
                  <c:v>0.22789115646258501</c:v>
                </c:pt>
                <c:pt idx="2351">
                  <c:v>0.227951153324288</c:v>
                </c:pt>
                <c:pt idx="2352">
                  <c:v>0.22796352583586599</c:v>
                </c:pt>
                <c:pt idx="2353">
                  <c:v>0.22807017543859601</c:v>
                </c:pt>
                <c:pt idx="2354">
                  <c:v>0.228228228228228</c:v>
                </c:pt>
                <c:pt idx="2355">
                  <c:v>0.22826086956521699</c:v>
                </c:pt>
                <c:pt idx="2356">
                  <c:v>0.228282828282828</c:v>
                </c:pt>
                <c:pt idx="2357">
                  <c:v>0.22832369942196501</c:v>
                </c:pt>
                <c:pt idx="2358">
                  <c:v>0.22840690978886799</c:v>
                </c:pt>
                <c:pt idx="2359">
                  <c:v>0.22840690978886799</c:v>
                </c:pt>
                <c:pt idx="2360">
                  <c:v>0.22843450479233199</c:v>
                </c:pt>
                <c:pt idx="2361">
                  <c:v>0.228451882845188</c:v>
                </c:pt>
                <c:pt idx="2362">
                  <c:v>0.228526398739165</c:v>
                </c:pt>
                <c:pt idx="2363">
                  <c:v>0.22857142857142901</c:v>
                </c:pt>
                <c:pt idx="2364">
                  <c:v>0.22857142857142901</c:v>
                </c:pt>
                <c:pt idx="2365">
                  <c:v>0.22857142857142901</c:v>
                </c:pt>
                <c:pt idx="2366">
                  <c:v>0.22857142857142901</c:v>
                </c:pt>
                <c:pt idx="2367">
                  <c:v>0.228609625668449</c:v>
                </c:pt>
                <c:pt idx="2368">
                  <c:v>0.228634850166482</c:v>
                </c:pt>
                <c:pt idx="2369">
                  <c:v>0.22866894197952201</c:v>
                </c:pt>
                <c:pt idx="2370">
                  <c:v>0.228672985781991</c:v>
                </c:pt>
                <c:pt idx="2371">
                  <c:v>0.22867513611615201</c:v>
                </c:pt>
                <c:pt idx="2372">
                  <c:v>0.22872340425531901</c:v>
                </c:pt>
                <c:pt idx="2373">
                  <c:v>0.22876949740034699</c:v>
                </c:pt>
                <c:pt idx="2374">
                  <c:v>0.22881355932203401</c:v>
                </c:pt>
                <c:pt idx="2375">
                  <c:v>0.22885572139303501</c:v>
                </c:pt>
                <c:pt idx="2376">
                  <c:v>0.22885572139303501</c:v>
                </c:pt>
                <c:pt idx="2377">
                  <c:v>0.22891566265060201</c:v>
                </c:pt>
                <c:pt idx="2378">
                  <c:v>0.22894736842105301</c:v>
                </c:pt>
                <c:pt idx="2379">
                  <c:v>0.22898032200357801</c:v>
                </c:pt>
                <c:pt idx="2380">
                  <c:v>0.22898550724637701</c:v>
                </c:pt>
                <c:pt idx="2381">
                  <c:v>0.22901849217638701</c:v>
                </c:pt>
                <c:pt idx="2382">
                  <c:v>0.22916666666666699</c:v>
                </c:pt>
                <c:pt idx="2383">
                  <c:v>0.22916666666666699</c:v>
                </c:pt>
                <c:pt idx="2384">
                  <c:v>0.22916666666666699</c:v>
                </c:pt>
                <c:pt idx="2385">
                  <c:v>0.22921914357682599</c:v>
                </c:pt>
                <c:pt idx="2386">
                  <c:v>0.22938144329896901</c:v>
                </c:pt>
                <c:pt idx="2387">
                  <c:v>0.22946175637393801</c:v>
                </c:pt>
                <c:pt idx="2388">
                  <c:v>0.22947131608548901</c:v>
                </c:pt>
                <c:pt idx="2389">
                  <c:v>0.22950819672131101</c:v>
                </c:pt>
                <c:pt idx="2390">
                  <c:v>0.229545454545455</c:v>
                </c:pt>
                <c:pt idx="2391">
                  <c:v>0.22957198443579799</c:v>
                </c:pt>
                <c:pt idx="2392">
                  <c:v>0.22957516339869299</c:v>
                </c:pt>
                <c:pt idx="2393">
                  <c:v>0.22959183673469399</c:v>
                </c:pt>
                <c:pt idx="2394">
                  <c:v>0.22972972972972999</c:v>
                </c:pt>
                <c:pt idx="2395">
                  <c:v>0.229761904761905</c:v>
                </c:pt>
                <c:pt idx="2396">
                  <c:v>0.22982456140350899</c:v>
                </c:pt>
                <c:pt idx="2397">
                  <c:v>0.22983870967741901</c:v>
                </c:pt>
                <c:pt idx="2398">
                  <c:v>0.229885057471264</c:v>
                </c:pt>
                <c:pt idx="2399">
                  <c:v>0.229924502402196</c:v>
                </c:pt>
                <c:pt idx="2400">
                  <c:v>0.22994652406417099</c:v>
                </c:pt>
                <c:pt idx="2401">
                  <c:v>0.229965156794425</c:v>
                </c:pt>
                <c:pt idx="2402">
                  <c:v>0.229970326409496</c:v>
                </c:pt>
                <c:pt idx="2403">
                  <c:v>0.22997416020671799</c:v>
                </c:pt>
                <c:pt idx="2404">
                  <c:v>0.229979466119096</c:v>
                </c:pt>
                <c:pt idx="2405">
                  <c:v>0.229979466119096</c:v>
                </c:pt>
                <c:pt idx="2406">
                  <c:v>0.23003194888178899</c:v>
                </c:pt>
                <c:pt idx="2407">
                  <c:v>0.230046948356807</c:v>
                </c:pt>
                <c:pt idx="2408">
                  <c:v>0.23008849557522101</c:v>
                </c:pt>
                <c:pt idx="2409">
                  <c:v>0.23009708737864101</c:v>
                </c:pt>
                <c:pt idx="2410">
                  <c:v>0.23015873015873001</c:v>
                </c:pt>
                <c:pt idx="2411">
                  <c:v>0.230205278592375</c:v>
                </c:pt>
                <c:pt idx="2412">
                  <c:v>0.23023578363384201</c:v>
                </c:pt>
                <c:pt idx="2413">
                  <c:v>0.23024054982817899</c:v>
                </c:pt>
                <c:pt idx="2414">
                  <c:v>0.23025583982202399</c:v>
                </c:pt>
                <c:pt idx="2415">
                  <c:v>0.230263157894737</c:v>
                </c:pt>
                <c:pt idx="2416">
                  <c:v>0.230283911671924</c:v>
                </c:pt>
                <c:pt idx="2417">
                  <c:v>0.23030303030303001</c:v>
                </c:pt>
                <c:pt idx="2418">
                  <c:v>0.23033389926428999</c:v>
                </c:pt>
                <c:pt idx="2419">
                  <c:v>0.230377166156983</c:v>
                </c:pt>
                <c:pt idx="2420">
                  <c:v>0.23037974683544299</c:v>
                </c:pt>
                <c:pt idx="2421">
                  <c:v>0.230392156862745</c:v>
                </c:pt>
                <c:pt idx="2422">
                  <c:v>0.23046875</c:v>
                </c:pt>
                <c:pt idx="2423">
                  <c:v>0.23051948051948001</c:v>
                </c:pt>
                <c:pt idx="2424">
                  <c:v>0.23052959501557599</c:v>
                </c:pt>
                <c:pt idx="2425">
                  <c:v>0.230769230769231</c:v>
                </c:pt>
                <c:pt idx="2426">
                  <c:v>0.230769230769231</c:v>
                </c:pt>
                <c:pt idx="2427">
                  <c:v>0.230769230769231</c:v>
                </c:pt>
                <c:pt idx="2428">
                  <c:v>0.230769230769231</c:v>
                </c:pt>
                <c:pt idx="2429">
                  <c:v>0.230769230769231</c:v>
                </c:pt>
                <c:pt idx="2430">
                  <c:v>0.230967741935484</c:v>
                </c:pt>
                <c:pt idx="2431">
                  <c:v>0.23097463284379199</c:v>
                </c:pt>
                <c:pt idx="2432">
                  <c:v>0.23098591549295799</c:v>
                </c:pt>
                <c:pt idx="2433">
                  <c:v>0.2309963099631</c:v>
                </c:pt>
                <c:pt idx="2434">
                  <c:v>0.230998509687034</c:v>
                </c:pt>
                <c:pt idx="2435">
                  <c:v>0.23100303951367801</c:v>
                </c:pt>
                <c:pt idx="2436">
                  <c:v>0.23100303951367801</c:v>
                </c:pt>
                <c:pt idx="2437">
                  <c:v>0.23103448275862101</c:v>
                </c:pt>
                <c:pt idx="2438">
                  <c:v>0.23107049608355101</c:v>
                </c:pt>
                <c:pt idx="2439">
                  <c:v>0.23111111111111099</c:v>
                </c:pt>
                <c:pt idx="2440">
                  <c:v>0.23112128146453101</c:v>
                </c:pt>
                <c:pt idx="2441">
                  <c:v>0.23114355231143599</c:v>
                </c:pt>
                <c:pt idx="2442">
                  <c:v>0.23130841121495299</c:v>
                </c:pt>
                <c:pt idx="2443">
                  <c:v>0.23131014063656599</c:v>
                </c:pt>
                <c:pt idx="2444">
                  <c:v>0.231335436382755</c:v>
                </c:pt>
                <c:pt idx="2445">
                  <c:v>0.23134328358209</c:v>
                </c:pt>
                <c:pt idx="2446">
                  <c:v>0.23154362416107399</c:v>
                </c:pt>
                <c:pt idx="2447">
                  <c:v>0.231578947368421</c:v>
                </c:pt>
                <c:pt idx="2448">
                  <c:v>0.231578947368421</c:v>
                </c:pt>
                <c:pt idx="2449">
                  <c:v>0.231607629427793</c:v>
                </c:pt>
                <c:pt idx="2450">
                  <c:v>0.23163841807909599</c:v>
                </c:pt>
                <c:pt idx="2451">
                  <c:v>0.23166585721223901</c:v>
                </c:pt>
                <c:pt idx="2452">
                  <c:v>0.23170731707317099</c:v>
                </c:pt>
                <c:pt idx="2453">
                  <c:v>0.23170731707317099</c:v>
                </c:pt>
                <c:pt idx="2454">
                  <c:v>0.231726283048211</c:v>
                </c:pt>
                <c:pt idx="2455">
                  <c:v>0.23174603174603201</c:v>
                </c:pt>
                <c:pt idx="2456">
                  <c:v>0.23175965665236001</c:v>
                </c:pt>
                <c:pt idx="2457">
                  <c:v>0.231802911534155</c:v>
                </c:pt>
                <c:pt idx="2458">
                  <c:v>0.23185011709601899</c:v>
                </c:pt>
                <c:pt idx="2459">
                  <c:v>0.23192019950124701</c:v>
                </c:pt>
                <c:pt idx="2460">
                  <c:v>0.231942215088282</c:v>
                </c:pt>
                <c:pt idx="2461">
                  <c:v>0.231958762886598</c:v>
                </c:pt>
                <c:pt idx="2462">
                  <c:v>0.231958762886598</c:v>
                </c:pt>
                <c:pt idx="2463">
                  <c:v>0.231958762886598</c:v>
                </c:pt>
                <c:pt idx="2464">
                  <c:v>0.23200000000000001</c:v>
                </c:pt>
                <c:pt idx="2465">
                  <c:v>0.23202054794520499</c:v>
                </c:pt>
                <c:pt idx="2466">
                  <c:v>0.23206751054852301</c:v>
                </c:pt>
                <c:pt idx="2467">
                  <c:v>0.23206751054852301</c:v>
                </c:pt>
                <c:pt idx="2468">
                  <c:v>0.232106339468303</c:v>
                </c:pt>
                <c:pt idx="2469">
                  <c:v>0.23214285714285701</c:v>
                </c:pt>
                <c:pt idx="2470">
                  <c:v>0.232198142414861</c:v>
                </c:pt>
                <c:pt idx="2471">
                  <c:v>0.23232323232323199</c:v>
                </c:pt>
                <c:pt idx="2472">
                  <c:v>0.23232323232323199</c:v>
                </c:pt>
                <c:pt idx="2473">
                  <c:v>0.23234200743494399</c:v>
                </c:pt>
                <c:pt idx="2474">
                  <c:v>0.23235294117647101</c:v>
                </c:pt>
                <c:pt idx="2475">
                  <c:v>0.232456140350877</c:v>
                </c:pt>
                <c:pt idx="2476">
                  <c:v>0.23245802841153701</c:v>
                </c:pt>
                <c:pt idx="2477">
                  <c:v>0.23252858958068601</c:v>
                </c:pt>
                <c:pt idx="2478">
                  <c:v>0.232558139534884</c:v>
                </c:pt>
                <c:pt idx="2479">
                  <c:v>0.232558139534884</c:v>
                </c:pt>
                <c:pt idx="2480">
                  <c:v>0.232558139534884</c:v>
                </c:pt>
                <c:pt idx="2481">
                  <c:v>0.232558139534884</c:v>
                </c:pt>
                <c:pt idx="2482">
                  <c:v>0.232558139534884</c:v>
                </c:pt>
                <c:pt idx="2483">
                  <c:v>0.232558139534884</c:v>
                </c:pt>
                <c:pt idx="2484">
                  <c:v>0.23263888888888901</c:v>
                </c:pt>
                <c:pt idx="2485">
                  <c:v>0.232758620689655</c:v>
                </c:pt>
                <c:pt idx="2486">
                  <c:v>0.232801595214357</c:v>
                </c:pt>
                <c:pt idx="2487">
                  <c:v>0.23281786941580801</c:v>
                </c:pt>
                <c:pt idx="2488">
                  <c:v>0.232824427480916</c:v>
                </c:pt>
                <c:pt idx="2489">
                  <c:v>0.23283582089552199</c:v>
                </c:pt>
                <c:pt idx="2490">
                  <c:v>0.23285899094437301</c:v>
                </c:pt>
                <c:pt idx="2491">
                  <c:v>0.232876712328767</c:v>
                </c:pt>
                <c:pt idx="2492">
                  <c:v>0.23297491039426499</c:v>
                </c:pt>
                <c:pt idx="2493">
                  <c:v>0.23297491039426499</c:v>
                </c:pt>
                <c:pt idx="2494">
                  <c:v>0.233009708737864</c:v>
                </c:pt>
                <c:pt idx="2495">
                  <c:v>0.233108108108108</c:v>
                </c:pt>
                <c:pt idx="2496">
                  <c:v>0.23318385650224199</c:v>
                </c:pt>
                <c:pt idx="2497">
                  <c:v>0.23318938926588501</c:v>
                </c:pt>
                <c:pt idx="2498">
                  <c:v>0.233213965980304</c:v>
                </c:pt>
                <c:pt idx="2499">
                  <c:v>0.23323170731707299</c:v>
                </c:pt>
                <c:pt idx="2500">
                  <c:v>0.233236151603499</c:v>
                </c:pt>
                <c:pt idx="2501">
                  <c:v>0.233261339092873</c:v>
                </c:pt>
                <c:pt idx="2502">
                  <c:v>0.233333333333333</c:v>
                </c:pt>
                <c:pt idx="2503">
                  <c:v>0.233333333333333</c:v>
                </c:pt>
                <c:pt idx="2504">
                  <c:v>0.23339011925042599</c:v>
                </c:pt>
                <c:pt idx="2505">
                  <c:v>0.23342175066313001</c:v>
                </c:pt>
                <c:pt idx="2506">
                  <c:v>0.23342939481267999</c:v>
                </c:pt>
                <c:pt idx="2507">
                  <c:v>0.23346303501945501</c:v>
                </c:pt>
                <c:pt idx="2508">
                  <c:v>0.233480176211454</c:v>
                </c:pt>
                <c:pt idx="2509">
                  <c:v>0.23353293413173701</c:v>
                </c:pt>
                <c:pt idx="2510">
                  <c:v>0.23356807511737099</c:v>
                </c:pt>
                <c:pt idx="2511">
                  <c:v>0.233618233618234</c:v>
                </c:pt>
                <c:pt idx="2512">
                  <c:v>0.23369963369963401</c:v>
                </c:pt>
                <c:pt idx="2513">
                  <c:v>0.233707865168539</c:v>
                </c:pt>
                <c:pt idx="2514">
                  <c:v>0.23372781065088799</c:v>
                </c:pt>
                <c:pt idx="2515">
                  <c:v>0.233754512635379</c:v>
                </c:pt>
                <c:pt idx="2516">
                  <c:v>0.23376623376623401</c:v>
                </c:pt>
                <c:pt idx="2517">
                  <c:v>0.23376623376623401</c:v>
                </c:pt>
                <c:pt idx="2518">
                  <c:v>0.23376623376623401</c:v>
                </c:pt>
                <c:pt idx="2519">
                  <c:v>0.23383084577114399</c:v>
                </c:pt>
                <c:pt idx="2520">
                  <c:v>0.233870967741935</c:v>
                </c:pt>
                <c:pt idx="2521">
                  <c:v>0.23389830508474599</c:v>
                </c:pt>
                <c:pt idx="2522">
                  <c:v>0.23390894819466199</c:v>
                </c:pt>
                <c:pt idx="2523">
                  <c:v>0.23390894819466199</c:v>
                </c:pt>
                <c:pt idx="2524">
                  <c:v>0.234009360374415</c:v>
                </c:pt>
                <c:pt idx="2525">
                  <c:v>0.23404255319148901</c:v>
                </c:pt>
                <c:pt idx="2526">
                  <c:v>0.23405972558514901</c:v>
                </c:pt>
                <c:pt idx="2527">
                  <c:v>0.234074977141116</c:v>
                </c:pt>
                <c:pt idx="2528">
                  <c:v>0.234100135317997</c:v>
                </c:pt>
                <c:pt idx="2529">
                  <c:v>0.234104046242775</c:v>
                </c:pt>
                <c:pt idx="2530">
                  <c:v>0.23411371237458201</c:v>
                </c:pt>
                <c:pt idx="2531">
                  <c:v>0.23411371237458201</c:v>
                </c:pt>
                <c:pt idx="2532">
                  <c:v>0.234170854271357</c:v>
                </c:pt>
                <c:pt idx="2533">
                  <c:v>0.234177215189873</c:v>
                </c:pt>
                <c:pt idx="2534">
                  <c:v>0.23418803418803399</c:v>
                </c:pt>
                <c:pt idx="2535">
                  <c:v>0.234194122885129</c:v>
                </c:pt>
                <c:pt idx="2536">
                  <c:v>0.234217749313815</c:v>
                </c:pt>
                <c:pt idx="2537">
                  <c:v>0.23423423423423401</c:v>
                </c:pt>
                <c:pt idx="2538">
                  <c:v>0.234303215926493</c:v>
                </c:pt>
                <c:pt idx="2539">
                  <c:v>0.23430962343096201</c:v>
                </c:pt>
                <c:pt idx="2540">
                  <c:v>0.23443223443223399</c:v>
                </c:pt>
                <c:pt idx="2541">
                  <c:v>0.23443708609271499</c:v>
                </c:pt>
                <c:pt idx="2542">
                  <c:v>0.234442836468886</c:v>
                </c:pt>
                <c:pt idx="2543">
                  <c:v>0.23446893787575099</c:v>
                </c:pt>
                <c:pt idx="2544">
                  <c:v>0.23453996983408701</c:v>
                </c:pt>
                <c:pt idx="2545">
                  <c:v>0.234567901234568</c:v>
                </c:pt>
                <c:pt idx="2546">
                  <c:v>0.23460410557184799</c:v>
                </c:pt>
                <c:pt idx="2547">
                  <c:v>0.23462088698140199</c:v>
                </c:pt>
                <c:pt idx="2548">
                  <c:v>0.23463687150838</c:v>
                </c:pt>
                <c:pt idx="2549">
                  <c:v>0.23467862481315399</c:v>
                </c:pt>
                <c:pt idx="2550">
                  <c:v>0.23469387755102</c:v>
                </c:pt>
                <c:pt idx="2551">
                  <c:v>0.23474178403755899</c:v>
                </c:pt>
                <c:pt idx="2552">
                  <c:v>0.234803337306317</c:v>
                </c:pt>
                <c:pt idx="2553">
                  <c:v>0.234909650134564</c:v>
                </c:pt>
                <c:pt idx="2554">
                  <c:v>0.23499999999999999</c:v>
                </c:pt>
                <c:pt idx="2555">
                  <c:v>0.235008103727715</c:v>
                </c:pt>
                <c:pt idx="2556">
                  <c:v>0.23501199040767401</c:v>
                </c:pt>
                <c:pt idx="2557">
                  <c:v>0.23501712328767099</c:v>
                </c:pt>
                <c:pt idx="2558">
                  <c:v>0.23504273504273501</c:v>
                </c:pt>
                <c:pt idx="2559">
                  <c:v>0.23505654281098501</c:v>
                </c:pt>
                <c:pt idx="2560">
                  <c:v>0.23507462686567199</c:v>
                </c:pt>
                <c:pt idx="2561">
                  <c:v>0.235119047619048</c:v>
                </c:pt>
                <c:pt idx="2562">
                  <c:v>0.23521320495185699</c:v>
                </c:pt>
                <c:pt idx="2563">
                  <c:v>0.23529411764705899</c:v>
                </c:pt>
                <c:pt idx="2564">
                  <c:v>0.23529411764705899</c:v>
                </c:pt>
                <c:pt idx="2565">
                  <c:v>0.23529411764705899</c:v>
                </c:pt>
                <c:pt idx="2566">
                  <c:v>0.23529411764705899</c:v>
                </c:pt>
                <c:pt idx="2567">
                  <c:v>0.23529411764705899</c:v>
                </c:pt>
                <c:pt idx="2568">
                  <c:v>0.23529411764705899</c:v>
                </c:pt>
                <c:pt idx="2569">
                  <c:v>0.23529411764705899</c:v>
                </c:pt>
                <c:pt idx="2570">
                  <c:v>0.23529411764705899</c:v>
                </c:pt>
                <c:pt idx="2571">
                  <c:v>0.23529411764705899</c:v>
                </c:pt>
                <c:pt idx="2572">
                  <c:v>0.23529411764705899</c:v>
                </c:pt>
                <c:pt idx="2573">
                  <c:v>0.23534338358459</c:v>
                </c:pt>
                <c:pt idx="2574">
                  <c:v>0.235404896421846</c:v>
                </c:pt>
                <c:pt idx="2575">
                  <c:v>0.235404896421846</c:v>
                </c:pt>
                <c:pt idx="2576">
                  <c:v>0.235405970716866</c:v>
                </c:pt>
                <c:pt idx="2577">
                  <c:v>0.235411140583554</c:v>
                </c:pt>
                <c:pt idx="2578">
                  <c:v>0.23542857142857099</c:v>
                </c:pt>
                <c:pt idx="2579">
                  <c:v>0.23547880690737799</c:v>
                </c:pt>
                <c:pt idx="2580">
                  <c:v>0.23548740416210301</c:v>
                </c:pt>
                <c:pt idx="2581">
                  <c:v>0.23548785508439701</c:v>
                </c:pt>
                <c:pt idx="2582">
                  <c:v>0.23552123552123599</c:v>
                </c:pt>
                <c:pt idx="2583">
                  <c:v>0.23553719008264501</c:v>
                </c:pt>
                <c:pt idx="2584">
                  <c:v>0.23557692307692299</c:v>
                </c:pt>
                <c:pt idx="2585">
                  <c:v>0.235591506572295</c:v>
                </c:pt>
                <c:pt idx="2586">
                  <c:v>0.235616438356164</c:v>
                </c:pt>
                <c:pt idx="2587">
                  <c:v>0.235658914728682</c:v>
                </c:pt>
                <c:pt idx="2588">
                  <c:v>0.23566878980891701</c:v>
                </c:pt>
                <c:pt idx="2589">
                  <c:v>0.23567427832830701</c:v>
                </c:pt>
                <c:pt idx="2590">
                  <c:v>0.23569350145489801</c:v>
                </c:pt>
                <c:pt idx="2591">
                  <c:v>0.23571428571428599</c:v>
                </c:pt>
                <c:pt idx="2592">
                  <c:v>0.235759493670886</c:v>
                </c:pt>
                <c:pt idx="2593">
                  <c:v>0.23577235772357699</c:v>
                </c:pt>
                <c:pt idx="2594">
                  <c:v>0.23578947368421099</c:v>
                </c:pt>
                <c:pt idx="2595">
                  <c:v>0.235924932975871</c:v>
                </c:pt>
                <c:pt idx="2596">
                  <c:v>0.235955056179775</c:v>
                </c:pt>
                <c:pt idx="2597">
                  <c:v>0.235955056179775</c:v>
                </c:pt>
                <c:pt idx="2598">
                  <c:v>0.235955056179775</c:v>
                </c:pt>
                <c:pt idx="2599">
                  <c:v>0.23611111111111099</c:v>
                </c:pt>
                <c:pt idx="2600">
                  <c:v>0.23613312202852599</c:v>
                </c:pt>
                <c:pt idx="2601">
                  <c:v>0.23622047244094499</c:v>
                </c:pt>
                <c:pt idx="2602">
                  <c:v>0.23622704507512499</c:v>
                </c:pt>
                <c:pt idx="2603">
                  <c:v>0.23623445825932499</c:v>
                </c:pt>
                <c:pt idx="2604">
                  <c:v>0.23631840796019901</c:v>
                </c:pt>
                <c:pt idx="2605">
                  <c:v>0.236363636363636</c:v>
                </c:pt>
                <c:pt idx="2606">
                  <c:v>0.23644251626898</c:v>
                </c:pt>
                <c:pt idx="2607">
                  <c:v>0.236467236467236</c:v>
                </c:pt>
                <c:pt idx="2608">
                  <c:v>0.23648648648648599</c:v>
                </c:pt>
                <c:pt idx="2609">
                  <c:v>0.23649906890130401</c:v>
                </c:pt>
                <c:pt idx="2610">
                  <c:v>0.236559139784946</c:v>
                </c:pt>
                <c:pt idx="2611">
                  <c:v>0.23660714285714299</c:v>
                </c:pt>
                <c:pt idx="2612">
                  <c:v>0.236641221374046</c:v>
                </c:pt>
                <c:pt idx="2613">
                  <c:v>0.236641221374046</c:v>
                </c:pt>
                <c:pt idx="2614">
                  <c:v>0.236641221374046</c:v>
                </c:pt>
                <c:pt idx="2615">
                  <c:v>0.23671497584541101</c:v>
                </c:pt>
                <c:pt idx="2616">
                  <c:v>0.236734693877551</c:v>
                </c:pt>
                <c:pt idx="2617">
                  <c:v>0.23678646934460901</c:v>
                </c:pt>
                <c:pt idx="2618">
                  <c:v>0.236794171220401</c:v>
                </c:pt>
                <c:pt idx="2619">
                  <c:v>0.236794171220401</c:v>
                </c:pt>
                <c:pt idx="2620">
                  <c:v>0.23684210526315799</c:v>
                </c:pt>
                <c:pt idx="2621">
                  <c:v>0.23684210526315799</c:v>
                </c:pt>
                <c:pt idx="2622">
                  <c:v>0.23684210526315799</c:v>
                </c:pt>
                <c:pt idx="2623">
                  <c:v>0.23696682464454999</c:v>
                </c:pt>
                <c:pt idx="2624">
                  <c:v>0.23705463182897901</c:v>
                </c:pt>
                <c:pt idx="2625">
                  <c:v>0.23711340206185599</c:v>
                </c:pt>
                <c:pt idx="2626">
                  <c:v>0.23715415019762801</c:v>
                </c:pt>
                <c:pt idx="2627">
                  <c:v>0.237179487179487</c:v>
                </c:pt>
                <c:pt idx="2628">
                  <c:v>0.23719165085388999</c:v>
                </c:pt>
                <c:pt idx="2629">
                  <c:v>0.23719165085388999</c:v>
                </c:pt>
                <c:pt idx="2630">
                  <c:v>0.23720136518771301</c:v>
                </c:pt>
                <c:pt idx="2631">
                  <c:v>0.237354085603113</c:v>
                </c:pt>
                <c:pt idx="2632">
                  <c:v>0.237354085603113</c:v>
                </c:pt>
                <c:pt idx="2633">
                  <c:v>0.237383177570093</c:v>
                </c:pt>
                <c:pt idx="2634">
                  <c:v>0.23742454728370199</c:v>
                </c:pt>
                <c:pt idx="2635">
                  <c:v>0.237427864798021</c:v>
                </c:pt>
                <c:pt idx="2636">
                  <c:v>0.23749999999999999</c:v>
                </c:pt>
                <c:pt idx="2637">
                  <c:v>0.23754789272030699</c:v>
                </c:pt>
                <c:pt idx="2638">
                  <c:v>0.23758099352051801</c:v>
                </c:pt>
                <c:pt idx="2639">
                  <c:v>0.237623762376238</c:v>
                </c:pt>
                <c:pt idx="2640">
                  <c:v>0.23764705882352899</c:v>
                </c:pt>
                <c:pt idx="2641">
                  <c:v>0.23776223776223801</c:v>
                </c:pt>
                <c:pt idx="2642">
                  <c:v>0.23783783783783799</c:v>
                </c:pt>
                <c:pt idx="2643">
                  <c:v>0.237864077669903</c:v>
                </c:pt>
                <c:pt idx="2644">
                  <c:v>0.237986270022883</c:v>
                </c:pt>
                <c:pt idx="2645">
                  <c:v>0.23802395209580801</c:v>
                </c:pt>
                <c:pt idx="2646">
                  <c:v>0.23805567095970101</c:v>
                </c:pt>
                <c:pt idx="2647">
                  <c:v>0.238095238095238</c:v>
                </c:pt>
                <c:pt idx="2648">
                  <c:v>0.238095238095238</c:v>
                </c:pt>
                <c:pt idx="2649">
                  <c:v>0.238095238095238</c:v>
                </c:pt>
                <c:pt idx="2650">
                  <c:v>0.238095238095238</c:v>
                </c:pt>
                <c:pt idx="2651">
                  <c:v>0.238095238095238</c:v>
                </c:pt>
                <c:pt idx="2652">
                  <c:v>0.238095238095238</c:v>
                </c:pt>
                <c:pt idx="2653">
                  <c:v>0.23822714681440399</c:v>
                </c:pt>
                <c:pt idx="2654">
                  <c:v>0.23823529411764699</c:v>
                </c:pt>
                <c:pt idx="2655">
                  <c:v>0.238255033557047</c:v>
                </c:pt>
                <c:pt idx="2656">
                  <c:v>0.238289205702648</c:v>
                </c:pt>
                <c:pt idx="2657">
                  <c:v>0.23831775700934599</c:v>
                </c:pt>
                <c:pt idx="2658">
                  <c:v>0.238323353293413</c:v>
                </c:pt>
                <c:pt idx="2659">
                  <c:v>0.23835125448028699</c:v>
                </c:pt>
                <c:pt idx="2660">
                  <c:v>0.23837209302325599</c:v>
                </c:pt>
                <c:pt idx="2661">
                  <c:v>0.238390092879257</c:v>
                </c:pt>
                <c:pt idx="2662">
                  <c:v>0.23856209150326799</c:v>
                </c:pt>
                <c:pt idx="2663">
                  <c:v>0.23861720067453601</c:v>
                </c:pt>
                <c:pt idx="2664">
                  <c:v>0.23863636363636401</c:v>
                </c:pt>
                <c:pt idx="2665">
                  <c:v>0.23863636363636401</c:v>
                </c:pt>
                <c:pt idx="2666">
                  <c:v>0.238678742674481</c:v>
                </c:pt>
                <c:pt idx="2667">
                  <c:v>0.23876404494382</c:v>
                </c:pt>
                <c:pt idx="2668">
                  <c:v>0.23890784982935201</c:v>
                </c:pt>
                <c:pt idx="2669">
                  <c:v>0.23890784982935201</c:v>
                </c:pt>
                <c:pt idx="2670">
                  <c:v>0.23891625615763501</c:v>
                </c:pt>
                <c:pt idx="2671">
                  <c:v>0.238979118329466</c:v>
                </c:pt>
                <c:pt idx="2672">
                  <c:v>0.23899371069182401</c:v>
                </c:pt>
                <c:pt idx="2673">
                  <c:v>0.23913043478260901</c:v>
                </c:pt>
                <c:pt idx="2674">
                  <c:v>0.23913043478260901</c:v>
                </c:pt>
                <c:pt idx="2675">
                  <c:v>0.23913043478260901</c:v>
                </c:pt>
                <c:pt idx="2676">
                  <c:v>0.23918575063613201</c:v>
                </c:pt>
                <c:pt idx="2677">
                  <c:v>0.23919308357348701</c:v>
                </c:pt>
                <c:pt idx="2678">
                  <c:v>0.23921568627451001</c:v>
                </c:pt>
                <c:pt idx="2679">
                  <c:v>0.23926380368098199</c:v>
                </c:pt>
                <c:pt idx="2680">
                  <c:v>0.23927038626609401</c:v>
                </c:pt>
                <c:pt idx="2681">
                  <c:v>0.23931623931623899</c:v>
                </c:pt>
                <c:pt idx="2682">
                  <c:v>0.23931623931623899</c:v>
                </c:pt>
                <c:pt idx="2683">
                  <c:v>0.239342578325629</c:v>
                </c:pt>
                <c:pt idx="2684">
                  <c:v>0.23938223938223899</c:v>
                </c:pt>
                <c:pt idx="2685">
                  <c:v>0.23939393939393899</c:v>
                </c:pt>
                <c:pt idx="2686">
                  <c:v>0.23943661971831001</c:v>
                </c:pt>
                <c:pt idx="2687">
                  <c:v>0.23943661971831001</c:v>
                </c:pt>
                <c:pt idx="2688">
                  <c:v>0.23943661971831001</c:v>
                </c:pt>
                <c:pt idx="2689">
                  <c:v>0.23943661971831001</c:v>
                </c:pt>
                <c:pt idx="2690">
                  <c:v>0.23946784922394701</c:v>
                </c:pt>
                <c:pt idx="2691">
                  <c:v>0.23947368421052601</c:v>
                </c:pt>
                <c:pt idx="2692">
                  <c:v>0.23949579831932799</c:v>
                </c:pt>
                <c:pt idx="2693">
                  <c:v>0.23950233281493</c:v>
                </c:pt>
                <c:pt idx="2694">
                  <c:v>0.239520958083832</c:v>
                </c:pt>
                <c:pt idx="2695">
                  <c:v>0.23958333333333301</c:v>
                </c:pt>
                <c:pt idx="2696">
                  <c:v>0.23958927552766701</c:v>
                </c:pt>
                <c:pt idx="2697">
                  <c:v>0.239651416122004</c:v>
                </c:pt>
                <c:pt idx="2698">
                  <c:v>0.23970037453183499</c:v>
                </c:pt>
                <c:pt idx="2699">
                  <c:v>0.23972602739726001</c:v>
                </c:pt>
                <c:pt idx="2700">
                  <c:v>0.239755351681957</c:v>
                </c:pt>
                <c:pt idx="2701">
                  <c:v>0.239770279971285</c:v>
                </c:pt>
                <c:pt idx="2702">
                  <c:v>0.239804241435563</c:v>
                </c:pt>
                <c:pt idx="2703">
                  <c:v>0.23985239852398499</c:v>
                </c:pt>
                <c:pt idx="2704">
                  <c:v>0.23985890652557301</c:v>
                </c:pt>
                <c:pt idx="2705">
                  <c:v>0.24</c:v>
                </c:pt>
                <c:pt idx="2706">
                  <c:v>0.24</c:v>
                </c:pt>
                <c:pt idx="2707">
                  <c:v>0.24</c:v>
                </c:pt>
                <c:pt idx="2708">
                  <c:v>0.24002659574468099</c:v>
                </c:pt>
                <c:pt idx="2709">
                  <c:v>0.240131578947368</c:v>
                </c:pt>
                <c:pt idx="2710">
                  <c:v>0.240196078431373</c:v>
                </c:pt>
                <c:pt idx="2711">
                  <c:v>0.240223463687151</c:v>
                </c:pt>
                <c:pt idx="2712">
                  <c:v>0.24025974025974001</c:v>
                </c:pt>
                <c:pt idx="2713">
                  <c:v>0.24028776978417299</c:v>
                </c:pt>
                <c:pt idx="2714">
                  <c:v>0.240384615384615</c:v>
                </c:pt>
                <c:pt idx="2715">
                  <c:v>0.24041058887088099</c:v>
                </c:pt>
                <c:pt idx="2716">
                  <c:v>0.24042879019908101</c:v>
                </c:pt>
                <c:pt idx="2717">
                  <c:v>0.24043062200956899</c:v>
                </c:pt>
                <c:pt idx="2718">
                  <c:v>0.240458015267176</c:v>
                </c:pt>
                <c:pt idx="2719">
                  <c:v>0.24053452115812901</c:v>
                </c:pt>
                <c:pt idx="2720">
                  <c:v>0.240540540540541</c:v>
                </c:pt>
                <c:pt idx="2721">
                  <c:v>0.24057971014492799</c:v>
                </c:pt>
                <c:pt idx="2722">
                  <c:v>0.24064171122994599</c:v>
                </c:pt>
                <c:pt idx="2723">
                  <c:v>0.240700218818381</c:v>
                </c:pt>
                <c:pt idx="2724">
                  <c:v>0.24070796460176999</c:v>
                </c:pt>
                <c:pt idx="2725">
                  <c:v>0.240740740740741</c:v>
                </c:pt>
                <c:pt idx="2726">
                  <c:v>0.240875912408759</c:v>
                </c:pt>
                <c:pt idx="2727">
                  <c:v>0.24092409240924101</c:v>
                </c:pt>
                <c:pt idx="2728">
                  <c:v>0.24094640270400799</c:v>
                </c:pt>
                <c:pt idx="2729">
                  <c:v>0.240963855421687</c:v>
                </c:pt>
                <c:pt idx="2730">
                  <c:v>0.240963855421687</c:v>
                </c:pt>
                <c:pt idx="2731">
                  <c:v>0.240963855421687</c:v>
                </c:pt>
                <c:pt idx="2732">
                  <c:v>0.240963855421687</c:v>
                </c:pt>
                <c:pt idx="2733">
                  <c:v>0.24107142857142899</c:v>
                </c:pt>
                <c:pt idx="2734">
                  <c:v>0.24109014675052401</c:v>
                </c:pt>
                <c:pt idx="2735">
                  <c:v>0.24110671936758901</c:v>
                </c:pt>
                <c:pt idx="2736">
                  <c:v>0.241167434715822</c:v>
                </c:pt>
                <c:pt idx="2737">
                  <c:v>0.24120603015075401</c:v>
                </c:pt>
                <c:pt idx="2738">
                  <c:v>0.24125452352231599</c:v>
                </c:pt>
                <c:pt idx="2739">
                  <c:v>0.241258741258741</c:v>
                </c:pt>
                <c:pt idx="2740">
                  <c:v>0.24129930394431601</c:v>
                </c:pt>
                <c:pt idx="2741">
                  <c:v>0.241316270566728</c:v>
                </c:pt>
                <c:pt idx="2742">
                  <c:v>0.241332116788321</c:v>
                </c:pt>
                <c:pt idx="2743">
                  <c:v>0.24135977337110501</c:v>
                </c:pt>
                <c:pt idx="2744">
                  <c:v>0.24137931034482801</c:v>
                </c:pt>
                <c:pt idx="2745">
                  <c:v>0.24137931034482801</c:v>
                </c:pt>
                <c:pt idx="2746">
                  <c:v>0.24137931034482801</c:v>
                </c:pt>
                <c:pt idx="2747">
                  <c:v>0.24137931034482801</c:v>
                </c:pt>
                <c:pt idx="2748">
                  <c:v>0.24139908256880699</c:v>
                </c:pt>
                <c:pt idx="2749">
                  <c:v>0.241430700447094</c:v>
                </c:pt>
                <c:pt idx="2750">
                  <c:v>0.24148606811145501</c:v>
                </c:pt>
                <c:pt idx="2751">
                  <c:v>0.24149108589951401</c:v>
                </c:pt>
                <c:pt idx="2752">
                  <c:v>0.24151967435549501</c:v>
                </c:pt>
                <c:pt idx="2753">
                  <c:v>0.241528478731074</c:v>
                </c:pt>
                <c:pt idx="2754">
                  <c:v>0.24157303370786501</c:v>
                </c:pt>
                <c:pt idx="2755">
                  <c:v>0.24157303370786501</c:v>
                </c:pt>
                <c:pt idx="2756">
                  <c:v>0.24163568773234201</c:v>
                </c:pt>
                <c:pt idx="2757">
                  <c:v>0.24165341812400601</c:v>
                </c:pt>
                <c:pt idx="2758">
                  <c:v>0.24170616113744101</c:v>
                </c:pt>
                <c:pt idx="2759">
                  <c:v>0.24171270718231999</c:v>
                </c:pt>
                <c:pt idx="2760">
                  <c:v>0.24177071509648099</c:v>
                </c:pt>
                <c:pt idx="2761">
                  <c:v>0.241803278688525</c:v>
                </c:pt>
                <c:pt idx="2762">
                  <c:v>0.24183796856106399</c:v>
                </c:pt>
                <c:pt idx="2763">
                  <c:v>0.241912798874824</c:v>
                </c:pt>
                <c:pt idx="2764">
                  <c:v>0.24205378973105099</c:v>
                </c:pt>
                <c:pt idx="2765">
                  <c:v>0.24210526315789499</c:v>
                </c:pt>
                <c:pt idx="2766">
                  <c:v>0.24213230571612099</c:v>
                </c:pt>
                <c:pt idx="2767">
                  <c:v>0.2421875</c:v>
                </c:pt>
                <c:pt idx="2768">
                  <c:v>0.2421875</c:v>
                </c:pt>
                <c:pt idx="2769">
                  <c:v>0.24222753672702399</c:v>
                </c:pt>
                <c:pt idx="2770">
                  <c:v>0.24227799227799199</c:v>
                </c:pt>
                <c:pt idx="2771">
                  <c:v>0.242299794661191</c:v>
                </c:pt>
                <c:pt idx="2772">
                  <c:v>0.242307692307692</c:v>
                </c:pt>
                <c:pt idx="2773">
                  <c:v>0.24232081911262801</c:v>
                </c:pt>
                <c:pt idx="2774">
                  <c:v>0.24238227146814401</c:v>
                </c:pt>
                <c:pt idx="2775">
                  <c:v>0.24242424242424199</c:v>
                </c:pt>
                <c:pt idx="2776">
                  <c:v>0.242450388265746</c:v>
                </c:pt>
                <c:pt idx="2777">
                  <c:v>0.242489270386266</c:v>
                </c:pt>
                <c:pt idx="2778">
                  <c:v>0.24260355029585801</c:v>
                </c:pt>
                <c:pt idx="2779">
                  <c:v>0.24263038548752799</c:v>
                </c:pt>
                <c:pt idx="2780">
                  <c:v>0.24264705882352899</c:v>
                </c:pt>
                <c:pt idx="2781">
                  <c:v>0.242666666666667</c:v>
                </c:pt>
                <c:pt idx="2782">
                  <c:v>0.242672919109027</c:v>
                </c:pt>
                <c:pt idx="2783">
                  <c:v>0.242707117852975</c:v>
                </c:pt>
                <c:pt idx="2784">
                  <c:v>0.24272300469483599</c:v>
                </c:pt>
                <c:pt idx="2785">
                  <c:v>0.24277456647398801</c:v>
                </c:pt>
                <c:pt idx="2786">
                  <c:v>0.24279210925644901</c:v>
                </c:pt>
                <c:pt idx="2787">
                  <c:v>0.24285714285714299</c:v>
                </c:pt>
                <c:pt idx="2788">
                  <c:v>0.24288747346072201</c:v>
                </c:pt>
                <c:pt idx="2789">
                  <c:v>0.242890598862496</c:v>
                </c:pt>
                <c:pt idx="2790">
                  <c:v>0.242937853107345</c:v>
                </c:pt>
                <c:pt idx="2791">
                  <c:v>0.242957746478873</c:v>
                </c:pt>
                <c:pt idx="2792">
                  <c:v>0.24297104490138499</c:v>
                </c:pt>
                <c:pt idx="2793">
                  <c:v>0.242990654205607</c:v>
                </c:pt>
                <c:pt idx="2794">
                  <c:v>0.242990654205607</c:v>
                </c:pt>
                <c:pt idx="2795">
                  <c:v>0.24299999999999999</c:v>
                </c:pt>
                <c:pt idx="2796">
                  <c:v>0.243016759776536</c:v>
                </c:pt>
                <c:pt idx="2797">
                  <c:v>0.24324324324324301</c:v>
                </c:pt>
                <c:pt idx="2798">
                  <c:v>0.24324324324324301</c:v>
                </c:pt>
                <c:pt idx="2799">
                  <c:v>0.24331550802138999</c:v>
                </c:pt>
                <c:pt idx="2800">
                  <c:v>0.24334251606978899</c:v>
                </c:pt>
                <c:pt idx="2801">
                  <c:v>0.24337957124842399</c:v>
                </c:pt>
                <c:pt idx="2802">
                  <c:v>0.24338624338624301</c:v>
                </c:pt>
                <c:pt idx="2803">
                  <c:v>0.24340175953079199</c:v>
                </c:pt>
                <c:pt idx="2804">
                  <c:v>0.24342105263157901</c:v>
                </c:pt>
                <c:pt idx="2805">
                  <c:v>0.24344317417619399</c:v>
                </c:pt>
                <c:pt idx="2806">
                  <c:v>0.24347826086956501</c:v>
                </c:pt>
                <c:pt idx="2807">
                  <c:v>0.24349442379182201</c:v>
                </c:pt>
                <c:pt idx="2808">
                  <c:v>0.243542435424354</c:v>
                </c:pt>
                <c:pt idx="2809">
                  <c:v>0.243589743589744</c:v>
                </c:pt>
                <c:pt idx="2810">
                  <c:v>0.243589743589744</c:v>
                </c:pt>
                <c:pt idx="2811">
                  <c:v>0.243589743589744</c:v>
                </c:pt>
                <c:pt idx="2812">
                  <c:v>0.243654822335025</c:v>
                </c:pt>
                <c:pt idx="2813">
                  <c:v>0.24366197183098601</c:v>
                </c:pt>
                <c:pt idx="2814">
                  <c:v>0.24369747899159699</c:v>
                </c:pt>
                <c:pt idx="2815">
                  <c:v>0.24372759856630799</c:v>
                </c:pt>
                <c:pt idx="2816">
                  <c:v>0.24373956594323901</c:v>
                </c:pt>
                <c:pt idx="2817">
                  <c:v>0.24390243902438999</c:v>
                </c:pt>
                <c:pt idx="2818">
                  <c:v>0.24399999999999999</c:v>
                </c:pt>
                <c:pt idx="2819">
                  <c:v>0.244094488188976</c:v>
                </c:pt>
                <c:pt idx="2820">
                  <c:v>0.244094488188976</c:v>
                </c:pt>
                <c:pt idx="2821">
                  <c:v>0.244111349036403</c:v>
                </c:pt>
                <c:pt idx="2822">
                  <c:v>0.244131455399061</c:v>
                </c:pt>
                <c:pt idx="2823">
                  <c:v>0.24415584415584399</c:v>
                </c:pt>
                <c:pt idx="2824">
                  <c:v>0.24418604651162801</c:v>
                </c:pt>
                <c:pt idx="2825">
                  <c:v>0.24418604651162801</c:v>
                </c:pt>
                <c:pt idx="2826">
                  <c:v>0.244195046439628</c:v>
                </c:pt>
                <c:pt idx="2827">
                  <c:v>0.24420677361853799</c:v>
                </c:pt>
                <c:pt idx="2828">
                  <c:v>0.24424424424424401</c:v>
                </c:pt>
                <c:pt idx="2829">
                  <c:v>0.24424778761061899</c:v>
                </c:pt>
                <c:pt idx="2830">
                  <c:v>0.24425287356321801</c:v>
                </c:pt>
                <c:pt idx="2831">
                  <c:v>0.24425287356321801</c:v>
                </c:pt>
                <c:pt idx="2832">
                  <c:v>0.24426078971533499</c:v>
                </c:pt>
                <c:pt idx="2833">
                  <c:v>0.244283995186522</c:v>
                </c:pt>
                <c:pt idx="2834">
                  <c:v>0.244292237442922</c:v>
                </c:pt>
                <c:pt idx="2835">
                  <c:v>0.244292237442922</c:v>
                </c:pt>
                <c:pt idx="2836">
                  <c:v>0.24434719183077999</c:v>
                </c:pt>
                <c:pt idx="2837">
                  <c:v>0.24439560439560401</c:v>
                </c:pt>
                <c:pt idx="2838">
                  <c:v>0.244413407821229</c:v>
                </c:pt>
                <c:pt idx="2839">
                  <c:v>0.24444444444444399</c:v>
                </c:pt>
                <c:pt idx="2840">
                  <c:v>0.24444444444444399</c:v>
                </c:pt>
                <c:pt idx="2841">
                  <c:v>0.24444444444444399</c:v>
                </c:pt>
                <c:pt idx="2842">
                  <c:v>0.24448275862068999</c:v>
                </c:pt>
                <c:pt idx="2843">
                  <c:v>0.24456521739130399</c:v>
                </c:pt>
                <c:pt idx="2844">
                  <c:v>0.24463519313304699</c:v>
                </c:pt>
                <c:pt idx="2845">
                  <c:v>0.244652406417112</c:v>
                </c:pt>
                <c:pt idx="2846">
                  <c:v>0.24468085106383</c:v>
                </c:pt>
                <c:pt idx="2847">
                  <c:v>0.24468085106383</c:v>
                </c:pt>
                <c:pt idx="2848">
                  <c:v>0.24468085106383</c:v>
                </c:pt>
                <c:pt idx="2849">
                  <c:v>0.24472573839662401</c:v>
                </c:pt>
                <c:pt idx="2850">
                  <c:v>0.244813278008299</c:v>
                </c:pt>
                <c:pt idx="2851">
                  <c:v>0.24483133841131699</c:v>
                </c:pt>
                <c:pt idx="2852">
                  <c:v>0.24489795918367299</c:v>
                </c:pt>
                <c:pt idx="2853">
                  <c:v>0.24489795918367299</c:v>
                </c:pt>
                <c:pt idx="2854">
                  <c:v>0.24492979719188801</c:v>
                </c:pt>
                <c:pt idx="2855">
                  <c:v>0.24496644295302</c:v>
                </c:pt>
                <c:pt idx="2856">
                  <c:v>0.244994110718492</c:v>
                </c:pt>
                <c:pt idx="2857">
                  <c:v>0.245</c:v>
                </c:pt>
                <c:pt idx="2858">
                  <c:v>0.24508050089445399</c:v>
                </c:pt>
                <c:pt idx="2859">
                  <c:v>0.245119305856833</c:v>
                </c:pt>
                <c:pt idx="2860">
                  <c:v>0.24519940915805</c:v>
                </c:pt>
                <c:pt idx="2861">
                  <c:v>0.24520040417649</c:v>
                </c:pt>
                <c:pt idx="2862">
                  <c:v>0.24520905923344899</c:v>
                </c:pt>
                <c:pt idx="2863">
                  <c:v>0.245283018867925</c:v>
                </c:pt>
                <c:pt idx="2864">
                  <c:v>0.245283018867925</c:v>
                </c:pt>
                <c:pt idx="2865">
                  <c:v>0.24530831099195699</c:v>
                </c:pt>
                <c:pt idx="2866">
                  <c:v>0.245409015025042</c:v>
                </c:pt>
                <c:pt idx="2867">
                  <c:v>0.24545454545454501</c:v>
                </c:pt>
                <c:pt idx="2868">
                  <c:v>0.24545454545454501</c:v>
                </c:pt>
                <c:pt idx="2869">
                  <c:v>0.24549549549549499</c:v>
                </c:pt>
                <c:pt idx="2870">
                  <c:v>0.24552429667519199</c:v>
                </c:pt>
                <c:pt idx="2871">
                  <c:v>0.24553275976174699</c:v>
                </c:pt>
                <c:pt idx="2872">
                  <c:v>0.24561403508771901</c:v>
                </c:pt>
                <c:pt idx="2873">
                  <c:v>0.24561403508771901</c:v>
                </c:pt>
                <c:pt idx="2874">
                  <c:v>0.24561403508771901</c:v>
                </c:pt>
                <c:pt idx="2875">
                  <c:v>0.24563106796116499</c:v>
                </c:pt>
                <c:pt idx="2876">
                  <c:v>0.245647969052224</c:v>
                </c:pt>
                <c:pt idx="2877">
                  <c:v>0.245657568238213</c:v>
                </c:pt>
                <c:pt idx="2878">
                  <c:v>0.24570024570024601</c:v>
                </c:pt>
                <c:pt idx="2879">
                  <c:v>0.245714285714286</c:v>
                </c:pt>
                <c:pt idx="2880">
                  <c:v>0.24587155963302801</c:v>
                </c:pt>
                <c:pt idx="2881">
                  <c:v>0.245880861850444</c:v>
                </c:pt>
                <c:pt idx="2882">
                  <c:v>0.24590163934426201</c:v>
                </c:pt>
                <c:pt idx="2883">
                  <c:v>0.24593967517401399</c:v>
                </c:pt>
                <c:pt idx="2884">
                  <c:v>0.24598930481283399</c:v>
                </c:pt>
                <c:pt idx="2885">
                  <c:v>0.24604966139954901</c:v>
                </c:pt>
                <c:pt idx="2886">
                  <c:v>0.24606299212598401</c:v>
                </c:pt>
                <c:pt idx="2887">
                  <c:v>0.24606798579401301</c:v>
                </c:pt>
                <c:pt idx="2888">
                  <c:v>0.24607329842931899</c:v>
                </c:pt>
                <c:pt idx="2889">
                  <c:v>0.24608819345661401</c:v>
                </c:pt>
                <c:pt idx="2890">
                  <c:v>0.24611973392461201</c:v>
                </c:pt>
                <c:pt idx="2891">
                  <c:v>0.246153846153846</c:v>
                </c:pt>
                <c:pt idx="2892">
                  <c:v>0.246153846153846</c:v>
                </c:pt>
                <c:pt idx="2893">
                  <c:v>0.24618096357226801</c:v>
                </c:pt>
                <c:pt idx="2894">
                  <c:v>0.24619771863117901</c:v>
                </c:pt>
                <c:pt idx="2895">
                  <c:v>0.24626865671641801</c:v>
                </c:pt>
                <c:pt idx="2896">
                  <c:v>0.246323529411765</c:v>
                </c:pt>
                <c:pt idx="2897">
                  <c:v>0.246323529411765</c:v>
                </c:pt>
                <c:pt idx="2898">
                  <c:v>0.24634420697412801</c:v>
                </c:pt>
                <c:pt idx="2899">
                  <c:v>0.24637681159420299</c:v>
                </c:pt>
                <c:pt idx="2900">
                  <c:v>0.24637681159420299</c:v>
                </c:pt>
                <c:pt idx="2901">
                  <c:v>0.24637681159420299</c:v>
                </c:pt>
                <c:pt idx="2902">
                  <c:v>0.246467817896389</c:v>
                </c:pt>
                <c:pt idx="2903">
                  <c:v>0.24647887323943701</c:v>
                </c:pt>
                <c:pt idx="2904">
                  <c:v>0.24649859943977601</c:v>
                </c:pt>
                <c:pt idx="2905">
                  <c:v>0.24650571791613701</c:v>
                </c:pt>
                <c:pt idx="2906">
                  <c:v>0.24654088050314499</c:v>
                </c:pt>
                <c:pt idx="2907">
                  <c:v>0.246543778801843</c:v>
                </c:pt>
                <c:pt idx="2908">
                  <c:v>0.24654926225606899</c:v>
                </c:pt>
                <c:pt idx="2909">
                  <c:v>0.24656188605108101</c:v>
                </c:pt>
                <c:pt idx="2910">
                  <c:v>0.246587807097361</c:v>
                </c:pt>
                <c:pt idx="2911">
                  <c:v>0.246598639455782</c:v>
                </c:pt>
                <c:pt idx="2912">
                  <c:v>0.24660194174757299</c:v>
                </c:pt>
                <c:pt idx="2913">
                  <c:v>0.246606334841629</c:v>
                </c:pt>
                <c:pt idx="2914">
                  <c:v>0.24673913043478299</c:v>
                </c:pt>
                <c:pt idx="2915">
                  <c:v>0.24679029957203999</c:v>
                </c:pt>
                <c:pt idx="2916">
                  <c:v>0.246794871794872</c:v>
                </c:pt>
                <c:pt idx="2917">
                  <c:v>0.246835443037975</c:v>
                </c:pt>
                <c:pt idx="2918">
                  <c:v>0.24685990338164199</c:v>
                </c:pt>
                <c:pt idx="2919">
                  <c:v>0.24687144482366299</c:v>
                </c:pt>
                <c:pt idx="2920">
                  <c:v>0.24691358024691401</c:v>
                </c:pt>
                <c:pt idx="2921">
                  <c:v>0.24691358024691401</c:v>
                </c:pt>
                <c:pt idx="2922">
                  <c:v>0.24695121951219501</c:v>
                </c:pt>
                <c:pt idx="2923">
                  <c:v>0.24700239808153501</c:v>
                </c:pt>
                <c:pt idx="2924">
                  <c:v>0.24700239808153501</c:v>
                </c:pt>
                <c:pt idx="2925">
                  <c:v>0.247058823529412</c:v>
                </c:pt>
                <c:pt idx="2926">
                  <c:v>0.247126436781609</c:v>
                </c:pt>
                <c:pt idx="2927">
                  <c:v>0.24715447154471501</c:v>
                </c:pt>
                <c:pt idx="2928">
                  <c:v>0.24715447154471501</c:v>
                </c:pt>
                <c:pt idx="2929">
                  <c:v>0.24725274725274701</c:v>
                </c:pt>
                <c:pt idx="2930">
                  <c:v>0.24725274725274701</c:v>
                </c:pt>
                <c:pt idx="2931">
                  <c:v>0.247288503253796</c:v>
                </c:pt>
                <c:pt idx="2932">
                  <c:v>0.24728962312854899</c:v>
                </c:pt>
                <c:pt idx="2933">
                  <c:v>0.247339077546883</c:v>
                </c:pt>
                <c:pt idx="2934">
                  <c:v>0.24736225087925001</c:v>
                </c:pt>
                <c:pt idx="2935">
                  <c:v>0.24736842105263199</c:v>
                </c:pt>
                <c:pt idx="2936">
                  <c:v>0.24749163879598701</c:v>
                </c:pt>
                <c:pt idx="2937">
                  <c:v>0.24752475247524799</c:v>
                </c:pt>
                <c:pt idx="2938">
                  <c:v>0.24752475247524799</c:v>
                </c:pt>
                <c:pt idx="2939">
                  <c:v>0.24753127057274499</c:v>
                </c:pt>
                <c:pt idx="2940">
                  <c:v>0.247572815533981</c:v>
                </c:pt>
                <c:pt idx="2941">
                  <c:v>0.247572815533981</c:v>
                </c:pt>
                <c:pt idx="2942">
                  <c:v>0.24763033175355401</c:v>
                </c:pt>
                <c:pt idx="2943">
                  <c:v>0.24764890282131699</c:v>
                </c:pt>
                <c:pt idx="2944">
                  <c:v>0.24768946395563801</c:v>
                </c:pt>
                <c:pt idx="2945">
                  <c:v>0.247706422018349</c:v>
                </c:pt>
                <c:pt idx="2946">
                  <c:v>0.24773413897280999</c:v>
                </c:pt>
                <c:pt idx="2947">
                  <c:v>0.247787610619469</c:v>
                </c:pt>
                <c:pt idx="2948">
                  <c:v>0.24780316344464001</c:v>
                </c:pt>
                <c:pt idx="2949">
                  <c:v>0.24787535410764899</c:v>
                </c:pt>
                <c:pt idx="2950">
                  <c:v>0.247933884297521</c:v>
                </c:pt>
                <c:pt idx="2951">
                  <c:v>0.248</c:v>
                </c:pt>
                <c:pt idx="2952">
                  <c:v>0.248010610079576</c:v>
                </c:pt>
                <c:pt idx="2953">
                  <c:v>0.248015873015873</c:v>
                </c:pt>
                <c:pt idx="2954">
                  <c:v>0.24806201550387599</c:v>
                </c:pt>
                <c:pt idx="2955">
                  <c:v>0.24815445769449199</c:v>
                </c:pt>
                <c:pt idx="2956">
                  <c:v>0.24825174825174801</c:v>
                </c:pt>
                <c:pt idx="2957">
                  <c:v>0.24827586206896499</c:v>
                </c:pt>
                <c:pt idx="2958">
                  <c:v>0.24827586206896499</c:v>
                </c:pt>
                <c:pt idx="2959">
                  <c:v>0.24832214765100699</c:v>
                </c:pt>
                <c:pt idx="2960">
                  <c:v>0.24836601307189499</c:v>
                </c:pt>
                <c:pt idx="2961">
                  <c:v>0.24843492586490901</c:v>
                </c:pt>
                <c:pt idx="2962">
                  <c:v>0.24850894632206799</c:v>
                </c:pt>
                <c:pt idx="2963">
                  <c:v>0.24853228962818</c:v>
                </c:pt>
                <c:pt idx="2964">
                  <c:v>0.248571428571429</c:v>
                </c:pt>
                <c:pt idx="2965">
                  <c:v>0.24859813084112101</c:v>
                </c:pt>
                <c:pt idx="2966">
                  <c:v>0.248648648648649</c:v>
                </c:pt>
                <c:pt idx="2967">
                  <c:v>0.24865591397849501</c:v>
                </c:pt>
                <c:pt idx="2968">
                  <c:v>0.248672139063254</c:v>
                </c:pt>
                <c:pt idx="2969">
                  <c:v>0.248677248677249</c:v>
                </c:pt>
                <c:pt idx="2970">
                  <c:v>0.248756218905473</c:v>
                </c:pt>
                <c:pt idx="2971">
                  <c:v>0.248768472906404</c:v>
                </c:pt>
                <c:pt idx="2972">
                  <c:v>0.24878048780487799</c:v>
                </c:pt>
                <c:pt idx="2973">
                  <c:v>0.248826291079812</c:v>
                </c:pt>
                <c:pt idx="2974">
                  <c:v>0.24885546108567699</c:v>
                </c:pt>
                <c:pt idx="2975">
                  <c:v>0.24886877828054299</c:v>
                </c:pt>
                <c:pt idx="2976">
                  <c:v>0.24888888888888899</c:v>
                </c:pt>
                <c:pt idx="2977">
                  <c:v>0.248927038626609</c:v>
                </c:pt>
                <c:pt idx="2978">
                  <c:v>0.24893617021276601</c:v>
                </c:pt>
                <c:pt idx="2979">
                  <c:v>0.248940677966102</c:v>
                </c:pt>
                <c:pt idx="2980">
                  <c:v>0.248953974895397</c:v>
                </c:pt>
                <c:pt idx="2981">
                  <c:v>0.24896265560166</c:v>
                </c:pt>
                <c:pt idx="2982">
                  <c:v>0.24896265560166</c:v>
                </c:pt>
                <c:pt idx="2983">
                  <c:v>0.24898511502029799</c:v>
                </c:pt>
                <c:pt idx="2984">
                  <c:v>0.24901408450704199</c:v>
                </c:pt>
                <c:pt idx="2985">
                  <c:v>0.24909933093154901</c:v>
                </c:pt>
                <c:pt idx="2986">
                  <c:v>0.24911032028469701</c:v>
                </c:pt>
                <c:pt idx="2987">
                  <c:v>0.249266862170088</c:v>
                </c:pt>
                <c:pt idx="2988">
                  <c:v>0.24939467312348701</c:v>
                </c:pt>
                <c:pt idx="2989">
                  <c:v>0.24944812362030899</c:v>
                </c:pt>
                <c:pt idx="2990">
                  <c:v>0.24948875255623701</c:v>
                </c:pt>
                <c:pt idx="2991">
                  <c:v>0.249527410207939</c:v>
                </c:pt>
                <c:pt idx="2992">
                  <c:v>0.24954296160877501</c:v>
                </c:pt>
                <c:pt idx="2993">
                  <c:v>0.24955436720142599</c:v>
                </c:pt>
                <c:pt idx="2994">
                  <c:v>0.24958949096880101</c:v>
                </c:pt>
                <c:pt idx="2995">
                  <c:v>0.24965517241379301</c:v>
                </c:pt>
                <c:pt idx="2996">
                  <c:v>0.24968152866241999</c:v>
                </c:pt>
                <c:pt idx="2997">
                  <c:v>0.249702734839477</c:v>
                </c:pt>
                <c:pt idx="2998">
                  <c:v>0.24973876698014599</c:v>
                </c:pt>
                <c:pt idx="2999">
                  <c:v>0.24974823766364501</c:v>
                </c:pt>
                <c:pt idx="3000">
                  <c:v>0.24981577008106101</c:v>
                </c:pt>
                <c:pt idx="3001">
                  <c:v>0.249850209706411</c:v>
                </c:pt>
                <c:pt idx="3002">
                  <c:v>0.25</c:v>
                </c:pt>
                <c:pt idx="3003">
                  <c:v>0.25</c:v>
                </c:pt>
                <c:pt idx="3004">
                  <c:v>0.25</c:v>
                </c:pt>
                <c:pt idx="3005">
                  <c:v>0.25</c:v>
                </c:pt>
                <c:pt idx="3006">
                  <c:v>0.25</c:v>
                </c:pt>
                <c:pt idx="3007">
                  <c:v>0.25</c:v>
                </c:pt>
                <c:pt idx="3008">
                  <c:v>0.25</c:v>
                </c:pt>
                <c:pt idx="3009">
                  <c:v>0.25</c:v>
                </c:pt>
                <c:pt idx="3010">
                  <c:v>0.25</c:v>
                </c:pt>
                <c:pt idx="3011">
                  <c:v>0.25</c:v>
                </c:pt>
                <c:pt idx="3012">
                  <c:v>0.25</c:v>
                </c:pt>
                <c:pt idx="3013">
                  <c:v>0.25</c:v>
                </c:pt>
                <c:pt idx="3014">
                  <c:v>0.25</c:v>
                </c:pt>
                <c:pt idx="3015">
                  <c:v>0.25</c:v>
                </c:pt>
                <c:pt idx="3016">
                  <c:v>0.25</c:v>
                </c:pt>
                <c:pt idx="3017">
                  <c:v>0.25</c:v>
                </c:pt>
                <c:pt idx="3018">
                  <c:v>0.25</c:v>
                </c:pt>
                <c:pt idx="3019">
                  <c:v>0.25</c:v>
                </c:pt>
                <c:pt idx="3020">
                  <c:v>0.25</c:v>
                </c:pt>
                <c:pt idx="3021">
                  <c:v>0.25021132713440403</c:v>
                </c:pt>
                <c:pt idx="3022">
                  <c:v>0.25023651844843903</c:v>
                </c:pt>
                <c:pt idx="3023">
                  <c:v>0.25026399155227003</c:v>
                </c:pt>
                <c:pt idx="3024">
                  <c:v>0.250333778371162</c:v>
                </c:pt>
                <c:pt idx="3025">
                  <c:v>0.25037037037037002</c:v>
                </c:pt>
                <c:pt idx="3026">
                  <c:v>0.25044091710758398</c:v>
                </c:pt>
                <c:pt idx="3027">
                  <c:v>0.25044404973356998</c:v>
                </c:pt>
                <c:pt idx="3028">
                  <c:v>0.25053078556263297</c:v>
                </c:pt>
                <c:pt idx="3029">
                  <c:v>0.25060827250608297</c:v>
                </c:pt>
                <c:pt idx="3030">
                  <c:v>0.25063938618925802</c:v>
                </c:pt>
                <c:pt idx="3031">
                  <c:v>0.25064267352185099</c:v>
                </c:pt>
                <c:pt idx="3032">
                  <c:v>0.25073746312684397</c:v>
                </c:pt>
                <c:pt idx="3033">
                  <c:v>0.25083612040133801</c:v>
                </c:pt>
                <c:pt idx="3034">
                  <c:v>0.25085910652921001</c:v>
                </c:pt>
                <c:pt idx="3035">
                  <c:v>0.25092989985693798</c:v>
                </c:pt>
                <c:pt idx="3036">
                  <c:v>0.25094339622641498</c:v>
                </c:pt>
                <c:pt idx="3037">
                  <c:v>0.25097529258777601</c:v>
                </c:pt>
                <c:pt idx="3038">
                  <c:v>0.25098039215686302</c:v>
                </c:pt>
                <c:pt idx="3039">
                  <c:v>0.25104797391709399</c:v>
                </c:pt>
                <c:pt idx="3040">
                  <c:v>0.25106382978723402</c:v>
                </c:pt>
                <c:pt idx="3041">
                  <c:v>0.251162790697674</c:v>
                </c:pt>
                <c:pt idx="3042">
                  <c:v>0.25120772946859898</c:v>
                </c:pt>
                <c:pt idx="3043">
                  <c:v>0.251243781094527</c:v>
                </c:pt>
                <c:pt idx="3044">
                  <c:v>0.251264755480607</c:v>
                </c:pt>
                <c:pt idx="3045">
                  <c:v>0.25135623869801099</c:v>
                </c:pt>
                <c:pt idx="3046">
                  <c:v>0.25136612021857901</c:v>
                </c:pt>
                <c:pt idx="3047">
                  <c:v>0.251428571428571</c:v>
                </c:pt>
                <c:pt idx="3048">
                  <c:v>0.25144508670520199</c:v>
                </c:pt>
                <c:pt idx="3049">
                  <c:v>0.251533742331288</c:v>
                </c:pt>
                <c:pt idx="3050">
                  <c:v>0.251533742331288</c:v>
                </c:pt>
                <c:pt idx="3051">
                  <c:v>0.25157232704402499</c:v>
                </c:pt>
                <c:pt idx="3052">
                  <c:v>0.25157232704402499</c:v>
                </c:pt>
                <c:pt idx="3053">
                  <c:v>0.25157232704402499</c:v>
                </c:pt>
                <c:pt idx="3054">
                  <c:v>0.25157232704402499</c:v>
                </c:pt>
                <c:pt idx="3055">
                  <c:v>0.25159914712153503</c:v>
                </c:pt>
                <c:pt idx="3056">
                  <c:v>0.25161290322580598</c:v>
                </c:pt>
                <c:pt idx="3057">
                  <c:v>0.25163398692810501</c:v>
                </c:pt>
                <c:pt idx="3058">
                  <c:v>0.25164473684210498</c:v>
                </c:pt>
                <c:pt idx="3059">
                  <c:v>0.25173210161662801</c:v>
                </c:pt>
                <c:pt idx="3060">
                  <c:v>0.25174825174825199</c:v>
                </c:pt>
                <c:pt idx="3061">
                  <c:v>0.25177664974619302</c:v>
                </c:pt>
                <c:pt idx="3062">
                  <c:v>0.25179856115107901</c:v>
                </c:pt>
                <c:pt idx="3063">
                  <c:v>0.25188536953242802</c:v>
                </c:pt>
                <c:pt idx="3064">
                  <c:v>0.25188916876574302</c:v>
                </c:pt>
                <c:pt idx="3065">
                  <c:v>0.25189681335356601</c:v>
                </c:pt>
                <c:pt idx="3066">
                  <c:v>0.25190839694656503</c:v>
                </c:pt>
                <c:pt idx="3067">
                  <c:v>0.25196850393700798</c:v>
                </c:pt>
                <c:pt idx="3068">
                  <c:v>0.252019386106624</c:v>
                </c:pt>
                <c:pt idx="3069">
                  <c:v>0.25203252032520301</c:v>
                </c:pt>
                <c:pt idx="3070">
                  <c:v>0.25205479452054802</c:v>
                </c:pt>
                <c:pt idx="3071">
                  <c:v>0.25207756232687001</c:v>
                </c:pt>
                <c:pt idx="3072">
                  <c:v>0.252085264133457</c:v>
                </c:pt>
                <c:pt idx="3073">
                  <c:v>0.25214899713466998</c:v>
                </c:pt>
                <c:pt idx="3074">
                  <c:v>0.25219941348973601</c:v>
                </c:pt>
                <c:pt idx="3075">
                  <c:v>0.25225225225225201</c:v>
                </c:pt>
                <c:pt idx="3076">
                  <c:v>0.25225225225225201</c:v>
                </c:pt>
                <c:pt idx="3077">
                  <c:v>0.252279635258359</c:v>
                </c:pt>
                <c:pt idx="3078">
                  <c:v>0.252279635258359</c:v>
                </c:pt>
                <c:pt idx="3079">
                  <c:v>0.25229357798165097</c:v>
                </c:pt>
                <c:pt idx="3080">
                  <c:v>0.25229357798165097</c:v>
                </c:pt>
                <c:pt idx="3081">
                  <c:v>0.25231910946196701</c:v>
                </c:pt>
                <c:pt idx="3082">
                  <c:v>0.25233644859813098</c:v>
                </c:pt>
                <c:pt idx="3083">
                  <c:v>0.25238095238095198</c:v>
                </c:pt>
                <c:pt idx="3084">
                  <c:v>0.25246548323471402</c:v>
                </c:pt>
                <c:pt idx="3085">
                  <c:v>0.25247524752475198</c:v>
                </c:pt>
                <c:pt idx="3086">
                  <c:v>0.25247524752475198</c:v>
                </c:pt>
                <c:pt idx="3087">
                  <c:v>0.25249169435215901</c:v>
                </c:pt>
                <c:pt idx="3088">
                  <c:v>0.25252525252525299</c:v>
                </c:pt>
                <c:pt idx="3089">
                  <c:v>0.252548131370328</c:v>
                </c:pt>
                <c:pt idx="3090">
                  <c:v>0.25256673511293598</c:v>
                </c:pt>
                <c:pt idx="3091">
                  <c:v>0.25263157894736799</c:v>
                </c:pt>
                <c:pt idx="3092">
                  <c:v>0.25263157894736799</c:v>
                </c:pt>
                <c:pt idx="3093">
                  <c:v>0.25263157894736799</c:v>
                </c:pt>
                <c:pt idx="3094">
                  <c:v>0.25266297400937399</c:v>
                </c:pt>
                <c:pt idx="3095">
                  <c:v>0.25266903914590699</c:v>
                </c:pt>
                <c:pt idx="3096">
                  <c:v>0.25269645608628699</c:v>
                </c:pt>
                <c:pt idx="3097">
                  <c:v>0.25273631840796001</c:v>
                </c:pt>
                <c:pt idx="3098">
                  <c:v>0.25274725274725302</c:v>
                </c:pt>
                <c:pt idx="3099">
                  <c:v>0.25274725274725302</c:v>
                </c:pt>
                <c:pt idx="3100">
                  <c:v>0.25274725274725302</c:v>
                </c:pt>
                <c:pt idx="3101">
                  <c:v>0.25276461295418601</c:v>
                </c:pt>
                <c:pt idx="3102">
                  <c:v>0.25277008310249299</c:v>
                </c:pt>
                <c:pt idx="3103">
                  <c:v>0.25277777777777799</c:v>
                </c:pt>
                <c:pt idx="3104">
                  <c:v>0.25279642058165502</c:v>
                </c:pt>
                <c:pt idx="3105">
                  <c:v>0.25293586269196</c:v>
                </c:pt>
                <c:pt idx="3106">
                  <c:v>0.25295508274231698</c:v>
                </c:pt>
                <c:pt idx="3107">
                  <c:v>0.25301204819277101</c:v>
                </c:pt>
                <c:pt idx="3108">
                  <c:v>0.25308641975308599</c:v>
                </c:pt>
                <c:pt idx="3109">
                  <c:v>0.25315939665715398</c:v>
                </c:pt>
                <c:pt idx="3110">
                  <c:v>0.25320512820512803</c:v>
                </c:pt>
                <c:pt idx="3111">
                  <c:v>0.253246753246753</c:v>
                </c:pt>
                <c:pt idx="3112">
                  <c:v>0.253263707571802</c:v>
                </c:pt>
                <c:pt idx="3113">
                  <c:v>0.25333333333333302</c:v>
                </c:pt>
                <c:pt idx="3114">
                  <c:v>0.25333333333333302</c:v>
                </c:pt>
                <c:pt idx="3115">
                  <c:v>0.25335720680393897</c:v>
                </c:pt>
                <c:pt idx="3116">
                  <c:v>0.25335892514395397</c:v>
                </c:pt>
                <c:pt idx="3117">
                  <c:v>0.25342465753424698</c:v>
                </c:pt>
                <c:pt idx="3118">
                  <c:v>0.25352112676056299</c:v>
                </c:pt>
                <c:pt idx="3119">
                  <c:v>0.25355450236966798</c:v>
                </c:pt>
                <c:pt idx="3120">
                  <c:v>0.25356576862123598</c:v>
                </c:pt>
                <c:pt idx="3121">
                  <c:v>0.25362318840579701</c:v>
                </c:pt>
                <c:pt idx="3122">
                  <c:v>0.25362318840579701</c:v>
                </c:pt>
                <c:pt idx="3123">
                  <c:v>0.25362318840579701</c:v>
                </c:pt>
                <c:pt idx="3124">
                  <c:v>0.253629376601196</c:v>
                </c:pt>
                <c:pt idx="3125">
                  <c:v>0.25364758698091999</c:v>
                </c:pt>
                <c:pt idx="3126">
                  <c:v>0.25365853658536602</c:v>
                </c:pt>
                <c:pt idx="3127">
                  <c:v>0.25371336812525103</c:v>
                </c:pt>
                <c:pt idx="3128">
                  <c:v>0.25377643504531699</c:v>
                </c:pt>
                <c:pt idx="3129">
                  <c:v>0.25377643504531699</c:v>
                </c:pt>
                <c:pt idx="3130">
                  <c:v>0.25395430579964801</c:v>
                </c:pt>
                <c:pt idx="3131">
                  <c:v>0.25404157043879899</c:v>
                </c:pt>
                <c:pt idx="3132">
                  <c:v>0.25410958904109598</c:v>
                </c:pt>
                <c:pt idx="3133">
                  <c:v>0.25412541254125398</c:v>
                </c:pt>
                <c:pt idx="3134">
                  <c:v>0.25414364640884002</c:v>
                </c:pt>
                <c:pt idx="3135">
                  <c:v>0.254152823920266</c:v>
                </c:pt>
                <c:pt idx="3136">
                  <c:v>0.25418060200668902</c:v>
                </c:pt>
                <c:pt idx="3137">
                  <c:v>0.25423728813559299</c:v>
                </c:pt>
                <c:pt idx="3138">
                  <c:v>0.25427594070695603</c:v>
                </c:pt>
                <c:pt idx="3139">
                  <c:v>0.25429553264604798</c:v>
                </c:pt>
                <c:pt idx="3140">
                  <c:v>0.25430210325047797</c:v>
                </c:pt>
                <c:pt idx="3141">
                  <c:v>0.25435073627844701</c:v>
                </c:pt>
                <c:pt idx="3142">
                  <c:v>0.25443786982248501</c:v>
                </c:pt>
                <c:pt idx="3143">
                  <c:v>0.25449101796407197</c:v>
                </c:pt>
                <c:pt idx="3144">
                  <c:v>0.25449871465295598</c:v>
                </c:pt>
                <c:pt idx="3145">
                  <c:v>0.25451559934318602</c:v>
                </c:pt>
                <c:pt idx="3146">
                  <c:v>0.25474254742547398</c:v>
                </c:pt>
                <c:pt idx="3147">
                  <c:v>0.25476190476190502</c:v>
                </c:pt>
                <c:pt idx="3148">
                  <c:v>0.25477707006369399</c:v>
                </c:pt>
                <c:pt idx="3149">
                  <c:v>0.25480283114256802</c:v>
                </c:pt>
                <c:pt idx="3150">
                  <c:v>0.25482625482625498</c:v>
                </c:pt>
                <c:pt idx="3151">
                  <c:v>0.25484351713859899</c:v>
                </c:pt>
                <c:pt idx="3152">
                  <c:v>0.25490196078431399</c:v>
                </c:pt>
                <c:pt idx="3153">
                  <c:v>0.25490196078431399</c:v>
                </c:pt>
                <c:pt idx="3154">
                  <c:v>0.25490196078431399</c:v>
                </c:pt>
                <c:pt idx="3155">
                  <c:v>0.25490196078431399</c:v>
                </c:pt>
                <c:pt idx="3156">
                  <c:v>0.25503355704698</c:v>
                </c:pt>
                <c:pt idx="3157">
                  <c:v>0.25514403292181098</c:v>
                </c:pt>
                <c:pt idx="3158">
                  <c:v>0.25514874141876398</c:v>
                </c:pt>
                <c:pt idx="3159">
                  <c:v>0.25515463917525799</c:v>
                </c:pt>
                <c:pt idx="3160">
                  <c:v>0.25516224188790598</c:v>
                </c:pt>
                <c:pt idx="3161">
                  <c:v>0.25526315789473702</c:v>
                </c:pt>
                <c:pt idx="3162">
                  <c:v>0.25530888030887999</c:v>
                </c:pt>
                <c:pt idx="3163">
                  <c:v>0.25531914893617003</c:v>
                </c:pt>
                <c:pt idx="3164">
                  <c:v>0.25531914893617003</c:v>
                </c:pt>
                <c:pt idx="3165">
                  <c:v>0.25531914893617003</c:v>
                </c:pt>
                <c:pt idx="3166">
                  <c:v>0.25536480686695301</c:v>
                </c:pt>
                <c:pt idx="3167">
                  <c:v>0.25538461538461499</c:v>
                </c:pt>
                <c:pt idx="3168">
                  <c:v>0.25539568345323699</c:v>
                </c:pt>
                <c:pt idx="3169">
                  <c:v>0.25541125541125498</c:v>
                </c:pt>
                <c:pt idx="3170">
                  <c:v>0.25544267053700997</c:v>
                </c:pt>
                <c:pt idx="3171">
                  <c:v>0.255466052934407</c:v>
                </c:pt>
                <c:pt idx="3172">
                  <c:v>0.25547445255474499</c:v>
                </c:pt>
                <c:pt idx="3173">
                  <c:v>0.25555555555555598</c:v>
                </c:pt>
                <c:pt idx="3174">
                  <c:v>0.25557564798071097</c:v>
                </c:pt>
                <c:pt idx="3175">
                  <c:v>0.255578093306288</c:v>
                </c:pt>
                <c:pt idx="3176">
                  <c:v>0.25558312655086801</c:v>
                </c:pt>
                <c:pt idx="3177">
                  <c:v>0.25561029009304898</c:v>
                </c:pt>
                <c:pt idx="3178">
                  <c:v>0.25566343042071199</c:v>
                </c:pt>
                <c:pt idx="3179">
                  <c:v>0.25567765567765599</c:v>
                </c:pt>
                <c:pt idx="3180">
                  <c:v>0.25568181818181801</c:v>
                </c:pt>
                <c:pt idx="3181">
                  <c:v>0.25573770491803299</c:v>
                </c:pt>
                <c:pt idx="3182">
                  <c:v>0.25573770491803299</c:v>
                </c:pt>
                <c:pt idx="3183">
                  <c:v>0.25579854208084801</c:v>
                </c:pt>
                <c:pt idx="3184">
                  <c:v>0.255868544600939</c:v>
                </c:pt>
                <c:pt idx="3185">
                  <c:v>0.255892255892256</c:v>
                </c:pt>
                <c:pt idx="3186">
                  <c:v>0.25589622641509402</c:v>
                </c:pt>
                <c:pt idx="3187">
                  <c:v>0.255905511811024</c:v>
                </c:pt>
                <c:pt idx="3188">
                  <c:v>0.255924170616114</c:v>
                </c:pt>
                <c:pt idx="3189">
                  <c:v>0.25596816976127301</c:v>
                </c:pt>
                <c:pt idx="3190">
                  <c:v>0.25603448275862101</c:v>
                </c:pt>
                <c:pt idx="3191">
                  <c:v>0.25604551920341401</c:v>
                </c:pt>
                <c:pt idx="3192">
                  <c:v>0.25614489003881002</c:v>
                </c:pt>
                <c:pt idx="3193">
                  <c:v>0.256198347107438</c:v>
                </c:pt>
                <c:pt idx="3194">
                  <c:v>0.256227758007117</c:v>
                </c:pt>
                <c:pt idx="3195">
                  <c:v>0.25628140703517599</c:v>
                </c:pt>
                <c:pt idx="3196">
                  <c:v>0.25629290617848999</c:v>
                </c:pt>
                <c:pt idx="3197">
                  <c:v>0.25635103926097003</c:v>
                </c:pt>
                <c:pt idx="3198">
                  <c:v>0.25635910224438901</c:v>
                </c:pt>
                <c:pt idx="3199">
                  <c:v>0.256410256410256</c:v>
                </c:pt>
                <c:pt idx="3200">
                  <c:v>0.256410256410256</c:v>
                </c:pt>
                <c:pt idx="3201">
                  <c:v>0.25650557620817799</c:v>
                </c:pt>
                <c:pt idx="3202">
                  <c:v>0.25660377358490599</c:v>
                </c:pt>
                <c:pt idx="3203">
                  <c:v>0.25660377358490599</c:v>
                </c:pt>
                <c:pt idx="3204">
                  <c:v>0.25663716814159299</c:v>
                </c:pt>
                <c:pt idx="3205">
                  <c:v>0.25668449197860999</c:v>
                </c:pt>
                <c:pt idx="3206">
                  <c:v>0.25668449197860999</c:v>
                </c:pt>
                <c:pt idx="3207">
                  <c:v>0.25669642857142899</c:v>
                </c:pt>
                <c:pt idx="3208">
                  <c:v>0.25670945157526298</c:v>
                </c:pt>
                <c:pt idx="3209">
                  <c:v>0.25675675675675702</c:v>
                </c:pt>
                <c:pt idx="3210">
                  <c:v>0.25684210526315798</c:v>
                </c:pt>
                <c:pt idx="3211">
                  <c:v>0.257009345794392</c:v>
                </c:pt>
                <c:pt idx="3212">
                  <c:v>0.257088846880907</c:v>
                </c:pt>
                <c:pt idx="3213">
                  <c:v>0.25714285714285701</c:v>
                </c:pt>
                <c:pt idx="3214">
                  <c:v>0.25714285714285701</c:v>
                </c:pt>
                <c:pt idx="3215">
                  <c:v>0.25714285714285701</c:v>
                </c:pt>
                <c:pt idx="3216">
                  <c:v>0.25714285714285701</c:v>
                </c:pt>
                <c:pt idx="3217">
                  <c:v>0.25723472668810299</c:v>
                </c:pt>
                <c:pt idx="3218">
                  <c:v>0.25724637681159401</c:v>
                </c:pt>
                <c:pt idx="3219">
                  <c:v>0.25733634311512399</c:v>
                </c:pt>
                <c:pt idx="3220">
                  <c:v>0.25734265734265699</c:v>
                </c:pt>
                <c:pt idx="3221">
                  <c:v>0.25737265415549598</c:v>
                </c:pt>
                <c:pt idx="3222">
                  <c:v>0.25738396624472598</c:v>
                </c:pt>
                <c:pt idx="3223">
                  <c:v>0.25738396624472598</c:v>
                </c:pt>
                <c:pt idx="3224">
                  <c:v>0.25755525484889502</c:v>
                </c:pt>
                <c:pt idx="3225">
                  <c:v>0.25757575757575801</c:v>
                </c:pt>
                <c:pt idx="3226">
                  <c:v>0.25761772853185599</c:v>
                </c:pt>
                <c:pt idx="3227">
                  <c:v>0.25764192139738001</c:v>
                </c:pt>
                <c:pt idx="3228">
                  <c:v>0.25782688766114198</c:v>
                </c:pt>
                <c:pt idx="3229">
                  <c:v>0.257839721254355</c:v>
                </c:pt>
                <c:pt idx="3230">
                  <c:v>0.25785123966942097</c:v>
                </c:pt>
                <c:pt idx="3231">
                  <c:v>0.25786163522012601</c:v>
                </c:pt>
                <c:pt idx="3232">
                  <c:v>0.25786977145321299</c:v>
                </c:pt>
                <c:pt idx="3233">
                  <c:v>0.25789473684210501</c:v>
                </c:pt>
                <c:pt idx="3234">
                  <c:v>0.25791855203619901</c:v>
                </c:pt>
                <c:pt idx="3235">
                  <c:v>0.25795053003533602</c:v>
                </c:pt>
                <c:pt idx="3236">
                  <c:v>0.25802139037433203</c:v>
                </c:pt>
                <c:pt idx="3237">
                  <c:v>0.25806451612903197</c:v>
                </c:pt>
                <c:pt idx="3238">
                  <c:v>0.25806451612903197</c:v>
                </c:pt>
                <c:pt idx="3239">
                  <c:v>0.25806451612903197</c:v>
                </c:pt>
                <c:pt idx="3240">
                  <c:v>0.25806451612903197</c:v>
                </c:pt>
                <c:pt idx="3241">
                  <c:v>0.25809523809523799</c:v>
                </c:pt>
                <c:pt idx="3242">
                  <c:v>0.258096172718351</c:v>
                </c:pt>
                <c:pt idx="3243">
                  <c:v>0.25818181818181801</c:v>
                </c:pt>
                <c:pt idx="3244">
                  <c:v>0.258379888268156</c:v>
                </c:pt>
                <c:pt idx="3245">
                  <c:v>0.25842696629213502</c:v>
                </c:pt>
                <c:pt idx="3246">
                  <c:v>0.25848563968668398</c:v>
                </c:pt>
                <c:pt idx="3247">
                  <c:v>0.25852272727272702</c:v>
                </c:pt>
                <c:pt idx="3248">
                  <c:v>0.258536585365854</c:v>
                </c:pt>
                <c:pt idx="3249">
                  <c:v>0.258536585365854</c:v>
                </c:pt>
                <c:pt idx="3250">
                  <c:v>0.25859697386519898</c:v>
                </c:pt>
                <c:pt idx="3251">
                  <c:v>0.25860271115745598</c:v>
                </c:pt>
                <c:pt idx="3252">
                  <c:v>0.25862068965517199</c:v>
                </c:pt>
                <c:pt idx="3253">
                  <c:v>0.25862068965517199</c:v>
                </c:pt>
                <c:pt idx="3254">
                  <c:v>0.25864739287558097</c:v>
                </c:pt>
                <c:pt idx="3255">
                  <c:v>0.25865880619012499</c:v>
                </c:pt>
                <c:pt idx="3256">
                  <c:v>0.258687258687259</c:v>
                </c:pt>
                <c:pt idx="3257">
                  <c:v>0.25874125874125897</c:v>
                </c:pt>
                <c:pt idx="3258">
                  <c:v>0.25874125874125897</c:v>
                </c:pt>
                <c:pt idx="3259">
                  <c:v>0.25874125874125897</c:v>
                </c:pt>
                <c:pt idx="3260">
                  <c:v>0.25874867444326599</c:v>
                </c:pt>
                <c:pt idx="3261">
                  <c:v>0.25882352941176501</c:v>
                </c:pt>
                <c:pt idx="3262">
                  <c:v>0.25890736342042803</c:v>
                </c:pt>
                <c:pt idx="3263">
                  <c:v>0.25890985324947602</c:v>
                </c:pt>
                <c:pt idx="3264">
                  <c:v>0.25895316804407698</c:v>
                </c:pt>
                <c:pt idx="3265">
                  <c:v>0.25897187196896199</c:v>
                </c:pt>
                <c:pt idx="3266">
                  <c:v>0.25897920604914898</c:v>
                </c:pt>
                <c:pt idx="3267">
                  <c:v>0.25899019251725403</c:v>
                </c:pt>
                <c:pt idx="3268">
                  <c:v>0.25908304498269902</c:v>
                </c:pt>
                <c:pt idx="3269">
                  <c:v>0.25914149443561202</c:v>
                </c:pt>
                <c:pt idx="3270">
                  <c:v>0.259187620889749</c:v>
                </c:pt>
                <c:pt idx="3271">
                  <c:v>0.259205776173285</c:v>
                </c:pt>
                <c:pt idx="3272">
                  <c:v>0.25925925925925902</c:v>
                </c:pt>
                <c:pt idx="3273">
                  <c:v>0.25925925925925902</c:v>
                </c:pt>
                <c:pt idx="3274">
                  <c:v>0.25925925925925902</c:v>
                </c:pt>
                <c:pt idx="3275">
                  <c:v>0.25925925925925902</c:v>
                </c:pt>
                <c:pt idx="3276">
                  <c:v>0.25925925925925902</c:v>
                </c:pt>
                <c:pt idx="3277">
                  <c:v>0.25925925925925902</c:v>
                </c:pt>
                <c:pt idx="3278">
                  <c:v>0.25925925925925902</c:v>
                </c:pt>
                <c:pt idx="3279">
                  <c:v>0.25925925925925902</c:v>
                </c:pt>
                <c:pt idx="3280">
                  <c:v>0.25927861996863599</c:v>
                </c:pt>
                <c:pt idx="3281">
                  <c:v>0.25928571428571401</c:v>
                </c:pt>
                <c:pt idx="3282">
                  <c:v>0.259325044404973</c:v>
                </c:pt>
                <c:pt idx="3283">
                  <c:v>0.25934065934065897</c:v>
                </c:pt>
                <c:pt idx="3284">
                  <c:v>0.25942857142857101</c:v>
                </c:pt>
                <c:pt idx="3285">
                  <c:v>0.25942857142857101</c:v>
                </c:pt>
                <c:pt idx="3286">
                  <c:v>0.25944584382871499</c:v>
                </c:pt>
                <c:pt idx="3287">
                  <c:v>0.25945945945945897</c:v>
                </c:pt>
                <c:pt idx="3288">
                  <c:v>0.25954198473282403</c:v>
                </c:pt>
                <c:pt idx="3289">
                  <c:v>0.25954198473282403</c:v>
                </c:pt>
                <c:pt idx="3290">
                  <c:v>0.25958188153310102</c:v>
                </c:pt>
                <c:pt idx="3291">
                  <c:v>0.25958702064896799</c:v>
                </c:pt>
                <c:pt idx="3292">
                  <c:v>0.25963149078726999</c:v>
                </c:pt>
                <c:pt idx="3293">
                  <c:v>0.25973504616619802</c:v>
                </c:pt>
                <c:pt idx="3294">
                  <c:v>0.25974025974025999</c:v>
                </c:pt>
                <c:pt idx="3295">
                  <c:v>0.25974025974025999</c:v>
                </c:pt>
                <c:pt idx="3296">
                  <c:v>0.25975177304964497</c:v>
                </c:pt>
                <c:pt idx="3297">
                  <c:v>0.25978647686832701</c:v>
                </c:pt>
                <c:pt idx="3298">
                  <c:v>0.25991902834008102</c:v>
                </c:pt>
                <c:pt idx="3299">
                  <c:v>0.25992779783393499</c:v>
                </c:pt>
                <c:pt idx="3300">
                  <c:v>0.259938837920489</c:v>
                </c:pt>
                <c:pt idx="3301">
                  <c:v>0.25996015936255001</c:v>
                </c:pt>
                <c:pt idx="3302">
                  <c:v>0.259970457902511</c:v>
                </c:pt>
                <c:pt idx="3303">
                  <c:v>0.26</c:v>
                </c:pt>
                <c:pt idx="3304">
                  <c:v>0.26</c:v>
                </c:pt>
                <c:pt idx="3305">
                  <c:v>0.26006057983556902</c:v>
                </c:pt>
                <c:pt idx="3306">
                  <c:v>0.26010101010101</c:v>
                </c:pt>
                <c:pt idx="3307">
                  <c:v>0.26010781671159</c:v>
                </c:pt>
                <c:pt idx="3308">
                  <c:v>0.26014760147601501</c:v>
                </c:pt>
                <c:pt idx="3309">
                  <c:v>0.26016260162601601</c:v>
                </c:pt>
                <c:pt idx="3310">
                  <c:v>0.26017344896597699</c:v>
                </c:pt>
                <c:pt idx="3311">
                  <c:v>0.260223048327138</c:v>
                </c:pt>
                <c:pt idx="3312">
                  <c:v>0.26023391812865498</c:v>
                </c:pt>
                <c:pt idx="3313">
                  <c:v>0.26027397260273999</c:v>
                </c:pt>
                <c:pt idx="3314">
                  <c:v>0.26033057851239699</c:v>
                </c:pt>
                <c:pt idx="3315">
                  <c:v>0.26034063260340601</c:v>
                </c:pt>
                <c:pt idx="3316">
                  <c:v>0.26045016077170402</c:v>
                </c:pt>
                <c:pt idx="3317">
                  <c:v>0.26060606060606101</c:v>
                </c:pt>
                <c:pt idx="3318">
                  <c:v>0.26072926750564701</c:v>
                </c:pt>
                <c:pt idx="3319">
                  <c:v>0.260815822002472</c:v>
                </c:pt>
                <c:pt idx="3320">
                  <c:v>0.26086956521739102</c:v>
                </c:pt>
                <c:pt idx="3321">
                  <c:v>0.26086956521739102</c:v>
                </c:pt>
                <c:pt idx="3322">
                  <c:v>0.26086956521739102</c:v>
                </c:pt>
                <c:pt idx="3323">
                  <c:v>0.26092715231788099</c:v>
                </c:pt>
                <c:pt idx="3324">
                  <c:v>0.26093294460641397</c:v>
                </c:pt>
                <c:pt idx="3325">
                  <c:v>0.26093514328808398</c:v>
                </c:pt>
                <c:pt idx="3326">
                  <c:v>0.26093514328808398</c:v>
                </c:pt>
                <c:pt idx="3327">
                  <c:v>0.261044176706827</c:v>
                </c:pt>
                <c:pt idx="3328">
                  <c:v>0.26104972375690599</c:v>
                </c:pt>
                <c:pt idx="3329">
                  <c:v>0.26111111111111102</c:v>
                </c:pt>
                <c:pt idx="3330">
                  <c:v>0.26111111111111102</c:v>
                </c:pt>
                <c:pt idx="3331">
                  <c:v>0.26114649681528701</c:v>
                </c:pt>
                <c:pt idx="3332">
                  <c:v>0.26114649681528701</c:v>
                </c:pt>
                <c:pt idx="3333">
                  <c:v>0.26117647058823501</c:v>
                </c:pt>
                <c:pt idx="3334">
                  <c:v>0.26119402985074602</c:v>
                </c:pt>
                <c:pt idx="3335">
                  <c:v>0.261208576998051</c:v>
                </c:pt>
                <c:pt idx="3336">
                  <c:v>0.261224489795918</c:v>
                </c:pt>
                <c:pt idx="3337">
                  <c:v>0.261224489795918</c:v>
                </c:pt>
                <c:pt idx="3338">
                  <c:v>0.26128266033254199</c:v>
                </c:pt>
                <c:pt idx="3339">
                  <c:v>0.26130653266331699</c:v>
                </c:pt>
                <c:pt idx="3340">
                  <c:v>0.26132404181184699</c:v>
                </c:pt>
                <c:pt idx="3341">
                  <c:v>0.26133333333333297</c:v>
                </c:pt>
                <c:pt idx="3342">
                  <c:v>0.26136363636363602</c:v>
                </c:pt>
                <c:pt idx="3343">
                  <c:v>0.26138032305433201</c:v>
                </c:pt>
                <c:pt idx="3344">
                  <c:v>0.26139088729016802</c:v>
                </c:pt>
                <c:pt idx="3345">
                  <c:v>0.26146788990825698</c:v>
                </c:pt>
                <c:pt idx="3346">
                  <c:v>0.26151761517615202</c:v>
                </c:pt>
                <c:pt idx="3347">
                  <c:v>0.261538461538462</c:v>
                </c:pt>
                <c:pt idx="3348">
                  <c:v>0.261538461538462</c:v>
                </c:pt>
                <c:pt idx="3349">
                  <c:v>0.26171003717472102</c:v>
                </c:pt>
                <c:pt idx="3350">
                  <c:v>0.26171875</c:v>
                </c:pt>
                <c:pt idx="3351">
                  <c:v>0.26174496644295298</c:v>
                </c:pt>
                <c:pt idx="3352">
                  <c:v>0.26174496644295298</c:v>
                </c:pt>
                <c:pt idx="3353">
                  <c:v>0.26174496644295298</c:v>
                </c:pt>
                <c:pt idx="3354">
                  <c:v>0.26193247962747401</c:v>
                </c:pt>
                <c:pt idx="3355">
                  <c:v>0.261964735516373</c:v>
                </c:pt>
                <c:pt idx="3356">
                  <c:v>0.26198083067092698</c:v>
                </c:pt>
                <c:pt idx="3357">
                  <c:v>0.26198083067092698</c:v>
                </c:pt>
                <c:pt idx="3358">
                  <c:v>0.26198083067092698</c:v>
                </c:pt>
                <c:pt idx="3359">
                  <c:v>0.26203208556149699</c:v>
                </c:pt>
                <c:pt idx="3360">
                  <c:v>0.26206896551724101</c:v>
                </c:pt>
                <c:pt idx="3361">
                  <c:v>0.262090483619345</c:v>
                </c:pt>
                <c:pt idx="3362">
                  <c:v>0.26209677419354799</c:v>
                </c:pt>
                <c:pt idx="3363">
                  <c:v>0.26211734693877597</c:v>
                </c:pt>
                <c:pt idx="3364">
                  <c:v>0.262118491921005</c:v>
                </c:pt>
                <c:pt idx="3365">
                  <c:v>0.26217228464419501</c:v>
                </c:pt>
                <c:pt idx="3366">
                  <c:v>0.26221079691516702</c:v>
                </c:pt>
                <c:pt idx="3367">
                  <c:v>0.26225490196078399</c:v>
                </c:pt>
                <c:pt idx="3368">
                  <c:v>0.26229508196721302</c:v>
                </c:pt>
                <c:pt idx="3369">
                  <c:v>0.26236263736263699</c:v>
                </c:pt>
                <c:pt idx="3370">
                  <c:v>0.262390670553936</c:v>
                </c:pt>
                <c:pt idx="3371">
                  <c:v>0.26241134751772999</c:v>
                </c:pt>
                <c:pt idx="3372">
                  <c:v>0.26241134751772999</c:v>
                </c:pt>
                <c:pt idx="3373">
                  <c:v>0.26242544731610301</c:v>
                </c:pt>
                <c:pt idx="3374">
                  <c:v>0.26245847176079701</c:v>
                </c:pt>
                <c:pt idx="3375">
                  <c:v>0.26246719160104998</c:v>
                </c:pt>
                <c:pt idx="3376">
                  <c:v>0.26250000000000001</c:v>
                </c:pt>
                <c:pt idx="3377">
                  <c:v>0.26250000000000001</c:v>
                </c:pt>
                <c:pt idx="3378">
                  <c:v>0.26251025430680902</c:v>
                </c:pt>
                <c:pt idx="3379">
                  <c:v>0.26259946949602098</c:v>
                </c:pt>
                <c:pt idx="3380">
                  <c:v>0.26262626262626299</c:v>
                </c:pt>
                <c:pt idx="3381">
                  <c:v>0.26265590608950801</c:v>
                </c:pt>
                <c:pt idx="3382">
                  <c:v>0.26270270270270302</c:v>
                </c:pt>
                <c:pt idx="3383">
                  <c:v>0.262729124236253</c:v>
                </c:pt>
                <c:pt idx="3384">
                  <c:v>0.26274713839750302</c:v>
                </c:pt>
                <c:pt idx="3385">
                  <c:v>0.26278240190249702</c:v>
                </c:pt>
                <c:pt idx="3386">
                  <c:v>0.262806236080178</c:v>
                </c:pt>
                <c:pt idx="3387">
                  <c:v>0.26293103448275901</c:v>
                </c:pt>
                <c:pt idx="3388">
                  <c:v>0.26293103448275901</c:v>
                </c:pt>
                <c:pt idx="3389">
                  <c:v>0.26300578034682098</c:v>
                </c:pt>
                <c:pt idx="3390">
                  <c:v>0.26305970149253699</c:v>
                </c:pt>
                <c:pt idx="3391">
                  <c:v>0.26306913996627301</c:v>
                </c:pt>
                <c:pt idx="3392">
                  <c:v>0.26315789473684198</c:v>
                </c:pt>
                <c:pt idx="3393">
                  <c:v>0.26315789473684198</c:v>
                </c:pt>
                <c:pt idx="3394">
                  <c:v>0.26315789473684198</c:v>
                </c:pt>
                <c:pt idx="3395">
                  <c:v>0.26323987538940802</c:v>
                </c:pt>
                <c:pt idx="3396">
                  <c:v>0.26325247079964098</c:v>
                </c:pt>
                <c:pt idx="3397">
                  <c:v>0.26326530612244903</c:v>
                </c:pt>
                <c:pt idx="3398">
                  <c:v>0.26326963906581702</c:v>
                </c:pt>
                <c:pt idx="3399">
                  <c:v>0.26328079392878001</c:v>
                </c:pt>
                <c:pt idx="3400">
                  <c:v>0.26328800988875201</c:v>
                </c:pt>
                <c:pt idx="3401">
                  <c:v>0.26334519572953702</c:v>
                </c:pt>
                <c:pt idx="3402">
                  <c:v>0.26337448559670801</c:v>
                </c:pt>
                <c:pt idx="3403">
                  <c:v>0.26348419094854297</c:v>
                </c:pt>
                <c:pt idx="3404">
                  <c:v>0.26349892008639297</c:v>
                </c:pt>
                <c:pt idx="3405">
                  <c:v>0.26352941176470601</c:v>
                </c:pt>
                <c:pt idx="3406">
                  <c:v>0.26354862657757999</c:v>
                </c:pt>
                <c:pt idx="3407">
                  <c:v>0.26359832635983299</c:v>
                </c:pt>
                <c:pt idx="3408">
                  <c:v>0.26360544217687099</c:v>
                </c:pt>
                <c:pt idx="3409">
                  <c:v>0.263636363636364</c:v>
                </c:pt>
                <c:pt idx="3410">
                  <c:v>0.26373626373626402</c:v>
                </c:pt>
                <c:pt idx="3411">
                  <c:v>0.26377295492487501</c:v>
                </c:pt>
                <c:pt idx="3412">
                  <c:v>0.26388888888888901</c:v>
                </c:pt>
                <c:pt idx="3413">
                  <c:v>0.26388888888888901</c:v>
                </c:pt>
                <c:pt idx="3414">
                  <c:v>0.26388888888888901</c:v>
                </c:pt>
                <c:pt idx="3415">
                  <c:v>0.26388888888888901</c:v>
                </c:pt>
                <c:pt idx="3416">
                  <c:v>0.263922518159806</c:v>
                </c:pt>
                <c:pt idx="3417">
                  <c:v>0.26397146254458997</c:v>
                </c:pt>
                <c:pt idx="3418">
                  <c:v>0.26398210290827701</c:v>
                </c:pt>
                <c:pt idx="3419">
                  <c:v>0.263994471319972</c:v>
                </c:pt>
                <c:pt idx="3420">
                  <c:v>0.26399716513111299</c:v>
                </c:pt>
                <c:pt idx="3421">
                  <c:v>0.26400000000000001</c:v>
                </c:pt>
                <c:pt idx="3422">
                  <c:v>0.26400000000000001</c:v>
                </c:pt>
                <c:pt idx="3423">
                  <c:v>0.26400000000000001</c:v>
                </c:pt>
                <c:pt idx="3424">
                  <c:v>0.26409495548961398</c:v>
                </c:pt>
                <c:pt idx="3425">
                  <c:v>0.26415094339622602</c:v>
                </c:pt>
                <c:pt idx="3426">
                  <c:v>0.26415094339622602</c:v>
                </c:pt>
                <c:pt idx="3427">
                  <c:v>0.26415094339622602</c:v>
                </c:pt>
                <c:pt idx="3428">
                  <c:v>0.26415094339622602</c:v>
                </c:pt>
                <c:pt idx="3429">
                  <c:v>0.26422018348623899</c:v>
                </c:pt>
                <c:pt idx="3430">
                  <c:v>0.26422764227642298</c:v>
                </c:pt>
                <c:pt idx="3431">
                  <c:v>0.26422764227642298</c:v>
                </c:pt>
                <c:pt idx="3432">
                  <c:v>0.26424870466321199</c:v>
                </c:pt>
                <c:pt idx="3433">
                  <c:v>0.26431718061673998</c:v>
                </c:pt>
                <c:pt idx="3434">
                  <c:v>0.264325323475046</c:v>
                </c:pt>
                <c:pt idx="3435">
                  <c:v>0.26433121019108302</c:v>
                </c:pt>
                <c:pt idx="3436">
                  <c:v>0.26434426229508201</c:v>
                </c:pt>
                <c:pt idx="3437">
                  <c:v>0.26436781609195398</c:v>
                </c:pt>
                <c:pt idx="3438">
                  <c:v>0.26443202979515801</c:v>
                </c:pt>
                <c:pt idx="3439">
                  <c:v>0.26446280991735499</c:v>
                </c:pt>
                <c:pt idx="3440">
                  <c:v>0.26446280991735499</c:v>
                </c:pt>
                <c:pt idx="3441">
                  <c:v>0.264501160092807</c:v>
                </c:pt>
                <c:pt idx="3442">
                  <c:v>0.26458616010854802</c:v>
                </c:pt>
                <c:pt idx="3443">
                  <c:v>0.26461538461538497</c:v>
                </c:pt>
                <c:pt idx="3444">
                  <c:v>0.26463414634146298</c:v>
                </c:pt>
                <c:pt idx="3445">
                  <c:v>0.26470588235294101</c:v>
                </c:pt>
                <c:pt idx="3446">
                  <c:v>0.26475548060708298</c:v>
                </c:pt>
                <c:pt idx="3447">
                  <c:v>0.26479146459747799</c:v>
                </c:pt>
                <c:pt idx="3448">
                  <c:v>0.26479289940828399</c:v>
                </c:pt>
                <c:pt idx="3449">
                  <c:v>0.26484018264840198</c:v>
                </c:pt>
                <c:pt idx="3450">
                  <c:v>0.26486486486486499</c:v>
                </c:pt>
                <c:pt idx="3451">
                  <c:v>0.26493108728943299</c:v>
                </c:pt>
                <c:pt idx="3452">
                  <c:v>0.26495726495726502</c:v>
                </c:pt>
                <c:pt idx="3453">
                  <c:v>0.264984227129338</c:v>
                </c:pt>
                <c:pt idx="3454">
                  <c:v>0.26502732240437199</c:v>
                </c:pt>
                <c:pt idx="3455">
                  <c:v>0.26503759398496202</c:v>
                </c:pt>
                <c:pt idx="3456">
                  <c:v>0.265060240963855</c:v>
                </c:pt>
                <c:pt idx="3457">
                  <c:v>0.265060240963855</c:v>
                </c:pt>
                <c:pt idx="3458">
                  <c:v>0.26516220028208698</c:v>
                </c:pt>
                <c:pt idx="3459">
                  <c:v>0.26524822695035499</c:v>
                </c:pt>
                <c:pt idx="3460">
                  <c:v>0.26530612244898</c:v>
                </c:pt>
                <c:pt idx="3461">
                  <c:v>0.26530612244898</c:v>
                </c:pt>
                <c:pt idx="3462">
                  <c:v>0.265356265356265</c:v>
                </c:pt>
                <c:pt idx="3463">
                  <c:v>0.265384615384615</c:v>
                </c:pt>
                <c:pt idx="3464">
                  <c:v>0.265384615384615</c:v>
                </c:pt>
                <c:pt idx="3465">
                  <c:v>0.26539753639417701</c:v>
                </c:pt>
                <c:pt idx="3466">
                  <c:v>0.26544240400667801</c:v>
                </c:pt>
                <c:pt idx="3467">
                  <c:v>0.26546391752577297</c:v>
                </c:pt>
                <c:pt idx="3468">
                  <c:v>0.26553672316384203</c:v>
                </c:pt>
                <c:pt idx="3469">
                  <c:v>0.26553672316384203</c:v>
                </c:pt>
                <c:pt idx="3470">
                  <c:v>0.26555023923444998</c:v>
                </c:pt>
                <c:pt idx="3471">
                  <c:v>0.265625</c:v>
                </c:pt>
                <c:pt idx="3472">
                  <c:v>0.265625</c:v>
                </c:pt>
                <c:pt idx="3473">
                  <c:v>0.265625</c:v>
                </c:pt>
                <c:pt idx="3474">
                  <c:v>0.265625</c:v>
                </c:pt>
                <c:pt idx="3475">
                  <c:v>0.26564495530012799</c:v>
                </c:pt>
                <c:pt idx="3476">
                  <c:v>0.26580557443915698</c:v>
                </c:pt>
                <c:pt idx="3477">
                  <c:v>0.265822784810127</c:v>
                </c:pt>
                <c:pt idx="3478">
                  <c:v>0.265822784810127</c:v>
                </c:pt>
                <c:pt idx="3479">
                  <c:v>0.26587887740029498</c:v>
                </c:pt>
                <c:pt idx="3480">
                  <c:v>0.26588628762541799</c:v>
                </c:pt>
                <c:pt idx="3481">
                  <c:v>0.26589595375722502</c:v>
                </c:pt>
                <c:pt idx="3482">
                  <c:v>0.26589595375722502</c:v>
                </c:pt>
                <c:pt idx="3483">
                  <c:v>0.26590106007067099</c:v>
                </c:pt>
                <c:pt idx="3484">
                  <c:v>0.265917602996255</c:v>
                </c:pt>
                <c:pt idx="3485">
                  <c:v>0.26593689632968398</c:v>
                </c:pt>
                <c:pt idx="3486">
                  <c:v>0.26605504587155998</c:v>
                </c:pt>
                <c:pt idx="3487">
                  <c:v>0.26605504587155998</c:v>
                </c:pt>
                <c:pt idx="3488">
                  <c:v>0.26614481409002</c:v>
                </c:pt>
                <c:pt idx="3489">
                  <c:v>0.26614987080103403</c:v>
                </c:pt>
                <c:pt idx="3490">
                  <c:v>0.26620689655172403</c:v>
                </c:pt>
                <c:pt idx="3491">
                  <c:v>0.26622596153846201</c:v>
                </c:pt>
                <c:pt idx="3492">
                  <c:v>0.26628352490421497</c:v>
                </c:pt>
                <c:pt idx="3493">
                  <c:v>0.26630434782608697</c:v>
                </c:pt>
                <c:pt idx="3494">
                  <c:v>0.266331658291457</c:v>
                </c:pt>
                <c:pt idx="3495">
                  <c:v>0.26633986928104603</c:v>
                </c:pt>
                <c:pt idx="3496">
                  <c:v>0.26640926640926599</c:v>
                </c:pt>
                <c:pt idx="3497">
                  <c:v>0.26641294005708799</c:v>
                </c:pt>
                <c:pt idx="3498">
                  <c:v>0.26644736842105299</c:v>
                </c:pt>
                <c:pt idx="3499">
                  <c:v>0.26649746192893398</c:v>
                </c:pt>
                <c:pt idx="3500">
                  <c:v>0.266519823788546</c:v>
                </c:pt>
                <c:pt idx="3501">
                  <c:v>0.26654740608228999</c:v>
                </c:pt>
                <c:pt idx="3502">
                  <c:v>0.26659412404787802</c:v>
                </c:pt>
                <c:pt idx="3503">
                  <c:v>0.266666666666667</c:v>
                </c:pt>
                <c:pt idx="3504">
                  <c:v>0.266666666666667</c:v>
                </c:pt>
                <c:pt idx="3505">
                  <c:v>0.266666666666667</c:v>
                </c:pt>
                <c:pt idx="3506">
                  <c:v>0.266666666666667</c:v>
                </c:pt>
                <c:pt idx="3507">
                  <c:v>0.26688102893890697</c:v>
                </c:pt>
                <c:pt idx="3508">
                  <c:v>0.266891891891892</c:v>
                </c:pt>
                <c:pt idx="3509">
                  <c:v>0.26690391459074703</c:v>
                </c:pt>
                <c:pt idx="3510">
                  <c:v>0.26692836113837098</c:v>
                </c:pt>
                <c:pt idx="3511">
                  <c:v>0.266949152542373</c:v>
                </c:pt>
                <c:pt idx="3512">
                  <c:v>0.266949152542373</c:v>
                </c:pt>
                <c:pt idx="3513">
                  <c:v>0.266949152542373</c:v>
                </c:pt>
                <c:pt idx="3514">
                  <c:v>0.266975308641975</c:v>
                </c:pt>
                <c:pt idx="3515">
                  <c:v>0.267015706806283</c:v>
                </c:pt>
                <c:pt idx="3516">
                  <c:v>0.26708074534161502</c:v>
                </c:pt>
                <c:pt idx="3517">
                  <c:v>0.26708074534161502</c:v>
                </c:pt>
                <c:pt idx="3518">
                  <c:v>0.26710816777041901</c:v>
                </c:pt>
                <c:pt idx="3519">
                  <c:v>0.267123287671233</c:v>
                </c:pt>
                <c:pt idx="3520">
                  <c:v>0.26719576719576699</c:v>
                </c:pt>
                <c:pt idx="3521">
                  <c:v>0.26720647773279399</c:v>
                </c:pt>
                <c:pt idx="3522">
                  <c:v>0.26722338204592899</c:v>
                </c:pt>
                <c:pt idx="3523">
                  <c:v>0.26730769230769202</c:v>
                </c:pt>
                <c:pt idx="3524">
                  <c:v>0.26741996233521698</c:v>
                </c:pt>
                <c:pt idx="3525">
                  <c:v>0.26742712294043097</c:v>
                </c:pt>
                <c:pt idx="3526">
                  <c:v>0.26744186046511598</c:v>
                </c:pt>
                <c:pt idx="3527">
                  <c:v>0.26744186046511598</c:v>
                </c:pt>
                <c:pt idx="3528">
                  <c:v>0.26751592356687898</c:v>
                </c:pt>
                <c:pt idx="3529">
                  <c:v>0.267581475128645</c:v>
                </c:pt>
                <c:pt idx="3530">
                  <c:v>0.26760563380281699</c:v>
                </c:pt>
                <c:pt idx="3531">
                  <c:v>0.26760563380281699</c:v>
                </c:pt>
                <c:pt idx="3532">
                  <c:v>0.26761332605133797</c:v>
                </c:pt>
                <c:pt idx="3533">
                  <c:v>0.26762820512820501</c:v>
                </c:pt>
                <c:pt idx="3534">
                  <c:v>0.26764982742391003</c:v>
                </c:pt>
                <c:pt idx="3535">
                  <c:v>0.26767676767676801</c:v>
                </c:pt>
                <c:pt idx="3536">
                  <c:v>0.26769911504424798</c:v>
                </c:pt>
                <c:pt idx="3537">
                  <c:v>0.26775956284153002</c:v>
                </c:pt>
                <c:pt idx="3538">
                  <c:v>0.26778242677824299</c:v>
                </c:pt>
                <c:pt idx="3539">
                  <c:v>0.26797385620914999</c:v>
                </c:pt>
                <c:pt idx="3540">
                  <c:v>0.268041237113402</c:v>
                </c:pt>
                <c:pt idx="3541">
                  <c:v>0.26811594202898598</c:v>
                </c:pt>
                <c:pt idx="3542">
                  <c:v>0.26813880126182998</c:v>
                </c:pt>
                <c:pt idx="3543">
                  <c:v>0.26818181818181802</c:v>
                </c:pt>
                <c:pt idx="3544">
                  <c:v>0.26821541710665298</c:v>
                </c:pt>
                <c:pt idx="3545">
                  <c:v>0.26821705426356601</c:v>
                </c:pt>
                <c:pt idx="3546">
                  <c:v>0.26829268292682901</c:v>
                </c:pt>
                <c:pt idx="3547">
                  <c:v>0.26845637583892601</c:v>
                </c:pt>
                <c:pt idx="3548">
                  <c:v>0.26848874598070699</c:v>
                </c:pt>
                <c:pt idx="3549">
                  <c:v>0.26849315068493101</c:v>
                </c:pt>
                <c:pt idx="3550">
                  <c:v>0.26850094876660302</c:v>
                </c:pt>
                <c:pt idx="3551">
                  <c:v>0.26853707414829697</c:v>
                </c:pt>
                <c:pt idx="3552">
                  <c:v>0.268540202966432</c:v>
                </c:pt>
                <c:pt idx="3553">
                  <c:v>0.26857142857142902</c:v>
                </c:pt>
                <c:pt idx="3554">
                  <c:v>0.268630849220104</c:v>
                </c:pt>
                <c:pt idx="3555">
                  <c:v>0.26865671641791</c:v>
                </c:pt>
                <c:pt idx="3556">
                  <c:v>0.26865671641791</c:v>
                </c:pt>
                <c:pt idx="3557">
                  <c:v>0.26869622766379903</c:v>
                </c:pt>
                <c:pt idx="3558">
                  <c:v>0.26871657754010703</c:v>
                </c:pt>
                <c:pt idx="3559">
                  <c:v>0.26873385012919898</c:v>
                </c:pt>
                <c:pt idx="3560">
                  <c:v>0.268740031897927</c:v>
                </c:pt>
                <c:pt idx="3561">
                  <c:v>0.26874999999999999</c:v>
                </c:pt>
                <c:pt idx="3562">
                  <c:v>0.26876090750436299</c:v>
                </c:pt>
                <c:pt idx="3563">
                  <c:v>0.26884422110552803</c:v>
                </c:pt>
                <c:pt idx="3564">
                  <c:v>0.26886792452830199</c:v>
                </c:pt>
                <c:pt idx="3565">
                  <c:v>0.26892950391644899</c:v>
                </c:pt>
                <c:pt idx="3566">
                  <c:v>0.26893939393939398</c:v>
                </c:pt>
                <c:pt idx="3567">
                  <c:v>0.26896551724137902</c:v>
                </c:pt>
                <c:pt idx="3568">
                  <c:v>0.26900584795321603</c:v>
                </c:pt>
                <c:pt idx="3569">
                  <c:v>0.26902173913043498</c:v>
                </c:pt>
                <c:pt idx="3570">
                  <c:v>0.269035532994924</c:v>
                </c:pt>
                <c:pt idx="3571">
                  <c:v>0.26905487804877998</c:v>
                </c:pt>
                <c:pt idx="3572">
                  <c:v>0.269113149847095</c:v>
                </c:pt>
                <c:pt idx="3573">
                  <c:v>0.269129287598945</c:v>
                </c:pt>
                <c:pt idx="3574">
                  <c:v>0.26915113871635599</c:v>
                </c:pt>
                <c:pt idx="3575">
                  <c:v>0.269230769230769</c:v>
                </c:pt>
                <c:pt idx="3576">
                  <c:v>0.269230769230769</c:v>
                </c:pt>
                <c:pt idx="3577">
                  <c:v>0.269230769230769</c:v>
                </c:pt>
                <c:pt idx="3578">
                  <c:v>0.269230769230769</c:v>
                </c:pt>
                <c:pt idx="3579">
                  <c:v>0.269230769230769</c:v>
                </c:pt>
                <c:pt idx="3580">
                  <c:v>0.269230769230769</c:v>
                </c:pt>
                <c:pt idx="3581">
                  <c:v>0.26943005181347102</c:v>
                </c:pt>
                <c:pt idx="3582">
                  <c:v>0.26956521739130401</c:v>
                </c:pt>
                <c:pt idx="3583">
                  <c:v>0.26959247648902801</c:v>
                </c:pt>
                <c:pt idx="3584">
                  <c:v>0.26964560862865899</c:v>
                </c:pt>
                <c:pt idx="3585">
                  <c:v>0.26966292134831499</c:v>
                </c:pt>
                <c:pt idx="3586">
                  <c:v>0.269736842105263</c:v>
                </c:pt>
                <c:pt idx="3587">
                  <c:v>0.269736842105263</c:v>
                </c:pt>
                <c:pt idx="3588">
                  <c:v>0.26984126984126999</c:v>
                </c:pt>
                <c:pt idx="3589">
                  <c:v>0.26984126984126999</c:v>
                </c:pt>
                <c:pt idx="3590">
                  <c:v>0.26987060998151602</c:v>
                </c:pt>
                <c:pt idx="3591">
                  <c:v>0.269972451790634</c:v>
                </c:pt>
                <c:pt idx="3592">
                  <c:v>0.26999208234362598</c:v>
                </c:pt>
                <c:pt idx="3593">
                  <c:v>0.27</c:v>
                </c:pt>
                <c:pt idx="3594">
                  <c:v>0.27001569858712698</c:v>
                </c:pt>
                <c:pt idx="3595">
                  <c:v>0.27008310249307499</c:v>
                </c:pt>
                <c:pt idx="3596">
                  <c:v>0.270096463022508</c:v>
                </c:pt>
                <c:pt idx="3597">
                  <c:v>0.27011494252873602</c:v>
                </c:pt>
                <c:pt idx="3598">
                  <c:v>0.27021276595744698</c:v>
                </c:pt>
                <c:pt idx="3599">
                  <c:v>0.27022375215146299</c:v>
                </c:pt>
                <c:pt idx="3600">
                  <c:v>0.27027027027027001</c:v>
                </c:pt>
                <c:pt idx="3601">
                  <c:v>0.27027027027027001</c:v>
                </c:pt>
                <c:pt idx="3602">
                  <c:v>0.27027027027027001</c:v>
                </c:pt>
                <c:pt idx="3603">
                  <c:v>0.27027027027027001</c:v>
                </c:pt>
                <c:pt idx="3604">
                  <c:v>0.27028604786923499</c:v>
                </c:pt>
                <c:pt idx="3605">
                  <c:v>0.27039627039627001</c:v>
                </c:pt>
                <c:pt idx="3606">
                  <c:v>0.27040816326530598</c:v>
                </c:pt>
                <c:pt idx="3607">
                  <c:v>0.27040816326530598</c:v>
                </c:pt>
                <c:pt idx="3608">
                  <c:v>0.27042132416165099</c:v>
                </c:pt>
                <c:pt idx="3609">
                  <c:v>0.27042253521126802</c:v>
                </c:pt>
                <c:pt idx="3610">
                  <c:v>0.27044025157232698</c:v>
                </c:pt>
                <c:pt idx="3611">
                  <c:v>0.27044025157232698</c:v>
                </c:pt>
                <c:pt idx="3612">
                  <c:v>0.27054794520547898</c:v>
                </c:pt>
                <c:pt idx="3613">
                  <c:v>0.27057182705718302</c:v>
                </c:pt>
                <c:pt idx="3614">
                  <c:v>0.270608545533017</c:v>
                </c:pt>
                <c:pt idx="3615">
                  <c:v>0.27066115702479299</c:v>
                </c:pt>
                <c:pt idx="3616">
                  <c:v>0.27072538860103601</c:v>
                </c:pt>
                <c:pt idx="3617">
                  <c:v>0.27083333333333298</c:v>
                </c:pt>
                <c:pt idx="3618">
                  <c:v>0.27083333333333298</c:v>
                </c:pt>
                <c:pt idx="3619">
                  <c:v>0.27091633466135501</c:v>
                </c:pt>
                <c:pt idx="3620">
                  <c:v>0.27091633466135501</c:v>
                </c:pt>
                <c:pt idx="3621">
                  <c:v>0.27095808383233499</c:v>
                </c:pt>
                <c:pt idx="3622">
                  <c:v>0.27108433734939802</c:v>
                </c:pt>
                <c:pt idx="3623">
                  <c:v>0.27111111111111103</c:v>
                </c:pt>
                <c:pt idx="3624">
                  <c:v>0.27111984282907697</c:v>
                </c:pt>
                <c:pt idx="3625">
                  <c:v>0.271140939597315</c:v>
                </c:pt>
                <c:pt idx="3626">
                  <c:v>0.27115384615384602</c:v>
                </c:pt>
                <c:pt idx="3627">
                  <c:v>0.27126436781609198</c:v>
                </c:pt>
                <c:pt idx="3628">
                  <c:v>0.27132701421800898</c:v>
                </c:pt>
                <c:pt idx="3629">
                  <c:v>0.271328671328671</c:v>
                </c:pt>
                <c:pt idx="3630">
                  <c:v>0.271356783919598</c:v>
                </c:pt>
                <c:pt idx="3631">
                  <c:v>0.27136752136752101</c:v>
                </c:pt>
                <c:pt idx="3632">
                  <c:v>0.27139184722732301</c:v>
                </c:pt>
                <c:pt idx="3633">
                  <c:v>0.27140783744557301</c:v>
                </c:pt>
                <c:pt idx="3634">
                  <c:v>0.27142857142857102</c:v>
                </c:pt>
                <c:pt idx="3635">
                  <c:v>0.27142857142857102</c:v>
                </c:pt>
                <c:pt idx="3636">
                  <c:v>0.27142857142857102</c:v>
                </c:pt>
                <c:pt idx="3637">
                  <c:v>0.27142857142857102</c:v>
                </c:pt>
                <c:pt idx="3638">
                  <c:v>0.27142857142857102</c:v>
                </c:pt>
                <c:pt idx="3639">
                  <c:v>0.27145187601957599</c:v>
                </c:pt>
                <c:pt idx="3640">
                  <c:v>0.27145359019264398</c:v>
                </c:pt>
                <c:pt idx="3641">
                  <c:v>0.27147766323024097</c:v>
                </c:pt>
                <c:pt idx="3642">
                  <c:v>0.271484375</c:v>
                </c:pt>
                <c:pt idx="3643">
                  <c:v>0.27149321266968302</c:v>
                </c:pt>
                <c:pt idx="3644">
                  <c:v>0.27151515151515199</c:v>
                </c:pt>
                <c:pt idx="3645">
                  <c:v>0.27152317880794702</c:v>
                </c:pt>
                <c:pt idx="3646">
                  <c:v>0.27160493827160498</c:v>
                </c:pt>
                <c:pt idx="3647">
                  <c:v>0.27162162162162201</c:v>
                </c:pt>
                <c:pt idx="3648">
                  <c:v>0.27167630057803499</c:v>
                </c:pt>
                <c:pt idx="3649">
                  <c:v>0.271714922048998</c:v>
                </c:pt>
                <c:pt idx="3650">
                  <c:v>0.27171903881700599</c:v>
                </c:pt>
                <c:pt idx="3651">
                  <c:v>0.27173913043478298</c:v>
                </c:pt>
                <c:pt idx="3652">
                  <c:v>0.27173913043478298</c:v>
                </c:pt>
                <c:pt idx="3653">
                  <c:v>0.27174975562072301</c:v>
                </c:pt>
                <c:pt idx="3654">
                  <c:v>0.27179487179487199</c:v>
                </c:pt>
                <c:pt idx="3655">
                  <c:v>0.27179487179487199</c:v>
                </c:pt>
                <c:pt idx="3656">
                  <c:v>0.27180783817951998</c:v>
                </c:pt>
                <c:pt idx="3657">
                  <c:v>0.271815446339017</c:v>
                </c:pt>
                <c:pt idx="3658">
                  <c:v>0.27182866556836899</c:v>
                </c:pt>
                <c:pt idx="3659">
                  <c:v>0.27184466019417503</c:v>
                </c:pt>
                <c:pt idx="3660">
                  <c:v>0.27192982456140402</c:v>
                </c:pt>
                <c:pt idx="3661">
                  <c:v>0.27193932827735601</c:v>
                </c:pt>
                <c:pt idx="3662">
                  <c:v>0.27206946454413899</c:v>
                </c:pt>
                <c:pt idx="3663">
                  <c:v>0.27210884353741499</c:v>
                </c:pt>
                <c:pt idx="3664">
                  <c:v>0.27221172022684298</c:v>
                </c:pt>
                <c:pt idx="3665">
                  <c:v>0.27227722772277202</c:v>
                </c:pt>
                <c:pt idx="3666">
                  <c:v>0.27228915662650599</c:v>
                </c:pt>
                <c:pt idx="3667">
                  <c:v>0.27229299363057302</c:v>
                </c:pt>
                <c:pt idx="3668">
                  <c:v>0.27234042553191501</c:v>
                </c:pt>
                <c:pt idx="3669">
                  <c:v>0.27238805970149299</c:v>
                </c:pt>
                <c:pt idx="3670">
                  <c:v>0.27240143369175601</c:v>
                </c:pt>
                <c:pt idx="3671">
                  <c:v>0.27250000000000002</c:v>
                </c:pt>
                <c:pt idx="3672">
                  <c:v>0.27254509018036099</c:v>
                </c:pt>
                <c:pt idx="3673">
                  <c:v>0.27256317689530701</c:v>
                </c:pt>
                <c:pt idx="3674">
                  <c:v>0.27258064516128999</c:v>
                </c:pt>
                <c:pt idx="3675">
                  <c:v>0.27272727272727298</c:v>
                </c:pt>
                <c:pt idx="3676">
                  <c:v>0.27272727272727298</c:v>
                </c:pt>
                <c:pt idx="3677">
                  <c:v>0.27272727272727298</c:v>
                </c:pt>
                <c:pt idx="3678">
                  <c:v>0.27272727272727298</c:v>
                </c:pt>
                <c:pt idx="3679">
                  <c:v>0.27272727272727298</c:v>
                </c:pt>
                <c:pt idx="3680">
                  <c:v>0.27272727272727298</c:v>
                </c:pt>
                <c:pt idx="3681">
                  <c:v>0.27272727272727298</c:v>
                </c:pt>
                <c:pt idx="3682">
                  <c:v>0.27272727272727298</c:v>
                </c:pt>
                <c:pt idx="3683">
                  <c:v>0.27272727272727298</c:v>
                </c:pt>
                <c:pt idx="3684">
                  <c:v>0.27272727272727298</c:v>
                </c:pt>
                <c:pt idx="3685">
                  <c:v>0.27307692307692299</c:v>
                </c:pt>
                <c:pt idx="3686">
                  <c:v>0.27312775330396499</c:v>
                </c:pt>
                <c:pt idx="3687">
                  <c:v>0.27314994188299102</c:v>
                </c:pt>
                <c:pt idx="3688">
                  <c:v>0.27315914489311199</c:v>
                </c:pt>
                <c:pt idx="3689">
                  <c:v>0.27316293929712498</c:v>
                </c:pt>
                <c:pt idx="3690">
                  <c:v>0.27317073170731698</c:v>
                </c:pt>
                <c:pt idx="3691">
                  <c:v>0.27317073170731698</c:v>
                </c:pt>
                <c:pt idx="3692">
                  <c:v>0.27318295739348403</c:v>
                </c:pt>
                <c:pt idx="3693">
                  <c:v>0.27319587628865999</c:v>
                </c:pt>
                <c:pt idx="3694">
                  <c:v>0.27325581395348802</c:v>
                </c:pt>
                <c:pt idx="3695">
                  <c:v>0.27327690447400199</c:v>
                </c:pt>
                <c:pt idx="3696">
                  <c:v>0.27331189710610898</c:v>
                </c:pt>
                <c:pt idx="3697">
                  <c:v>0.27335456475583902</c:v>
                </c:pt>
                <c:pt idx="3698">
                  <c:v>0.27336448598130803</c:v>
                </c:pt>
                <c:pt idx="3699">
                  <c:v>0.27338129496402902</c:v>
                </c:pt>
                <c:pt idx="3700">
                  <c:v>0.27338129496402902</c:v>
                </c:pt>
                <c:pt idx="3701">
                  <c:v>0.27346938775510199</c:v>
                </c:pt>
                <c:pt idx="3702">
                  <c:v>0.273563218390805</c:v>
                </c:pt>
                <c:pt idx="3703">
                  <c:v>0.27358490566037702</c:v>
                </c:pt>
                <c:pt idx="3704">
                  <c:v>0.27369542066027702</c:v>
                </c:pt>
                <c:pt idx="3705">
                  <c:v>0.273722627737226</c:v>
                </c:pt>
                <c:pt idx="3706">
                  <c:v>0.27384615384615402</c:v>
                </c:pt>
                <c:pt idx="3707">
                  <c:v>0.27388289676425298</c:v>
                </c:pt>
                <c:pt idx="3708">
                  <c:v>0.273885350318471</c:v>
                </c:pt>
                <c:pt idx="3709">
                  <c:v>0.27390599675850902</c:v>
                </c:pt>
                <c:pt idx="3710">
                  <c:v>0.27395934172313602</c:v>
                </c:pt>
                <c:pt idx="3711">
                  <c:v>0.27397260273972601</c:v>
                </c:pt>
                <c:pt idx="3712">
                  <c:v>0.27397260273972601</c:v>
                </c:pt>
                <c:pt idx="3713">
                  <c:v>0.27397260273972601</c:v>
                </c:pt>
                <c:pt idx="3714">
                  <c:v>0.27407407407407403</c:v>
                </c:pt>
                <c:pt idx="3715">
                  <c:v>0.27413127413127403</c:v>
                </c:pt>
                <c:pt idx="3716">
                  <c:v>0.27417027417027401</c:v>
                </c:pt>
                <c:pt idx="3717">
                  <c:v>0.27419354838709697</c:v>
                </c:pt>
                <c:pt idx="3718">
                  <c:v>0.27424749163879603</c:v>
                </c:pt>
                <c:pt idx="3719">
                  <c:v>0.27431906614786</c:v>
                </c:pt>
                <c:pt idx="3720">
                  <c:v>0.27433628318584102</c:v>
                </c:pt>
                <c:pt idx="3721">
                  <c:v>0.27435387673956302</c:v>
                </c:pt>
                <c:pt idx="3722">
                  <c:v>0.27435610302351598</c:v>
                </c:pt>
                <c:pt idx="3723">
                  <c:v>0.27440633245382601</c:v>
                </c:pt>
                <c:pt idx="3724">
                  <c:v>0.27447089947089898</c:v>
                </c:pt>
                <c:pt idx="3725">
                  <c:v>0.27448275862068999</c:v>
                </c:pt>
                <c:pt idx="3726">
                  <c:v>0.27450980392156898</c:v>
                </c:pt>
                <c:pt idx="3727">
                  <c:v>0.27450980392156898</c:v>
                </c:pt>
                <c:pt idx="3728">
                  <c:v>0.27450980392156898</c:v>
                </c:pt>
                <c:pt idx="3729">
                  <c:v>0.27456647398843897</c:v>
                </c:pt>
                <c:pt idx="3730">
                  <c:v>0.27458256029684602</c:v>
                </c:pt>
                <c:pt idx="3731">
                  <c:v>0.27459016393442598</c:v>
                </c:pt>
                <c:pt idx="3732">
                  <c:v>0.27462121212121199</c:v>
                </c:pt>
                <c:pt idx="3733">
                  <c:v>0.27464788732394402</c:v>
                </c:pt>
                <c:pt idx="3734">
                  <c:v>0.27464788732394402</c:v>
                </c:pt>
                <c:pt idx="3735">
                  <c:v>0.27465857359635798</c:v>
                </c:pt>
                <c:pt idx="3736">
                  <c:v>0.274666666666667</c:v>
                </c:pt>
                <c:pt idx="3737">
                  <c:v>0.274678111587983</c:v>
                </c:pt>
                <c:pt idx="3738">
                  <c:v>0.274709302325581</c:v>
                </c:pt>
                <c:pt idx="3739">
                  <c:v>0.27474402730375402</c:v>
                </c:pt>
                <c:pt idx="3740">
                  <c:v>0.27486910994764402</c:v>
                </c:pt>
                <c:pt idx="3741">
                  <c:v>0.27490039840637398</c:v>
                </c:pt>
                <c:pt idx="3742">
                  <c:v>0.275075075075075</c:v>
                </c:pt>
                <c:pt idx="3743">
                  <c:v>0.275109170305677</c:v>
                </c:pt>
                <c:pt idx="3744">
                  <c:v>0.27522935779816499</c:v>
                </c:pt>
                <c:pt idx="3745">
                  <c:v>0.27527723418134398</c:v>
                </c:pt>
                <c:pt idx="3746">
                  <c:v>0.275280898876404</c:v>
                </c:pt>
                <c:pt idx="3747">
                  <c:v>0.27532467532467497</c:v>
                </c:pt>
                <c:pt idx="3748">
                  <c:v>0.27547169811320799</c:v>
                </c:pt>
                <c:pt idx="3749">
                  <c:v>0.27547770700636898</c:v>
                </c:pt>
                <c:pt idx="3750">
                  <c:v>0.27551020408163301</c:v>
                </c:pt>
                <c:pt idx="3751">
                  <c:v>0.27554179566563503</c:v>
                </c:pt>
                <c:pt idx="3752">
                  <c:v>0.275555555555556</c:v>
                </c:pt>
                <c:pt idx="3753">
                  <c:v>0.27559055118110198</c:v>
                </c:pt>
                <c:pt idx="3754">
                  <c:v>0.27562326869806097</c:v>
                </c:pt>
                <c:pt idx="3755">
                  <c:v>0.275648949320148</c:v>
                </c:pt>
                <c:pt idx="3756">
                  <c:v>0.27568922305764398</c:v>
                </c:pt>
                <c:pt idx="3757">
                  <c:v>0.27578947368421097</c:v>
                </c:pt>
                <c:pt idx="3758">
                  <c:v>0.27579365079365098</c:v>
                </c:pt>
                <c:pt idx="3759">
                  <c:v>0.27586206896551702</c:v>
                </c:pt>
                <c:pt idx="3760">
                  <c:v>0.27586206896551702</c:v>
                </c:pt>
                <c:pt idx="3761">
                  <c:v>0.27593818984547502</c:v>
                </c:pt>
                <c:pt idx="3762">
                  <c:v>0.27595628415300499</c:v>
                </c:pt>
                <c:pt idx="3763">
                  <c:v>0.27597765363128501</c:v>
                </c:pt>
                <c:pt idx="3764">
                  <c:v>0.27600849256900201</c:v>
                </c:pt>
                <c:pt idx="3765">
                  <c:v>0.27607361963190202</c:v>
                </c:pt>
                <c:pt idx="3766">
                  <c:v>0.27613412228796802</c:v>
                </c:pt>
                <c:pt idx="3767">
                  <c:v>0.27613727055067799</c:v>
                </c:pt>
                <c:pt idx="3768">
                  <c:v>0.27613941018766802</c:v>
                </c:pt>
                <c:pt idx="3769">
                  <c:v>0.27619047619047599</c:v>
                </c:pt>
                <c:pt idx="3770">
                  <c:v>0.27623126338329801</c:v>
                </c:pt>
                <c:pt idx="3771">
                  <c:v>0.27623456790123502</c:v>
                </c:pt>
                <c:pt idx="3772">
                  <c:v>0.27625570776255698</c:v>
                </c:pt>
                <c:pt idx="3773">
                  <c:v>0.27627627627627599</c:v>
                </c:pt>
                <c:pt idx="3774">
                  <c:v>0.276289350301407</c:v>
                </c:pt>
                <c:pt idx="3775">
                  <c:v>0.27631578947368401</c:v>
                </c:pt>
                <c:pt idx="3776">
                  <c:v>0.27633851468048398</c:v>
                </c:pt>
                <c:pt idx="3777">
                  <c:v>0.27634333565945601</c:v>
                </c:pt>
                <c:pt idx="3778">
                  <c:v>0.276422764227642</c:v>
                </c:pt>
                <c:pt idx="3779">
                  <c:v>0.276422764227642</c:v>
                </c:pt>
                <c:pt idx="3780">
                  <c:v>0.27645788336933003</c:v>
                </c:pt>
                <c:pt idx="3781">
                  <c:v>0.27648578811369501</c:v>
                </c:pt>
                <c:pt idx="3782">
                  <c:v>0.27649769585253497</c:v>
                </c:pt>
                <c:pt idx="3783">
                  <c:v>0.27659574468085102</c:v>
                </c:pt>
                <c:pt idx="3784">
                  <c:v>0.27667109340416102</c:v>
                </c:pt>
                <c:pt idx="3785">
                  <c:v>0.27669902912621402</c:v>
                </c:pt>
                <c:pt idx="3786">
                  <c:v>0.276729559748428</c:v>
                </c:pt>
                <c:pt idx="3787">
                  <c:v>0.276729559748428</c:v>
                </c:pt>
                <c:pt idx="3788">
                  <c:v>0.27675033025099099</c:v>
                </c:pt>
                <c:pt idx="3789">
                  <c:v>0.27675276752767503</c:v>
                </c:pt>
                <c:pt idx="3790">
                  <c:v>0.27678571428571402</c:v>
                </c:pt>
                <c:pt idx="3791">
                  <c:v>0.27678571428571402</c:v>
                </c:pt>
                <c:pt idx="3792">
                  <c:v>0.27680090754395897</c:v>
                </c:pt>
                <c:pt idx="3793">
                  <c:v>0.276807980049875</c:v>
                </c:pt>
                <c:pt idx="3794">
                  <c:v>0.27682926829268301</c:v>
                </c:pt>
                <c:pt idx="3795">
                  <c:v>0.276867030965392</c:v>
                </c:pt>
                <c:pt idx="3796">
                  <c:v>0.276881720430107</c:v>
                </c:pt>
                <c:pt idx="3797">
                  <c:v>0.27690288713910799</c:v>
                </c:pt>
                <c:pt idx="3798">
                  <c:v>0.27695167286245398</c:v>
                </c:pt>
                <c:pt idx="3799">
                  <c:v>0.27696078431372501</c:v>
                </c:pt>
                <c:pt idx="3800">
                  <c:v>0.27698574338085502</c:v>
                </c:pt>
                <c:pt idx="3801">
                  <c:v>0.27700348432055699</c:v>
                </c:pt>
                <c:pt idx="3802">
                  <c:v>0.27702702702702697</c:v>
                </c:pt>
                <c:pt idx="3803">
                  <c:v>0.27702702702702697</c:v>
                </c:pt>
                <c:pt idx="3804">
                  <c:v>0.27710843373493999</c:v>
                </c:pt>
                <c:pt idx="3805">
                  <c:v>0.27710843373493999</c:v>
                </c:pt>
                <c:pt idx="3806">
                  <c:v>0.27716098334654998</c:v>
                </c:pt>
                <c:pt idx="3807">
                  <c:v>0.27721088435374103</c:v>
                </c:pt>
                <c:pt idx="3808">
                  <c:v>0.27731092436974802</c:v>
                </c:pt>
                <c:pt idx="3809">
                  <c:v>0.27731092436974802</c:v>
                </c:pt>
                <c:pt idx="3810">
                  <c:v>0.27734976887519303</c:v>
                </c:pt>
                <c:pt idx="3811">
                  <c:v>0.27737226277372301</c:v>
                </c:pt>
                <c:pt idx="3812">
                  <c:v>0.27741935483871</c:v>
                </c:pt>
                <c:pt idx="3813">
                  <c:v>0.27741935483871</c:v>
                </c:pt>
                <c:pt idx="3814">
                  <c:v>0.27753303964757697</c:v>
                </c:pt>
                <c:pt idx="3815">
                  <c:v>0.27756360832690802</c:v>
                </c:pt>
                <c:pt idx="3816">
                  <c:v>0.277611940298507</c:v>
                </c:pt>
                <c:pt idx="3817">
                  <c:v>0.27774583093732003</c:v>
                </c:pt>
                <c:pt idx="3818">
                  <c:v>0.27777777777777801</c:v>
                </c:pt>
                <c:pt idx="3819">
                  <c:v>0.27777777777777801</c:v>
                </c:pt>
                <c:pt idx="3820">
                  <c:v>0.27777777777777801</c:v>
                </c:pt>
                <c:pt idx="3821">
                  <c:v>0.27777777777777801</c:v>
                </c:pt>
                <c:pt idx="3822">
                  <c:v>0.27777777777777801</c:v>
                </c:pt>
                <c:pt idx="3823">
                  <c:v>0.27777777777777801</c:v>
                </c:pt>
                <c:pt idx="3824">
                  <c:v>0.27777777777777801</c:v>
                </c:pt>
                <c:pt idx="3825">
                  <c:v>0.27786582144743799</c:v>
                </c:pt>
                <c:pt idx="3826">
                  <c:v>0.27787021630615599</c:v>
                </c:pt>
                <c:pt idx="3827">
                  <c:v>0.27790973871733998</c:v>
                </c:pt>
                <c:pt idx="3828">
                  <c:v>0.27797833935018001</c:v>
                </c:pt>
                <c:pt idx="3829">
                  <c:v>0.27797833935018001</c:v>
                </c:pt>
                <c:pt idx="3830">
                  <c:v>0.27804878048780501</c:v>
                </c:pt>
                <c:pt idx="3831">
                  <c:v>0.27808069792802598</c:v>
                </c:pt>
                <c:pt idx="3832">
                  <c:v>0.27810650887574001</c:v>
                </c:pt>
                <c:pt idx="3833">
                  <c:v>0.278154681139756</c:v>
                </c:pt>
                <c:pt idx="3834">
                  <c:v>0.27817403708987198</c:v>
                </c:pt>
                <c:pt idx="3835">
                  <c:v>0.278195488721804</c:v>
                </c:pt>
                <c:pt idx="3836">
                  <c:v>0.278195488721804</c:v>
                </c:pt>
                <c:pt idx="3837">
                  <c:v>0.278215223097113</c:v>
                </c:pt>
                <c:pt idx="3838">
                  <c:v>0.27826086956521701</c:v>
                </c:pt>
                <c:pt idx="3839">
                  <c:v>0.27829002514668899</c:v>
                </c:pt>
                <c:pt idx="3840">
                  <c:v>0.27831715210356001</c:v>
                </c:pt>
                <c:pt idx="3841">
                  <c:v>0.27835051546391798</c:v>
                </c:pt>
                <c:pt idx="3842">
                  <c:v>0.27838827838827801</c:v>
                </c:pt>
                <c:pt idx="3843">
                  <c:v>0.27840909090909099</c:v>
                </c:pt>
                <c:pt idx="3844">
                  <c:v>0.27845528455284502</c:v>
                </c:pt>
                <c:pt idx="3845">
                  <c:v>0.27846534653465299</c:v>
                </c:pt>
                <c:pt idx="3846">
                  <c:v>0.27849927849927902</c:v>
                </c:pt>
                <c:pt idx="3847">
                  <c:v>0.27855711422845703</c:v>
                </c:pt>
                <c:pt idx="3848">
                  <c:v>0.27858439201451901</c:v>
                </c:pt>
                <c:pt idx="3849">
                  <c:v>0.27860696517412897</c:v>
                </c:pt>
                <c:pt idx="3850">
                  <c:v>0.27868852459016402</c:v>
                </c:pt>
                <c:pt idx="3851">
                  <c:v>0.27868852459016402</c:v>
                </c:pt>
                <c:pt idx="3852">
                  <c:v>0.27870887647423997</c:v>
                </c:pt>
                <c:pt idx="3853">
                  <c:v>0.27874564459930301</c:v>
                </c:pt>
                <c:pt idx="3854">
                  <c:v>0.27876823338735801</c:v>
                </c:pt>
                <c:pt idx="3855">
                  <c:v>0.27877237851662401</c:v>
                </c:pt>
                <c:pt idx="3856">
                  <c:v>0.27881040892193298</c:v>
                </c:pt>
                <c:pt idx="3857">
                  <c:v>0.27884615384615402</c:v>
                </c:pt>
                <c:pt idx="3858">
                  <c:v>0.27891682785299798</c:v>
                </c:pt>
                <c:pt idx="3859">
                  <c:v>0.27893175074184001</c:v>
                </c:pt>
                <c:pt idx="3860">
                  <c:v>0.278947368421053</c:v>
                </c:pt>
                <c:pt idx="3861">
                  <c:v>0.27895752895752901</c:v>
                </c:pt>
                <c:pt idx="3862">
                  <c:v>0.27900000000000003</c:v>
                </c:pt>
                <c:pt idx="3863">
                  <c:v>0.27906976744186002</c:v>
                </c:pt>
                <c:pt idx="3864">
                  <c:v>0.27906976744186002</c:v>
                </c:pt>
                <c:pt idx="3865">
                  <c:v>0.27914110429447903</c:v>
                </c:pt>
                <c:pt idx="3866">
                  <c:v>0.27914110429447903</c:v>
                </c:pt>
                <c:pt idx="3867">
                  <c:v>0.27917981072555198</c:v>
                </c:pt>
                <c:pt idx="3868">
                  <c:v>0.27918781725888298</c:v>
                </c:pt>
                <c:pt idx="3869">
                  <c:v>0.27931034482758599</c:v>
                </c:pt>
                <c:pt idx="3870">
                  <c:v>0.27936507936507898</c:v>
                </c:pt>
                <c:pt idx="3871">
                  <c:v>0.279373368146214</c:v>
                </c:pt>
                <c:pt idx="3872">
                  <c:v>0.27948717948717899</c:v>
                </c:pt>
                <c:pt idx="3873">
                  <c:v>0.27960057061340898</c:v>
                </c:pt>
                <c:pt idx="3874">
                  <c:v>0.27964205816554799</c:v>
                </c:pt>
                <c:pt idx="3875">
                  <c:v>0.27966101694915202</c:v>
                </c:pt>
                <c:pt idx="3876">
                  <c:v>0.27967257844474802</c:v>
                </c:pt>
                <c:pt idx="3877">
                  <c:v>0.27968596663395501</c:v>
                </c:pt>
                <c:pt idx="3878">
                  <c:v>0.27971530249110299</c:v>
                </c:pt>
                <c:pt idx="3879">
                  <c:v>0.27977315689981103</c:v>
                </c:pt>
                <c:pt idx="3880">
                  <c:v>0.27984595635429999</c:v>
                </c:pt>
                <c:pt idx="3881">
                  <c:v>0.27986633249791099</c:v>
                </c:pt>
                <c:pt idx="3882">
                  <c:v>0.27988010490820497</c:v>
                </c:pt>
                <c:pt idx="3883">
                  <c:v>0.28000000000000003</c:v>
                </c:pt>
                <c:pt idx="3884">
                  <c:v>0.28000000000000003</c:v>
                </c:pt>
                <c:pt idx="3885">
                  <c:v>0.28018575851393202</c:v>
                </c:pt>
                <c:pt idx="3886">
                  <c:v>0.28021978021978</c:v>
                </c:pt>
                <c:pt idx="3887">
                  <c:v>0.28037383177570102</c:v>
                </c:pt>
                <c:pt idx="3888">
                  <c:v>0.28044692737430199</c:v>
                </c:pt>
                <c:pt idx="3889">
                  <c:v>0.28048780487804897</c:v>
                </c:pt>
                <c:pt idx="3890">
                  <c:v>0.28048780487804897</c:v>
                </c:pt>
                <c:pt idx="3891">
                  <c:v>0.28052805280528098</c:v>
                </c:pt>
                <c:pt idx="3892">
                  <c:v>0.28065573770491797</c:v>
                </c:pt>
                <c:pt idx="3893">
                  <c:v>0.28067226890756303</c:v>
                </c:pt>
                <c:pt idx="3894">
                  <c:v>0.28068115091015899</c:v>
                </c:pt>
                <c:pt idx="3895">
                  <c:v>0.28070175438596501</c:v>
                </c:pt>
                <c:pt idx="3896">
                  <c:v>0.28080229226360998</c:v>
                </c:pt>
                <c:pt idx="3897">
                  <c:v>0.28082191780821902</c:v>
                </c:pt>
                <c:pt idx="3898">
                  <c:v>0.28082191780821902</c:v>
                </c:pt>
                <c:pt idx="3899">
                  <c:v>0.28082191780821902</c:v>
                </c:pt>
                <c:pt idx="3900">
                  <c:v>0.28086070215175502</c:v>
                </c:pt>
                <c:pt idx="3901">
                  <c:v>0.280864197530864</c:v>
                </c:pt>
                <c:pt idx="3902">
                  <c:v>0.280871670702179</c:v>
                </c:pt>
                <c:pt idx="3903">
                  <c:v>0.28088578088578098</c:v>
                </c:pt>
                <c:pt idx="3904">
                  <c:v>0.28089887640449401</c:v>
                </c:pt>
                <c:pt idx="3905">
                  <c:v>0.28089887640449401</c:v>
                </c:pt>
                <c:pt idx="3906">
                  <c:v>0.28089887640449401</c:v>
                </c:pt>
                <c:pt idx="3907">
                  <c:v>0.28089887640449401</c:v>
                </c:pt>
                <c:pt idx="3908">
                  <c:v>0.28093645484949797</c:v>
                </c:pt>
                <c:pt idx="3909">
                  <c:v>0.28108108108108099</c:v>
                </c:pt>
                <c:pt idx="3910">
                  <c:v>0.28110599078340998</c:v>
                </c:pt>
                <c:pt idx="3911">
                  <c:v>0.28112449799196798</c:v>
                </c:pt>
                <c:pt idx="3912">
                  <c:v>0.28125</c:v>
                </c:pt>
                <c:pt idx="3913">
                  <c:v>0.28125</c:v>
                </c:pt>
                <c:pt idx="3914">
                  <c:v>0.28140703517587901</c:v>
                </c:pt>
                <c:pt idx="3915">
                  <c:v>0.28151260504201697</c:v>
                </c:pt>
                <c:pt idx="3916">
                  <c:v>0.28154967395473701</c:v>
                </c:pt>
                <c:pt idx="3917">
                  <c:v>0.28165374677002603</c:v>
                </c:pt>
                <c:pt idx="3918">
                  <c:v>0.28165771297006897</c:v>
                </c:pt>
                <c:pt idx="3919">
                  <c:v>0.28173719376391998</c:v>
                </c:pt>
                <c:pt idx="3920">
                  <c:v>0.28178368121442099</c:v>
                </c:pt>
                <c:pt idx="3921">
                  <c:v>0.28181818181818202</c:v>
                </c:pt>
                <c:pt idx="3922">
                  <c:v>0.28184281842818398</c:v>
                </c:pt>
                <c:pt idx="3923">
                  <c:v>0.28195488721804501</c:v>
                </c:pt>
                <c:pt idx="3924">
                  <c:v>0.28205128205128199</c:v>
                </c:pt>
                <c:pt idx="3925">
                  <c:v>0.28205128205128199</c:v>
                </c:pt>
                <c:pt idx="3926">
                  <c:v>0.28205128205128199</c:v>
                </c:pt>
                <c:pt idx="3927">
                  <c:v>0.28205128205128199</c:v>
                </c:pt>
                <c:pt idx="3928">
                  <c:v>0.28207639569049903</c:v>
                </c:pt>
                <c:pt idx="3929">
                  <c:v>0.28209030948757002</c:v>
                </c:pt>
                <c:pt idx="3930">
                  <c:v>0.28209191759112501</c:v>
                </c:pt>
                <c:pt idx="3931">
                  <c:v>0.28211586901763203</c:v>
                </c:pt>
                <c:pt idx="3932">
                  <c:v>0.28213166144200602</c:v>
                </c:pt>
                <c:pt idx="3933">
                  <c:v>0.28213166144200602</c:v>
                </c:pt>
                <c:pt idx="3934">
                  <c:v>0.28214971209213002</c:v>
                </c:pt>
                <c:pt idx="3935">
                  <c:v>0.28217821782178198</c:v>
                </c:pt>
                <c:pt idx="3936">
                  <c:v>0.28218694885361501</c:v>
                </c:pt>
                <c:pt idx="3937">
                  <c:v>0.28219178082191798</c:v>
                </c:pt>
                <c:pt idx="3938">
                  <c:v>0.28229885057471299</c:v>
                </c:pt>
                <c:pt idx="3939">
                  <c:v>0.28235294117647097</c:v>
                </c:pt>
                <c:pt idx="3940">
                  <c:v>0.282392026578073</c:v>
                </c:pt>
                <c:pt idx="3941">
                  <c:v>0.28252788104089199</c:v>
                </c:pt>
                <c:pt idx="3942">
                  <c:v>0.28253968253968298</c:v>
                </c:pt>
                <c:pt idx="3943">
                  <c:v>0.28257191201353599</c:v>
                </c:pt>
                <c:pt idx="3944">
                  <c:v>0.28257456828885402</c:v>
                </c:pt>
                <c:pt idx="3945">
                  <c:v>0.282608695652174</c:v>
                </c:pt>
                <c:pt idx="3946">
                  <c:v>0.282608695652174</c:v>
                </c:pt>
                <c:pt idx="3947">
                  <c:v>0.282608695652174</c:v>
                </c:pt>
                <c:pt idx="3948">
                  <c:v>0.28269484808454398</c:v>
                </c:pt>
                <c:pt idx="3949">
                  <c:v>0.28271405492730201</c:v>
                </c:pt>
                <c:pt idx="3950">
                  <c:v>0.28272251308900498</c:v>
                </c:pt>
                <c:pt idx="3951">
                  <c:v>0.28278688524590201</c:v>
                </c:pt>
                <c:pt idx="3952">
                  <c:v>0.28293736501079902</c:v>
                </c:pt>
                <c:pt idx="3953">
                  <c:v>0.28297362110311702</c:v>
                </c:pt>
                <c:pt idx="3954">
                  <c:v>0.283076923076923</c:v>
                </c:pt>
                <c:pt idx="3955">
                  <c:v>0.28308823529411797</c:v>
                </c:pt>
                <c:pt idx="3956">
                  <c:v>0.28318584070796499</c:v>
                </c:pt>
                <c:pt idx="3957">
                  <c:v>0.28321678321678301</c:v>
                </c:pt>
                <c:pt idx="3958">
                  <c:v>0.28323699421965298</c:v>
                </c:pt>
                <c:pt idx="3959">
                  <c:v>0.283276450511945</c:v>
                </c:pt>
                <c:pt idx="3960">
                  <c:v>0.28333333333333299</c:v>
                </c:pt>
                <c:pt idx="3961">
                  <c:v>0.28333333333333299</c:v>
                </c:pt>
                <c:pt idx="3962">
                  <c:v>0.28339350180505402</c:v>
                </c:pt>
                <c:pt idx="3963">
                  <c:v>0.28339694656488501</c:v>
                </c:pt>
                <c:pt idx="3964">
                  <c:v>0.28347485303723102</c:v>
                </c:pt>
                <c:pt idx="3965">
                  <c:v>0.28349514563106798</c:v>
                </c:pt>
                <c:pt idx="3966">
                  <c:v>0.283555555555556</c:v>
                </c:pt>
                <c:pt idx="3967">
                  <c:v>0.28355957767722501</c:v>
                </c:pt>
                <c:pt idx="3968">
                  <c:v>0.28358208955223901</c:v>
                </c:pt>
                <c:pt idx="3969">
                  <c:v>0.28358208955223901</c:v>
                </c:pt>
                <c:pt idx="3970">
                  <c:v>0.28358208955223901</c:v>
                </c:pt>
                <c:pt idx="3971">
                  <c:v>0.28364116094986802</c:v>
                </c:pt>
                <c:pt idx="3972">
                  <c:v>0.28365384615384598</c:v>
                </c:pt>
                <c:pt idx="3973">
                  <c:v>0.28378378378378399</c:v>
                </c:pt>
                <c:pt idx="3974">
                  <c:v>0.28378378378378399</c:v>
                </c:pt>
                <c:pt idx="3975">
                  <c:v>0.28384279475982499</c:v>
                </c:pt>
                <c:pt idx="3976">
                  <c:v>0.28386167146974101</c:v>
                </c:pt>
                <c:pt idx="3977">
                  <c:v>0.28387096774193499</c:v>
                </c:pt>
                <c:pt idx="3978">
                  <c:v>0.28387096774193499</c:v>
                </c:pt>
                <c:pt idx="3979">
                  <c:v>0.28389830508474601</c:v>
                </c:pt>
                <c:pt idx="3980">
                  <c:v>0.28389830508474601</c:v>
                </c:pt>
                <c:pt idx="3981">
                  <c:v>0.28398791540785501</c:v>
                </c:pt>
                <c:pt idx="3982">
                  <c:v>0.28402366863905298</c:v>
                </c:pt>
                <c:pt idx="3983">
                  <c:v>0.28406275805119702</c:v>
                </c:pt>
                <c:pt idx="3984">
                  <c:v>0.28406909788867601</c:v>
                </c:pt>
                <c:pt idx="3985">
                  <c:v>0.28409090909090901</c:v>
                </c:pt>
                <c:pt idx="3986">
                  <c:v>0.28409090909090901</c:v>
                </c:pt>
                <c:pt idx="3987">
                  <c:v>0.28409090909090901</c:v>
                </c:pt>
                <c:pt idx="3988">
                  <c:v>0.28415961305925003</c:v>
                </c:pt>
                <c:pt idx="3989">
                  <c:v>0.28418399495904201</c:v>
                </c:pt>
                <c:pt idx="3990">
                  <c:v>0.28419654714475401</c:v>
                </c:pt>
                <c:pt idx="3991">
                  <c:v>0.284199363732768</c:v>
                </c:pt>
                <c:pt idx="3992">
                  <c:v>0.28428927680798</c:v>
                </c:pt>
                <c:pt idx="3993">
                  <c:v>0.28428927680798</c:v>
                </c:pt>
                <c:pt idx="3994">
                  <c:v>0.28431372549019601</c:v>
                </c:pt>
                <c:pt idx="3995">
                  <c:v>0.28431808085295401</c:v>
                </c:pt>
                <c:pt idx="3996">
                  <c:v>0.28440366972477099</c:v>
                </c:pt>
                <c:pt idx="3997">
                  <c:v>0.284454244762955</c:v>
                </c:pt>
                <c:pt idx="3998">
                  <c:v>0.28447024673439802</c:v>
                </c:pt>
                <c:pt idx="3999">
                  <c:v>0.28448275862069</c:v>
                </c:pt>
                <c:pt idx="4000">
                  <c:v>0.28453608247422701</c:v>
                </c:pt>
                <c:pt idx="4001">
                  <c:v>0.284552845528455</c:v>
                </c:pt>
                <c:pt idx="4002">
                  <c:v>0.28461538461538499</c:v>
                </c:pt>
                <c:pt idx="4003">
                  <c:v>0.28461538461538499</c:v>
                </c:pt>
                <c:pt idx="4004">
                  <c:v>0.28469750889679701</c:v>
                </c:pt>
                <c:pt idx="4005">
                  <c:v>0.284710017574692</c:v>
                </c:pt>
                <c:pt idx="4006">
                  <c:v>0.28472222222222199</c:v>
                </c:pt>
                <c:pt idx="4007">
                  <c:v>0.28472222222222199</c:v>
                </c:pt>
                <c:pt idx="4008">
                  <c:v>0.28475336322869998</c:v>
                </c:pt>
                <c:pt idx="4009">
                  <c:v>0.28476821192052998</c:v>
                </c:pt>
                <c:pt idx="4010">
                  <c:v>0.28480610298792097</c:v>
                </c:pt>
                <c:pt idx="4011">
                  <c:v>0.284810126582278</c:v>
                </c:pt>
                <c:pt idx="4012">
                  <c:v>0.284829721362229</c:v>
                </c:pt>
                <c:pt idx="4013">
                  <c:v>0.28484848484848502</c:v>
                </c:pt>
                <c:pt idx="4014">
                  <c:v>0.28489208633093499</c:v>
                </c:pt>
                <c:pt idx="4015">
                  <c:v>0.28491620111731802</c:v>
                </c:pt>
                <c:pt idx="4016">
                  <c:v>0.284920973942759</c:v>
                </c:pt>
                <c:pt idx="4017">
                  <c:v>0.28492183560262202</c:v>
                </c:pt>
                <c:pt idx="4018">
                  <c:v>0.28494623655913998</c:v>
                </c:pt>
                <c:pt idx="4019">
                  <c:v>0.28496042216358802</c:v>
                </c:pt>
                <c:pt idx="4020">
                  <c:v>0.28499999999999998</c:v>
                </c:pt>
                <c:pt idx="4021">
                  <c:v>0.28501827040194899</c:v>
                </c:pt>
                <c:pt idx="4022">
                  <c:v>0.28527035425730302</c:v>
                </c:pt>
                <c:pt idx="4023">
                  <c:v>0.28527607361963198</c:v>
                </c:pt>
                <c:pt idx="4024">
                  <c:v>0.28531073446327698</c:v>
                </c:pt>
                <c:pt idx="4025">
                  <c:v>0.28538812785388101</c:v>
                </c:pt>
                <c:pt idx="4026">
                  <c:v>0.28539823008849602</c:v>
                </c:pt>
                <c:pt idx="4027">
                  <c:v>0.28545780969479401</c:v>
                </c:pt>
                <c:pt idx="4028">
                  <c:v>0.285620485883125</c:v>
                </c:pt>
                <c:pt idx="4029">
                  <c:v>0.28571428571428598</c:v>
                </c:pt>
                <c:pt idx="4030">
                  <c:v>0.28571428571428598</c:v>
                </c:pt>
                <c:pt idx="4031">
                  <c:v>0.28571428571428598</c:v>
                </c:pt>
                <c:pt idx="4032">
                  <c:v>0.28571428571428598</c:v>
                </c:pt>
                <c:pt idx="4033">
                  <c:v>0.28571428571428598</c:v>
                </c:pt>
                <c:pt idx="4034">
                  <c:v>0.28571428571428598</c:v>
                </c:pt>
                <c:pt idx="4035">
                  <c:v>0.28571428571428598</c:v>
                </c:pt>
                <c:pt idx="4036">
                  <c:v>0.28571428571428598</c:v>
                </c:pt>
                <c:pt idx="4037">
                  <c:v>0.28571428571428598</c:v>
                </c:pt>
                <c:pt idx="4038">
                  <c:v>0.28571428571428598</c:v>
                </c:pt>
                <c:pt idx="4039">
                  <c:v>0.28571428571428598</c:v>
                </c:pt>
                <c:pt idx="4040">
                  <c:v>0.28571428571428598</c:v>
                </c:pt>
                <c:pt idx="4041">
                  <c:v>0.28571428571428598</c:v>
                </c:pt>
                <c:pt idx="4042">
                  <c:v>0.28571428571428598</c:v>
                </c:pt>
                <c:pt idx="4043">
                  <c:v>0.28571428571428598</c:v>
                </c:pt>
                <c:pt idx="4044">
                  <c:v>0.28590250329380801</c:v>
                </c:pt>
                <c:pt idx="4045">
                  <c:v>0.28590649175916599</c:v>
                </c:pt>
                <c:pt idx="4046">
                  <c:v>0.28594249201277999</c:v>
                </c:pt>
                <c:pt idx="4047">
                  <c:v>0.28595041322314002</c:v>
                </c:pt>
                <c:pt idx="4048">
                  <c:v>0.28595041322314002</c:v>
                </c:pt>
                <c:pt idx="4049">
                  <c:v>0.28598848368522101</c:v>
                </c:pt>
                <c:pt idx="4050">
                  <c:v>0.28605200945626502</c:v>
                </c:pt>
                <c:pt idx="4051">
                  <c:v>0.28610855565777399</c:v>
                </c:pt>
                <c:pt idx="4052">
                  <c:v>0.286163522012579</c:v>
                </c:pt>
                <c:pt idx="4053">
                  <c:v>0.28618421052631599</c:v>
                </c:pt>
                <c:pt idx="4054">
                  <c:v>0.286195286195286</c:v>
                </c:pt>
                <c:pt idx="4055">
                  <c:v>0.28632478632478597</c:v>
                </c:pt>
                <c:pt idx="4056">
                  <c:v>0.28633271490414303</c:v>
                </c:pt>
                <c:pt idx="4057">
                  <c:v>0.28635346756152102</c:v>
                </c:pt>
                <c:pt idx="4058">
                  <c:v>0.28636363636363599</c:v>
                </c:pt>
                <c:pt idx="4059">
                  <c:v>0.28636363636363599</c:v>
                </c:pt>
                <c:pt idx="4060">
                  <c:v>0.28640776699029102</c:v>
                </c:pt>
                <c:pt idx="4061">
                  <c:v>0.28643944887599698</c:v>
                </c:pt>
                <c:pt idx="4062">
                  <c:v>0.28648164726947201</c:v>
                </c:pt>
                <c:pt idx="4063">
                  <c:v>0.28662420382165599</c:v>
                </c:pt>
                <c:pt idx="4064">
                  <c:v>0.28673323823109798</c:v>
                </c:pt>
                <c:pt idx="4065">
                  <c:v>0.28674698795180698</c:v>
                </c:pt>
                <c:pt idx="4066">
                  <c:v>0.28679653679653699</c:v>
                </c:pt>
                <c:pt idx="4067">
                  <c:v>0.28681253696037801</c:v>
                </c:pt>
                <c:pt idx="4068">
                  <c:v>0.28686327077747997</c:v>
                </c:pt>
                <c:pt idx="4069">
                  <c:v>0.28691275167785202</c:v>
                </c:pt>
                <c:pt idx="4070">
                  <c:v>0.28695652173913</c:v>
                </c:pt>
                <c:pt idx="4071">
                  <c:v>0.28695652173913</c:v>
                </c:pt>
                <c:pt idx="4072">
                  <c:v>0.28705440900562801</c:v>
                </c:pt>
                <c:pt idx="4073">
                  <c:v>0.287072243346008</c:v>
                </c:pt>
                <c:pt idx="4074">
                  <c:v>0.28709677419354801</c:v>
                </c:pt>
                <c:pt idx="4075">
                  <c:v>0.287158145065398</c:v>
                </c:pt>
                <c:pt idx="4076">
                  <c:v>0.28735632183908</c:v>
                </c:pt>
                <c:pt idx="4077">
                  <c:v>0.28738317757009302</c:v>
                </c:pt>
                <c:pt idx="4078">
                  <c:v>0.28740530303030298</c:v>
                </c:pt>
                <c:pt idx="4079">
                  <c:v>0.28747795414462102</c:v>
                </c:pt>
                <c:pt idx="4080">
                  <c:v>0.28749999999999998</c:v>
                </c:pt>
                <c:pt idx="4081">
                  <c:v>0.28749999999999998</c:v>
                </c:pt>
                <c:pt idx="4082">
                  <c:v>0.28749999999999998</c:v>
                </c:pt>
                <c:pt idx="4083">
                  <c:v>0.28752642706131099</c:v>
                </c:pt>
                <c:pt idx="4084">
                  <c:v>0.28753180661577599</c:v>
                </c:pt>
                <c:pt idx="4085">
                  <c:v>0.28758169934640498</c:v>
                </c:pt>
                <c:pt idx="4086">
                  <c:v>0.28758169934640498</c:v>
                </c:pt>
                <c:pt idx="4087">
                  <c:v>0.28759398496240601</c:v>
                </c:pt>
                <c:pt idx="4088">
                  <c:v>0.28761755485893398</c:v>
                </c:pt>
                <c:pt idx="4089">
                  <c:v>0.28766430738119297</c:v>
                </c:pt>
                <c:pt idx="4090">
                  <c:v>0.28767123287671198</c:v>
                </c:pt>
                <c:pt idx="4091">
                  <c:v>0.28767123287671198</c:v>
                </c:pt>
                <c:pt idx="4092">
                  <c:v>0.28773584905660399</c:v>
                </c:pt>
                <c:pt idx="4093">
                  <c:v>0.28776978417266202</c:v>
                </c:pt>
                <c:pt idx="4094">
                  <c:v>0.287822878228782</c:v>
                </c:pt>
                <c:pt idx="4095">
                  <c:v>0.287822878228782</c:v>
                </c:pt>
                <c:pt idx="4096">
                  <c:v>0.287835522558538</c:v>
                </c:pt>
                <c:pt idx="4097">
                  <c:v>0.28796095444685499</c:v>
                </c:pt>
                <c:pt idx="4098">
                  <c:v>0.28802153432032301</c:v>
                </c:pt>
                <c:pt idx="4099">
                  <c:v>0.288025889967638</c:v>
                </c:pt>
                <c:pt idx="4100">
                  <c:v>0.28813559322033899</c:v>
                </c:pt>
                <c:pt idx="4101">
                  <c:v>0.28813559322033899</c:v>
                </c:pt>
                <c:pt idx="4102">
                  <c:v>0.288167938931298</c:v>
                </c:pt>
                <c:pt idx="4103">
                  <c:v>0.288167938931298</c:v>
                </c:pt>
                <c:pt idx="4104">
                  <c:v>0.288172043010753</c:v>
                </c:pt>
                <c:pt idx="4105">
                  <c:v>0.28820960698690001</c:v>
                </c:pt>
                <c:pt idx="4106">
                  <c:v>0.28820960698690001</c:v>
                </c:pt>
                <c:pt idx="4107">
                  <c:v>0.28832951945080099</c:v>
                </c:pt>
                <c:pt idx="4108">
                  <c:v>0.28834355828220898</c:v>
                </c:pt>
                <c:pt idx="4109">
                  <c:v>0.28834355828220898</c:v>
                </c:pt>
                <c:pt idx="4110">
                  <c:v>0.28834355828220898</c:v>
                </c:pt>
                <c:pt idx="4111">
                  <c:v>0.28838451268357801</c:v>
                </c:pt>
                <c:pt idx="4112">
                  <c:v>0.28840125391849503</c:v>
                </c:pt>
                <c:pt idx="4113">
                  <c:v>0.28840125391849503</c:v>
                </c:pt>
                <c:pt idx="4114">
                  <c:v>0.28840125391849503</c:v>
                </c:pt>
                <c:pt idx="4115">
                  <c:v>0.28842105263157902</c:v>
                </c:pt>
                <c:pt idx="4116">
                  <c:v>0.28846153846153799</c:v>
                </c:pt>
                <c:pt idx="4117">
                  <c:v>0.28846153846153799</c:v>
                </c:pt>
                <c:pt idx="4118">
                  <c:v>0.28846153846153799</c:v>
                </c:pt>
                <c:pt idx="4119">
                  <c:v>0.28848641655886198</c:v>
                </c:pt>
                <c:pt idx="4120">
                  <c:v>0.28849902534113098</c:v>
                </c:pt>
                <c:pt idx="4121">
                  <c:v>0.288524590163934</c:v>
                </c:pt>
                <c:pt idx="4122">
                  <c:v>0.28853046594982101</c:v>
                </c:pt>
                <c:pt idx="4123">
                  <c:v>0.28853139595225702</c:v>
                </c:pt>
                <c:pt idx="4124">
                  <c:v>0.28853754940711501</c:v>
                </c:pt>
                <c:pt idx="4125">
                  <c:v>0.28853754940711501</c:v>
                </c:pt>
                <c:pt idx="4126">
                  <c:v>0.28853754940711501</c:v>
                </c:pt>
                <c:pt idx="4127">
                  <c:v>0.288566243194192</c:v>
                </c:pt>
                <c:pt idx="4128">
                  <c:v>0.28861788617886203</c:v>
                </c:pt>
                <c:pt idx="4129">
                  <c:v>0.28862164662349699</c:v>
                </c:pt>
                <c:pt idx="4130">
                  <c:v>0.28865979381443302</c:v>
                </c:pt>
                <c:pt idx="4131">
                  <c:v>0.28879310344827602</c:v>
                </c:pt>
                <c:pt idx="4132">
                  <c:v>0.28880866425992802</c:v>
                </c:pt>
                <c:pt idx="4133">
                  <c:v>0.28888888888888897</c:v>
                </c:pt>
                <c:pt idx="4134">
                  <c:v>0.28888888888888897</c:v>
                </c:pt>
                <c:pt idx="4135">
                  <c:v>0.28893905191873598</c:v>
                </c:pt>
                <c:pt idx="4136">
                  <c:v>0.28895612708018198</c:v>
                </c:pt>
                <c:pt idx="4137">
                  <c:v>0.28899082568807299</c:v>
                </c:pt>
                <c:pt idx="4138">
                  <c:v>0.28900709219858201</c:v>
                </c:pt>
                <c:pt idx="4139">
                  <c:v>0.28902229845626098</c:v>
                </c:pt>
                <c:pt idx="4140">
                  <c:v>0.2890625</c:v>
                </c:pt>
                <c:pt idx="4141">
                  <c:v>0.28909952606635098</c:v>
                </c:pt>
                <c:pt idx="4142">
                  <c:v>0.289240262244504</c:v>
                </c:pt>
                <c:pt idx="4143">
                  <c:v>0.28930817610062898</c:v>
                </c:pt>
                <c:pt idx="4144">
                  <c:v>0.28939393939393898</c:v>
                </c:pt>
                <c:pt idx="4145">
                  <c:v>0.28939393939393898</c:v>
                </c:pt>
                <c:pt idx="4146">
                  <c:v>0.289424860853432</c:v>
                </c:pt>
                <c:pt idx="4147">
                  <c:v>0.28947368421052599</c:v>
                </c:pt>
                <c:pt idx="4148">
                  <c:v>0.28947368421052599</c:v>
                </c:pt>
                <c:pt idx="4149">
                  <c:v>0.28947368421052599</c:v>
                </c:pt>
                <c:pt idx="4150">
                  <c:v>0.28970588235294098</c:v>
                </c:pt>
                <c:pt idx="4151">
                  <c:v>0.289719626168224</c:v>
                </c:pt>
                <c:pt idx="4152">
                  <c:v>0.28977272727272702</c:v>
                </c:pt>
                <c:pt idx="4153">
                  <c:v>0.28985507246376802</c:v>
                </c:pt>
                <c:pt idx="4154">
                  <c:v>0.28985507246376802</c:v>
                </c:pt>
                <c:pt idx="4155">
                  <c:v>0.28991596638655498</c:v>
                </c:pt>
                <c:pt idx="4156">
                  <c:v>0.28991596638655498</c:v>
                </c:pt>
                <c:pt idx="4157">
                  <c:v>0.28992248062015502</c:v>
                </c:pt>
                <c:pt idx="4158">
                  <c:v>0.28997867803837901</c:v>
                </c:pt>
                <c:pt idx="4159">
                  <c:v>0.28998242530755702</c:v>
                </c:pt>
                <c:pt idx="4160">
                  <c:v>0.29007633587786302</c:v>
                </c:pt>
                <c:pt idx="4161">
                  <c:v>0.290152403282532</c:v>
                </c:pt>
                <c:pt idx="4162">
                  <c:v>0.29018181818181799</c:v>
                </c:pt>
                <c:pt idx="4163">
                  <c:v>0.29024390243902398</c:v>
                </c:pt>
                <c:pt idx="4164">
                  <c:v>0.29026548672566399</c:v>
                </c:pt>
                <c:pt idx="4165">
                  <c:v>0.29032258064516098</c:v>
                </c:pt>
                <c:pt idx="4166">
                  <c:v>0.29035339063992399</c:v>
                </c:pt>
                <c:pt idx="4167">
                  <c:v>0.29039548022598899</c:v>
                </c:pt>
                <c:pt idx="4168">
                  <c:v>0.29042386185243302</c:v>
                </c:pt>
                <c:pt idx="4169">
                  <c:v>0.29042904290429</c:v>
                </c:pt>
                <c:pt idx="4170">
                  <c:v>0.29047619047619</c:v>
                </c:pt>
                <c:pt idx="4171">
                  <c:v>0.29059829059829101</c:v>
                </c:pt>
                <c:pt idx="4172">
                  <c:v>0.29059829059829101</c:v>
                </c:pt>
                <c:pt idx="4173">
                  <c:v>0.29063509149623201</c:v>
                </c:pt>
                <c:pt idx="4174">
                  <c:v>0.29067460317460297</c:v>
                </c:pt>
                <c:pt idx="4175">
                  <c:v>0.29073482428114999</c:v>
                </c:pt>
                <c:pt idx="4176">
                  <c:v>0.29074585635359101</c:v>
                </c:pt>
                <c:pt idx="4177">
                  <c:v>0.29074889867841403</c:v>
                </c:pt>
                <c:pt idx="4178">
                  <c:v>0.290769230769231</c:v>
                </c:pt>
                <c:pt idx="4179">
                  <c:v>0.29079079079079101</c:v>
                </c:pt>
                <c:pt idx="4180">
                  <c:v>0.290822407628129</c:v>
                </c:pt>
                <c:pt idx="4181">
                  <c:v>0.29085872576177302</c:v>
                </c:pt>
                <c:pt idx="4182">
                  <c:v>0.29096573208722698</c:v>
                </c:pt>
                <c:pt idx="4183">
                  <c:v>0.29098360655737698</c:v>
                </c:pt>
                <c:pt idx="4184">
                  <c:v>0.29104477611940299</c:v>
                </c:pt>
                <c:pt idx="4185">
                  <c:v>0.29108822212270502</c:v>
                </c:pt>
                <c:pt idx="4186">
                  <c:v>0.291117478510029</c:v>
                </c:pt>
                <c:pt idx="4187">
                  <c:v>0.291139240506329</c:v>
                </c:pt>
                <c:pt idx="4188">
                  <c:v>0.291139240506329</c:v>
                </c:pt>
                <c:pt idx="4189">
                  <c:v>0.29126213592233002</c:v>
                </c:pt>
                <c:pt idx="4190">
                  <c:v>0.291304347826087</c:v>
                </c:pt>
                <c:pt idx="4191">
                  <c:v>0.291375291375291</c:v>
                </c:pt>
                <c:pt idx="4192">
                  <c:v>0.29139072847682101</c:v>
                </c:pt>
                <c:pt idx="4193">
                  <c:v>0.29141716566866299</c:v>
                </c:pt>
                <c:pt idx="4194">
                  <c:v>0.291469194312796</c:v>
                </c:pt>
                <c:pt idx="4195">
                  <c:v>0.29147982062780298</c:v>
                </c:pt>
                <c:pt idx="4196">
                  <c:v>0.29166666666666702</c:v>
                </c:pt>
                <c:pt idx="4197">
                  <c:v>0.29166666666666702</c:v>
                </c:pt>
                <c:pt idx="4198">
                  <c:v>0.29166666666666702</c:v>
                </c:pt>
                <c:pt idx="4199">
                  <c:v>0.29166666666666702</c:v>
                </c:pt>
                <c:pt idx="4200">
                  <c:v>0.29173989455184501</c:v>
                </c:pt>
                <c:pt idx="4201">
                  <c:v>0.29177718832891197</c:v>
                </c:pt>
                <c:pt idx="4202">
                  <c:v>0.29180327868852501</c:v>
                </c:pt>
                <c:pt idx="4203">
                  <c:v>0.29185427752762999</c:v>
                </c:pt>
                <c:pt idx="4204">
                  <c:v>0.29185520361990902</c:v>
                </c:pt>
                <c:pt idx="4205">
                  <c:v>0.29189189189189202</c:v>
                </c:pt>
                <c:pt idx="4206">
                  <c:v>0.29189189189189202</c:v>
                </c:pt>
                <c:pt idx="4207">
                  <c:v>0.29189789123196402</c:v>
                </c:pt>
                <c:pt idx="4208">
                  <c:v>0.29192546583850898</c:v>
                </c:pt>
                <c:pt idx="4209">
                  <c:v>0.29192546583850898</c:v>
                </c:pt>
                <c:pt idx="4210">
                  <c:v>0.29194630872483202</c:v>
                </c:pt>
                <c:pt idx="4211">
                  <c:v>0.29197080291970801</c:v>
                </c:pt>
                <c:pt idx="4212">
                  <c:v>0.29197080291970801</c:v>
                </c:pt>
                <c:pt idx="4213">
                  <c:v>0.29203539823008801</c:v>
                </c:pt>
                <c:pt idx="4214">
                  <c:v>0.29203539823008801</c:v>
                </c:pt>
                <c:pt idx="4215">
                  <c:v>0.29204204204204198</c:v>
                </c:pt>
                <c:pt idx="4216">
                  <c:v>0.29207920792079201</c:v>
                </c:pt>
                <c:pt idx="4217">
                  <c:v>0.292096219931271</c:v>
                </c:pt>
                <c:pt idx="4218">
                  <c:v>0.29213483146067398</c:v>
                </c:pt>
                <c:pt idx="4219">
                  <c:v>0.29218749999999999</c:v>
                </c:pt>
                <c:pt idx="4220">
                  <c:v>0.29224376731301899</c:v>
                </c:pt>
                <c:pt idx="4221">
                  <c:v>0.29231944975162399</c:v>
                </c:pt>
                <c:pt idx="4222">
                  <c:v>0.29242424242424198</c:v>
                </c:pt>
                <c:pt idx="4223">
                  <c:v>0.29245283018867901</c:v>
                </c:pt>
                <c:pt idx="4224">
                  <c:v>0.29249617151607998</c:v>
                </c:pt>
                <c:pt idx="4225">
                  <c:v>0.29251012145749</c:v>
                </c:pt>
                <c:pt idx="4226">
                  <c:v>0.29254901960784302</c:v>
                </c:pt>
                <c:pt idx="4227">
                  <c:v>0.29257875066737898</c:v>
                </c:pt>
                <c:pt idx="4228">
                  <c:v>0.292682926829268</c:v>
                </c:pt>
                <c:pt idx="4229">
                  <c:v>0.292682926829268</c:v>
                </c:pt>
                <c:pt idx="4230">
                  <c:v>0.292682926829268</c:v>
                </c:pt>
                <c:pt idx="4231">
                  <c:v>0.292682926829268</c:v>
                </c:pt>
                <c:pt idx="4232">
                  <c:v>0.292763157894737</c:v>
                </c:pt>
                <c:pt idx="4233">
                  <c:v>0.292763157894737</c:v>
                </c:pt>
                <c:pt idx="4234">
                  <c:v>0.29277566539923999</c:v>
                </c:pt>
                <c:pt idx="4235">
                  <c:v>0.29292929292929298</c:v>
                </c:pt>
                <c:pt idx="4236">
                  <c:v>0.29295154185021999</c:v>
                </c:pt>
                <c:pt idx="4237">
                  <c:v>0.29295154185021999</c:v>
                </c:pt>
                <c:pt idx="4238">
                  <c:v>0.29305135951661598</c:v>
                </c:pt>
                <c:pt idx="4239">
                  <c:v>0.29310344827586199</c:v>
                </c:pt>
                <c:pt idx="4240">
                  <c:v>0.29317269076305202</c:v>
                </c:pt>
                <c:pt idx="4241">
                  <c:v>0.293198529411765</c:v>
                </c:pt>
                <c:pt idx="4242">
                  <c:v>0.29320531757754797</c:v>
                </c:pt>
                <c:pt idx="4243">
                  <c:v>0.29320987654321001</c:v>
                </c:pt>
                <c:pt idx="4244">
                  <c:v>0.29324546952224001</c:v>
                </c:pt>
                <c:pt idx="4245">
                  <c:v>0.29326287978863902</c:v>
                </c:pt>
                <c:pt idx="4246">
                  <c:v>0.29335494327390599</c:v>
                </c:pt>
                <c:pt idx="4247">
                  <c:v>0.29337539432176701</c:v>
                </c:pt>
                <c:pt idx="4248">
                  <c:v>0.29338842975206603</c:v>
                </c:pt>
                <c:pt idx="4249">
                  <c:v>0.29341317365269498</c:v>
                </c:pt>
                <c:pt idx="4250">
                  <c:v>0.29345372460496599</c:v>
                </c:pt>
                <c:pt idx="4251">
                  <c:v>0.29366306027820699</c:v>
                </c:pt>
                <c:pt idx="4252">
                  <c:v>0.29369369369369402</c:v>
                </c:pt>
                <c:pt idx="4253">
                  <c:v>0.29370249728555903</c:v>
                </c:pt>
                <c:pt idx="4254">
                  <c:v>0.29375000000000001</c:v>
                </c:pt>
                <c:pt idx="4255">
                  <c:v>0.29380053908355802</c:v>
                </c:pt>
                <c:pt idx="4256">
                  <c:v>0.29386892177589802</c:v>
                </c:pt>
                <c:pt idx="4257">
                  <c:v>0.29398663697104699</c:v>
                </c:pt>
                <c:pt idx="4258">
                  <c:v>0.294083526682135</c:v>
                </c:pt>
                <c:pt idx="4259">
                  <c:v>0.29411764705882398</c:v>
                </c:pt>
                <c:pt idx="4260">
                  <c:v>0.29411764705882398</c:v>
                </c:pt>
                <c:pt idx="4261">
                  <c:v>0.29411764705882398</c:v>
                </c:pt>
                <c:pt idx="4262">
                  <c:v>0.29411764705882398</c:v>
                </c:pt>
                <c:pt idx="4263">
                  <c:v>0.29411764705882398</c:v>
                </c:pt>
                <c:pt idx="4264">
                  <c:v>0.29411764705882398</c:v>
                </c:pt>
                <c:pt idx="4265">
                  <c:v>0.29411764705882398</c:v>
                </c:pt>
                <c:pt idx="4266">
                  <c:v>0.294323756131745</c:v>
                </c:pt>
                <c:pt idx="4267">
                  <c:v>0.29434447300771199</c:v>
                </c:pt>
                <c:pt idx="4268">
                  <c:v>0.294416243654822</c:v>
                </c:pt>
                <c:pt idx="4269">
                  <c:v>0.29447852760736198</c:v>
                </c:pt>
                <c:pt idx="4270">
                  <c:v>0.29452054794520499</c:v>
                </c:pt>
                <c:pt idx="4271">
                  <c:v>0.29458388375165101</c:v>
                </c:pt>
                <c:pt idx="4272">
                  <c:v>0.29468599033816401</c:v>
                </c:pt>
                <c:pt idx="4273">
                  <c:v>0.29471032745591902</c:v>
                </c:pt>
                <c:pt idx="4274">
                  <c:v>0.29473684210526302</c:v>
                </c:pt>
                <c:pt idx="4275">
                  <c:v>0.29473684210526302</c:v>
                </c:pt>
                <c:pt idx="4276">
                  <c:v>0.29475982532751099</c:v>
                </c:pt>
                <c:pt idx="4277">
                  <c:v>0.29482071713147401</c:v>
                </c:pt>
                <c:pt idx="4278">
                  <c:v>0.295004306632214</c:v>
                </c:pt>
                <c:pt idx="4279">
                  <c:v>0.29501915708812299</c:v>
                </c:pt>
                <c:pt idx="4280">
                  <c:v>0.29501915708812299</c:v>
                </c:pt>
                <c:pt idx="4281">
                  <c:v>0.29502262443438898</c:v>
                </c:pt>
                <c:pt idx="4282">
                  <c:v>0.29508196721311503</c:v>
                </c:pt>
                <c:pt idx="4283">
                  <c:v>0.29508196721311503</c:v>
                </c:pt>
                <c:pt idx="4284">
                  <c:v>0.29508196721311503</c:v>
                </c:pt>
                <c:pt idx="4285">
                  <c:v>0.29523809523809502</c:v>
                </c:pt>
                <c:pt idx="4286">
                  <c:v>0.29526748971193401</c:v>
                </c:pt>
                <c:pt idx="4287">
                  <c:v>0.295290858725762</c:v>
                </c:pt>
                <c:pt idx="4288">
                  <c:v>0.29531568228105898</c:v>
                </c:pt>
                <c:pt idx="4289">
                  <c:v>0.295336787564767</c:v>
                </c:pt>
                <c:pt idx="4290">
                  <c:v>0.29545454545454503</c:v>
                </c:pt>
                <c:pt idx="4291">
                  <c:v>0.29545454545454503</c:v>
                </c:pt>
                <c:pt idx="4292">
                  <c:v>0.29551451187335098</c:v>
                </c:pt>
                <c:pt idx="4293">
                  <c:v>0.29554655870445301</c:v>
                </c:pt>
                <c:pt idx="4294">
                  <c:v>0.29554655870445301</c:v>
                </c:pt>
                <c:pt idx="4295">
                  <c:v>0.29555555555555602</c:v>
                </c:pt>
                <c:pt idx="4296">
                  <c:v>0.29556650246305399</c:v>
                </c:pt>
                <c:pt idx="4297">
                  <c:v>0.29559748427672999</c:v>
                </c:pt>
                <c:pt idx="4298">
                  <c:v>0.29568106312292403</c:v>
                </c:pt>
                <c:pt idx="4299">
                  <c:v>0.29569892473118298</c:v>
                </c:pt>
                <c:pt idx="4300">
                  <c:v>0.29574468085106398</c:v>
                </c:pt>
                <c:pt idx="4301">
                  <c:v>0.29577464788732399</c:v>
                </c:pt>
                <c:pt idx="4302">
                  <c:v>0.29579579579579601</c:v>
                </c:pt>
                <c:pt idx="4303">
                  <c:v>0.295833333333333</c:v>
                </c:pt>
                <c:pt idx="4304">
                  <c:v>0.29587482219061201</c:v>
                </c:pt>
                <c:pt idx="4305">
                  <c:v>0.29591836734693899</c:v>
                </c:pt>
                <c:pt idx="4306">
                  <c:v>0.29591836734693899</c:v>
                </c:pt>
                <c:pt idx="4307">
                  <c:v>0.29595015576324002</c:v>
                </c:pt>
                <c:pt idx="4308">
                  <c:v>0.29596412556053803</c:v>
                </c:pt>
                <c:pt idx="4309">
                  <c:v>0.29611650485436902</c:v>
                </c:pt>
                <c:pt idx="4310">
                  <c:v>0.29621848739495799</c:v>
                </c:pt>
                <c:pt idx="4311">
                  <c:v>0.2962191128312</c:v>
                </c:pt>
                <c:pt idx="4312">
                  <c:v>0.296296296296296</c:v>
                </c:pt>
                <c:pt idx="4313">
                  <c:v>0.296296296296296</c:v>
                </c:pt>
                <c:pt idx="4314">
                  <c:v>0.296296296296296</c:v>
                </c:pt>
                <c:pt idx="4315">
                  <c:v>0.29642857142857099</c:v>
                </c:pt>
                <c:pt idx="4316">
                  <c:v>0.29651162790697699</c:v>
                </c:pt>
                <c:pt idx="4317">
                  <c:v>0.29652650822669102</c:v>
                </c:pt>
                <c:pt idx="4318">
                  <c:v>0.29656538969616902</c:v>
                </c:pt>
                <c:pt idx="4319">
                  <c:v>0.29661941112322798</c:v>
                </c:pt>
                <c:pt idx="4320">
                  <c:v>0.296650717703349</c:v>
                </c:pt>
                <c:pt idx="4321">
                  <c:v>0.296675191815857</c:v>
                </c:pt>
                <c:pt idx="4322">
                  <c:v>0.29670329670329698</c:v>
                </c:pt>
                <c:pt idx="4323">
                  <c:v>0.29671280276816597</c:v>
                </c:pt>
                <c:pt idx="4324">
                  <c:v>0.29673093042749399</c:v>
                </c:pt>
                <c:pt idx="4325">
                  <c:v>0.296758104738155</c:v>
                </c:pt>
                <c:pt idx="4326">
                  <c:v>0.296853625170999</c:v>
                </c:pt>
                <c:pt idx="4327">
                  <c:v>0.296875</c:v>
                </c:pt>
                <c:pt idx="4328">
                  <c:v>0.29694323144104801</c:v>
                </c:pt>
                <c:pt idx="4329">
                  <c:v>0.29694323144104801</c:v>
                </c:pt>
                <c:pt idx="4330">
                  <c:v>0.29694323144104801</c:v>
                </c:pt>
                <c:pt idx="4331">
                  <c:v>0.29694774961200199</c:v>
                </c:pt>
                <c:pt idx="4332">
                  <c:v>0.29701230228470998</c:v>
                </c:pt>
                <c:pt idx="4333">
                  <c:v>0.29702970297029702</c:v>
                </c:pt>
                <c:pt idx="4334">
                  <c:v>0.29702970297029702</c:v>
                </c:pt>
                <c:pt idx="4335">
                  <c:v>0.29704797047970499</c:v>
                </c:pt>
                <c:pt idx="4336">
                  <c:v>0.29716981132075498</c:v>
                </c:pt>
                <c:pt idx="4337">
                  <c:v>0.29718875502008002</c:v>
                </c:pt>
                <c:pt idx="4338">
                  <c:v>0.29718875502008002</c:v>
                </c:pt>
                <c:pt idx="4339">
                  <c:v>0.29720279720279702</c:v>
                </c:pt>
                <c:pt idx="4340">
                  <c:v>0.29722921914357697</c:v>
                </c:pt>
                <c:pt idx="4341">
                  <c:v>0.29722921914357697</c:v>
                </c:pt>
                <c:pt idx="4342">
                  <c:v>0.29729729729729698</c:v>
                </c:pt>
                <c:pt idx="4343">
                  <c:v>0.29729729729729698</c:v>
                </c:pt>
                <c:pt idx="4344">
                  <c:v>0.29739776951672903</c:v>
                </c:pt>
                <c:pt idx="4345">
                  <c:v>0.29746835443038</c:v>
                </c:pt>
                <c:pt idx="4346">
                  <c:v>0.29747675962815401</c:v>
                </c:pt>
                <c:pt idx="4347">
                  <c:v>0.29748603351955299</c:v>
                </c:pt>
                <c:pt idx="4348">
                  <c:v>0.297619047619048</c:v>
                </c:pt>
                <c:pt idx="4349">
                  <c:v>0.297619047619048</c:v>
                </c:pt>
                <c:pt idx="4350">
                  <c:v>0.29765886287625398</c:v>
                </c:pt>
                <c:pt idx="4351">
                  <c:v>0.29767441860465099</c:v>
                </c:pt>
                <c:pt idx="4352">
                  <c:v>0.29770992366412202</c:v>
                </c:pt>
                <c:pt idx="4353">
                  <c:v>0.29774127310061599</c:v>
                </c:pt>
                <c:pt idx="4354">
                  <c:v>0.297752808988764</c:v>
                </c:pt>
                <c:pt idx="4355">
                  <c:v>0.29778830963665098</c:v>
                </c:pt>
                <c:pt idx="4356">
                  <c:v>0.29779411764705899</c:v>
                </c:pt>
                <c:pt idx="4357">
                  <c:v>0.29784304726938998</c:v>
                </c:pt>
                <c:pt idx="4358">
                  <c:v>0.297906602254428</c:v>
                </c:pt>
                <c:pt idx="4359">
                  <c:v>0.29797979797979801</c:v>
                </c:pt>
                <c:pt idx="4360">
                  <c:v>0.29813664596273298</c:v>
                </c:pt>
                <c:pt idx="4361">
                  <c:v>0.29821717990275498</c:v>
                </c:pt>
                <c:pt idx="4362">
                  <c:v>0.29824561403508798</c:v>
                </c:pt>
                <c:pt idx="4363">
                  <c:v>0.29829545454545398</c:v>
                </c:pt>
                <c:pt idx="4364">
                  <c:v>0.29834254143646399</c:v>
                </c:pt>
                <c:pt idx="4365">
                  <c:v>0.29844961240310097</c:v>
                </c:pt>
                <c:pt idx="4366">
                  <c:v>0.29847908745247098</c:v>
                </c:pt>
                <c:pt idx="4367">
                  <c:v>0.29850746268656703</c:v>
                </c:pt>
                <c:pt idx="4368">
                  <c:v>0.29850746268656703</c:v>
                </c:pt>
                <c:pt idx="4369">
                  <c:v>0.29853862212943599</c:v>
                </c:pt>
                <c:pt idx="4370">
                  <c:v>0.29859719438877802</c:v>
                </c:pt>
                <c:pt idx="4371">
                  <c:v>0.29871175523349403</c:v>
                </c:pt>
                <c:pt idx="4372">
                  <c:v>0.29872881355932202</c:v>
                </c:pt>
                <c:pt idx="4373">
                  <c:v>0.29875518672199203</c:v>
                </c:pt>
                <c:pt idx="4374">
                  <c:v>0.29878048780487798</c:v>
                </c:pt>
                <c:pt idx="4375">
                  <c:v>0.29878048780487798</c:v>
                </c:pt>
                <c:pt idx="4376">
                  <c:v>0.29879518072289202</c:v>
                </c:pt>
                <c:pt idx="4377">
                  <c:v>0.29885057471264398</c:v>
                </c:pt>
                <c:pt idx="4378">
                  <c:v>0.29889298892988903</c:v>
                </c:pt>
                <c:pt idx="4379">
                  <c:v>0.29893238434163699</c:v>
                </c:pt>
                <c:pt idx="4380">
                  <c:v>0.29893238434163699</c:v>
                </c:pt>
                <c:pt idx="4381">
                  <c:v>0.299009900990099</c:v>
                </c:pt>
                <c:pt idx="4382">
                  <c:v>0.29901960784313703</c:v>
                </c:pt>
                <c:pt idx="4383">
                  <c:v>0.29901960784313703</c:v>
                </c:pt>
                <c:pt idx="4384">
                  <c:v>0.29906542056074797</c:v>
                </c:pt>
                <c:pt idx="4385">
                  <c:v>0.29910714285714302</c:v>
                </c:pt>
                <c:pt idx="4386">
                  <c:v>0.29915333960489199</c:v>
                </c:pt>
                <c:pt idx="4387">
                  <c:v>0.29918032786885201</c:v>
                </c:pt>
                <c:pt idx="4388">
                  <c:v>0.29918032786885201</c:v>
                </c:pt>
                <c:pt idx="4389">
                  <c:v>0.29920364050056902</c:v>
                </c:pt>
                <c:pt idx="4390">
                  <c:v>0.29921259842519699</c:v>
                </c:pt>
                <c:pt idx="4391">
                  <c:v>0.29921942758022502</c:v>
                </c:pt>
                <c:pt idx="4392">
                  <c:v>0.29927007299270098</c:v>
                </c:pt>
                <c:pt idx="4393">
                  <c:v>0.29934210526315802</c:v>
                </c:pt>
                <c:pt idx="4394">
                  <c:v>0.29934924078091102</c:v>
                </c:pt>
                <c:pt idx="4395">
                  <c:v>0.29935275080906099</c:v>
                </c:pt>
                <c:pt idx="4396">
                  <c:v>0.29936305732484098</c:v>
                </c:pt>
                <c:pt idx="4397">
                  <c:v>0.29938271604938299</c:v>
                </c:pt>
                <c:pt idx="4398">
                  <c:v>0.29938900203666002</c:v>
                </c:pt>
                <c:pt idx="4399">
                  <c:v>0.29945799457994599</c:v>
                </c:pt>
                <c:pt idx="4400">
                  <c:v>0.29948914431673002</c:v>
                </c:pt>
                <c:pt idx="4401">
                  <c:v>0.29949238578680198</c:v>
                </c:pt>
                <c:pt idx="4402">
                  <c:v>0.29949748743718602</c:v>
                </c:pt>
                <c:pt idx="4403">
                  <c:v>0.29951690821256</c:v>
                </c:pt>
                <c:pt idx="4404">
                  <c:v>0.299524564183835</c:v>
                </c:pt>
                <c:pt idx="4405">
                  <c:v>0.29959514170040502</c:v>
                </c:pt>
                <c:pt idx="4406">
                  <c:v>0.29965156794425102</c:v>
                </c:pt>
                <c:pt idx="4407">
                  <c:v>0.29966329966330002</c:v>
                </c:pt>
                <c:pt idx="4408">
                  <c:v>0.29966887417218502</c:v>
                </c:pt>
                <c:pt idx="4409">
                  <c:v>0.29975874547647802</c:v>
                </c:pt>
                <c:pt idx="4410">
                  <c:v>0.29976019184652303</c:v>
                </c:pt>
                <c:pt idx="4411">
                  <c:v>0.29987760097919203</c:v>
                </c:pt>
                <c:pt idx="4412">
                  <c:v>0.3</c:v>
                </c:pt>
                <c:pt idx="4413">
                  <c:v>0.3</c:v>
                </c:pt>
                <c:pt idx="4414">
                  <c:v>0.3</c:v>
                </c:pt>
                <c:pt idx="4415">
                  <c:v>0.3</c:v>
                </c:pt>
                <c:pt idx="4416">
                  <c:v>0.3</c:v>
                </c:pt>
                <c:pt idx="4417">
                  <c:v>0.3</c:v>
                </c:pt>
                <c:pt idx="4418">
                  <c:v>0.3</c:v>
                </c:pt>
                <c:pt idx="4419">
                  <c:v>0.3</c:v>
                </c:pt>
                <c:pt idx="4420">
                  <c:v>0.3</c:v>
                </c:pt>
                <c:pt idx="4421">
                  <c:v>0.30014430014429999</c:v>
                </c:pt>
                <c:pt idx="4422">
                  <c:v>0.30014499758337398</c:v>
                </c:pt>
                <c:pt idx="4423">
                  <c:v>0.30018083182640098</c:v>
                </c:pt>
                <c:pt idx="4424">
                  <c:v>0.30025773195876299</c:v>
                </c:pt>
                <c:pt idx="4425">
                  <c:v>0.30030030030030003</c:v>
                </c:pt>
                <c:pt idx="4426">
                  <c:v>0.30032644178454798</c:v>
                </c:pt>
                <c:pt idx="4427">
                  <c:v>0.30041152263374499</c:v>
                </c:pt>
                <c:pt idx="4428">
                  <c:v>0.30041724617524301</c:v>
                </c:pt>
                <c:pt idx="4429">
                  <c:v>0.30046948356807501</c:v>
                </c:pt>
                <c:pt idx="4430">
                  <c:v>0.30050505050505</c:v>
                </c:pt>
                <c:pt idx="4431">
                  <c:v>0.30051813471502598</c:v>
                </c:pt>
                <c:pt idx="4432">
                  <c:v>0.300539083557951</c:v>
                </c:pt>
                <c:pt idx="4433">
                  <c:v>0.300578034682081</c:v>
                </c:pt>
                <c:pt idx="4434">
                  <c:v>0.30074931880109002</c:v>
                </c:pt>
                <c:pt idx="4435">
                  <c:v>0.30078125</c:v>
                </c:pt>
                <c:pt idx="4436">
                  <c:v>0.30081300813008099</c:v>
                </c:pt>
                <c:pt idx="4437">
                  <c:v>0.30081300813008099</c:v>
                </c:pt>
                <c:pt idx="4438">
                  <c:v>0.30093592512598999</c:v>
                </c:pt>
                <c:pt idx="4439">
                  <c:v>0.300959232613909</c:v>
                </c:pt>
                <c:pt idx="4440">
                  <c:v>0.30097765363128498</c:v>
                </c:pt>
                <c:pt idx="4441">
                  <c:v>0.30100334448160498</c:v>
                </c:pt>
                <c:pt idx="4442">
                  <c:v>0.30107526881720398</c:v>
                </c:pt>
                <c:pt idx="4443">
                  <c:v>0.30111524163568798</c:v>
                </c:pt>
                <c:pt idx="4444">
                  <c:v>0.30111902339776198</c:v>
                </c:pt>
                <c:pt idx="4445">
                  <c:v>0.30113636363636398</c:v>
                </c:pt>
                <c:pt idx="4446">
                  <c:v>0.30115567641060498</c:v>
                </c:pt>
                <c:pt idx="4447">
                  <c:v>0.301186943620178</c:v>
                </c:pt>
                <c:pt idx="4448">
                  <c:v>0.30122494432071301</c:v>
                </c:pt>
                <c:pt idx="4449">
                  <c:v>0.30128205128205099</c:v>
                </c:pt>
                <c:pt idx="4450">
                  <c:v>0.30134680134680097</c:v>
                </c:pt>
                <c:pt idx="4451">
                  <c:v>0.301369863013699</c:v>
                </c:pt>
                <c:pt idx="4452">
                  <c:v>0.301369863013699</c:v>
                </c:pt>
                <c:pt idx="4453">
                  <c:v>0.30147058823529399</c:v>
                </c:pt>
                <c:pt idx="4454">
                  <c:v>0.30148619957537098</c:v>
                </c:pt>
                <c:pt idx="4455">
                  <c:v>0.301503759398496</c:v>
                </c:pt>
                <c:pt idx="4456">
                  <c:v>0.30158730158730201</c:v>
                </c:pt>
                <c:pt idx="4457">
                  <c:v>0.30168776371307998</c:v>
                </c:pt>
                <c:pt idx="4458">
                  <c:v>0.30171740827478499</c:v>
                </c:pt>
                <c:pt idx="4459">
                  <c:v>0.30172413793103398</c:v>
                </c:pt>
                <c:pt idx="4460">
                  <c:v>0.30172413793103398</c:v>
                </c:pt>
                <c:pt idx="4461">
                  <c:v>0.301837270341207</c:v>
                </c:pt>
                <c:pt idx="4462">
                  <c:v>0.30185497470488998</c:v>
                </c:pt>
                <c:pt idx="4463">
                  <c:v>0.30188679245283001</c:v>
                </c:pt>
                <c:pt idx="4464">
                  <c:v>0.30188679245283001</c:v>
                </c:pt>
                <c:pt idx="4465">
                  <c:v>0.30196078431372497</c:v>
                </c:pt>
                <c:pt idx="4466">
                  <c:v>0.30204460966542701</c:v>
                </c:pt>
                <c:pt idx="4467">
                  <c:v>0.30208333333333298</c:v>
                </c:pt>
                <c:pt idx="4468">
                  <c:v>0.30217391304347802</c:v>
                </c:pt>
                <c:pt idx="4469">
                  <c:v>0.302186878727634</c:v>
                </c:pt>
                <c:pt idx="4470">
                  <c:v>0.30224525043177902</c:v>
                </c:pt>
                <c:pt idx="4471">
                  <c:v>0.30225080385852099</c:v>
                </c:pt>
                <c:pt idx="4472">
                  <c:v>0.30232558139534899</c:v>
                </c:pt>
                <c:pt idx="4473">
                  <c:v>0.30232558139534899</c:v>
                </c:pt>
                <c:pt idx="4474">
                  <c:v>0.30232558139534899</c:v>
                </c:pt>
                <c:pt idx="4475">
                  <c:v>0.30232558139534899</c:v>
                </c:pt>
                <c:pt idx="4476">
                  <c:v>0.30232558139534899</c:v>
                </c:pt>
                <c:pt idx="4477">
                  <c:v>0.30239520958083799</c:v>
                </c:pt>
                <c:pt idx="4478">
                  <c:v>0.30241935483871002</c:v>
                </c:pt>
                <c:pt idx="4479">
                  <c:v>0.30246913580246898</c:v>
                </c:pt>
                <c:pt idx="4480">
                  <c:v>0.30246913580246898</c:v>
                </c:pt>
                <c:pt idx="4481">
                  <c:v>0.30261136712749598</c:v>
                </c:pt>
                <c:pt idx="4482">
                  <c:v>0.30263157894736797</c:v>
                </c:pt>
                <c:pt idx="4483">
                  <c:v>0.30263157894736797</c:v>
                </c:pt>
                <c:pt idx="4484">
                  <c:v>0.302732502396932</c:v>
                </c:pt>
                <c:pt idx="4485">
                  <c:v>0.302752293577982</c:v>
                </c:pt>
                <c:pt idx="4486">
                  <c:v>0.30277185501066101</c:v>
                </c:pt>
                <c:pt idx="4487">
                  <c:v>0.302872062663185</c:v>
                </c:pt>
                <c:pt idx="4488">
                  <c:v>0.30289532293986599</c:v>
                </c:pt>
                <c:pt idx="4489">
                  <c:v>0.30303030303030298</c:v>
                </c:pt>
                <c:pt idx="4490">
                  <c:v>0.30303030303030298</c:v>
                </c:pt>
                <c:pt idx="4491">
                  <c:v>0.30303030303030298</c:v>
                </c:pt>
                <c:pt idx="4492">
                  <c:v>0.30303030303030298</c:v>
                </c:pt>
                <c:pt idx="4493">
                  <c:v>0.30303030303030298</c:v>
                </c:pt>
                <c:pt idx="4494">
                  <c:v>0.30307941653160397</c:v>
                </c:pt>
                <c:pt idx="4495">
                  <c:v>0.30316742081448</c:v>
                </c:pt>
                <c:pt idx="4496">
                  <c:v>0.30316742081448</c:v>
                </c:pt>
                <c:pt idx="4497">
                  <c:v>0.303183576316572</c:v>
                </c:pt>
                <c:pt idx="4498">
                  <c:v>0.30320699708454801</c:v>
                </c:pt>
                <c:pt idx="4499">
                  <c:v>0.30320699708454801</c:v>
                </c:pt>
                <c:pt idx="4500">
                  <c:v>0.30321285140562199</c:v>
                </c:pt>
                <c:pt idx="4501">
                  <c:v>0.30322580645161301</c:v>
                </c:pt>
                <c:pt idx="4502">
                  <c:v>0.30322580645161301</c:v>
                </c:pt>
                <c:pt idx="4503">
                  <c:v>0.30324074074074098</c:v>
                </c:pt>
                <c:pt idx="4504">
                  <c:v>0.30326975476839202</c:v>
                </c:pt>
                <c:pt idx="4505">
                  <c:v>0.303317535545024</c:v>
                </c:pt>
                <c:pt idx="4506">
                  <c:v>0.303317535545024</c:v>
                </c:pt>
                <c:pt idx="4507">
                  <c:v>0.30333333333333301</c:v>
                </c:pt>
                <c:pt idx="4508">
                  <c:v>0.30335171828595697</c:v>
                </c:pt>
                <c:pt idx="4509">
                  <c:v>0.30338983050847501</c:v>
                </c:pt>
                <c:pt idx="4510">
                  <c:v>0.30340557275541802</c:v>
                </c:pt>
                <c:pt idx="4511">
                  <c:v>0.303514376996805</c:v>
                </c:pt>
                <c:pt idx="4512">
                  <c:v>0.30357142857142899</c:v>
                </c:pt>
                <c:pt idx="4513">
                  <c:v>0.30357142857142899</c:v>
                </c:pt>
                <c:pt idx="4514">
                  <c:v>0.303589743589744</c:v>
                </c:pt>
                <c:pt idx="4515">
                  <c:v>0.30364372469635598</c:v>
                </c:pt>
                <c:pt idx="4516">
                  <c:v>0.30366492146596902</c:v>
                </c:pt>
                <c:pt idx="4517">
                  <c:v>0.30370370370370398</c:v>
                </c:pt>
                <c:pt idx="4518">
                  <c:v>0.30370613315841299</c:v>
                </c:pt>
                <c:pt idx="4519">
                  <c:v>0.303713527851459</c:v>
                </c:pt>
                <c:pt idx="4520">
                  <c:v>0.30371567043618702</c:v>
                </c:pt>
                <c:pt idx="4521">
                  <c:v>0.30372148859543802</c:v>
                </c:pt>
                <c:pt idx="4522">
                  <c:v>0.30372492836676201</c:v>
                </c:pt>
                <c:pt idx="4523">
                  <c:v>0.30373831775700899</c:v>
                </c:pt>
                <c:pt idx="4524">
                  <c:v>0.30373831775700899</c:v>
                </c:pt>
                <c:pt idx="4525">
                  <c:v>0.30374753451676501</c:v>
                </c:pt>
                <c:pt idx="4526">
                  <c:v>0.303769401330377</c:v>
                </c:pt>
                <c:pt idx="4527">
                  <c:v>0.30377358490565998</c:v>
                </c:pt>
                <c:pt idx="4528">
                  <c:v>0.303780964797914</c:v>
                </c:pt>
                <c:pt idx="4529">
                  <c:v>0.30379746835443</c:v>
                </c:pt>
                <c:pt idx="4530">
                  <c:v>0.30379746835443</c:v>
                </c:pt>
                <c:pt idx="4531">
                  <c:v>0.30392156862745101</c:v>
                </c:pt>
                <c:pt idx="4532">
                  <c:v>0.30397727272727298</c:v>
                </c:pt>
                <c:pt idx="4533">
                  <c:v>0.30399999999999999</c:v>
                </c:pt>
                <c:pt idx="4534">
                  <c:v>0.30404624277456599</c:v>
                </c:pt>
                <c:pt idx="4535">
                  <c:v>0.30414746543778798</c:v>
                </c:pt>
                <c:pt idx="4536">
                  <c:v>0.304195804195804</c:v>
                </c:pt>
                <c:pt idx="4537">
                  <c:v>0.30422535211267598</c:v>
                </c:pt>
                <c:pt idx="4538">
                  <c:v>0.30430711610486899</c:v>
                </c:pt>
                <c:pt idx="4539">
                  <c:v>0.304323094425483</c:v>
                </c:pt>
                <c:pt idx="4540">
                  <c:v>0.30434782608695599</c:v>
                </c:pt>
                <c:pt idx="4541">
                  <c:v>0.30434782608695599</c:v>
                </c:pt>
                <c:pt idx="4542">
                  <c:v>0.30434782608695599</c:v>
                </c:pt>
                <c:pt idx="4543">
                  <c:v>0.30434782608695599</c:v>
                </c:pt>
                <c:pt idx="4544">
                  <c:v>0.30434782608695599</c:v>
                </c:pt>
                <c:pt idx="4545">
                  <c:v>0.30434782608695599</c:v>
                </c:pt>
                <c:pt idx="4546">
                  <c:v>0.30434782608695599</c:v>
                </c:pt>
                <c:pt idx="4547">
                  <c:v>0.30451127819548901</c:v>
                </c:pt>
                <c:pt idx="4548">
                  <c:v>0.30459363957597202</c:v>
                </c:pt>
                <c:pt idx="4549">
                  <c:v>0.30463576158940397</c:v>
                </c:pt>
                <c:pt idx="4550">
                  <c:v>0.3046875</c:v>
                </c:pt>
                <c:pt idx="4551">
                  <c:v>0.30487804878048802</c:v>
                </c:pt>
                <c:pt idx="4552">
                  <c:v>0.30487804878048802</c:v>
                </c:pt>
                <c:pt idx="4553">
                  <c:v>0.30489335006273499</c:v>
                </c:pt>
                <c:pt idx="4554">
                  <c:v>0.30491803278688501</c:v>
                </c:pt>
                <c:pt idx="4555">
                  <c:v>0.30502599653379497</c:v>
                </c:pt>
                <c:pt idx="4556">
                  <c:v>0.305084745762712</c:v>
                </c:pt>
                <c:pt idx="4557">
                  <c:v>0.305084745762712</c:v>
                </c:pt>
                <c:pt idx="4558">
                  <c:v>0.305084745762712</c:v>
                </c:pt>
                <c:pt idx="4559">
                  <c:v>0.305084745762712</c:v>
                </c:pt>
                <c:pt idx="4560">
                  <c:v>0.30513595166163099</c:v>
                </c:pt>
                <c:pt idx="4561">
                  <c:v>0.30519480519480502</c:v>
                </c:pt>
                <c:pt idx="4562">
                  <c:v>0.30522088353413701</c:v>
                </c:pt>
                <c:pt idx="4563">
                  <c:v>0.30525272547076299</c:v>
                </c:pt>
                <c:pt idx="4564">
                  <c:v>0.30526315789473701</c:v>
                </c:pt>
                <c:pt idx="4565">
                  <c:v>0.30526315789473701</c:v>
                </c:pt>
                <c:pt idx="4566">
                  <c:v>0.30534351145038202</c:v>
                </c:pt>
                <c:pt idx="4567">
                  <c:v>0.30534351145038202</c:v>
                </c:pt>
                <c:pt idx="4568">
                  <c:v>0.30539887187751802</c:v>
                </c:pt>
                <c:pt idx="4569">
                  <c:v>0.30547112462006099</c:v>
                </c:pt>
                <c:pt idx="4570">
                  <c:v>0.30555555555555602</c:v>
                </c:pt>
                <c:pt idx="4571">
                  <c:v>0.30555555555555602</c:v>
                </c:pt>
                <c:pt idx="4572">
                  <c:v>0.30555555555555602</c:v>
                </c:pt>
                <c:pt idx="4573">
                  <c:v>0.30563002680965101</c:v>
                </c:pt>
                <c:pt idx="4574">
                  <c:v>0.30564784053156102</c:v>
                </c:pt>
                <c:pt idx="4575">
                  <c:v>0.305660377358491</c:v>
                </c:pt>
                <c:pt idx="4576">
                  <c:v>0.30569476082004499</c:v>
                </c:pt>
                <c:pt idx="4577">
                  <c:v>0.30578512396694202</c:v>
                </c:pt>
                <c:pt idx="4578">
                  <c:v>0.30581613508442801</c:v>
                </c:pt>
                <c:pt idx="4579">
                  <c:v>0.30584707646176901</c:v>
                </c:pt>
                <c:pt idx="4580">
                  <c:v>0.30588235294117599</c:v>
                </c:pt>
                <c:pt idx="4581">
                  <c:v>0.30612244897959201</c:v>
                </c:pt>
                <c:pt idx="4582">
                  <c:v>0.30612244897959201</c:v>
                </c:pt>
                <c:pt idx="4583">
                  <c:v>0.30612244897959201</c:v>
                </c:pt>
                <c:pt idx="4584">
                  <c:v>0.30612244897959201</c:v>
                </c:pt>
                <c:pt idx="4585">
                  <c:v>0.30612244897959201</c:v>
                </c:pt>
                <c:pt idx="4586">
                  <c:v>0.30612244897959201</c:v>
                </c:pt>
                <c:pt idx="4587">
                  <c:v>0.30612244897959201</c:v>
                </c:pt>
                <c:pt idx="4588">
                  <c:v>0.306201550387597</c:v>
                </c:pt>
                <c:pt idx="4589">
                  <c:v>0.30622617534942798</c:v>
                </c:pt>
                <c:pt idx="4590">
                  <c:v>0.30625000000000002</c:v>
                </c:pt>
                <c:pt idx="4591">
                  <c:v>0.30626057529610801</c:v>
                </c:pt>
                <c:pt idx="4592">
                  <c:v>0.306291390728477</c:v>
                </c:pt>
                <c:pt idx="4593">
                  <c:v>0.30630630630630601</c:v>
                </c:pt>
                <c:pt idx="4594">
                  <c:v>0.30633802816901401</c:v>
                </c:pt>
                <c:pt idx="4595">
                  <c:v>0.30635838150289002</c:v>
                </c:pt>
                <c:pt idx="4596">
                  <c:v>0.30642023346303499</c:v>
                </c:pt>
                <c:pt idx="4597">
                  <c:v>0.30645161290322598</c:v>
                </c:pt>
                <c:pt idx="4598">
                  <c:v>0.30645161290322598</c:v>
                </c:pt>
                <c:pt idx="4599">
                  <c:v>0.30651340996168602</c:v>
                </c:pt>
                <c:pt idx="4600">
                  <c:v>0.30652503793626701</c:v>
                </c:pt>
                <c:pt idx="4601">
                  <c:v>0.30653804930332301</c:v>
                </c:pt>
                <c:pt idx="4602">
                  <c:v>0.306569343065693</c:v>
                </c:pt>
                <c:pt idx="4603">
                  <c:v>0.30660377358490598</c:v>
                </c:pt>
                <c:pt idx="4604">
                  <c:v>0.30662710187932701</c:v>
                </c:pt>
                <c:pt idx="4605">
                  <c:v>0.30664320281566199</c:v>
                </c:pt>
                <c:pt idx="4606">
                  <c:v>0.306676449009538</c:v>
                </c:pt>
                <c:pt idx="4607">
                  <c:v>0.30677290836653398</c:v>
                </c:pt>
                <c:pt idx="4608">
                  <c:v>0.30678466076696198</c:v>
                </c:pt>
                <c:pt idx="4609">
                  <c:v>0.30681818181818199</c:v>
                </c:pt>
                <c:pt idx="4610">
                  <c:v>0.30681818181818199</c:v>
                </c:pt>
                <c:pt idx="4611">
                  <c:v>0.30685920577617298</c:v>
                </c:pt>
                <c:pt idx="4612">
                  <c:v>0.30693069306930698</c:v>
                </c:pt>
                <c:pt idx="4613">
                  <c:v>0.30693069306930698</c:v>
                </c:pt>
                <c:pt idx="4614">
                  <c:v>0.30693069306930698</c:v>
                </c:pt>
                <c:pt idx="4615">
                  <c:v>0.30701754385964902</c:v>
                </c:pt>
                <c:pt idx="4616">
                  <c:v>0.30708661417322802</c:v>
                </c:pt>
                <c:pt idx="4617">
                  <c:v>0.30708661417322802</c:v>
                </c:pt>
                <c:pt idx="4618">
                  <c:v>0.307116104868914</c:v>
                </c:pt>
                <c:pt idx="4619">
                  <c:v>0.30715935334873001</c:v>
                </c:pt>
                <c:pt idx="4620">
                  <c:v>0.307246376811594</c:v>
                </c:pt>
                <c:pt idx="4621">
                  <c:v>0.30726256983240202</c:v>
                </c:pt>
                <c:pt idx="4622">
                  <c:v>0.30730730730730699</c:v>
                </c:pt>
                <c:pt idx="4623">
                  <c:v>0.30732484076433098</c:v>
                </c:pt>
                <c:pt idx="4624">
                  <c:v>0.307443365695793</c:v>
                </c:pt>
                <c:pt idx="4625">
                  <c:v>0.30745341614906802</c:v>
                </c:pt>
                <c:pt idx="4626">
                  <c:v>0.30747126436781602</c:v>
                </c:pt>
                <c:pt idx="4627">
                  <c:v>0.30758226037196001</c:v>
                </c:pt>
                <c:pt idx="4628">
                  <c:v>0.30759803921568601</c:v>
                </c:pt>
                <c:pt idx="4629">
                  <c:v>0.307624890446976</c:v>
                </c:pt>
                <c:pt idx="4630">
                  <c:v>0.30769230769230799</c:v>
                </c:pt>
                <c:pt idx="4631">
                  <c:v>0.30769230769230799</c:v>
                </c:pt>
                <c:pt idx="4632">
                  <c:v>0.30769230769230799</c:v>
                </c:pt>
                <c:pt idx="4633">
                  <c:v>0.30769230769230799</c:v>
                </c:pt>
                <c:pt idx="4634">
                  <c:v>0.30769230769230799</c:v>
                </c:pt>
                <c:pt idx="4635">
                  <c:v>0.30769230769230799</c:v>
                </c:pt>
                <c:pt idx="4636">
                  <c:v>0.30776014109347399</c:v>
                </c:pt>
                <c:pt idx="4637">
                  <c:v>0.30784313725490198</c:v>
                </c:pt>
                <c:pt idx="4638">
                  <c:v>0.307885906040268</c:v>
                </c:pt>
                <c:pt idx="4639">
                  <c:v>0.30790960451977401</c:v>
                </c:pt>
                <c:pt idx="4640">
                  <c:v>0.30791788856305002</c:v>
                </c:pt>
                <c:pt idx="4641">
                  <c:v>0.30800230282095598</c:v>
                </c:pt>
                <c:pt idx="4642">
                  <c:v>0.30805687203791499</c:v>
                </c:pt>
                <c:pt idx="4643">
                  <c:v>0.30805687203791499</c:v>
                </c:pt>
                <c:pt idx="4644">
                  <c:v>0.30813953488372098</c:v>
                </c:pt>
                <c:pt idx="4645">
                  <c:v>0.308153477218225</c:v>
                </c:pt>
                <c:pt idx="4646">
                  <c:v>0.30818965517241398</c:v>
                </c:pt>
                <c:pt idx="4647">
                  <c:v>0.30821917808219201</c:v>
                </c:pt>
                <c:pt idx="4648">
                  <c:v>0.30831099195710399</c:v>
                </c:pt>
                <c:pt idx="4649">
                  <c:v>0.30833333333333302</c:v>
                </c:pt>
                <c:pt idx="4650">
                  <c:v>0.30835117773019299</c:v>
                </c:pt>
                <c:pt idx="4651">
                  <c:v>0.308370044052863</c:v>
                </c:pt>
                <c:pt idx="4652">
                  <c:v>0.30841121495327101</c:v>
                </c:pt>
                <c:pt idx="4653">
                  <c:v>0.30844155844155802</c:v>
                </c:pt>
                <c:pt idx="4654">
                  <c:v>0.308457711442786</c:v>
                </c:pt>
                <c:pt idx="4655">
                  <c:v>0.308457711442786</c:v>
                </c:pt>
                <c:pt idx="4656">
                  <c:v>0.30847457627118602</c:v>
                </c:pt>
                <c:pt idx="4657">
                  <c:v>0.30851063829787201</c:v>
                </c:pt>
                <c:pt idx="4658">
                  <c:v>0.30853658536585399</c:v>
                </c:pt>
                <c:pt idx="4659">
                  <c:v>0.30864197530864201</c:v>
                </c:pt>
                <c:pt idx="4660">
                  <c:v>0.308681672025723</c:v>
                </c:pt>
                <c:pt idx="4661">
                  <c:v>0.30875576036866398</c:v>
                </c:pt>
                <c:pt idx="4662">
                  <c:v>0.308823529411765</c:v>
                </c:pt>
                <c:pt idx="4663">
                  <c:v>0.308823529411765</c:v>
                </c:pt>
                <c:pt idx="4664">
                  <c:v>0.30891719745222901</c:v>
                </c:pt>
                <c:pt idx="4665">
                  <c:v>0.30893782383419699</c:v>
                </c:pt>
                <c:pt idx="4666">
                  <c:v>0.30901287553648099</c:v>
                </c:pt>
                <c:pt idx="4667">
                  <c:v>0.30902111324376202</c:v>
                </c:pt>
                <c:pt idx="4668">
                  <c:v>0.30909090909090903</c:v>
                </c:pt>
                <c:pt idx="4669">
                  <c:v>0.30909090909090903</c:v>
                </c:pt>
                <c:pt idx="4670">
                  <c:v>0.30909090909090903</c:v>
                </c:pt>
                <c:pt idx="4671">
                  <c:v>0.30909090909090903</c:v>
                </c:pt>
                <c:pt idx="4672">
                  <c:v>0.309248554913295</c:v>
                </c:pt>
                <c:pt idx="4673">
                  <c:v>0.30927835051546398</c:v>
                </c:pt>
                <c:pt idx="4674">
                  <c:v>0.30935251798561098</c:v>
                </c:pt>
                <c:pt idx="4675">
                  <c:v>0.309362279511533</c:v>
                </c:pt>
                <c:pt idx="4676">
                  <c:v>0.30944206008583702</c:v>
                </c:pt>
                <c:pt idx="4677">
                  <c:v>0.30948419301164698</c:v>
                </c:pt>
                <c:pt idx="4678">
                  <c:v>0.30952380952380898</c:v>
                </c:pt>
                <c:pt idx="4679">
                  <c:v>0.30962343096234302</c:v>
                </c:pt>
                <c:pt idx="4680">
                  <c:v>0.30962343096234302</c:v>
                </c:pt>
                <c:pt idx="4681">
                  <c:v>0.30962962962962998</c:v>
                </c:pt>
                <c:pt idx="4682">
                  <c:v>0.309671694764862</c:v>
                </c:pt>
                <c:pt idx="4683">
                  <c:v>0.309677419354839</c:v>
                </c:pt>
                <c:pt idx="4684">
                  <c:v>0.309859154929577</c:v>
                </c:pt>
                <c:pt idx="4685">
                  <c:v>0.30988274706867702</c:v>
                </c:pt>
                <c:pt idx="4686">
                  <c:v>0.30994152046783602</c:v>
                </c:pt>
                <c:pt idx="4687">
                  <c:v>0.31</c:v>
                </c:pt>
                <c:pt idx="4688">
                  <c:v>0.31006711409395998</c:v>
                </c:pt>
                <c:pt idx="4689">
                  <c:v>0.31007751937984501</c:v>
                </c:pt>
                <c:pt idx="4690">
                  <c:v>0.31007751937984501</c:v>
                </c:pt>
                <c:pt idx="4691">
                  <c:v>0.310173697270471</c:v>
                </c:pt>
                <c:pt idx="4692">
                  <c:v>0.31021897810219001</c:v>
                </c:pt>
                <c:pt idx="4693">
                  <c:v>0.31025641025640999</c:v>
                </c:pt>
                <c:pt idx="4694">
                  <c:v>0.31028037383177598</c:v>
                </c:pt>
                <c:pt idx="4695">
                  <c:v>0.310283687943262</c:v>
                </c:pt>
                <c:pt idx="4696">
                  <c:v>0.31029185867895498</c:v>
                </c:pt>
                <c:pt idx="4697">
                  <c:v>0.31034482758620702</c:v>
                </c:pt>
                <c:pt idx="4698">
                  <c:v>0.31034482758620702</c:v>
                </c:pt>
                <c:pt idx="4699">
                  <c:v>0.31034482758620702</c:v>
                </c:pt>
                <c:pt idx="4700">
                  <c:v>0.31034482758620702</c:v>
                </c:pt>
                <c:pt idx="4701">
                  <c:v>0.31034482758620702</c:v>
                </c:pt>
                <c:pt idx="4702">
                  <c:v>0.31042654028436001</c:v>
                </c:pt>
                <c:pt idx="4703">
                  <c:v>0.31046931407942202</c:v>
                </c:pt>
                <c:pt idx="4704">
                  <c:v>0.31048387096774199</c:v>
                </c:pt>
                <c:pt idx="4705">
                  <c:v>0.31052631578947398</c:v>
                </c:pt>
                <c:pt idx="4706">
                  <c:v>0.31052631578947398</c:v>
                </c:pt>
                <c:pt idx="4707">
                  <c:v>0.310606060606061</c:v>
                </c:pt>
                <c:pt idx="4708">
                  <c:v>0.31063829787233999</c:v>
                </c:pt>
                <c:pt idx="4709">
                  <c:v>0.31065088757396397</c:v>
                </c:pt>
                <c:pt idx="4710">
                  <c:v>0.31067961165048502</c:v>
                </c:pt>
                <c:pt idx="4711">
                  <c:v>0.31067961165048502</c:v>
                </c:pt>
                <c:pt idx="4712">
                  <c:v>0.31067961165048502</c:v>
                </c:pt>
                <c:pt idx="4713">
                  <c:v>0.31067961165048502</c:v>
                </c:pt>
                <c:pt idx="4714">
                  <c:v>0.310691823899371</c:v>
                </c:pt>
                <c:pt idx="4715">
                  <c:v>0.31073446327683601</c:v>
                </c:pt>
                <c:pt idx="4716">
                  <c:v>0.31084656084656098</c:v>
                </c:pt>
                <c:pt idx="4717">
                  <c:v>0.31086142322097399</c:v>
                </c:pt>
                <c:pt idx="4718">
                  <c:v>0.310912834591627</c:v>
                </c:pt>
                <c:pt idx="4719">
                  <c:v>0.310924369747899</c:v>
                </c:pt>
                <c:pt idx="4720">
                  <c:v>0.310924369747899</c:v>
                </c:pt>
                <c:pt idx="4721">
                  <c:v>0.310924369747899</c:v>
                </c:pt>
                <c:pt idx="4722">
                  <c:v>0.31100478468899501</c:v>
                </c:pt>
                <c:pt idx="4723">
                  <c:v>0.311053984575835</c:v>
                </c:pt>
                <c:pt idx="4724">
                  <c:v>0.31111111111111101</c:v>
                </c:pt>
                <c:pt idx="4725">
                  <c:v>0.31111111111111101</c:v>
                </c:pt>
                <c:pt idx="4726">
                  <c:v>0.31114327062228597</c:v>
                </c:pt>
                <c:pt idx="4727">
                  <c:v>0.31115879828326198</c:v>
                </c:pt>
                <c:pt idx="4728">
                  <c:v>0.31125827814569501</c:v>
                </c:pt>
                <c:pt idx="4729">
                  <c:v>0.31125827814569501</c:v>
                </c:pt>
                <c:pt idx="4730">
                  <c:v>0.31130063965884902</c:v>
                </c:pt>
                <c:pt idx="4731">
                  <c:v>0.31132075471698101</c:v>
                </c:pt>
                <c:pt idx="4732">
                  <c:v>0.31134564643799501</c:v>
                </c:pt>
                <c:pt idx="4733">
                  <c:v>0.31137724550898199</c:v>
                </c:pt>
                <c:pt idx="4734">
                  <c:v>0.31141868512110699</c:v>
                </c:pt>
                <c:pt idx="4735">
                  <c:v>0.31147540983606598</c:v>
                </c:pt>
                <c:pt idx="4736">
                  <c:v>0.31150793650793601</c:v>
                </c:pt>
                <c:pt idx="4737">
                  <c:v>0.31153846153846099</c:v>
                </c:pt>
                <c:pt idx="4738">
                  <c:v>0.311572700296736</c:v>
                </c:pt>
                <c:pt idx="4739">
                  <c:v>0.311594202898551</c:v>
                </c:pt>
                <c:pt idx="4740">
                  <c:v>0.31160458452722101</c:v>
                </c:pt>
                <c:pt idx="4741">
                  <c:v>0.31168831168831201</c:v>
                </c:pt>
                <c:pt idx="4742">
                  <c:v>0.31172069825436399</c:v>
                </c:pt>
                <c:pt idx="4743">
                  <c:v>0.31173380035026299</c:v>
                </c:pt>
                <c:pt idx="4744">
                  <c:v>0.31188118811881199</c:v>
                </c:pt>
                <c:pt idx="4745">
                  <c:v>0.311888111888112</c:v>
                </c:pt>
                <c:pt idx="4746">
                  <c:v>0.311912225705329</c:v>
                </c:pt>
                <c:pt idx="4747">
                  <c:v>0.31192660550458701</c:v>
                </c:pt>
                <c:pt idx="4748">
                  <c:v>0.31198910081743902</c:v>
                </c:pt>
                <c:pt idx="4749">
                  <c:v>0.31202046035805597</c:v>
                </c:pt>
                <c:pt idx="4750">
                  <c:v>0.31209503239740799</c:v>
                </c:pt>
                <c:pt idx="4751">
                  <c:v>0.31210191082802502</c:v>
                </c:pt>
                <c:pt idx="4752">
                  <c:v>0.31226765799256501</c:v>
                </c:pt>
                <c:pt idx="4753">
                  <c:v>0.31228070175438599</c:v>
                </c:pt>
                <c:pt idx="4754">
                  <c:v>0.312328767123288</c:v>
                </c:pt>
                <c:pt idx="4755">
                  <c:v>0.31239388794567102</c:v>
                </c:pt>
                <c:pt idx="4756">
                  <c:v>0.31241473396998598</c:v>
                </c:pt>
                <c:pt idx="4757">
                  <c:v>0.3125</c:v>
                </c:pt>
                <c:pt idx="4758">
                  <c:v>0.3125</c:v>
                </c:pt>
                <c:pt idx="4759">
                  <c:v>0.3125</c:v>
                </c:pt>
                <c:pt idx="4760">
                  <c:v>0.3125</c:v>
                </c:pt>
                <c:pt idx="4761">
                  <c:v>0.3125</c:v>
                </c:pt>
                <c:pt idx="4762">
                  <c:v>0.31268436578171099</c:v>
                </c:pt>
                <c:pt idx="4763">
                  <c:v>0.31279620853080597</c:v>
                </c:pt>
                <c:pt idx="4764">
                  <c:v>0.31283905967450298</c:v>
                </c:pt>
                <c:pt idx="4765">
                  <c:v>0.31284916201117302</c:v>
                </c:pt>
                <c:pt idx="4766">
                  <c:v>0.31297709923664102</c:v>
                </c:pt>
                <c:pt idx="4767">
                  <c:v>0.31297709923664102</c:v>
                </c:pt>
                <c:pt idx="4768">
                  <c:v>0.31299734748010599</c:v>
                </c:pt>
                <c:pt idx="4769">
                  <c:v>0.31304347826086998</c:v>
                </c:pt>
                <c:pt idx="4770">
                  <c:v>0.31313131313131298</c:v>
                </c:pt>
                <c:pt idx="4771">
                  <c:v>0.31315240083507301</c:v>
                </c:pt>
                <c:pt idx="4772">
                  <c:v>0.313253012048193</c:v>
                </c:pt>
                <c:pt idx="4773">
                  <c:v>0.31328320802005</c:v>
                </c:pt>
                <c:pt idx="4774">
                  <c:v>0.31333333333333302</c:v>
                </c:pt>
                <c:pt idx="4775">
                  <c:v>0.31333333333333302</c:v>
                </c:pt>
                <c:pt idx="4776">
                  <c:v>0.313358302122347</c:v>
                </c:pt>
                <c:pt idx="4777">
                  <c:v>0.31338028169014098</c:v>
                </c:pt>
                <c:pt idx="4778">
                  <c:v>0.31339712918660301</c:v>
                </c:pt>
                <c:pt idx="4779">
                  <c:v>0.313444108761329</c:v>
                </c:pt>
                <c:pt idx="4780">
                  <c:v>0.31352718078381803</c:v>
                </c:pt>
                <c:pt idx="4781">
                  <c:v>0.31355932203389802</c:v>
                </c:pt>
                <c:pt idx="4782">
                  <c:v>0.313765182186235</c:v>
                </c:pt>
                <c:pt idx="4783">
                  <c:v>0.31380753138075301</c:v>
                </c:pt>
                <c:pt idx="4784">
                  <c:v>0.31381733021077302</c:v>
                </c:pt>
                <c:pt idx="4785">
                  <c:v>0.31385281385281399</c:v>
                </c:pt>
                <c:pt idx="4786">
                  <c:v>0.31391585760517798</c:v>
                </c:pt>
                <c:pt idx="4787">
                  <c:v>0.31395348837209303</c:v>
                </c:pt>
                <c:pt idx="4788">
                  <c:v>0.31399631675874801</c:v>
                </c:pt>
                <c:pt idx="4789">
                  <c:v>0.31404958677685901</c:v>
                </c:pt>
                <c:pt idx="4790">
                  <c:v>0.31404958677685901</c:v>
                </c:pt>
                <c:pt idx="4791">
                  <c:v>0.31410256410256399</c:v>
                </c:pt>
                <c:pt idx="4792">
                  <c:v>0.31412639405204501</c:v>
                </c:pt>
                <c:pt idx="4793">
                  <c:v>0.314285714285714</c:v>
                </c:pt>
                <c:pt idx="4794">
                  <c:v>0.314285714285714</c:v>
                </c:pt>
                <c:pt idx="4795">
                  <c:v>0.31434343434343398</c:v>
                </c:pt>
                <c:pt idx="4796">
                  <c:v>0.31435079726651499</c:v>
                </c:pt>
                <c:pt idx="4797">
                  <c:v>0.31438127090300999</c:v>
                </c:pt>
                <c:pt idx="4798">
                  <c:v>0.314387211367673</c:v>
                </c:pt>
                <c:pt idx="4799">
                  <c:v>0.31441048034934499</c:v>
                </c:pt>
                <c:pt idx="4800">
                  <c:v>0.31441048034934499</c:v>
                </c:pt>
                <c:pt idx="4801">
                  <c:v>0.31444241316270599</c:v>
                </c:pt>
                <c:pt idx="4802">
                  <c:v>0.314447592067989</c:v>
                </c:pt>
                <c:pt idx="4803">
                  <c:v>0.31448763250883399</c:v>
                </c:pt>
                <c:pt idx="4804">
                  <c:v>0.31451612903225801</c:v>
                </c:pt>
                <c:pt idx="4805">
                  <c:v>0.31451612903225801</c:v>
                </c:pt>
                <c:pt idx="4806">
                  <c:v>0.31455399061032902</c:v>
                </c:pt>
                <c:pt idx="4807">
                  <c:v>0.31460674157303398</c:v>
                </c:pt>
                <c:pt idx="4808">
                  <c:v>0.31465517241379298</c:v>
                </c:pt>
                <c:pt idx="4809">
                  <c:v>0.31468531468531502</c:v>
                </c:pt>
                <c:pt idx="4810">
                  <c:v>0.31474103585657398</c:v>
                </c:pt>
                <c:pt idx="4811">
                  <c:v>0.31481481481481499</c:v>
                </c:pt>
                <c:pt idx="4812">
                  <c:v>0.31481481481481499</c:v>
                </c:pt>
                <c:pt idx="4813">
                  <c:v>0.31481481481481499</c:v>
                </c:pt>
                <c:pt idx="4814">
                  <c:v>0.31483015741507903</c:v>
                </c:pt>
                <c:pt idx="4815">
                  <c:v>0.31496062992126</c:v>
                </c:pt>
                <c:pt idx="4816">
                  <c:v>0.31496062992126</c:v>
                </c:pt>
                <c:pt idx="4817">
                  <c:v>0.314982578397213</c:v>
                </c:pt>
                <c:pt idx="4818">
                  <c:v>0.31499312242090799</c:v>
                </c:pt>
                <c:pt idx="4819">
                  <c:v>0.31500646830530399</c:v>
                </c:pt>
                <c:pt idx="4820">
                  <c:v>0.315165876777251</c:v>
                </c:pt>
                <c:pt idx="4821">
                  <c:v>0.315179606025492</c:v>
                </c:pt>
                <c:pt idx="4822">
                  <c:v>0.31525423728813601</c:v>
                </c:pt>
                <c:pt idx="4823">
                  <c:v>0.31527093596059103</c:v>
                </c:pt>
                <c:pt idx="4824">
                  <c:v>0.31531531531531498</c:v>
                </c:pt>
                <c:pt idx="4825">
                  <c:v>0.31536388140161697</c:v>
                </c:pt>
                <c:pt idx="4826">
                  <c:v>0.31544715447154498</c:v>
                </c:pt>
                <c:pt idx="4827">
                  <c:v>0.31545741324921101</c:v>
                </c:pt>
                <c:pt idx="4828">
                  <c:v>0.31548480463097001</c:v>
                </c:pt>
                <c:pt idx="4829">
                  <c:v>0.31553398058252402</c:v>
                </c:pt>
                <c:pt idx="4830">
                  <c:v>0.31562252180808897</c:v>
                </c:pt>
                <c:pt idx="4831">
                  <c:v>0.31578947368421001</c:v>
                </c:pt>
                <c:pt idx="4832">
                  <c:v>0.31578947368421001</c:v>
                </c:pt>
                <c:pt idx="4833">
                  <c:v>0.31578947368421001</c:v>
                </c:pt>
                <c:pt idx="4834">
                  <c:v>0.31578947368421001</c:v>
                </c:pt>
                <c:pt idx="4835">
                  <c:v>0.31578947368421001</c:v>
                </c:pt>
                <c:pt idx="4836">
                  <c:v>0.31578947368421001</c:v>
                </c:pt>
                <c:pt idx="4837">
                  <c:v>0.31583793738489901</c:v>
                </c:pt>
                <c:pt idx="4838">
                  <c:v>0.315862068965517</c:v>
                </c:pt>
                <c:pt idx="4839">
                  <c:v>0.31596091205211702</c:v>
                </c:pt>
                <c:pt idx="4840">
                  <c:v>0.31598984771573602</c:v>
                </c:pt>
                <c:pt idx="4841">
                  <c:v>0.31600231080300401</c:v>
                </c:pt>
                <c:pt idx="4842">
                  <c:v>0.31601208459214503</c:v>
                </c:pt>
                <c:pt idx="4843">
                  <c:v>0.31601731601731597</c:v>
                </c:pt>
                <c:pt idx="4844">
                  <c:v>0.31602708803611701</c:v>
                </c:pt>
                <c:pt idx="4845">
                  <c:v>0.31603773584905698</c:v>
                </c:pt>
                <c:pt idx="4846">
                  <c:v>0.316239316239316</c:v>
                </c:pt>
                <c:pt idx="4847">
                  <c:v>0.316239316239316</c:v>
                </c:pt>
                <c:pt idx="4848">
                  <c:v>0.31630170316301698</c:v>
                </c:pt>
                <c:pt idx="4849">
                  <c:v>0.31639722863741299</c:v>
                </c:pt>
                <c:pt idx="4850">
                  <c:v>0.31640625</c:v>
                </c:pt>
                <c:pt idx="4851">
                  <c:v>0.31651376146789001</c:v>
                </c:pt>
                <c:pt idx="4852">
                  <c:v>0.31654676258992798</c:v>
                </c:pt>
                <c:pt idx="4853">
                  <c:v>0.316595744680851</c:v>
                </c:pt>
                <c:pt idx="4854">
                  <c:v>0.31662870159453299</c:v>
                </c:pt>
                <c:pt idx="4855">
                  <c:v>0.31666666666666698</c:v>
                </c:pt>
                <c:pt idx="4856">
                  <c:v>0.31671554252199402</c:v>
                </c:pt>
                <c:pt idx="4857">
                  <c:v>0.31677018633540399</c:v>
                </c:pt>
                <c:pt idx="4858">
                  <c:v>0.31677018633540399</c:v>
                </c:pt>
                <c:pt idx="4859">
                  <c:v>0.316831683168317</c:v>
                </c:pt>
                <c:pt idx="4860">
                  <c:v>0.316849816849817</c:v>
                </c:pt>
                <c:pt idx="4861">
                  <c:v>0.31687898089172001</c:v>
                </c:pt>
                <c:pt idx="4862">
                  <c:v>0.31696428571428598</c:v>
                </c:pt>
                <c:pt idx="4863">
                  <c:v>0.31696428571428598</c:v>
                </c:pt>
                <c:pt idx="4864">
                  <c:v>0.317006802721088</c:v>
                </c:pt>
                <c:pt idx="4865">
                  <c:v>0.317016317016317</c:v>
                </c:pt>
                <c:pt idx="4866">
                  <c:v>0.31707317073170699</c:v>
                </c:pt>
                <c:pt idx="4867">
                  <c:v>0.31707317073170699</c:v>
                </c:pt>
                <c:pt idx="4868">
                  <c:v>0.31707317073170699</c:v>
                </c:pt>
                <c:pt idx="4869">
                  <c:v>0.31707317073170699</c:v>
                </c:pt>
                <c:pt idx="4870">
                  <c:v>0.31707317073170699</c:v>
                </c:pt>
                <c:pt idx="4871">
                  <c:v>0.31707317073170699</c:v>
                </c:pt>
                <c:pt idx="4872">
                  <c:v>0.31718061674008802</c:v>
                </c:pt>
                <c:pt idx="4873">
                  <c:v>0.31720430107526898</c:v>
                </c:pt>
                <c:pt idx="4874">
                  <c:v>0.31724137931034502</c:v>
                </c:pt>
                <c:pt idx="4875">
                  <c:v>0.31727574750830601</c:v>
                </c:pt>
                <c:pt idx="4876">
                  <c:v>0.31730769230769201</c:v>
                </c:pt>
                <c:pt idx="4877">
                  <c:v>0.31734317343173402</c:v>
                </c:pt>
                <c:pt idx="4878">
                  <c:v>0.31736526946107801</c:v>
                </c:pt>
                <c:pt idx="4879">
                  <c:v>0.31740196078431399</c:v>
                </c:pt>
                <c:pt idx="4880">
                  <c:v>0.317460317460317</c:v>
                </c:pt>
                <c:pt idx="4881">
                  <c:v>0.31758034026464999</c:v>
                </c:pt>
                <c:pt idx="4882">
                  <c:v>0.31758530183727002</c:v>
                </c:pt>
                <c:pt idx="4883">
                  <c:v>0.317647058823529</c:v>
                </c:pt>
                <c:pt idx="4884">
                  <c:v>0.317660550458716</c:v>
                </c:pt>
                <c:pt idx="4885">
                  <c:v>0.31766381766381802</c:v>
                </c:pt>
                <c:pt idx="4886">
                  <c:v>0.31775700934579398</c:v>
                </c:pt>
                <c:pt idx="4887">
                  <c:v>0.31782945736434098</c:v>
                </c:pt>
                <c:pt idx="4888">
                  <c:v>0.317836010143702</c:v>
                </c:pt>
                <c:pt idx="4889">
                  <c:v>0.31788079470198699</c:v>
                </c:pt>
                <c:pt idx="4890">
                  <c:v>0.31794871794871798</c:v>
                </c:pt>
                <c:pt idx="4891">
                  <c:v>0.31797235023041498</c:v>
                </c:pt>
                <c:pt idx="4892">
                  <c:v>0.31798051372896402</c:v>
                </c:pt>
                <c:pt idx="4893">
                  <c:v>0.31800766283524901</c:v>
                </c:pt>
                <c:pt idx="4894">
                  <c:v>0.31805157593123201</c:v>
                </c:pt>
                <c:pt idx="4895">
                  <c:v>0.31808278867102402</c:v>
                </c:pt>
                <c:pt idx="4896">
                  <c:v>0.31818181818181801</c:v>
                </c:pt>
                <c:pt idx="4897">
                  <c:v>0.31818181818181801</c:v>
                </c:pt>
                <c:pt idx="4898">
                  <c:v>0.31818181818181801</c:v>
                </c:pt>
                <c:pt idx="4899">
                  <c:v>0.31826741996233499</c:v>
                </c:pt>
                <c:pt idx="4900">
                  <c:v>0.318385650224215</c:v>
                </c:pt>
                <c:pt idx="4901">
                  <c:v>0.31843575418994402</c:v>
                </c:pt>
                <c:pt idx="4902">
                  <c:v>0.31847133757961799</c:v>
                </c:pt>
                <c:pt idx="4903">
                  <c:v>0.31847133757961799</c:v>
                </c:pt>
                <c:pt idx="4904">
                  <c:v>0.31851253031527899</c:v>
                </c:pt>
                <c:pt idx="4905">
                  <c:v>0.31854838709677402</c:v>
                </c:pt>
                <c:pt idx="4906">
                  <c:v>0.31858407079646001</c:v>
                </c:pt>
                <c:pt idx="4907">
                  <c:v>0.31858407079646001</c:v>
                </c:pt>
                <c:pt idx="4908">
                  <c:v>0.31867057673509303</c:v>
                </c:pt>
                <c:pt idx="4909">
                  <c:v>0.31868131868131899</c:v>
                </c:pt>
                <c:pt idx="4910">
                  <c:v>0.31884057971014501</c:v>
                </c:pt>
                <c:pt idx="4911">
                  <c:v>0.31884057971014501</c:v>
                </c:pt>
                <c:pt idx="4912">
                  <c:v>0.31884057971014501</c:v>
                </c:pt>
                <c:pt idx="4913">
                  <c:v>0.318883174136664</c:v>
                </c:pt>
                <c:pt idx="4914">
                  <c:v>0.31890331890331902</c:v>
                </c:pt>
                <c:pt idx="4915">
                  <c:v>0.31907308377896598</c:v>
                </c:pt>
                <c:pt idx="4916">
                  <c:v>0.31907894736842102</c:v>
                </c:pt>
                <c:pt idx="4917">
                  <c:v>0.319148936170213</c:v>
                </c:pt>
                <c:pt idx="4918">
                  <c:v>0.319148936170213</c:v>
                </c:pt>
                <c:pt idx="4919">
                  <c:v>0.31923076923076898</c:v>
                </c:pt>
                <c:pt idx="4920">
                  <c:v>0.31924882629107998</c:v>
                </c:pt>
                <c:pt idx="4921">
                  <c:v>0.31927710843373502</c:v>
                </c:pt>
                <c:pt idx="4922">
                  <c:v>0.31927710843373502</c:v>
                </c:pt>
                <c:pt idx="4923">
                  <c:v>0.31929046563192898</c:v>
                </c:pt>
                <c:pt idx="4924">
                  <c:v>0.31935483870967701</c:v>
                </c:pt>
                <c:pt idx="4925">
                  <c:v>0.31937172774869099</c:v>
                </c:pt>
                <c:pt idx="4926">
                  <c:v>0.31951770911831201</c:v>
                </c:pt>
                <c:pt idx="4927">
                  <c:v>0.31952662721893499</c:v>
                </c:pt>
                <c:pt idx="4928">
                  <c:v>0.31956155143338899</c:v>
                </c:pt>
                <c:pt idx="4929">
                  <c:v>0.31960461285008201</c:v>
                </c:pt>
                <c:pt idx="4930">
                  <c:v>0.31962397179788499</c:v>
                </c:pt>
                <c:pt idx="4931">
                  <c:v>0.31963249516441</c:v>
                </c:pt>
                <c:pt idx="4932">
                  <c:v>0.31969309462915602</c:v>
                </c:pt>
                <c:pt idx="4933">
                  <c:v>0.31969309462915602</c:v>
                </c:pt>
                <c:pt idx="4934">
                  <c:v>0.31974248927038601</c:v>
                </c:pt>
                <c:pt idx="4935">
                  <c:v>0.31975308641975297</c:v>
                </c:pt>
                <c:pt idx="4936">
                  <c:v>0.31981981981981999</c:v>
                </c:pt>
                <c:pt idx="4937">
                  <c:v>0.319899244332494</c:v>
                </c:pt>
                <c:pt idx="4938">
                  <c:v>0.31997030438010399</c:v>
                </c:pt>
                <c:pt idx="4939">
                  <c:v>0.32</c:v>
                </c:pt>
                <c:pt idx="4940">
                  <c:v>0.32</c:v>
                </c:pt>
                <c:pt idx="4941">
                  <c:v>0.32</c:v>
                </c:pt>
                <c:pt idx="4942">
                  <c:v>0.32</c:v>
                </c:pt>
                <c:pt idx="4943">
                  <c:v>0.32009345794392502</c:v>
                </c:pt>
                <c:pt idx="4944">
                  <c:v>0.32016460905349797</c:v>
                </c:pt>
                <c:pt idx="4945">
                  <c:v>0.32019704433497498</c:v>
                </c:pt>
                <c:pt idx="4946">
                  <c:v>0.32020997375328097</c:v>
                </c:pt>
                <c:pt idx="4947">
                  <c:v>0.32023121387283199</c:v>
                </c:pt>
                <c:pt idx="4948">
                  <c:v>0.32029339853300698</c:v>
                </c:pt>
                <c:pt idx="4949">
                  <c:v>0.32044198895027598</c:v>
                </c:pt>
                <c:pt idx="4950">
                  <c:v>0.32046332046331999</c:v>
                </c:pt>
                <c:pt idx="4951">
                  <c:v>0.32051282051281998</c:v>
                </c:pt>
                <c:pt idx="4952">
                  <c:v>0.32054176072234802</c:v>
                </c:pt>
                <c:pt idx="4953">
                  <c:v>0.32055749128919903</c:v>
                </c:pt>
                <c:pt idx="4954">
                  <c:v>0.32063492063492099</c:v>
                </c:pt>
                <c:pt idx="4955">
                  <c:v>0.320754716981132</c:v>
                </c:pt>
                <c:pt idx="4956">
                  <c:v>0.32079112397491599</c:v>
                </c:pt>
                <c:pt idx="4957">
                  <c:v>0.32079646017699098</c:v>
                </c:pt>
                <c:pt idx="4958">
                  <c:v>0.32081594807603098</c:v>
                </c:pt>
                <c:pt idx="4959">
                  <c:v>0.32085561497326198</c:v>
                </c:pt>
                <c:pt idx="4960">
                  <c:v>0.32087912087912102</c:v>
                </c:pt>
                <c:pt idx="4961">
                  <c:v>0.32087912087912102</c:v>
                </c:pt>
                <c:pt idx="4962">
                  <c:v>0.32089552238806002</c:v>
                </c:pt>
                <c:pt idx="4963">
                  <c:v>0.32092198581560299</c:v>
                </c:pt>
                <c:pt idx="4964">
                  <c:v>0.32097457627118597</c:v>
                </c:pt>
                <c:pt idx="4965">
                  <c:v>0.32105263157894698</c:v>
                </c:pt>
                <c:pt idx="4966">
                  <c:v>0.32110091743119301</c:v>
                </c:pt>
                <c:pt idx="4967">
                  <c:v>0.32112068965517199</c:v>
                </c:pt>
                <c:pt idx="4968">
                  <c:v>0.32114467408585101</c:v>
                </c:pt>
                <c:pt idx="4969">
                  <c:v>0.32126696832579199</c:v>
                </c:pt>
                <c:pt idx="4970">
                  <c:v>0.32127659574468098</c:v>
                </c:pt>
                <c:pt idx="4971">
                  <c:v>0.32127882599580698</c:v>
                </c:pt>
                <c:pt idx="4972">
                  <c:v>0.32134292565947198</c:v>
                </c:pt>
                <c:pt idx="4973">
                  <c:v>0.32142857142857101</c:v>
                </c:pt>
                <c:pt idx="4974">
                  <c:v>0.321483771251932</c:v>
                </c:pt>
                <c:pt idx="4975">
                  <c:v>0.32149901380670598</c:v>
                </c:pt>
                <c:pt idx="4976">
                  <c:v>0.32154340836012901</c:v>
                </c:pt>
                <c:pt idx="4977">
                  <c:v>0.32158015017956199</c:v>
                </c:pt>
                <c:pt idx="4978">
                  <c:v>0.321637426900585</c:v>
                </c:pt>
                <c:pt idx="4979">
                  <c:v>0.321705426356589</c:v>
                </c:pt>
                <c:pt idx="4980">
                  <c:v>0.32173913043478303</c:v>
                </c:pt>
                <c:pt idx="4981">
                  <c:v>0.32183908045977</c:v>
                </c:pt>
                <c:pt idx="4982">
                  <c:v>0.32183908045977</c:v>
                </c:pt>
                <c:pt idx="4983">
                  <c:v>0.32185886402753899</c:v>
                </c:pt>
                <c:pt idx="4984">
                  <c:v>0.32194616977225698</c:v>
                </c:pt>
                <c:pt idx="4985">
                  <c:v>0.32195121951219502</c:v>
                </c:pt>
                <c:pt idx="4986">
                  <c:v>0.322033898305085</c:v>
                </c:pt>
                <c:pt idx="4987">
                  <c:v>0.322033898305085</c:v>
                </c:pt>
                <c:pt idx="4988">
                  <c:v>0.322147651006711</c:v>
                </c:pt>
                <c:pt idx="4989">
                  <c:v>0.322147651006711</c:v>
                </c:pt>
                <c:pt idx="4990">
                  <c:v>0.32216748768472903</c:v>
                </c:pt>
                <c:pt idx="4991">
                  <c:v>0.322204968944099</c:v>
                </c:pt>
                <c:pt idx="4992">
                  <c:v>0.32228915662650598</c:v>
                </c:pt>
                <c:pt idx="4993">
                  <c:v>0.32230847114411099</c:v>
                </c:pt>
                <c:pt idx="4994">
                  <c:v>0.32240437158469898</c:v>
                </c:pt>
                <c:pt idx="4995">
                  <c:v>0.32240437158469898</c:v>
                </c:pt>
                <c:pt idx="4996">
                  <c:v>0.32244710211591499</c:v>
                </c:pt>
                <c:pt idx="4997">
                  <c:v>0.32253521126760598</c:v>
                </c:pt>
                <c:pt idx="4998">
                  <c:v>0.32258064516128998</c:v>
                </c:pt>
                <c:pt idx="4999">
                  <c:v>0.32263242375601903</c:v>
                </c:pt>
                <c:pt idx="5000">
                  <c:v>0.32264529058116198</c:v>
                </c:pt>
                <c:pt idx="5001">
                  <c:v>0.322758620689655</c:v>
                </c:pt>
                <c:pt idx="5002">
                  <c:v>0.322784810126582</c:v>
                </c:pt>
                <c:pt idx="5003">
                  <c:v>0.32288828337874698</c:v>
                </c:pt>
                <c:pt idx="5004">
                  <c:v>0.32293986636971</c:v>
                </c:pt>
                <c:pt idx="5005">
                  <c:v>0.32295719844358001</c:v>
                </c:pt>
                <c:pt idx="5006">
                  <c:v>0.32299270072992697</c:v>
                </c:pt>
                <c:pt idx="5007">
                  <c:v>0.323024054982818</c:v>
                </c:pt>
                <c:pt idx="5008">
                  <c:v>0.323044172432145</c:v>
                </c:pt>
                <c:pt idx="5009">
                  <c:v>0.32304526748971202</c:v>
                </c:pt>
                <c:pt idx="5010">
                  <c:v>0.32307692307692298</c:v>
                </c:pt>
                <c:pt idx="5011">
                  <c:v>0.32311320754716999</c:v>
                </c:pt>
                <c:pt idx="5012">
                  <c:v>0.323155216284987</c:v>
                </c:pt>
                <c:pt idx="5013">
                  <c:v>0.32317073170731703</c:v>
                </c:pt>
                <c:pt idx="5014">
                  <c:v>0.32319391634980998</c:v>
                </c:pt>
                <c:pt idx="5015">
                  <c:v>0.32319391634980998</c:v>
                </c:pt>
                <c:pt idx="5016">
                  <c:v>0.32319391634980998</c:v>
                </c:pt>
                <c:pt idx="5017">
                  <c:v>0.32320717131474103</c:v>
                </c:pt>
                <c:pt idx="5018">
                  <c:v>0.32323232323232298</c:v>
                </c:pt>
                <c:pt idx="5019">
                  <c:v>0.323240589198036</c:v>
                </c:pt>
                <c:pt idx="5020">
                  <c:v>0.323262839879154</c:v>
                </c:pt>
                <c:pt idx="5021">
                  <c:v>0.32327586206896503</c:v>
                </c:pt>
                <c:pt idx="5022">
                  <c:v>0.32339449541284399</c:v>
                </c:pt>
                <c:pt idx="5023">
                  <c:v>0.32339791356184799</c:v>
                </c:pt>
                <c:pt idx="5024">
                  <c:v>0.32352941176470601</c:v>
                </c:pt>
                <c:pt idx="5025">
                  <c:v>0.32352941176470601</c:v>
                </c:pt>
                <c:pt idx="5026">
                  <c:v>0.32352941176470601</c:v>
                </c:pt>
                <c:pt idx="5027">
                  <c:v>0.32365145228215803</c:v>
                </c:pt>
                <c:pt idx="5028">
                  <c:v>0.32365145228215803</c:v>
                </c:pt>
                <c:pt idx="5029">
                  <c:v>0.32365145228215803</c:v>
                </c:pt>
                <c:pt idx="5030">
                  <c:v>0.32374100719424498</c:v>
                </c:pt>
                <c:pt idx="5031">
                  <c:v>0.32380952380952399</c:v>
                </c:pt>
                <c:pt idx="5032">
                  <c:v>0.32387706855791998</c:v>
                </c:pt>
                <c:pt idx="5033">
                  <c:v>0.323943661971831</c:v>
                </c:pt>
                <c:pt idx="5034">
                  <c:v>0.32400000000000001</c:v>
                </c:pt>
                <c:pt idx="5035">
                  <c:v>0.32407407407407401</c:v>
                </c:pt>
                <c:pt idx="5036">
                  <c:v>0.32407407407407401</c:v>
                </c:pt>
                <c:pt idx="5037">
                  <c:v>0.32407407407407401</c:v>
                </c:pt>
                <c:pt idx="5038">
                  <c:v>0.32411067193675902</c:v>
                </c:pt>
                <c:pt idx="5039">
                  <c:v>0.32413793103448302</c:v>
                </c:pt>
                <c:pt idx="5040">
                  <c:v>0.324200913242009</c:v>
                </c:pt>
                <c:pt idx="5041">
                  <c:v>0.32432432432432401</c:v>
                </c:pt>
                <c:pt idx="5042">
                  <c:v>0.32432432432432401</c:v>
                </c:pt>
                <c:pt idx="5043">
                  <c:v>0.32432432432432401</c:v>
                </c:pt>
                <c:pt idx="5044">
                  <c:v>0.32445520581113801</c:v>
                </c:pt>
                <c:pt idx="5045">
                  <c:v>0.32450980392156897</c:v>
                </c:pt>
                <c:pt idx="5046">
                  <c:v>0.32458233890214799</c:v>
                </c:pt>
                <c:pt idx="5047">
                  <c:v>0.324607329842932</c:v>
                </c:pt>
                <c:pt idx="5048">
                  <c:v>0.32467532467532501</c:v>
                </c:pt>
                <c:pt idx="5049">
                  <c:v>0.32467532467532501</c:v>
                </c:pt>
                <c:pt idx="5050">
                  <c:v>0.32469512195121902</c:v>
                </c:pt>
                <c:pt idx="5051">
                  <c:v>0.32470784641068401</c:v>
                </c:pt>
                <c:pt idx="5052">
                  <c:v>0.32472324723247198</c:v>
                </c:pt>
                <c:pt idx="5053">
                  <c:v>0.32474226804123701</c:v>
                </c:pt>
                <c:pt idx="5054">
                  <c:v>0.324909747292419</c:v>
                </c:pt>
                <c:pt idx="5055">
                  <c:v>0.32500000000000001</c:v>
                </c:pt>
                <c:pt idx="5056">
                  <c:v>0.32500000000000001</c:v>
                </c:pt>
                <c:pt idx="5057">
                  <c:v>0.32504780114722698</c:v>
                </c:pt>
                <c:pt idx="5058">
                  <c:v>0.32507739938080499</c:v>
                </c:pt>
                <c:pt idx="5059">
                  <c:v>0.32517482517482499</c:v>
                </c:pt>
                <c:pt idx="5060">
                  <c:v>0.32518796992481203</c:v>
                </c:pt>
                <c:pt idx="5061">
                  <c:v>0.32520325203251998</c:v>
                </c:pt>
                <c:pt idx="5062">
                  <c:v>0.32522123893805299</c:v>
                </c:pt>
                <c:pt idx="5063">
                  <c:v>0.32524271844660202</c:v>
                </c:pt>
                <c:pt idx="5064">
                  <c:v>0.32534246575342501</c:v>
                </c:pt>
                <c:pt idx="5065">
                  <c:v>0.32549420586230399</c:v>
                </c:pt>
                <c:pt idx="5066">
                  <c:v>0.32550103662750501</c:v>
                </c:pt>
                <c:pt idx="5067">
                  <c:v>0.32550335570469802</c:v>
                </c:pt>
                <c:pt idx="5068">
                  <c:v>0.32550335570469802</c:v>
                </c:pt>
                <c:pt idx="5069">
                  <c:v>0.32552248258391397</c:v>
                </c:pt>
                <c:pt idx="5070">
                  <c:v>0.32558139534883701</c:v>
                </c:pt>
                <c:pt idx="5071">
                  <c:v>0.32558139534883701</c:v>
                </c:pt>
                <c:pt idx="5072">
                  <c:v>0.32567049808429099</c:v>
                </c:pt>
                <c:pt idx="5073">
                  <c:v>0.325706594885599</c:v>
                </c:pt>
                <c:pt idx="5074">
                  <c:v>0.32571428571428601</c:v>
                </c:pt>
                <c:pt idx="5075">
                  <c:v>0.325732899022801</c:v>
                </c:pt>
                <c:pt idx="5076">
                  <c:v>0.32575757575757602</c:v>
                </c:pt>
                <c:pt idx="5077">
                  <c:v>0.32575757575757602</c:v>
                </c:pt>
                <c:pt idx="5078">
                  <c:v>0.32575757575757602</c:v>
                </c:pt>
                <c:pt idx="5079">
                  <c:v>0.32579787234042501</c:v>
                </c:pt>
                <c:pt idx="5080">
                  <c:v>0.32580037664783401</c:v>
                </c:pt>
                <c:pt idx="5081">
                  <c:v>0.325842696629213</c:v>
                </c:pt>
                <c:pt idx="5082">
                  <c:v>0.325966850828729</c:v>
                </c:pt>
                <c:pt idx="5083">
                  <c:v>0.32599118942731298</c:v>
                </c:pt>
                <c:pt idx="5084">
                  <c:v>0.32608695652173902</c:v>
                </c:pt>
                <c:pt idx="5085">
                  <c:v>0.32608695652173902</c:v>
                </c:pt>
                <c:pt idx="5086">
                  <c:v>0.32608695652173902</c:v>
                </c:pt>
                <c:pt idx="5087">
                  <c:v>0.32616487455197102</c:v>
                </c:pt>
                <c:pt idx="5088">
                  <c:v>0.32620817843866201</c:v>
                </c:pt>
                <c:pt idx="5089">
                  <c:v>0.32624113475177302</c:v>
                </c:pt>
                <c:pt idx="5090">
                  <c:v>0.326315789473684</c:v>
                </c:pt>
                <c:pt idx="5091">
                  <c:v>0.326315789473684</c:v>
                </c:pt>
                <c:pt idx="5092">
                  <c:v>0.326340326340326</c:v>
                </c:pt>
                <c:pt idx="5093">
                  <c:v>0.32634607480476802</c:v>
                </c:pt>
                <c:pt idx="5094">
                  <c:v>0.32635253054101199</c:v>
                </c:pt>
                <c:pt idx="5095">
                  <c:v>0.32647058823529401</c:v>
                </c:pt>
                <c:pt idx="5096">
                  <c:v>0.32649253731343297</c:v>
                </c:pt>
                <c:pt idx="5097">
                  <c:v>0.32651391162029503</c:v>
                </c:pt>
                <c:pt idx="5098">
                  <c:v>0.326599326599327</c:v>
                </c:pt>
                <c:pt idx="5099">
                  <c:v>0.32669322709163301</c:v>
                </c:pt>
                <c:pt idx="5100">
                  <c:v>0.32680538555691502</c:v>
                </c:pt>
                <c:pt idx="5101">
                  <c:v>0.32684824902723703</c:v>
                </c:pt>
                <c:pt idx="5102">
                  <c:v>0.32689450222882599</c:v>
                </c:pt>
                <c:pt idx="5103">
                  <c:v>0.32691278758694498</c:v>
                </c:pt>
                <c:pt idx="5104">
                  <c:v>0.32696390658174102</c:v>
                </c:pt>
                <c:pt idx="5105">
                  <c:v>0.32699619771863098</c:v>
                </c:pt>
                <c:pt idx="5106">
                  <c:v>0.32700421940928298</c:v>
                </c:pt>
                <c:pt idx="5107">
                  <c:v>0.32704402515723302</c:v>
                </c:pt>
                <c:pt idx="5108">
                  <c:v>0.327049952874647</c:v>
                </c:pt>
                <c:pt idx="5109">
                  <c:v>0.32710280373831802</c:v>
                </c:pt>
                <c:pt idx="5110">
                  <c:v>0.32713754646840099</c:v>
                </c:pt>
                <c:pt idx="5111">
                  <c:v>0.32720588235294101</c:v>
                </c:pt>
                <c:pt idx="5112">
                  <c:v>0.32722513089005201</c:v>
                </c:pt>
                <c:pt idx="5113">
                  <c:v>0.32727272727272699</c:v>
                </c:pt>
                <c:pt idx="5114">
                  <c:v>0.327327327327327</c:v>
                </c:pt>
                <c:pt idx="5115">
                  <c:v>0.32737030411448997</c:v>
                </c:pt>
                <c:pt idx="5116">
                  <c:v>0.32741116751269</c:v>
                </c:pt>
                <c:pt idx="5117">
                  <c:v>0.32743362831858402</c:v>
                </c:pt>
                <c:pt idx="5118">
                  <c:v>0.32750000000000001</c:v>
                </c:pt>
                <c:pt idx="5119">
                  <c:v>0.32753449310138</c:v>
                </c:pt>
                <c:pt idx="5120">
                  <c:v>0.32756866734486301</c:v>
                </c:pt>
                <c:pt idx="5121">
                  <c:v>0.32758620689655199</c:v>
                </c:pt>
                <c:pt idx="5122">
                  <c:v>0.327777777777778</c:v>
                </c:pt>
                <c:pt idx="5123">
                  <c:v>0.327790973871734</c:v>
                </c:pt>
                <c:pt idx="5124">
                  <c:v>0.32786885245901598</c:v>
                </c:pt>
                <c:pt idx="5125">
                  <c:v>0.32786885245901598</c:v>
                </c:pt>
                <c:pt idx="5126">
                  <c:v>0.32786885245901598</c:v>
                </c:pt>
                <c:pt idx="5127">
                  <c:v>0.32790224032586601</c:v>
                </c:pt>
                <c:pt idx="5128">
                  <c:v>0.32790445168295301</c:v>
                </c:pt>
                <c:pt idx="5129">
                  <c:v>0.32802013422818799</c:v>
                </c:pt>
                <c:pt idx="5130">
                  <c:v>0.32811711256940901</c:v>
                </c:pt>
                <c:pt idx="5131">
                  <c:v>0.328125</c:v>
                </c:pt>
                <c:pt idx="5132">
                  <c:v>0.328125</c:v>
                </c:pt>
                <c:pt idx="5133">
                  <c:v>0.32824427480916002</c:v>
                </c:pt>
                <c:pt idx="5134">
                  <c:v>0.32825719120135399</c:v>
                </c:pt>
                <c:pt idx="5135">
                  <c:v>0.32828282828282801</c:v>
                </c:pt>
                <c:pt idx="5136">
                  <c:v>0.32832080200501201</c:v>
                </c:pt>
                <c:pt idx="5137">
                  <c:v>0.328402366863905</c:v>
                </c:pt>
                <c:pt idx="5138">
                  <c:v>0.328449328449328</c:v>
                </c:pt>
                <c:pt idx="5139">
                  <c:v>0.32851985559566799</c:v>
                </c:pt>
                <c:pt idx="5140">
                  <c:v>0.32862644415917802</c:v>
                </c:pt>
                <c:pt idx="5141">
                  <c:v>0.32867132867132898</c:v>
                </c:pt>
                <c:pt idx="5142">
                  <c:v>0.328703703703704</c:v>
                </c:pt>
                <c:pt idx="5143">
                  <c:v>0.32890575585072701</c:v>
                </c:pt>
                <c:pt idx="5144">
                  <c:v>0.32891832229580598</c:v>
                </c:pt>
                <c:pt idx="5145">
                  <c:v>0.32892416225749599</c:v>
                </c:pt>
                <c:pt idx="5146">
                  <c:v>0.329113924050633</c:v>
                </c:pt>
                <c:pt idx="5147">
                  <c:v>0.32933104631217802</c:v>
                </c:pt>
                <c:pt idx="5148">
                  <c:v>0.32936507936507903</c:v>
                </c:pt>
                <c:pt idx="5149">
                  <c:v>0.32936507936507903</c:v>
                </c:pt>
                <c:pt idx="5150">
                  <c:v>0.32954545454545398</c:v>
                </c:pt>
                <c:pt idx="5151">
                  <c:v>0.32958199356913198</c:v>
                </c:pt>
                <c:pt idx="5152">
                  <c:v>0.32972972972973003</c:v>
                </c:pt>
                <c:pt idx="5153">
                  <c:v>0.329787234042553</c:v>
                </c:pt>
                <c:pt idx="5154">
                  <c:v>0.32981530343007898</c:v>
                </c:pt>
                <c:pt idx="5155">
                  <c:v>0.32981651376146798</c:v>
                </c:pt>
                <c:pt idx="5156">
                  <c:v>0.32991452991453002</c:v>
                </c:pt>
                <c:pt idx="5157">
                  <c:v>0.32993197278911601</c:v>
                </c:pt>
                <c:pt idx="5158">
                  <c:v>0.329936305732484</c:v>
                </c:pt>
                <c:pt idx="5159">
                  <c:v>0.33</c:v>
                </c:pt>
                <c:pt idx="5160">
                  <c:v>0.33</c:v>
                </c:pt>
                <c:pt idx="5161">
                  <c:v>0.33015267175572499</c:v>
                </c:pt>
                <c:pt idx="5162">
                  <c:v>0.33018056749785002</c:v>
                </c:pt>
                <c:pt idx="5163">
                  <c:v>0.330188679245283</c:v>
                </c:pt>
                <c:pt idx="5164">
                  <c:v>0.330188679245283</c:v>
                </c:pt>
                <c:pt idx="5165">
                  <c:v>0.33023975251353399</c:v>
                </c:pt>
                <c:pt idx="5166">
                  <c:v>0.33030852994555299</c:v>
                </c:pt>
                <c:pt idx="5167">
                  <c:v>0.33033419023136201</c:v>
                </c:pt>
                <c:pt idx="5168">
                  <c:v>0.33040421792618602</c:v>
                </c:pt>
                <c:pt idx="5169">
                  <c:v>0.33041848844472199</c:v>
                </c:pt>
                <c:pt idx="5170">
                  <c:v>0.33049040511727101</c:v>
                </c:pt>
                <c:pt idx="5171">
                  <c:v>0.33053691275167801</c:v>
                </c:pt>
                <c:pt idx="5172">
                  <c:v>0.330578512396694</c:v>
                </c:pt>
                <c:pt idx="5173">
                  <c:v>0.330578512396694</c:v>
                </c:pt>
                <c:pt idx="5174">
                  <c:v>0.33060109289617501</c:v>
                </c:pt>
                <c:pt idx="5175">
                  <c:v>0.33061224489795898</c:v>
                </c:pt>
                <c:pt idx="5176">
                  <c:v>0.33064516129032301</c:v>
                </c:pt>
                <c:pt idx="5177">
                  <c:v>0.33069306930693099</c:v>
                </c:pt>
                <c:pt idx="5178">
                  <c:v>0.33076923076923098</c:v>
                </c:pt>
                <c:pt idx="5179">
                  <c:v>0.33076923076923098</c:v>
                </c:pt>
                <c:pt idx="5180">
                  <c:v>0.33077292366778699</c:v>
                </c:pt>
                <c:pt idx="5181">
                  <c:v>0.33079847908745202</c:v>
                </c:pt>
                <c:pt idx="5182">
                  <c:v>0.33080424886191201</c:v>
                </c:pt>
                <c:pt idx="5183">
                  <c:v>0.33082706766917302</c:v>
                </c:pt>
                <c:pt idx="5184">
                  <c:v>0.33088235294117602</c:v>
                </c:pt>
                <c:pt idx="5185">
                  <c:v>0.33103448275862102</c:v>
                </c:pt>
                <c:pt idx="5186">
                  <c:v>0.33108108108108097</c:v>
                </c:pt>
                <c:pt idx="5187">
                  <c:v>0.33108108108108097</c:v>
                </c:pt>
                <c:pt idx="5188">
                  <c:v>0.33124999999999999</c:v>
                </c:pt>
                <c:pt idx="5189">
                  <c:v>0.33126934984520101</c:v>
                </c:pt>
                <c:pt idx="5190">
                  <c:v>0.33126934984520101</c:v>
                </c:pt>
                <c:pt idx="5191">
                  <c:v>0.331395348837209</c:v>
                </c:pt>
                <c:pt idx="5192">
                  <c:v>0.33144796380090502</c:v>
                </c:pt>
                <c:pt idx="5193">
                  <c:v>0.33149171270718197</c:v>
                </c:pt>
                <c:pt idx="5194">
                  <c:v>0.33152664859981901</c:v>
                </c:pt>
                <c:pt idx="5195">
                  <c:v>0.33160621761657999</c:v>
                </c:pt>
                <c:pt idx="5196">
                  <c:v>0.33163265306122403</c:v>
                </c:pt>
                <c:pt idx="5197">
                  <c:v>0.33165829145728598</c:v>
                </c:pt>
                <c:pt idx="5198">
                  <c:v>0.33165829145728598</c:v>
                </c:pt>
                <c:pt idx="5199">
                  <c:v>0.33167701863353999</c:v>
                </c:pt>
                <c:pt idx="5200">
                  <c:v>0.33169129720853902</c:v>
                </c:pt>
                <c:pt idx="5201">
                  <c:v>0.33177570093457898</c:v>
                </c:pt>
                <c:pt idx="5202">
                  <c:v>0.33193277310924402</c:v>
                </c:pt>
                <c:pt idx="5203">
                  <c:v>0.33195020746887999</c:v>
                </c:pt>
                <c:pt idx="5204">
                  <c:v>0.33201581027667998</c:v>
                </c:pt>
                <c:pt idx="5205">
                  <c:v>0.33209785025945099</c:v>
                </c:pt>
                <c:pt idx="5206">
                  <c:v>0.33211678832116798</c:v>
                </c:pt>
                <c:pt idx="5207">
                  <c:v>0.33224755700325698</c:v>
                </c:pt>
                <c:pt idx="5208">
                  <c:v>0.33233532934131699</c:v>
                </c:pt>
                <c:pt idx="5209">
                  <c:v>0.33242134062927498</c:v>
                </c:pt>
                <c:pt idx="5210">
                  <c:v>0.33253012048192798</c:v>
                </c:pt>
                <c:pt idx="5211">
                  <c:v>0.33253012048192798</c:v>
                </c:pt>
                <c:pt idx="5212">
                  <c:v>0.33253588516746402</c:v>
                </c:pt>
                <c:pt idx="5213">
                  <c:v>0.33273056057866202</c:v>
                </c:pt>
                <c:pt idx="5214">
                  <c:v>0.332761578044597</c:v>
                </c:pt>
                <c:pt idx="5215">
                  <c:v>0.33278418451400299</c:v>
                </c:pt>
                <c:pt idx="5216">
                  <c:v>0.33281493001555201</c:v>
                </c:pt>
                <c:pt idx="5217">
                  <c:v>0.333001988071571</c:v>
                </c:pt>
                <c:pt idx="5218">
                  <c:v>0.33302836230558103</c:v>
                </c:pt>
                <c:pt idx="5219">
                  <c:v>0.33314732142857101</c:v>
                </c:pt>
                <c:pt idx="5220">
                  <c:v>0.33333333333333298</c:v>
                </c:pt>
                <c:pt idx="5221">
                  <c:v>0.33333333333333298</c:v>
                </c:pt>
                <c:pt idx="5222">
                  <c:v>0.33333333333333298</c:v>
                </c:pt>
                <c:pt idx="5223">
                  <c:v>0.33333333333333298</c:v>
                </c:pt>
                <c:pt idx="5224">
                  <c:v>0.33333333333333298</c:v>
                </c:pt>
                <c:pt idx="5225">
                  <c:v>0.33333333333333298</c:v>
                </c:pt>
                <c:pt idx="5226">
                  <c:v>0.33333333333333298</c:v>
                </c:pt>
                <c:pt idx="5227">
                  <c:v>0.33333333333333298</c:v>
                </c:pt>
                <c:pt idx="5228">
                  <c:v>0.33333333333333298</c:v>
                </c:pt>
                <c:pt idx="5229">
                  <c:v>0.33333333333333298</c:v>
                </c:pt>
                <c:pt idx="5230">
                  <c:v>0.33333333333333298</c:v>
                </c:pt>
                <c:pt idx="5231">
                  <c:v>0.33333333333333298</c:v>
                </c:pt>
                <c:pt idx="5232">
                  <c:v>0.33333333333333298</c:v>
                </c:pt>
                <c:pt idx="5233">
                  <c:v>0.33333333333333298</c:v>
                </c:pt>
                <c:pt idx="5234">
                  <c:v>0.33333333333333298</c:v>
                </c:pt>
                <c:pt idx="5235">
                  <c:v>0.33333333333333298</c:v>
                </c:pt>
                <c:pt idx="5236">
                  <c:v>0.33333333333333298</c:v>
                </c:pt>
                <c:pt idx="5237">
                  <c:v>0.33333333333333298</c:v>
                </c:pt>
                <c:pt idx="5238">
                  <c:v>0.33333333333333298</c:v>
                </c:pt>
                <c:pt idx="5239">
                  <c:v>0.33333333333333298</c:v>
                </c:pt>
                <c:pt idx="5240">
                  <c:v>0.33333333333333298</c:v>
                </c:pt>
                <c:pt idx="5241">
                  <c:v>0.33333333333333298</c:v>
                </c:pt>
                <c:pt idx="5242">
                  <c:v>0.33333333333333298</c:v>
                </c:pt>
                <c:pt idx="5243">
                  <c:v>0.33333333333333298</c:v>
                </c:pt>
                <c:pt idx="5244">
                  <c:v>0.33333333333333298</c:v>
                </c:pt>
                <c:pt idx="5245">
                  <c:v>0.33333333333333298</c:v>
                </c:pt>
                <c:pt idx="5246">
                  <c:v>0.33333333333333298</c:v>
                </c:pt>
                <c:pt idx="5247">
                  <c:v>0.33333333333333298</c:v>
                </c:pt>
                <c:pt idx="5248">
                  <c:v>0.33333333333333298</c:v>
                </c:pt>
                <c:pt idx="5249">
                  <c:v>0.33333333333333298</c:v>
                </c:pt>
                <c:pt idx="5250">
                  <c:v>0.33333333333333298</c:v>
                </c:pt>
                <c:pt idx="5251">
                  <c:v>0.33333333333333298</c:v>
                </c:pt>
                <c:pt idx="5252">
                  <c:v>0.33356024506467002</c:v>
                </c:pt>
                <c:pt idx="5253">
                  <c:v>0.333718244803695</c:v>
                </c:pt>
                <c:pt idx="5254">
                  <c:v>0.33383233532934098</c:v>
                </c:pt>
                <c:pt idx="5255">
                  <c:v>0.33409090909090899</c:v>
                </c:pt>
                <c:pt idx="5256">
                  <c:v>0.334137515078408</c:v>
                </c:pt>
                <c:pt idx="5257">
                  <c:v>0.33415233415233397</c:v>
                </c:pt>
                <c:pt idx="5258">
                  <c:v>0.33421052631578901</c:v>
                </c:pt>
                <c:pt idx="5259">
                  <c:v>0.33426183844011098</c:v>
                </c:pt>
                <c:pt idx="5260">
                  <c:v>0.33430111986727501</c:v>
                </c:pt>
                <c:pt idx="5261">
                  <c:v>0.33431952662721898</c:v>
                </c:pt>
                <c:pt idx="5262">
                  <c:v>0.33453237410071901</c:v>
                </c:pt>
                <c:pt idx="5263">
                  <c:v>0.33455689564761398</c:v>
                </c:pt>
                <c:pt idx="5264">
                  <c:v>0.33456561922366002</c:v>
                </c:pt>
                <c:pt idx="5265">
                  <c:v>0.33457249070632</c:v>
                </c:pt>
                <c:pt idx="5266">
                  <c:v>0.33460076045627402</c:v>
                </c:pt>
                <c:pt idx="5267">
                  <c:v>0.33461538461538498</c:v>
                </c:pt>
                <c:pt idx="5268">
                  <c:v>0.33461538461538498</c:v>
                </c:pt>
                <c:pt idx="5269">
                  <c:v>0.334649555774926</c:v>
                </c:pt>
                <c:pt idx="5270">
                  <c:v>0.33466733366683299</c:v>
                </c:pt>
                <c:pt idx="5271">
                  <c:v>0.334710743801653</c:v>
                </c:pt>
                <c:pt idx="5272">
                  <c:v>0.33475091130012102</c:v>
                </c:pt>
                <c:pt idx="5273">
                  <c:v>0.33480176211453699</c:v>
                </c:pt>
                <c:pt idx="5274">
                  <c:v>0.33485818847209498</c:v>
                </c:pt>
                <c:pt idx="5275">
                  <c:v>0.33490566037735803</c:v>
                </c:pt>
                <c:pt idx="5276">
                  <c:v>0.334978843441467</c:v>
                </c:pt>
                <c:pt idx="5277">
                  <c:v>0.33503836317135499</c:v>
                </c:pt>
                <c:pt idx="5278">
                  <c:v>0.33510638297872303</c:v>
                </c:pt>
                <c:pt idx="5279">
                  <c:v>0.33514492753623198</c:v>
                </c:pt>
                <c:pt idx="5280">
                  <c:v>0.33514986376021799</c:v>
                </c:pt>
                <c:pt idx="5281">
                  <c:v>0.33519553072625702</c:v>
                </c:pt>
                <c:pt idx="5282">
                  <c:v>0.33536585365853699</c:v>
                </c:pt>
                <c:pt idx="5283">
                  <c:v>0.33543307086614199</c:v>
                </c:pt>
                <c:pt idx="5284">
                  <c:v>0.33546325878594202</c:v>
                </c:pt>
                <c:pt idx="5285">
                  <c:v>0.33567662565905099</c:v>
                </c:pt>
                <c:pt idx="5286">
                  <c:v>0.33587786259542002</c:v>
                </c:pt>
                <c:pt idx="5287">
                  <c:v>0.3359375</c:v>
                </c:pt>
                <c:pt idx="5288">
                  <c:v>0.33600000000000002</c:v>
                </c:pt>
                <c:pt idx="5289">
                  <c:v>0.33603896103896103</c:v>
                </c:pt>
                <c:pt idx="5290">
                  <c:v>0.336043360433604</c:v>
                </c:pt>
                <c:pt idx="5291">
                  <c:v>0.33613445378151302</c:v>
                </c:pt>
                <c:pt idx="5292">
                  <c:v>0.33613445378151302</c:v>
                </c:pt>
                <c:pt idx="5293">
                  <c:v>0.33617977528089898</c:v>
                </c:pt>
                <c:pt idx="5294">
                  <c:v>0.336244541484716</c:v>
                </c:pt>
                <c:pt idx="5295">
                  <c:v>0.33632286995515698</c:v>
                </c:pt>
                <c:pt idx="5296">
                  <c:v>0.33632286995515698</c:v>
                </c:pt>
                <c:pt idx="5297">
                  <c:v>0.33634204275534402</c:v>
                </c:pt>
                <c:pt idx="5298">
                  <c:v>0.33636363636363598</c:v>
                </c:pt>
                <c:pt idx="5299">
                  <c:v>0.33636363636363598</c:v>
                </c:pt>
                <c:pt idx="5300">
                  <c:v>0.33637400228050202</c:v>
                </c:pt>
                <c:pt idx="5301">
                  <c:v>0.33641975308642003</c:v>
                </c:pt>
                <c:pt idx="5302">
                  <c:v>0.33648648648648599</c:v>
                </c:pt>
                <c:pt idx="5303">
                  <c:v>0.33650793650793598</c:v>
                </c:pt>
                <c:pt idx="5304">
                  <c:v>0.336569579288026</c:v>
                </c:pt>
                <c:pt idx="5305">
                  <c:v>0.33663366336633699</c:v>
                </c:pt>
                <c:pt idx="5306">
                  <c:v>0.33673469387755101</c:v>
                </c:pt>
                <c:pt idx="5307">
                  <c:v>0.33678756476683902</c:v>
                </c:pt>
                <c:pt idx="5308">
                  <c:v>0.33680555555555602</c:v>
                </c:pt>
                <c:pt idx="5309">
                  <c:v>0.336842105263158</c:v>
                </c:pt>
                <c:pt idx="5310">
                  <c:v>0.33686440677966101</c:v>
                </c:pt>
                <c:pt idx="5311">
                  <c:v>0.33695652173912999</c:v>
                </c:pt>
                <c:pt idx="5312">
                  <c:v>0.33696729435084199</c:v>
                </c:pt>
                <c:pt idx="5313">
                  <c:v>0.33707865168539303</c:v>
                </c:pt>
                <c:pt idx="5314">
                  <c:v>0.337091319052988</c:v>
                </c:pt>
                <c:pt idx="5315">
                  <c:v>0.33712984054669698</c:v>
                </c:pt>
                <c:pt idx="5316">
                  <c:v>0.337202199144777</c:v>
                </c:pt>
                <c:pt idx="5317">
                  <c:v>0.337235052198671</c:v>
                </c:pt>
                <c:pt idx="5318">
                  <c:v>0.337254901960784</c:v>
                </c:pt>
                <c:pt idx="5319">
                  <c:v>0.337270341207349</c:v>
                </c:pt>
                <c:pt idx="5320">
                  <c:v>0.33733333333333299</c:v>
                </c:pt>
                <c:pt idx="5321">
                  <c:v>0.33734939759036098</c:v>
                </c:pt>
                <c:pt idx="5322">
                  <c:v>0.33740359897172201</c:v>
                </c:pt>
                <c:pt idx="5323">
                  <c:v>0.337404580152672</c:v>
                </c:pt>
                <c:pt idx="5324">
                  <c:v>0.33742331288343602</c:v>
                </c:pt>
                <c:pt idx="5325">
                  <c:v>0.33742331288343602</c:v>
                </c:pt>
                <c:pt idx="5326">
                  <c:v>0.33750000000000002</c:v>
                </c:pt>
                <c:pt idx="5327">
                  <c:v>0.33757151938970098</c:v>
                </c:pt>
                <c:pt idx="5328">
                  <c:v>0.33761232349165599</c:v>
                </c:pt>
                <c:pt idx="5329">
                  <c:v>0.337662337662338</c:v>
                </c:pt>
                <c:pt idx="5330">
                  <c:v>0.337662337662338</c:v>
                </c:pt>
                <c:pt idx="5331">
                  <c:v>0.337662337662338</c:v>
                </c:pt>
                <c:pt idx="5332">
                  <c:v>0.337662337662338</c:v>
                </c:pt>
                <c:pt idx="5333">
                  <c:v>0.33769633507853403</c:v>
                </c:pt>
                <c:pt idx="5334">
                  <c:v>0.337837837837838</c:v>
                </c:pt>
                <c:pt idx="5335">
                  <c:v>0.33789954337899503</c:v>
                </c:pt>
                <c:pt idx="5336">
                  <c:v>0.33793103448275902</c:v>
                </c:pt>
                <c:pt idx="5337">
                  <c:v>0.33793103448275902</c:v>
                </c:pt>
                <c:pt idx="5338">
                  <c:v>0.33795654184003698</c:v>
                </c:pt>
                <c:pt idx="5339">
                  <c:v>0.33798882681564202</c:v>
                </c:pt>
                <c:pt idx="5340">
                  <c:v>0.33807654563297301</c:v>
                </c:pt>
                <c:pt idx="5341">
                  <c:v>0.33810888252149002</c:v>
                </c:pt>
                <c:pt idx="5342">
                  <c:v>0.33812949640287798</c:v>
                </c:pt>
                <c:pt idx="5343">
                  <c:v>0.33812949640287798</c:v>
                </c:pt>
                <c:pt idx="5344">
                  <c:v>0.33817126269956499</c:v>
                </c:pt>
                <c:pt idx="5345">
                  <c:v>0.33820459290187899</c:v>
                </c:pt>
                <c:pt idx="5346">
                  <c:v>0.33823529411764702</c:v>
                </c:pt>
                <c:pt idx="5347">
                  <c:v>0.33831775700934602</c:v>
                </c:pt>
                <c:pt idx="5348">
                  <c:v>0.33846153846153798</c:v>
                </c:pt>
                <c:pt idx="5349">
                  <c:v>0.33849557522123902</c:v>
                </c:pt>
                <c:pt idx="5350">
                  <c:v>0.33879781420764998</c:v>
                </c:pt>
                <c:pt idx="5351">
                  <c:v>0.33880597014925401</c:v>
                </c:pt>
                <c:pt idx="5352">
                  <c:v>0.33890214797135998</c:v>
                </c:pt>
                <c:pt idx="5353">
                  <c:v>0.33892617449664397</c:v>
                </c:pt>
                <c:pt idx="5354">
                  <c:v>0.33895446880269797</c:v>
                </c:pt>
                <c:pt idx="5355">
                  <c:v>0.33905967450271202</c:v>
                </c:pt>
                <c:pt idx="5356">
                  <c:v>0.339100346020761</c:v>
                </c:pt>
                <c:pt idx="5357">
                  <c:v>0.33915211970074799</c:v>
                </c:pt>
                <c:pt idx="5358">
                  <c:v>0.339175257731959</c:v>
                </c:pt>
                <c:pt idx="5359">
                  <c:v>0.33918128654970803</c:v>
                </c:pt>
                <c:pt idx="5360">
                  <c:v>0.33921815889029</c:v>
                </c:pt>
                <c:pt idx="5361">
                  <c:v>0.33938634940513501</c:v>
                </c:pt>
                <c:pt idx="5362">
                  <c:v>0.33968253968253997</c:v>
                </c:pt>
                <c:pt idx="5363">
                  <c:v>0.33972125435540101</c:v>
                </c:pt>
                <c:pt idx="5364">
                  <c:v>0.33974358974358998</c:v>
                </c:pt>
                <c:pt idx="5365">
                  <c:v>0.33974975938402302</c:v>
                </c:pt>
                <c:pt idx="5366">
                  <c:v>0.33975481611208402</c:v>
                </c:pt>
                <c:pt idx="5367">
                  <c:v>0.33975903614457797</c:v>
                </c:pt>
                <c:pt idx="5368">
                  <c:v>0.33977455716586102</c:v>
                </c:pt>
                <c:pt idx="5369">
                  <c:v>0.33978494623655903</c:v>
                </c:pt>
                <c:pt idx="5370">
                  <c:v>0.33982947624847698</c:v>
                </c:pt>
                <c:pt idx="5371">
                  <c:v>0.33990147783251201</c:v>
                </c:pt>
                <c:pt idx="5372">
                  <c:v>0.33990147783251201</c:v>
                </c:pt>
                <c:pt idx="5373">
                  <c:v>0.33994334277620403</c:v>
                </c:pt>
                <c:pt idx="5374">
                  <c:v>0.339986693280106</c:v>
                </c:pt>
                <c:pt idx="5375">
                  <c:v>0.34</c:v>
                </c:pt>
                <c:pt idx="5376">
                  <c:v>0.34003350083752099</c:v>
                </c:pt>
                <c:pt idx="5377">
                  <c:v>0.34013605442176897</c:v>
                </c:pt>
                <c:pt idx="5378">
                  <c:v>0.34013605442176897</c:v>
                </c:pt>
                <c:pt idx="5379">
                  <c:v>0.34014717906786601</c:v>
                </c:pt>
                <c:pt idx="5380">
                  <c:v>0.34020618556700999</c:v>
                </c:pt>
                <c:pt idx="5381">
                  <c:v>0.34036939313984199</c:v>
                </c:pt>
                <c:pt idx="5382">
                  <c:v>0.340390340721138</c:v>
                </c:pt>
                <c:pt idx="5383">
                  <c:v>0.340409956076135</c:v>
                </c:pt>
                <c:pt idx="5384">
                  <c:v>0.340425531914894</c:v>
                </c:pt>
                <c:pt idx="5385">
                  <c:v>0.340425531914894</c:v>
                </c:pt>
                <c:pt idx="5386">
                  <c:v>0.340425531914894</c:v>
                </c:pt>
                <c:pt idx="5387">
                  <c:v>0.34047619047618999</c:v>
                </c:pt>
                <c:pt idx="5388">
                  <c:v>0.34050880626223101</c:v>
                </c:pt>
                <c:pt idx="5389">
                  <c:v>0.34055727554179599</c:v>
                </c:pt>
                <c:pt idx="5390">
                  <c:v>0.34061135371179002</c:v>
                </c:pt>
                <c:pt idx="5391">
                  <c:v>0.340659340659341</c:v>
                </c:pt>
                <c:pt idx="5392">
                  <c:v>0.34070796460177</c:v>
                </c:pt>
                <c:pt idx="5393">
                  <c:v>0.34070796460177</c:v>
                </c:pt>
                <c:pt idx="5394">
                  <c:v>0.34074074074074101</c:v>
                </c:pt>
                <c:pt idx="5395">
                  <c:v>0.34076433121019101</c:v>
                </c:pt>
                <c:pt idx="5396">
                  <c:v>0.34078212290502802</c:v>
                </c:pt>
                <c:pt idx="5397">
                  <c:v>0.340862422997947</c:v>
                </c:pt>
                <c:pt idx="5398">
                  <c:v>0.34090909090909099</c:v>
                </c:pt>
                <c:pt idx="5399">
                  <c:v>0.34090909090909099</c:v>
                </c:pt>
                <c:pt idx="5400">
                  <c:v>0.34100545124167198</c:v>
                </c:pt>
                <c:pt idx="5401">
                  <c:v>0.34112149532710301</c:v>
                </c:pt>
                <c:pt idx="5402">
                  <c:v>0.34113060428849901</c:v>
                </c:pt>
                <c:pt idx="5403">
                  <c:v>0.34116899618805602</c:v>
                </c:pt>
                <c:pt idx="5404">
                  <c:v>0.34124629080118701</c:v>
                </c:pt>
                <c:pt idx="5405">
                  <c:v>0.341269841269841</c:v>
                </c:pt>
                <c:pt idx="5406">
                  <c:v>0.34134007585335002</c:v>
                </c:pt>
                <c:pt idx="5407">
                  <c:v>0.34150943396226402</c:v>
                </c:pt>
                <c:pt idx="5408">
                  <c:v>0.34154929577464799</c:v>
                </c:pt>
                <c:pt idx="5409">
                  <c:v>0.34154929577464799</c:v>
                </c:pt>
                <c:pt idx="5410">
                  <c:v>0.34156976744186002</c:v>
                </c:pt>
                <c:pt idx="5411">
                  <c:v>0.34164358264081301</c:v>
                </c:pt>
                <c:pt idx="5412">
                  <c:v>0.34166666666666701</c:v>
                </c:pt>
                <c:pt idx="5413">
                  <c:v>0.34175691937424801</c:v>
                </c:pt>
                <c:pt idx="5414">
                  <c:v>0.341772151898734</c:v>
                </c:pt>
                <c:pt idx="5415">
                  <c:v>0.34205933682373502</c:v>
                </c:pt>
                <c:pt idx="5416">
                  <c:v>0.34210526315789502</c:v>
                </c:pt>
                <c:pt idx="5417">
                  <c:v>0.34219269102990002</c:v>
                </c:pt>
                <c:pt idx="5418">
                  <c:v>0.34228187919463099</c:v>
                </c:pt>
                <c:pt idx="5419">
                  <c:v>0.34230769230769198</c:v>
                </c:pt>
                <c:pt idx="5420">
                  <c:v>0.34234234234234201</c:v>
                </c:pt>
                <c:pt idx="5421">
                  <c:v>0.34234234234234201</c:v>
                </c:pt>
                <c:pt idx="5422">
                  <c:v>0.34243176178660001</c:v>
                </c:pt>
                <c:pt idx="5423">
                  <c:v>0.34246575342465702</c:v>
                </c:pt>
                <c:pt idx="5424">
                  <c:v>0.34265734265734299</c:v>
                </c:pt>
                <c:pt idx="5425">
                  <c:v>0.34266886326194401</c:v>
                </c:pt>
                <c:pt idx="5426">
                  <c:v>0.342733188720174</c:v>
                </c:pt>
                <c:pt idx="5427">
                  <c:v>0.34273624823695298</c:v>
                </c:pt>
                <c:pt idx="5428">
                  <c:v>0.34283088235294101</c:v>
                </c:pt>
                <c:pt idx="5429">
                  <c:v>0.34285714285714303</c:v>
                </c:pt>
                <c:pt idx="5430">
                  <c:v>0.34285714285714303</c:v>
                </c:pt>
                <c:pt idx="5431">
                  <c:v>0.34299516908212602</c:v>
                </c:pt>
                <c:pt idx="5432">
                  <c:v>0.34302325581395299</c:v>
                </c:pt>
                <c:pt idx="5433">
                  <c:v>0.34304207119741098</c:v>
                </c:pt>
                <c:pt idx="5434">
                  <c:v>0.34304932735426003</c:v>
                </c:pt>
                <c:pt idx="5435">
                  <c:v>0.343055555555556</c:v>
                </c:pt>
                <c:pt idx="5436">
                  <c:v>0.34306569343065701</c:v>
                </c:pt>
                <c:pt idx="5437">
                  <c:v>0.34306569343065701</c:v>
                </c:pt>
                <c:pt idx="5438">
                  <c:v>0.34309623430962299</c:v>
                </c:pt>
                <c:pt idx="5439">
                  <c:v>0.34313725490196101</c:v>
                </c:pt>
                <c:pt idx="5440">
                  <c:v>0.34328358208955201</c:v>
                </c:pt>
                <c:pt idx="5441">
                  <c:v>0.34328358208955201</c:v>
                </c:pt>
                <c:pt idx="5442">
                  <c:v>0.34328358208955201</c:v>
                </c:pt>
                <c:pt idx="5443">
                  <c:v>0.34328358208955201</c:v>
                </c:pt>
                <c:pt idx="5444">
                  <c:v>0.34330985915493001</c:v>
                </c:pt>
                <c:pt idx="5445">
                  <c:v>0.34331337325349298</c:v>
                </c:pt>
                <c:pt idx="5446">
                  <c:v>0.343373493975904</c:v>
                </c:pt>
                <c:pt idx="5447">
                  <c:v>0.34351145038167902</c:v>
                </c:pt>
                <c:pt idx="5448">
                  <c:v>0.34351145038167902</c:v>
                </c:pt>
                <c:pt idx="5449">
                  <c:v>0.34355828220858903</c:v>
                </c:pt>
                <c:pt idx="5450">
                  <c:v>0.34370579915134403</c:v>
                </c:pt>
                <c:pt idx="5451">
                  <c:v>0.34370645610775702</c:v>
                </c:pt>
                <c:pt idx="5452">
                  <c:v>0.34375</c:v>
                </c:pt>
                <c:pt idx="5453">
                  <c:v>0.34375</c:v>
                </c:pt>
                <c:pt idx="5454">
                  <c:v>0.34378769601929998</c:v>
                </c:pt>
                <c:pt idx="5455">
                  <c:v>0.34385964912280698</c:v>
                </c:pt>
                <c:pt idx="5456">
                  <c:v>0.34399999999999997</c:v>
                </c:pt>
                <c:pt idx="5457">
                  <c:v>0.34423897581792301</c:v>
                </c:pt>
                <c:pt idx="5458">
                  <c:v>0.34426229508196698</c:v>
                </c:pt>
                <c:pt idx="5459">
                  <c:v>0.34430379746835399</c:v>
                </c:pt>
                <c:pt idx="5460">
                  <c:v>0.34441805225653199</c:v>
                </c:pt>
                <c:pt idx="5461">
                  <c:v>0.34450651769087498</c:v>
                </c:pt>
                <c:pt idx="5462">
                  <c:v>0.34451219512195103</c:v>
                </c:pt>
                <c:pt idx="5463">
                  <c:v>0.34453781512604997</c:v>
                </c:pt>
                <c:pt idx="5464">
                  <c:v>0.34453781512604997</c:v>
                </c:pt>
                <c:pt idx="5465">
                  <c:v>0.34453781512604997</c:v>
                </c:pt>
                <c:pt idx="5466">
                  <c:v>0.34456928838951301</c:v>
                </c:pt>
                <c:pt idx="5467">
                  <c:v>0.34468085106383001</c:v>
                </c:pt>
                <c:pt idx="5468">
                  <c:v>0.344743276283619</c:v>
                </c:pt>
                <c:pt idx="5469">
                  <c:v>0.34475374732334002</c:v>
                </c:pt>
                <c:pt idx="5470">
                  <c:v>0.34477555639381402</c:v>
                </c:pt>
                <c:pt idx="5471">
                  <c:v>0.34478371501272298</c:v>
                </c:pt>
                <c:pt idx="5472">
                  <c:v>0.34482758620689702</c:v>
                </c:pt>
                <c:pt idx="5473">
                  <c:v>0.344887348353553</c:v>
                </c:pt>
                <c:pt idx="5474">
                  <c:v>0.34495412844036699</c:v>
                </c:pt>
                <c:pt idx="5475">
                  <c:v>0.34496124031007702</c:v>
                </c:pt>
                <c:pt idx="5476">
                  <c:v>0.34496124031007702</c:v>
                </c:pt>
                <c:pt idx="5477">
                  <c:v>0.34499999999999997</c:v>
                </c:pt>
                <c:pt idx="5478">
                  <c:v>0.34502923976608202</c:v>
                </c:pt>
                <c:pt idx="5479">
                  <c:v>0.34504792332268402</c:v>
                </c:pt>
                <c:pt idx="5480">
                  <c:v>0.34505494505494499</c:v>
                </c:pt>
                <c:pt idx="5481">
                  <c:v>0.345108695652174</c:v>
                </c:pt>
                <c:pt idx="5482">
                  <c:v>0.34513274336283201</c:v>
                </c:pt>
                <c:pt idx="5483">
                  <c:v>0.34517241379310298</c:v>
                </c:pt>
                <c:pt idx="5484">
                  <c:v>0.34523809523809501</c:v>
                </c:pt>
                <c:pt idx="5485">
                  <c:v>0.34528448947778601</c:v>
                </c:pt>
                <c:pt idx="5486">
                  <c:v>0.34532374100719399</c:v>
                </c:pt>
                <c:pt idx="5487">
                  <c:v>0.34536082474226798</c:v>
                </c:pt>
                <c:pt idx="5488">
                  <c:v>0.34545454545454501</c:v>
                </c:pt>
                <c:pt idx="5489">
                  <c:v>0.34545454545454501</c:v>
                </c:pt>
                <c:pt idx="5490">
                  <c:v>0.345646437994723</c:v>
                </c:pt>
                <c:pt idx="5491">
                  <c:v>0.345646437994723</c:v>
                </c:pt>
                <c:pt idx="5492">
                  <c:v>0.34592680047225499</c:v>
                </c:pt>
                <c:pt idx="5493">
                  <c:v>0.34593837535013999</c:v>
                </c:pt>
                <c:pt idx="5494">
                  <c:v>0.34594594594594602</c:v>
                </c:pt>
                <c:pt idx="5495">
                  <c:v>0.34597156398104301</c:v>
                </c:pt>
                <c:pt idx="5496">
                  <c:v>0.34599156118143498</c:v>
                </c:pt>
                <c:pt idx="5497">
                  <c:v>0.34601226993864997</c:v>
                </c:pt>
                <c:pt idx="5498">
                  <c:v>0.34603174603174602</c:v>
                </c:pt>
                <c:pt idx="5499">
                  <c:v>0.34615384615384598</c:v>
                </c:pt>
                <c:pt idx="5500">
                  <c:v>0.34615384615384598</c:v>
                </c:pt>
                <c:pt idx="5501">
                  <c:v>0.34615384615384598</c:v>
                </c:pt>
                <c:pt idx="5502">
                  <c:v>0.34615384615384598</c:v>
                </c:pt>
                <c:pt idx="5503">
                  <c:v>0.34621848739495797</c:v>
                </c:pt>
                <c:pt idx="5504">
                  <c:v>0.34624088508926298</c:v>
                </c:pt>
                <c:pt idx="5505">
                  <c:v>0.34626865671641799</c:v>
                </c:pt>
                <c:pt idx="5506">
                  <c:v>0.346330275229358</c:v>
                </c:pt>
                <c:pt idx="5507">
                  <c:v>0.34645669291338599</c:v>
                </c:pt>
                <c:pt idx="5508">
                  <c:v>0.34645669291338599</c:v>
                </c:pt>
                <c:pt idx="5509">
                  <c:v>0.34653465346534601</c:v>
                </c:pt>
                <c:pt idx="5510">
                  <c:v>0.34666666666666701</c:v>
                </c:pt>
                <c:pt idx="5511">
                  <c:v>0.34674329501915702</c:v>
                </c:pt>
                <c:pt idx="5512">
                  <c:v>0.346760070052539</c:v>
                </c:pt>
                <c:pt idx="5513">
                  <c:v>0.34683544303797498</c:v>
                </c:pt>
                <c:pt idx="5514">
                  <c:v>0.34684684684684702</c:v>
                </c:pt>
                <c:pt idx="5515">
                  <c:v>0.34693877551020402</c:v>
                </c:pt>
                <c:pt idx="5516">
                  <c:v>0.34696659850034101</c:v>
                </c:pt>
                <c:pt idx="5517">
                  <c:v>0.34710743801652899</c:v>
                </c:pt>
                <c:pt idx="5518">
                  <c:v>0.34710743801652899</c:v>
                </c:pt>
                <c:pt idx="5519">
                  <c:v>0.34712520150456699</c:v>
                </c:pt>
                <c:pt idx="5520">
                  <c:v>0.34713375796178297</c:v>
                </c:pt>
                <c:pt idx="5521">
                  <c:v>0.34718100890207698</c:v>
                </c:pt>
                <c:pt idx="5522">
                  <c:v>0.34722222222222199</c:v>
                </c:pt>
                <c:pt idx="5523">
                  <c:v>0.34736842105263199</c:v>
                </c:pt>
                <c:pt idx="5524">
                  <c:v>0.34736842105263199</c:v>
                </c:pt>
                <c:pt idx="5525">
                  <c:v>0.347540983606557</c:v>
                </c:pt>
                <c:pt idx="5526">
                  <c:v>0.34759358288769998</c:v>
                </c:pt>
                <c:pt idx="5527">
                  <c:v>0.34761904761904799</c:v>
                </c:pt>
                <c:pt idx="5528">
                  <c:v>0.34782608695652201</c:v>
                </c:pt>
                <c:pt idx="5529">
                  <c:v>0.34782608695652201</c:v>
                </c:pt>
                <c:pt idx="5530">
                  <c:v>0.34782608695652201</c:v>
                </c:pt>
                <c:pt idx="5531">
                  <c:v>0.34782608695652201</c:v>
                </c:pt>
                <c:pt idx="5532">
                  <c:v>0.34782608695652201</c:v>
                </c:pt>
                <c:pt idx="5533">
                  <c:v>0.34805467928496298</c:v>
                </c:pt>
                <c:pt idx="5534">
                  <c:v>0.34806629834254099</c:v>
                </c:pt>
                <c:pt idx="5535">
                  <c:v>0.34808259587020601</c:v>
                </c:pt>
                <c:pt idx="5536">
                  <c:v>0.348101265822785</c:v>
                </c:pt>
                <c:pt idx="5537">
                  <c:v>0.34814814814814798</c:v>
                </c:pt>
                <c:pt idx="5538">
                  <c:v>0.34834834834834799</c:v>
                </c:pt>
                <c:pt idx="5539">
                  <c:v>0.34838709677419299</c:v>
                </c:pt>
                <c:pt idx="5540">
                  <c:v>0.34867256637168098</c:v>
                </c:pt>
                <c:pt idx="5541">
                  <c:v>0.34879406307977701</c:v>
                </c:pt>
                <c:pt idx="5542">
                  <c:v>0.34880239520958101</c:v>
                </c:pt>
                <c:pt idx="5543">
                  <c:v>0.34883720930232598</c:v>
                </c:pt>
                <c:pt idx="5544">
                  <c:v>0.348884381338742</c:v>
                </c:pt>
                <c:pt idx="5545">
                  <c:v>0.34900990099009899</c:v>
                </c:pt>
                <c:pt idx="5546">
                  <c:v>0.34904458598726101</c:v>
                </c:pt>
                <c:pt idx="5547">
                  <c:v>0.34909090909090901</c:v>
                </c:pt>
                <c:pt idx="5548">
                  <c:v>0.34909090909090901</c:v>
                </c:pt>
                <c:pt idx="5549">
                  <c:v>0.34911242603550302</c:v>
                </c:pt>
                <c:pt idx="5550">
                  <c:v>0.34912718204488802</c:v>
                </c:pt>
                <c:pt idx="5551">
                  <c:v>0.34913112164297</c:v>
                </c:pt>
                <c:pt idx="5552">
                  <c:v>0.34915865384615402</c:v>
                </c:pt>
                <c:pt idx="5553">
                  <c:v>0.34920634920634902</c:v>
                </c:pt>
                <c:pt idx="5554">
                  <c:v>0.34920634920634902</c:v>
                </c:pt>
                <c:pt idx="5555">
                  <c:v>0.34931506849315103</c:v>
                </c:pt>
                <c:pt idx="5556">
                  <c:v>0.349381017881706</c:v>
                </c:pt>
                <c:pt idx="5557">
                  <c:v>0.34939759036144602</c:v>
                </c:pt>
                <c:pt idx="5558">
                  <c:v>0.34939759036144602</c:v>
                </c:pt>
                <c:pt idx="5559">
                  <c:v>0.34939759036144602</c:v>
                </c:pt>
                <c:pt idx="5560">
                  <c:v>0.34947464595705802</c:v>
                </c:pt>
                <c:pt idx="5561">
                  <c:v>0.34947643979057602</c:v>
                </c:pt>
                <c:pt idx="5562">
                  <c:v>0.34948979591836699</c:v>
                </c:pt>
                <c:pt idx="5563">
                  <c:v>0.34951456310679602</c:v>
                </c:pt>
                <c:pt idx="5564">
                  <c:v>0.34953395472703103</c:v>
                </c:pt>
                <c:pt idx="5565">
                  <c:v>0.34955752212389402</c:v>
                </c:pt>
                <c:pt idx="5566">
                  <c:v>0.34969325153374198</c:v>
                </c:pt>
                <c:pt idx="5567">
                  <c:v>0.34981684981685002</c:v>
                </c:pt>
                <c:pt idx="5568">
                  <c:v>0.34985422740524802</c:v>
                </c:pt>
                <c:pt idx="5569">
                  <c:v>0.34993614303959097</c:v>
                </c:pt>
                <c:pt idx="5570">
                  <c:v>0.35</c:v>
                </c:pt>
                <c:pt idx="5571">
                  <c:v>0.35</c:v>
                </c:pt>
                <c:pt idx="5572">
                  <c:v>0.35</c:v>
                </c:pt>
                <c:pt idx="5573">
                  <c:v>0.35</c:v>
                </c:pt>
                <c:pt idx="5574">
                  <c:v>0.35002454590083398</c:v>
                </c:pt>
                <c:pt idx="5575">
                  <c:v>0.35012594458438301</c:v>
                </c:pt>
                <c:pt idx="5576">
                  <c:v>0.35021097046413502</c:v>
                </c:pt>
                <c:pt idx="5577">
                  <c:v>0.35024549918166897</c:v>
                </c:pt>
                <c:pt idx="5578">
                  <c:v>0.35026737967914401</c:v>
                </c:pt>
                <c:pt idx="5579">
                  <c:v>0.350404312668464</c:v>
                </c:pt>
                <c:pt idx="5580">
                  <c:v>0.350631136044881</c:v>
                </c:pt>
                <c:pt idx="5581">
                  <c:v>0.35064935064935099</c:v>
                </c:pt>
                <c:pt idx="5582">
                  <c:v>0.35069444444444398</c:v>
                </c:pt>
                <c:pt idx="5583">
                  <c:v>0.35074626865671599</c:v>
                </c:pt>
                <c:pt idx="5584">
                  <c:v>0.35079726651480603</c:v>
                </c:pt>
                <c:pt idx="5585">
                  <c:v>0.35087719298245601</c:v>
                </c:pt>
                <c:pt idx="5586">
                  <c:v>0.35087719298245601</c:v>
                </c:pt>
                <c:pt idx="5587">
                  <c:v>0.35103926096997701</c:v>
                </c:pt>
                <c:pt idx="5588">
                  <c:v>0.35106382978723399</c:v>
                </c:pt>
                <c:pt idx="5589">
                  <c:v>0.35106382978723399</c:v>
                </c:pt>
                <c:pt idx="5590">
                  <c:v>0.35106382978723399</c:v>
                </c:pt>
                <c:pt idx="5591">
                  <c:v>0.35112936344969198</c:v>
                </c:pt>
                <c:pt idx="5592">
                  <c:v>0.35114503816793902</c:v>
                </c:pt>
                <c:pt idx="5593">
                  <c:v>0.35114503816793902</c:v>
                </c:pt>
                <c:pt idx="5594">
                  <c:v>0.35115864527629198</c:v>
                </c:pt>
                <c:pt idx="5595">
                  <c:v>0.351190476190476</c:v>
                </c:pt>
                <c:pt idx="5596">
                  <c:v>0.35135135135135098</c:v>
                </c:pt>
                <c:pt idx="5597">
                  <c:v>0.35135135135135098</c:v>
                </c:pt>
                <c:pt idx="5598">
                  <c:v>0.351417250838159</c:v>
                </c:pt>
                <c:pt idx="5599">
                  <c:v>0.35144927536231901</c:v>
                </c:pt>
                <c:pt idx="5600">
                  <c:v>0.35148514851485102</c:v>
                </c:pt>
                <c:pt idx="5601">
                  <c:v>0.35153583617747403</c:v>
                </c:pt>
                <c:pt idx="5602">
                  <c:v>0.35160905840286</c:v>
                </c:pt>
                <c:pt idx="5603">
                  <c:v>0.35162950257289899</c:v>
                </c:pt>
                <c:pt idx="5604">
                  <c:v>0.35174418604651198</c:v>
                </c:pt>
                <c:pt idx="5605">
                  <c:v>0.35175879396984899</c:v>
                </c:pt>
                <c:pt idx="5606">
                  <c:v>0.35185185185185203</c:v>
                </c:pt>
                <c:pt idx="5607">
                  <c:v>0.35185185185185203</c:v>
                </c:pt>
                <c:pt idx="5608">
                  <c:v>0.35185185185185203</c:v>
                </c:pt>
                <c:pt idx="5609">
                  <c:v>0.35189873417721501</c:v>
                </c:pt>
                <c:pt idx="5610">
                  <c:v>0.35191637630661998</c:v>
                </c:pt>
                <c:pt idx="5611">
                  <c:v>0.35195530726257002</c:v>
                </c:pt>
                <c:pt idx="5612">
                  <c:v>0.35195530726257002</c:v>
                </c:pt>
                <c:pt idx="5613">
                  <c:v>0.352112676056338</c:v>
                </c:pt>
                <c:pt idx="5614">
                  <c:v>0.35220125786163498</c:v>
                </c:pt>
                <c:pt idx="5615">
                  <c:v>0.352331606217617</c:v>
                </c:pt>
                <c:pt idx="5616">
                  <c:v>0.35234899328859098</c:v>
                </c:pt>
                <c:pt idx="5617">
                  <c:v>0.35245901639344301</c:v>
                </c:pt>
                <c:pt idx="5618">
                  <c:v>0.35249621785174001</c:v>
                </c:pt>
                <c:pt idx="5619">
                  <c:v>0.35268630849220101</c:v>
                </c:pt>
                <c:pt idx="5620">
                  <c:v>0.35282651072124699</c:v>
                </c:pt>
                <c:pt idx="5621">
                  <c:v>0.35294117647058798</c:v>
                </c:pt>
                <c:pt idx="5622">
                  <c:v>0.35294117647058798</c:v>
                </c:pt>
                <c:pt idx="5623">
                  <c:v>0.35294117647058798</c:v>
                </c:pt>
                <c:pt idx="5624">
                  <c:v>0.35294117647058798</c:v>
                </c:pt>
                <c:pt idx="5625">
                  <c:v>0.35294117647058798</c:v>
                </c:pt>
                <c:pt idx="5626">
                  <c:v>0.35294117647058798</c:v>
                </c:pt>
                <c:pt idx="5627">
                  <c:v>0.35294117647058798</c:v>
                </c:pt>
                <c:pt idx="5628">
                  <c:v>0.35296610169491499</c:v>
                </c:pt>
                <c:pt idx="5629">
                  <c:v>0.35301468291158999</c:v>
                </c:pt>
                <c:pt idx="5630">
                  <c:v>0.35303959843837102</c:v>
                </c:pt>
                <c:pt idx="5631">
                  <c:v>0.35307017543859598</c:v>
                </c:pt>
                <c:pt idx="5632">
                  <c:v>0.35310344827586199</c:v>
                </c:pt>
                <c:pt idx="5633">
                  <c:v>0.35317460317460297</c:v>
                </c:pt>
                <c:pt idx="5634">
                  <c:v>0.35319148936170203</c:v>
                </c:pt>
                <c:pt idx="5635">
                  <c:v>0.35329341317365298</c:v>
                </c:pt>
                <c:pt idx="5636">
                  <c:v>0.35341365461847402</c:v>
                </c:pt>
                <c:pt idx="5637">
                  <c:v>0.35343035343035301</c:v>
                </c:pt>
                <c:pt idx="5638">
                  <c:v>0.35344827586206901</c:v>
                </c:pt>
                <c:pt idx="5639">
                  <c:v>0.35346602608098798</c:v>
                </c:pt>
                <c:pt idx="5640">
                  <c:v>0.35353535353535298</c:v>
                </c:pt>
                <c:pt idx="5641">
                  <c:v>0.35353535353535298</c:v>
                </c:pt>
                <c:pt idx="5642">
                  <c:v>0.35356200527704501</c:v>
                </c:pt>
                <c:pt idx="5643">
                  <c:v>0.35359116022099402</c:v>
                </c:pt>
                <c:pt idx="5644">
                  <c:v>0.353658536585366</c:v>
                </c:pt>
                <c:pt idx="5645">
                  <c:v>0.35384615384615398</c:v>
                </c:pt>
                <c:pt idx="5646">
                  <c:v>0.35390946502057602</c:v>
                </c:pt>
                <c:pt idx="5647">
                  <c:v>0.35398230088495602</c:v>
                </c:pt>
                <c:pt idx="5648">
                  <c:v>0.35421994884910502</c:v>
                </c:pt>
                <c:pt idx="5649">
                  <c:v>0.35433070866141703</c:v>
                </c:pt>
                <c:pt idx="5650">
                  <c:v>0.35447338618346502</c:v>
                </c:pt>
                <c:pt idx="5651">
                  <c:v>0.35449735449735398</c:v>
                </c:pt>
                <c:pt idx="5652">
                  <c:v>0.35453983940704098</c:v>
                </c:pt>
                <c:pt idx="5653">
                  <c:v>0.35475113122171897</c:v>
                </c:pt>
                <c:pt idx="5654">
                  <c:v>0.35478105451295799</c:v>
                </c:pt>
                <c:pt idx="5655">
                  <c:v>0.35483870967741898</c:v>
                </c:pt>
                <c:pt idx="5656">
                  <c:v>0.35483870967741898</c:v>
                </c:pt>
                <c:pt idx="5657">
                  <c:v>0.35483870967741898</c:v>
                </c:pt>
                <c:pt idx="5658">
                  <c:v>0.35489290214195701</c:v>
                </c:pt>
                <c:pt idx="5659">
                  <c:v>0.35492957746478898</c:v>
                </c:pt>
                <c:pt idx="5660">
                  <c:v>0.35493827160493802</c:v>
                </c:pt>
                <c:pt idx="5661">
                  <c:v>0.354978354978355</c:v>
                </c:pt>
                <c:pt idx="5662">
                  <c:v>0.35501066098081002</c:v>
                </c:pt>
                <c:pt idx="5663">
                  <c:v>0.35503472222222199</c:v>
                </c:pt>
                <c:pt idx="5664">
                  <c:v>0.35507246376811602</c:v>
                </c:pt>
                <c:pt idx="5665">
                  <c:v>0.355203619909502</c:v>
                </c:pt>
                <c:pt idx="5666">
                  <c:v>0.35522388059701498</c:v>
                </c:pt>
                <c:pt idx="5667">
                  <c:v>0.355263157894737</c:v>
                </c:pt>
                <c:pt idx="5668">
                  <c:v>0.35535006605019798</c:v>
                </c:pt>
                <c:pt idx="5669">
                  <c:v>0.35545722713864297</c:v>
                </c:pt>
                <c:pt idx="5670">
                  <c:v>0.35555555555555601</c:v>
                </c:pt>
                <c:pt idx="5671">
                  <c:v>0.35555555555555601</c:v>
                </c:pt>
                <c:pt idx="5672">
                  <c:v>0.35563380281690099</c:v>
                </c:pt>
                <c:pt idx="5673">
                  <c:v>0.355704697986577</c:v>
                </c:pt>
                <c:pt idx="5674">
                  <c:v>0.355769230769231</c:v>
                </c:pt>
                <c:pt idx="5675">
                  <c:v>0.355769230769231</c:v>
                </c:pt>
                <c:pt idx="5676">
                  <c:v>0.355832241153342</c:v>
                </c:pt>
                <c:pt idx="5677">
                  <c:v>0.355855855855856</c:v>
                </c:pt>
                <c:pt idx="5678">
                  <c:v>0.35593220338983</c:v>
                </c:pt>
                <c:pt idx="5679">
                  <c:v>0.35593220338983</c:v>
                </c:pt>
                <c:pt idx="5680">
                  <c:v>0.35596707818930001</c:v>
                </c:pt>
                <c:pt idx="5681">
                  <c:v>0.35597189695550302</c:v>
                </c:pt>
                <c:pt idx="5682">
                  <c:v>0.35605511240028997</c:v>
                </c:pt>
                <c:pt idx="5683">
                  <c:v>0.35606060606060602</c:v>
                </c:pt>
                <c:pt idx="5684">
                  <c:v>0.356194690265487</c:v>
                </c:pt>
                <c:pt idx="5685">
                  <c:v>0.35625000000000001</c:v>
                </c:pt>
                <c:pt idx="5686">
                  <c:v>0.35625859697386503</c:v>
                </c:pt>
                <c:pt idx="5687">
                  <c:v>0.35628742514970102</c:v>
                </c:pt>
                <c:pt idx="5688">
                  <c:v>0.35632183908046</c:v>
                </c:pt>
                <c:pt idx="5689">
                  <c:v>0.35632183908046</c:v>
                </c:pt>
                <c:pt idx="5690">
                  <c:v>0.35634028892455899</c:v>
                </c:pt>
                <c:pt idx="5691">
                  <c:v>0.35643564356435598</c:v>
                </c:pt>
                <c:pt idx="5692">
                  <c:v>0.35649546827794598</c:v>
                </c:pt>
                <c:pt idx="5693">
                  <c:v>0.35658914728682201</c:v>
                </c:pt>
                <c:pt idx="5694">
                  <c:v>0.356643356643357</c:v>
                </c:pt>
                <c:pt idx="5695">
                  <c:v>0.35668202764976997</c:v>
                </c:pt>
                <c:pt idx="5696">
                  <c:v>0.35677530017152698</c:v>
                </c:pt>
                <c:pt idx="5697">
                  <c:v>0.35678391959799</c:v>
                </c:pt>
                <c:pt idx="5698">
                  <c:v>0.35678670360110798</c:v>
                </c:pt>
                <c:pt idx="5699">
                  <c:v>0.35679214402618697</c:v>
                </c:pt>
                <c:pt idx="5700">
                  <c:v>0.356883459887752</c:v>
                </c:pt>
                <c:pt idx="5701">
                  <c:v>0.35697399527186802</c:v>
                </c:pt>
                <c:pt idx="5702">
                  <c:v>0.35701275045537301</c:v>
                </c:pt>
                <c:pt idx="5703">
                  <c:v>0.35714285714285698</c:v>
                </c:pt>
                <c:pt idx="5704">
                  <c:v>0.35714285714285698</c:v>
                </c:pt>
                <c:pt idx="5705">
                  <c:v>0.35714285714285698</c:v>
                </c:pt>
                <c:pt idx="5706">
                  <c:v>0.35714285714285698</c:v>
                </c:pt>
                <c:pt idx="5707">
                  <c:v>0.35724962630792201</c:v>
                </c:pt>
                <c:pt idx="5708">
                  <c:v>0.35745614035087703</c:v>
                </c:pt>
                <c:pt idx="5709">
                  <c:v>0.35746606334841602</c:v>
                </c:pt>
                <c:pt idx="5710">
                  <c:v>0.35748792270531399</c:v>
                </c:pt>
                <c:pt idx="5711">
                  <c:v>0.35757575757575799</c:v>
                </c:pt>
                <c:pt idx="5712">
                  <c:v>0.35761589403973498</c:v>
                </c:pt>
                <c:pt idx="5713">
                  <c:v>0.35765124555160099</c:v>
                </c:pt>
                <c:pt idx="5714">
                  <c:v>0.35766423357664201</c:v>
                </c:pt>
                <c:pt idx="5715">
                  <c:v>0.35770234986945199</c:v>
                </c:pt>
                <c:pt idx="5716">
                  <c:v>0.35774058577405898</c:v>
                </c:pt>
                <c:pt idx="5717">
                  <c:v>0.35785953177257501</c:v>
                </c:pt>
                <c:pt idx="5718">
                  <c:v>0.35789473684210499</c:v>
                </c:pt>
                <c:pt idx="5719">
                  <c:v>0.35796766743649</c:v>
                </c:pt>
                <c:pt idx="5720">
                  <c:v>0.358024691358025</c:v>
                </c:pt>
                <c:pt idx="5721">
                  <c:v>0.358108108108108</c:v>
                </c:pt>
                <c:pt idx="5722">
                  <c:v>0.35817805383022799</c:v>
                </c:pt>
                <c:pt idx="5723">
                  <c:v>0.35820895522388102</c:v>
                </c:pt>
                <c:pt idx="5724">
                  <c:v>0.35820895522388102</c:v>
                </c:pt>
                <c:pt idx="5725">
                  <c:v>0.35826771653543299</c:v>
                </c:pt>
                <c:pt idx="5726">
                  <c:v>0.358333333333333</c:v>
                </c:pt>
                <c:pt idx="5727">
                  <c:v>0.358333333333333</c:v>
                </c:pt>
                <c:pt idx="5728">
                  <c:v>0.358447488584475</c:v>
                </c:pt>
                <c:pt idx="5729">
                  <c:v>0.35849056603773599</c:v>
                </c:pt>
                <c:pt idx="5730">
                  <c:v>0.35849056603773599</c:v>
                </c:pt>
                <c:pt idx="5731">
                  <c:v>0.35862068965517202</c:v>
                </c:pt>
                <c:pt idx="5732">
                  <c:v>0.35877862595419802</c:v>
                </c:pt>
                <c:pt idx="5733">
                  <c:v>0.35877862595419802</c:v>
                </c:pt>
                <c:pt idx="5734">
                  <c:v>0.35885167464114798</c:v>
                </c:pt>
                <c:pt idx="5735">
                  <c:v>0.35889570552147199</c:v>
                </c:pt>
                <c:pt idx="5736">
                  <c:v>0.35895765472312702</c:v>
                </c:pt>
                <c:pt idx="5737">
                  <c:v>0.35897435897435898</c:v>
                </c:pt>
                <c:pt idx="5738">
                  <c:v>0.35897435897435898</c:v>
                </c:pt>
                <c:pt idx="5739">
                  <c:v>0.35904628330995803</c:v>
                </c:pt>
                <c:pt idx="5740">
                  <c:v>0.35905044510385797</c:v>
                </c:pt>
                <c:pt idx="5741">
                  <c:v>0.35911602209944699</c:v>
                </c:pt>
                <c:pt idx="5742">
                  <c:v>0.35915492957746498</c:v>
                </c:pt>
                <c:pt idx="5743">
                  <c:v>0.35922330097087402</c:v>
                </c:pt>
                <c:pt idx="5744">
                  <c:v>0.359338061465721</c:v>
                </c:pt>
                <c:pt idx="5745">
                  <c:v>0.35934959349593498</c:v>
                </c:pt>
                <c:pt idx="5746">
                  <c:v>0.35960044395116503</c:v>
                </c:pt>
                <c:pt idx="5747">
                  <c:v>0.359649122807017</c:v>
                </c:pt>
                <c:pt idx="5748">
                  <c:v>0.35968379446640297</c:v>
                </c:pt>
                <c:pt idx="5749">
                  <c:v>0.35978835978835999</c:v>
                </c:pt>
                <c:pt idx="5750">
                  <c:v>0.35978835978835999</c:v>
                </c:pt>
                <c:pt idx="5751">
                  <c:v>0.35987002437042998</c:v>
                </c:pt>
                <c:pt idx="5752">
                  <c:v>0.35993740219092302</c:v>
                </c:pt>
                <c:pt idx="5753">
                  <c:v>0.359982898674647</c:v>
                </c:pt>
                <c:pt idx="5754">
                  <c:v>0.36</c:v>
                </c:pt>
                <c:pt idx="5755">
                  <c:v>0.36</c:v>
                </c:pt>
                <c:pt idx="5756">
                  <c:v>0.36</c:v>
                </c:pt>
                <c:pt idx="5757">
                  <c:v>0.36</c:v>
                </c:pt>
                <c:pt idx="5758">
                  <c:v>0.36006289308176098</c:v>
                </c:pt>
                <c:pt idx="5759">
                  <c:v>0.36013986013985999</c:v>
                </c:pt>
                <c:pt idx="5760">
                  <c:v>0.360153256704981</c:v>
                </c:pt>
                <c:pt idx="5761">
                  <c:v>0.36016096579476897</c:v>
                </c:pt>
                <c:pt idx="5762">
                  <c:v>0.36033519553072602</c:v>
                </c:pt>
                <c:pt idx="5763">
                  <c:v>0.36034482758620701</c:v>
                </c:pt>
                <c:pt idx="5764">
                  <c:v>0.36036036036036001</c:v>
                </c:pt>
                <c:pt idx="5765">
                  <c:v>0.36040609137055801</c:v>
                </c:pt>
                <c:pt idx="5766">
                  <c:v>0.36040609137055801</c:v>
                </c:pt>
                <c:pt idx="5767">
                  <c:v>0.36047575480329402</c:v>
                </c:pt>
                <c:pt idx="5768">
                  <c:v>0.36054421768707501</c:v>
                </c:pt>
                <c:pt idx="5769">
                  <c:v>0.36057692307692302</c:v>
                </c:pt>
                <c:pt idx="5770">
                  <c:v>0.36065573770491799</c:v>
                </c:pt>
                <c:pt idx="5771">
                  <c:v>0.360759493670886</c:v>
                </c:pt>
                <c:pt idx="5772">
                  <c:v>0.360799001248439</c:v>
                </c:pt>
                <c:pt idx="5773">
                  <c:v>0.36097560975609699</c:v>
                </c:pt>
                <c:pt idx="5774">
                  <c:v>0.360986547085202</c:v>
                </c:pt>
                <c:pt idx="5775">
                  <c:v>0.36103542234332398</c:v>
                </c:pt>
                <c:pt idx="5776">
                  <c:v>0.36116152450090699</c:v>
                </c:pt>
                <c:pt idx="5777">
                  <c:v>0.361179361179361</c:v>
                </c:pt>
                <c:pt idx="5778">
                  <c:v>0.36124401913875598</c:v>
                </c:pt>
                <c:pt idx="5779">
                  <c:v>0.36133768352365397</c:v>
                </c:pt>
                <c:pt idx="5780">
                  <c:v>0.36138613861386099</c:v>
                </c:pt>
                <c:pt idx="5781">
                  <c:v>0.36153846153846098</c:v>
                </c:pt>
                <c:pt idx="5782">
                  <c:v>0.36170212765957399</c:v>
                </c:pt>
                <c:pt idx="5783">
                  <c:v>0.36170212765957399</c:v>
                </c:pt>
                <c:pt idx="5784">
                  <c:v>0.36178107606679</c:v>
                </c:pt>
                <c:pt idx="5785">
                  <c:v>0.36184210526315802</c:v>
                </c:pt>
                <c:pt idx="5786">
                  <c:v>0.36196319018404899</c:v>
                </c:pt>
                <c:pt idx="5787">
                  <c:v>0.361990950226244</c:v>
                </c:pt>
                <c:pt idx="5788">
                  <c:v>0.36220472440944901</c:v>
                </c:pt>
                <c:pt idx="5789">
                  <c:v>0.36225352112676101</c:v>
                </c:pt>
                <c:pt idx="5790">
                  <c:v>0.36234309623430999</c:v>
                </c:pt>
                <c:pt idx="5791">
                  <c:v>0.36244541484716197</c:v>
                </c:pt>
                <c:pt idx="5792">
                  <c:v>0.36257309941520499</c:v>
                </c:pt>
                <c:pt idx="5793">
                  <c:v>0.36260623229461802</c:v>
                </c:pt>
                <c:pt idx="5794">
                  <c:v>0.36263736263736301</c:v>
                </c:pt>
                <c:pt idx="5795">
                  <c:v>0.36263736263736301</c:v>
                </c:pt>
                <c:pt idx="5796">
                  <c:v>0.36272545090180403</c:v>
                </c:pt>
                <c:pt idx="5797">
                  <c:v>0.36283185840707999</c:v>
                </c:pt>
                <c:pt idx="5798">
                  <c:v>0.36296296296296299</c:v>
                </c:pt>
                <c:pt idx="5799">
                  <c:v>0.36302142051860198</c:v>
                </c:pt>
                <c:pt idx="5800">
                  <c:v>0.36303630363036299</c:v>
                </c:pt>
                <c:pt idx="5801">
                  <c:v>0.36312849162011201</c:v>
                </c:pt>
                <c:pt idx="5802">
                  <c:v>0.36315789473684201</c:v>
                </c:pt>
                <c:pt idx="5803">
                  <c:v>0.36317907444668002</c:v>
                </c:pt>
                <c:pt idx="5804">
                  <c:v>0.36326530612244901</c:v>
                </c:pt>
                <c:pt idx="5805">
                  <c:v>0.36331569664903002</c:v>
                </c:pt>
                <c:pt idx="5806">
                  <c:v>0.36331569664903002</c:v>
                </c:pt>
                <c:pt idx="5807">
                  <c:v>0.36338418862690702</c:v>
                </c:pt>
                <c:pt idx="5808">
                  <c:v>0.36363636363636398</c:v>
                </c:pt>
                <c:pt idx="5809">
                  <c:v>0.36363636363636398</c:v>
                </c:pt>
                <c:pt idx="5810">
                  <c:v>0.36363636363636398</c:v>
                </c:pt>
                <c:pt idx="5811">
                  <c:v>0.36363636363636398</c:v>
                </c:pt>
                <c:pt idx="5812">
                  <c:v>0.36363636363636398</c:v>
                </c:pt>
                <c:pt idx="5813">
                  <c:v>0.36363636363636398</c:v>
                </c:pt>
                <c:pt idx="5814">
                  <c:v>0.36363636363636398</c:v>
                </c:pt>
                <c:pt idx="5815">
                  <c:v>0.36363636363636398</c:v>
                </c:pt>
                <c:pt idx="5816">
                  <c:v>0.36363636363636398</c:v>
                </c:pt>
                <c:pt idx="5817">
                  <c:v>0.36363636363636398</c:v>
                </c:pt>
                <c:pt idx="5818">
                  <c:v>0.36388888888888898</c:v>
                </c:pt>
                <c:pt idx="5819">
                  <c:v>0.36396396396396402</c:v>
                </c:pt>
                <c:pt idx="5820">
                  <c:v>0.36397058823529399</c:v>
                </c:pt>
                <c:pt idx="5821">
                  <c:v>0.36399999999999999</c:v>
                </c:pt>
                <c:pt idx="5822">
                  <c:v>0.36401098901098899</c:v>
                </c:pt>
                <c:pt idx="5823">
                  <c:v>0.36416184971098298</c:v>
                </c:pt>
                <c:pt idx="5824">
                  <c:v>0.36417910447761198</c:v>
                </c:pt>
                <c:pt idx="5825">
                  <c:v>0.36420722135007799</c:v>
                </c:pt>
                <c:pt idx="5826">
                  <c:v>0.36427566807313599</c:v>
                </c:pt>
                <c:pt idx="5827">
                  <c:v>0.36431226765799302</c:v>
                </c:pt>
                <c:pt idx="5828">
                  <c:v>0.36444444444444402</c:v>
                </c:pt>
                <c:pt idx="5829">
                  <c:v>0.36445444319460102</c:v>
                </c:pt>
                <c:pt idx="5830">
                  <c:v>0.36446886446886401</c:v>
                </c:pt>
                <c:pt idx="5831">
                  <c:v>0.36448598130841098</c:v>
                </c:pt>
                <c:pt idx="5832">
                  <c:v>0.36455696202531601</c:v>
                </c:pt>
                <c:pt idx="5833">
                  <c:v>0.36477987421383601</c:v>
                </c:pt>
                <c:pt idx="5834">
                  <c:v>0.36483931947069898</c:v>
                </c:pt>
                <c:pt idx="5835">
                  <c:v>0.36492890995260702</c:v>
                </c:pt>
                <c:pt idx="5836">
                  <c:v>0.36494845360824701</c:v>
                </c:pt>
                <c:pt idx="5837">
                  <c:v>0.36496350364963498</c:v>
                </c:pt>
                <c:pt idx="5838">
                  <c:v>0.36501516683518698</c:v>
                </c:pt>
                <c:pt idx="5839">
                  <c:v>0.36503623188405798</c:v>
                </c:pt>
                <c:pt idx="5840">
                  <c:v>0.36511156186612598</c:v>
                </c:pt>
                <c:pt idx="5841">
                  <c:v>0.365145228215768</c:v>
                </c:pt>
                <c:pt idx="5842">
                  <c:v>0.36516853932584298</c:v>
                </c:pt>
                <c:pt idx="5843">
                  <c:v>0.36520376175548602</c:v>
                </c:pt>
                <c:pt idx="5844">
                  <c:v>0.36521739130434799</c:v>
                </c:pt>
                <c:pt idx="5845">
                  <c:v>0.365234375</c:v>
                </c:pt>
                <c:pt idx="5846">
                  <c:v>0.36529680365296802</c:v>
                </c:pt>
                <c:pt idx="5847">
                  <c:v>0.36538461538461497</c:v>
                </c:pt>
                <c:pt idx="5848">
                  <c:v>0.36538461538461497</c:v>
                </c:pt>
                <c:pt idx="5849">
                  <c:v>0.36554021894335997</c:v>
                </c:pt>
                <c:pt idx="5850">
                  <c:v>0.36555891238670701</c:v>
                </c:pt>
                <c:pt idx="5851">
                  <c:v>0.36565420560747702</c:v>
                </c:pt>
                <c:pt idx="5852">
                  <c:v>0.36568213783403702</c:v>
                </c:pt>
                <c:pt idx="5853">
                  <c:v>0.36579572446555803</c:v>
                </c:pt>
                <c:pt idx="5854">
                  <c:v>0.36585365853658502</c:v>
                </c:pt>
                <c:pt idx="5855">
                  <c:v>0.36588818117480498</c:v>
                </c:pt>
                <c:pt idx="5856">
                  <c:v>0.36592178770949702</c:v>
                </c:pt>
                <c:pt idx="5857">
                  <c:v>0.36600496277915601</c:v>
                </c:pt>
                <c:pt idx="5858">
                  <c:v>0.36601307189542498</c:v>
                </c:pt>
                <c:pt idx="5859">
                  <c:v>0.36608442503638999</c:v>
                </c:pt>
                <c:pt idx="5860">
                  <c:v>0.36616161616161602</c:v>
                </c:pt>
                <c:pt idx="5861">
                  <c:v>0.366223908918406</c:v>
                </c:pt>
                <c:pt idx="5862">
                  <c:v>0.36625514403292198</c:v>
                </c:pt>
                <c:pt idx="5863">
                  <c:v>0.36625514403292198</c:v>
                </c:pt>
                <c:pt idx="5864">
                  <c:v>0.366265060240964</c:v>
                </c:pt>
                <c:pt idx="5865">
                  <c:v>0.366336633663366</c:v>
                </c:pt>
                <c:pt idx="5866">
                  <c:v>0.36635514018691601</c:v>
                </c:pt>
                <c:pt idx="5867">
                  <c:v>0.36641221374045801</c:v>
                </c:pt>
                <c:pt idx="5868">
                  <c:v>0.36644295302013402</c:v>
                </c:pt>
                <c:pt idx="5869">
                  <c:v>0.36647727272727298</c:v>
                </c:pt>
                <c:pt idx="5870">
                  <c:v>0.36664544875875199</c:v>
                </c:pt>
                <c:pt idx="5871">
                  <c:v>0.36666666666666697</c:v>
                </c:pt>
                <c:pt idx="5872">
                  <c:v>0.36666666666666697</c:v>
                </c:pt>
                <c:pt idx="5873">
                  <c:v>0.36666666666666697</c:v>
                </c:pt>
                <c:pt idx="5874">
                  <c:v>0.36666666666666697</c:v>
                </c:pt>
                <c:pt idx="5875">
                  <c:v>0.36693548387096803</c:v>
                </c:pt>
                <c:pt idx="5876">
                  <c:v>0.36701620591039102</c:v>
                </c:pt>
                <c:pt idx="5877">
                  <c:v>0.36705202312138702</c:v>
                </c:pt>
                <c:pt idx="5878">
                  <c:v>0.36729222520107202</c:v>
                </c:pt>
                <c:pt idx="5879">
                  <c:v>0.36732026143790802</c:v>
                </c:pt>
                <c:pt idx="5880">
                  <c:v>0.36734693877551</c:v>
                </c:pt>
                <c:pt idx="5881">
                  <c:v>0.36746987951807197</c:v>
                </c:pt>
                <c:pt idx="5882">
                  <c:v>0.36752136752136699</c:v>
                </c:pt>
                <c:pt idx="5883">
                  <c:v>0.36752136752136699</c:v>
                </c:pt>
                <c:pt idx="5884">
                  <c:v>0.367559523809524</c:v>
                </c:pt>
                <c:pt idx="5885">
                  <c:v>0.36756756756756798</c:v>
                </c:pt>
                <c:pt idx="5886">
                  <c:v>0.36758893280632399</c:v>
                </c:pt>
                <c:pt idx="5887">
                  <c:v>0.36762481089258697</c:v>
                </c:pt>
                <c:pt idx="5888">
                  <c:v>0.36774193548387102</c:v>
                </c:pt>
                <c:pt idx="5889">
                  <c:v>0.36776859504132198</c:v>
                </c:pt>
                <c:pt idx="5890">
                  <c:v>0.36781609195402298</c:v>
                </c:pt>
                <c:pt idx="5891">
                  <c:v>0.36792452830188699</c:v>
                </c:pt>
                <c:pt idx="5892">
                  <c:v>0.36805555555555602</c:v>
                </c:pt>
                <c:pt idx="5893">
                  <c:v>0.36805555555555602</c:v>
                </c:pt>
                <c:pt idx="5894">
                  <c:v>0.36806342015854998</c:v>
                </c:pt>
                <c:pt idx="5895">
                  <c:v>0.36809815950920199</c:v>
                </c:pt>
                <c:pt idx="5896">
                  <c:v>0.36820083682008398</c:v>
                </c:pt>
                <c:pt idx="5897">
                  <c:v>0.36826119969627902</c:v>
                </c:pt>
                <c:pt idx="5898">
                  <c:v>0.36831683168316798</c:v>
                </c:pt>
                <c:pt idx="5899">
                  <c:v>0.36833602584814201</c:v>
                </c:pt>
                <c:pt idx="5900">
                  <c:v>0.36842105263157898</c:v>
                </c:pt>
                <c:pt idx="5901">
                  <c:v>0.36842105263157898</c:v>
                </c:pt>
                <c:pt idx="5902">
                  <c:v>0.36842105263157898</c:v>
                </c:pt>
                <c:pt idx="5903">
                  <c:v>0.36842105263157898</c:v>
                </c:pt>
                <c:pt idx="5904">
                  <c:v>0.36842105263157898</c:v>
                </c:pt>
                <c:pt idx="5905">
                  <c:v>0.36843740292016097</c:v>
                </c:pt>
                <c:pt idx="5906">
                  <c:v>0.36851520572450802</c:v>
                </c:pt>
                <c:pt idx="5907">
                  <c:v>0.368531102979613</c:v>
                </c:pt>
                <c:pt idx="5908">
                  <c:v>0.36863966770508799</c:v>
                </c:pt>
                <c:pt idx="5909">
                  <c:v>0.36879432624113501</c:v>
                </c:pt>
                <c:pt idx="5910">
                  <c:v>0.368972746331237</c:v>
                </c:pt>
                <c:pt idx="5911">
                  <c:v>0.36902050113895202</c:v>
                </c:pt>
                <c:pt idx="5912">
                  <c:v>0.36904761904761901</c:v>
                </c:pt>
                <c:pt idx="5913">
                  <c:v>0.36904761904761901</c:v>
                </c:pt>
                <c:pt idx="5914">
                  <c:v>0.36923076923076897</c:v>
                </c:pt>
                <c:pt idx="5915">
                  <c:v>0.36923076923076897</c:v>
                </c:pt>
                <c:pt idx="5916">
                  <c:v>0.36923076923076897</c:v>
                </c:pt>
                <c:pt idx="5917">
                  <c:v>0.36929460580912898</c:v>
                </c:pt>
                <c:pt idx="5918">
                  <c:v>0.36934673366834198</c:v>
                </c:pt>
                <c:pt idx="5919">
                  <c:v>0.36935704514363898</c:v>
                </c:pt>
                <c:pt idx="5920">
                  <c:v>0.36936936936936898</c:v>
                </c:pt>
                <c:pt idx="5921">
                  <c:v>0.36938775510204103</c:v>
                </c:pt>
                <c:pt idx="5922">
                  <c:v>0.36942675159235699</c:v>
                </c:pt>
                <c:pt idx="5923">
                  <c:v>0.36944302503832399</c:v>
                </c:pt>
                <c:pt idx="5924">
                  <c:v>0.36949152542372898</c:v>
                </c:pt>
                <c:pt idx="5925">
                  <c:v>0.36955380577427799</c:v>
                </c:pt>
                <c:pt idx="5926">
                  <c:v>0.36956521739130399</c:v>
                </c:pt>
                <c:pt idx="5927">
                  <c:v>0.36956521739130399</c:v>
                </c:pt>
                <c:pt idx="5928">
                  <c:v>0.36961160904822898</c:v>
                </c:pt>
                <c:pt idx="5929">
                  <c:v>0.36986301369863001</c:v>
                </c:pt>
                <c:pt idx="5930">
                  <c:v>0.36986301369863001</c:v>
                </c:pt>
                <c:pt idx="5931">
                  <c:v>0.36988847583643097</c:v>
                </c:pt>
                <c:pt idx="5932">
                  <c:v>0.37</c:v>
                </c:pt>
                <c:pt idx="5933">
                  <c:v>0.37002881844380398</c:v>
                </c:pt>
                <c:pt idx="5934">
                  <c:v>0.37007874015747999</c:v>
                </c:pt>
                <c:pt idx="5935">
                  <c:v>0.37009803921568601</c:v>
                </c:pt>
                <c:pt idx="5936">
                  <c:v>0.370114942528736</c:v>
                </c:pt>
                <c:pt idx="5937">
                  <c:v>0.37016574585635398</c:v>
                </c:pt>
                <c:pt idx="5938">
                  <c:v>0.370281124497992</c:v>
                </c:pt>
                <c:pt idx="5939">
                  <c:v>0.37037037037037002</c:v>
                </c:pt>
                <c:pt idx="5940">
                  <c:v>0.37037037037037002</c:v>
                </c:pt>
                <c:pt idx="5941">
                  <c:v>0.37037037037037002</c:v>
                </c:pt>
                <c:pt idx="5942">
                  <c:v>0.37037037037037002</c:v>
                </c:pt>
                <c:pt idx="5943">
                  <c:v>0.37037037037037002</c:v>
                </c:pt>
                <c:pt idx="5944">
                  <c:v>0.37037037037037002</c:v>
                </c:pt>
                <c:pt idx="5945">
                  <c:v>0.37053571428571402</c:v>
                </c:pt>
                <c:pt idx="5946">
                  <c:v>0.37068965517241398</c:v>
                </c:pt>
                <c:pt idx="5947">
                  <c:v>0.37072299910740802</c:v>
                </c:pt>
                <c:pt idx="5948">
                  <c:v>0.37075575027382301</c:v>
                </c:pt>
                <c:pt idx="5949">
                  <c:v>0.37082601054481501</c:v>
                </c:pt>
                <c:pt idx="5950">
                  <c:v>0.37089201877934302</c:v>
                </c:pt>
                <c:pt idx="5951">
                  <c:v>0.37096774193548399</c:v>
                </c:pt>
                <c:pt idx="5952">
                  <c:v>0.37113402061855699</c:v>
                </c:pt>
                <c:pt idx="5953">
                  <c:v>0.371301775147929</c:v>
                </c:pt>
                <c:pt idx="5954">
                  <c:v>0.371428571428571</c:v>
                </c:pt>
                <c:pt idx="5955">
                  <c:v>0.371428571428571</c:v>
                </c:pt>
                <c:pt idx="5956">
                  <c:v>0.371428571428571</c:v>
                </c:pt>
                <c:pt idx="5957">
                  <c:v>0.37147887323943701</c:v>
                </c:pt>
                <c:pt idx="5958">
                  <c:v>0.37158469945355199</c:v>
                </c:pt>
                <c:pt idx="5959">
                  <c:v>0.37166324435318299</c:v>
                </c:pt>
                <c:pt idx="5960">
                  <c:v>0.37167381974248898</c:v>
                </c:pt>
                <c:pt idx="5961">
                  <c:v>0.37179487179487197</c:v>
                </c:pt>
                <c:pt idx="5962">
                  <c:v>0.37182448036951499</c:v>
                </c:pt>
                <c:pt idx="5963">
                  <c:v>0.371848739495798</c:v>
                </c:pt>
                <c:pt idx="5964">
                  <c:v>0.37195121951219501</c:v>
                </c:pt>
                <c:pt idx="5965">
                  <c:v>0.37201365187713298</c:v>
                </c:pt>
                <c:pt idx="5966">
                  <c:v>0.37205081669691498</c:v>
                </c:pt>
                <c:pt idx="5967">
                  <c:v>0.372093023255814</c:v>
                </c:pt>
                <c:pt idx="5968">
                  <c:v>0.372093023255814</c:v>
                </c:pt>
                <c:pt idx="5969">
                  <c:v>0.37222222222222201</c:v>
                </c:pt>
                <c:pt idx="5970">
                  <c:v>0.37225433526011598</c:v>
                </c:pt>
                <c:pt idx="5971">
                  <c:v>0.37229437229437201</c:v>
                </c:pt>
                <c:pt idx="5972">
                  <c:v>0.37237237237237197</c:v>
                </c:pt>
                <c:pt idx="5973">
                  <c:v>0.37254901960784298</c:v>
                </c:pt>
                <c:pt idx="5974">
                  <c:v>0.37254901960784298</c:v>
                </c:pt>
                <c:pt idx="5975">
                  <c:v>0.37258064516129002</c:v>
                </c:pt>
                <c:pt idx="5976">
                  <c:v>0.37267080745341602</c:v>
                </c:pt>
                <c:pt idx="5977">
                  <c:v>0.37272727272727302</c:v>
                </c:pt>
                <c:pt idx="5978">
                  <c:v>0.37272727272727302</c:v>
                </c:pt>
                <c:pt idx="5979">
                  <c:v>0.37288135593220301</c:v>
                </c:pt>
                <c:pt idx="5980">
                  <c:v>0.37288135593220301</c:v>
                </c:pt>
                <c:pt idx="5981">
                  <c:v>0.37288135593220301</c:v>
                </c:pt>
                <c:pt idx="5982">
                  <c:v>0.37295081967213101</c:v>
                </c:pt>
                <c:pt idx="5983">
                  <c:v>0.37301587301587302</c:v>
                </c:pt>
                <c:pt idx="5984">
                  <c:v>0.37306201550387602</c:v>
                </c:pt>
                <c:pt idx="5985">
                  <c:v>0.37313432835820898</c:v>
                </c:pt>
                <c:pt idx="5986">
                  <c:v>0.37323943661971798</c:v>
                </c:pt>
                <c:pt idx="5987">
                  <c:v>0.37325349301397198</c:v>
                </c:pt>
                <c:pt idx="5988">
                  <c:v>0.37331898870360403</c:v>
                </c:pt>
                <c:pt idx="5989">
                  <c:v>0.37336244541484698</c:v>
                </c:pt>
                <c:pt idx="5990">
                  <c:v>0.373493975903614</c:v>
                </c:pt>
                <c:pt idx="5991">
                  <c:v>0.373493975903614</c:v>
                </c:pt>
                <c:pt idx="5992">
                  <c:v>0.37353600797408398</c:v>
                </c:pt>
                <c:pt idx="5993">
                  <c:v>0.37357954545454503</c:v>
                </c:pt>
                <c:pt idx="5994">
                  <c:v>0.37362637362637402</c:v>
                </c:pt>
                <c:pt idx="5995">
                  <c:v>0.37368922783603398</c:v>
                </c:pt>
                <c:pt idx="5996">
                  <c:v>0.37373737373737398</c:v>
                </c:pt>
                <c:pt idx="5997">
                  <c:v>0.37373737373737398</c:v>
                </c:pt>
                <c:pt idx="5998">
                  <c:v>0.37373737373737398</c:v>
                </c:pt>
                <c:pt idx="5999">
                  <c:v>0.37373737373737398</c:v>
                </c:pt>
                <c:pt idx="6000">
                  <c:v>0.37391304347826099</c:v>
                </c:pt>
                <c:pt idx="6001">
                  <c:v>0.37404580152671801</c:v>
                </c:pt>
                <c:pt idx="6002">
                  <c:v>0.37404580152671801</c:v>
                </c:pt>
                <c:pt idx="6003">
                  <c:v>0.37404580152671801</c:v>
                </c:pt>
                <c:pt idx="6004">
                  <c:v>0.37427325581395299</c:v>
                </c:pt>
                <c:pt idx="6005">
                  <c:v>0.37433155080213898</c:v>
                </c:pt>
                <c:pt idx="6006">
                  <c:v>0.37433155080213898</c:v>
                </c:pt>
                <c:pt idx="6007">
                  <c:v>0.37436548223350202</c:v>
                </c:pt>
                <c:pt idx="6008">
                  <c:v>0.37437185929648198</c:v>
                </c:pt>
                <c:pt idx="6009">
                  <c:v>0.37437365783822502</c:v>
                </c:pt>
                <c:pt idx="6010">
                  <c:v>0.374387683694892</c:v>
                </c:pt>
                <c:pt idx="6011">
                  <c:v>0.37450199203187201</c:v>
                </c:pt>
                <c:pt idx="6012">
                  <c:v>0.37454545454545501</c:v>
                </c:pt>
                <c:pt idx="6013">
                  <c:v>0.37457044673539502</c:v>
                </c:pt>
                <c:pt idx="6014">
                  <c:v>0.37468982630272901</c:v>
                </c:pt>
                <c:pt idx="6015">
                  <c:v>0.37477148080438699</c:v>
                </c:pt>
                <c:pt idx="6016">
                  <c:v>0.37477797513321498</c:v>
                </c:pt>
                <c:pt idx="6017">
                  <c:v>0.375</c:v>
                </c:pt>
                <c:pt idx="6018">
                  <c:v>0.375</c:v>
                </c:pt>
                <c:pt idx="6019">
                  <c:v>0.375</c:v>
                </c:pt>
                <c:pt idx="6020">
                  <c:v>0.375</c:v>
                </c:pt>
                <c:pt idx="6021">
                  <c:v>0.375</c:v>
                </c:pt>
                <c:pt idx="6022">
                  <c:v>0.375</c:v>
                </c:pt>
                <c:pt idx="6023">
                  <c:v>0.375</c:v>
                </c:pt>
                <c:pt idx="6024">
                  <c:v>0.37513873473917903</c:v>
                </c:pt>
                <c:pt idx="6025">
                  <c:v>0.37515683814303602</c:v>
                </c:pt>
                <c:pt idx="6026">
                  <c:v>0.375352112676056</c:v>
                </c:pt>
                <c:pt idx="6027">
                  <c:v>0.37542662116040898</c:v>
                </c:pt>
                <c:pt idx="6028">
                  <c:v>0.37546468401486999</c:v>
                </c:pt>
                <c:pt idx="6029">
                  <c:v>0.37550744248985102</c:v>
                </c:pt>
                <c:pt idx="6030">
                  <c:v>0.37563451776649698</c:v>
                </c:pt>
                <c:pt idx="6031">
                  <c:v>0.37566137566137597</c:v>
                </c:pt>
                <c:pt idx="6032">
                  <c:v>0.37570476678626302</c:v>
                </c:pt>
                <c:pt idx="6033">
                  <c:v>0.37573964497041401</c:v>
                </c:pt>
                <c:pt idx="6034">
                  <c:v>0.37581699346405201</c:v>
                </c:pt>
                <c:pt idx="6035">
                  <c:v>0.375925925925926</c:v>
                </c:pt>
                <c:pt idx="6036">
                  <c:v>0.37595419847328199</c:v>
                </c:pt>
                <c:pt idx="6037">
                  <c:v>0.37601626016260198</c:v>
                </c:pt>
                <c:pt idx="6038">
                  <c:v>0.37606837606837601</c:v>
                </c:pt>
                <c:pt idx="6039">
                  <c:v>0.37609329446064099</c:v>
                </c:pt>
                <c:pt idx="6040">
                  <c:v>0.37609561752988002</c:v>
                </c:pt>
                <c:pt idx="6041">
                  <c:v>0.37611940298507501</c:v>
                </c:pt>
                <c:pt idx="6042">
                  <c:v>0.37619961612284097</c:v>
                </c:pt>
                <c:pt idx="6043">
                  <c:v>0.37638786084381898</c:v>
                </c:pt>
                <c:pt idx="6044">
                  <c:v>0.37639601569574399</c:v>
                </c:pt>
                <c:pt idx="6045">
                  <c:v>0.376470588235294</c:v>
                </c:pt>
                <c:pt idx="6046">
                  <c:v>0.37662337662337703</c:v>
                </c:pt>
                <c:pt idx="6047">
                  <c:v>0.376651982378855</c:v>
                </c:pt>
                <c:pt idx="6048">
                  <c:v>0.37671232876712302</c:v>
                </c:pt>
                <c:pt idx="6049">
                  <c:v>0.376744186046512</c:v>
                </c:pt>
                <c:pt idx="6050">
                  <c:v>0.37700534759358301</c:v>
                </c:pt>
                <c:pt idx="6051">
                  <c:v>0.37704918032786899</c:v>
                </c:pt>
                <c:pt idx="6052">
                  <c:v>0.37704918032786899</c:v>
                </c:pt>
                <c:pt idx="6053">
                  <c:v>0.377097729516288</c:v>
                </c:pt>
                <c:pt idx="6054">
                  <c:v>0.377104377104377</c:v>
                </c:pt>
                <c:pt idx="6055">
                  <c:v>0.37711864406779699</c:v>
                </c:pt>
                <c:pt idx="6056">
                  <c:v>0.377124183006536</c:v>
                </c:pt>
                <c:pt idx="6057">
                  <c:v>0.37717121588089297</c:v>
                </c:pt>
                <c:pt idx="6058">
                  <c:v>0.37727272727272698</c:v>
                </c:pt>
                <c:pt idx="6059">
                  <c:v>0.37727272727272698</c:v>
                </c:pt>
                <c:pt idx="6060">
                  <c:v>0.37729549248747901</c:v>
                </c:pt>
                <c:pt idx="6061">
                  <c:v>0.37731958762886603</c:v>
                </c:pt>
                <c:pt idx="6062">
                  <c:v>0.37735849056603799</c:v>
                </c:pt>
                <c:pt idx="6063">
                  <c:v>0.37749546279491802</c:v>
                </c:pt>
                <c:pt idx="6064">
                  <c:v>0.37751004016064199</c:v>
                </c:pt>
                <c:pt idx="6065">
                  <c:v>0.37752161383285299</c:v>
                </c:pt>
                <c:pt idx="6066">
                  <c:v>0.37756332931242498</c:v>
                </c:pt>
                <c:pt idx="6067">
                  <c:v>0.37765957446808501</c:v>
                </c:pt>
                <c:pt idx="6068">
                  <c:v>0.37765957446808501</c:v>
                </c:pt>
                <c:pt idx="6069">
                  <c:v>0.37769784172661902</c:v>
                </c:pt>
                <c:pt idx="6070">
                  <c:v>0.37784090909090901</c:v>
                </c:pt>
                <c:pt idx="6071">
                  <c:v>0.377875136911281</c:v>
                </c:pt>
                <c:pt idx="6072">
                  <c:v>0.37789203084832901</c:v>
                </c:pt>
                <c:pt idx="6073">
                  <c:v>0.37837837837837801</c:v>
                </c:pt>
                <c:pt idx="6074">
                  <c:v>0.37837837837837801</c:v>
                </c:pt>
                <c:pt idx="6075">
                  <c:v>0.37842778793418602</c:v>
                </c:pt>
                <c:pt idx="6076">
                  <c:v>0.37847222222222199</c:v>
                </c:pt>
                <c:pt idx="6077">
                  <c:v>0.37850467289719603</c:v>
                </c:pt>
                <c:pt idx="6078">
                  <c:v>0.37852112676056299</c:v>
                </c:pt>
                <c:pt idx="6079">
                  <c:v>0.37862950058071998</c:v>
                </c:pt>
                <c:pt idx="6080">
                  <c:v>0.37865497076023402</c:v>
                </c:pt>
                <c:pt idx="6081">
                  <c:v>0.37878787878787901</c:v>
                </c:pt>
                <c:pt idx="6082">
                  <c:v>0.37881508078994602</c:v>
                </c:pt>
                <c:pt idx="6083">
                  <c:v>0.37894736842105298</c:v>
                </c:pt>
                <c:pt idx="6084">
                  <c:v>0.37894736842105298</c:v>
                </c:pt>
                <c:pt idx="6085">
                  <c:v>0.37897310513447402</c:v>
                </c:pt>
                <c:pt idx="6086">
                  <c:v>0.37903225806451601</c:v>
                </c:pt>
                <c:pt idx="6087">
                  <c:v>0.379120879120879</c:v>
                </c:pt>
                <c:pt idx="6088">
                  <c:v>0.37924701561065199</c:v>
                </c:pt>
                <c:pt idx="6089">
                  <c:v>0.37931034482758602</c:v>
                </c:pt>
                <c:pt idx="6090">
                  <c:v>0.37931034482758602</c:v>
                </c:pt>
                <c:pt idx="6091">
                  <c:v>0.37931034482758602</c:v>
                </c:pt>
                <c:pt idx="6092">
                  <c:v>0.37931034482758602</c:v>
                </c:pt>
                <c:pt idx="6093">
                  <c:v>0.37931034482758602</c:v>
                </c:pt>
                <c:pt idx="6094">
                  <c:v>0.37935483870967701</c:v>
                </c:pt>
                <c:pt idx="6095">
                  <c:v>0.37944664031620501</c:v>
                </c:pt>
                <c:pt idx="6096">
                  <c:v>0.379780386217342</c:v>
                </c:pt>
                <c:pt idx="6097">
                  <c:v>0.37980769230769201</c:v>
                </c:pt>
                <c:pt idx="6098">
                  <c:v>0.37989949748743701</c:v>
                </c:pt>
                <c:pt idx="6099">
                  <c:v>0.37995049504950501</c:v>
                </c:pt>
                <c:pt idx="6100">
                  <c:v>0.38</c:v>
                </c:pt>
                <c:pt idx="6101">
                  <c:v>0.380145278450363</c:v>
                </c:pt>
                <c:pt idx="6102">
                  <c:v>0.380145278450363</c:v>
                </c:pt>
                <c:pt idx="6103">
                  <c:v>0.38016528925619802</c:v>
                </c:pt>
                <c:pt idx="6104">
                  <c:v>0.38016528925619802</c:v>
                </c:pt>
                <c:pt idx="6105">
                  <c:v>0.38016528925619802</c:v>
                </c:pt>
                <c:pt idx="6106">
                  <c:v>0.38020833333333298</c:v>
                </c:pt>
                <c:pt idx="6107">
                  <c:v>0.38028169014084501</c:v>
                </c:pt>
                <c:pt idx="6108">
                  <c:v>0.38028169014084501</c:v>
                </c:pt>
                <c:pt idx="6109">
                  <c:v>0.38030560271646902</c:v>
                </c:pt>
                <c:pt idx="6110">
                  <c:v>0.380368098159509</c:v>
                </c:pt>
                <c:pt idx="6111">
                  <c:v>0.38038277511961699</c:v>
                </c:pt>
                <c:pt idx="6112">
                  <c:v>0.38059701492537301</c:v>
                </c:pt>
                <c:pt idx="6113">
                  <c:v>0.38075017692852098</c:v>
                </c:pt>
                <c:pt idx="6114">
                  <c:v>0.38095238095238099</c:v>
                </c:pt>
                <c:pt idx="6115">
                  <c:v>0.38095238095238099</c:v>
                </c:pt>
                <c:pt idx="6116">
                  <c:v>0.38110236220472399</c:v>
                </c:pt>
                <c:pt idx="6117">
                  <c:v>0.38111888111888098</c:v>
                </c:pt>
                <c:pt idx="6118">
                  <c:v>0.38118811881188103</c:v>
                </c:pt>
                <c:pt idx="6119">
                  <c:v>0.38121546961326003</c:v>
                </c:pt>
                <c:pt idx="6120">
                  <c:v>0.38133333333333302</c:v>
                </c:pt>
                <c:pt idx="6121">
                  <c:v>0.381374722838137</c:v>
                </c:pt>
                <c:pt idx="6122">
                  <c:v>0.38145315487571702</c:v>
                </c:pt>
                <c:pt idx="6123">
                  <c:v>0.381509032943677</c:v>
                </c:pt>
                <c:pt idx="6124">
                  <c:v>0.38160377358490599</c:v>
                </c:pt>
                <c:pt idx="6125">
                  <c:v>0.38161559888579399</c:v>
                </c:pt>
                <c:pt idx="6126">
                  <c:v>0.38174273858921198</c:v>
                </c:pt>
                <c:pt idx="6127">
                  <c:v>0.38174550299800097</c:v>
                </c:pt>
                <c:pt idx="6128">
                  <c:v>0.38179800221975602</c:v>
                </c:pt>
                <c:pt idx="6129">
                  <c:v>0.381818181818182</c:v>
                </c:pt>
                <c:pt idx="6130">
                  <c:v>0.381818181818182</c:v>
                </c:pt>
                <c:pt idx="6131">
                  <c:v>0.38188976377952699</c:v>
                </c:pt>
                <c:pt idx="6132">
                  <c:v>0.38194444444444398</c:v>
                </c:pt>
                <c:pt idx="6133">
                  <c:v>0.38197424892703902</c:v>
                </c:pt>
                <c:pt idx="6134">
                  <c:v>0.38205128205128203</c:v>
                </c:pt>
                <c:pt idx="6135">
                  <c:v>0.382059800664452</c:v>
                </c:pt>
                <c:pt idx="6136">
                  <c:v>0.382059800664452</c:v>
                </c:pt>
                <c:pt idx="6137">
                  <c:v>0.38216560509554098</c:v>
                </c:pt>
                <c:pt idx="6138">
                  <c:v>0.38222222222222202</c:v>
                </c:pt>
                <c:pt idx="6139">
                  <c:v>0.38235294117647101</c:v>
                </c:pt>
                <c:pt idx="6140">
                  <c:v>0.38241308793456003</c:v>
                </c:pt>
                <c:pt idx="6141">
                  <c:v>0.38255033557047002</c:v>
                </c:pt>
                <c:pt idx="6142">
                  <c:v>0.382737576285963</c:v>
                </c:pt>
                <c:pt idx="6143">
                  <c:v>0.3828125</c:v>
                </c:pt>
                <c:pt idx="6144">
                  <c:v>0.3828125</c:v>
                </c:pt>
                <c:pt idx="6145">
                  <c:v>0.3828125</c:v>
                </c:pt>
                <c:pt idx="6146">
                  <c:v>0.3828125</c:v>
                </c:pt>
                <c:pt idx="6147">
                  <c:v>0.38283828382838297</c:v>
                </c:pt>
                <c:pt idx="6148">
                  <c:v>0.38307349665924301</c:v>
                </c:pt>
                <c:pt idx="6149">
                  <c:v>0.38322813345356199</c:v>
                </c:pt>
                <c:pt idx="6150">
                  <c:v>0.383367139959432</c:v>
                </c:pt>
                <c:pt idx="6151">
                  <c:v>0.38348868175765599</c:v>
                </c:pt>
                <c:pt idx="6152">
                  <c:v>0.38349514563106801</c:v>
                </c:pt>
                <c:pt idx="6153">
                  <c:v>0.38351254480286701</c:v>
                </c:pt>
                <c:pt idx="6154">
                  <c:v>0.38356164383561597</c:v>
                </c:pt>
                <c:pt idx="6155">
                  <c:v>0.38372093023255799</c:v>
                </c:pt>
                <c:pt idx="6156">
                  <c:v>0.38383838383838398</c:v>
                </c:pt>
                <c:pt idx="6157">
                  <c:v>0.38400000000000001</c:v>
                </c:pt>
                <c:pt idx="6158">
                  <c:v>0.38403041825095102</c:v>
                </c:pt>
                <c:pt idx="6159">
                  <c:v>0.38405797101449302</c:v>
                </c:pt>
                <c:pt idx="6160">
                  <c:v>0.384133611691023</c:v>
                </c:pt>
                <c:pt idx="6161">
                  <c:v>0.38428647781934799</c:v>
                </c:pt>
                <c:pt idx="6162">
                  <c:v>0.38431649593783102</c:v>
                </c:pt>
                <c:pt idx="6163">
                  <c:v>0.38435754189944099</c:v>
                </c:pt>
                <c:pt idx="6164">
                  <c:v>0.38455008488964298</c:v>
                </c:pt>
                <c:pt idx="6165">
                  <c:v>0.38461538461538503</c:v>
                </c:pt>
                <c:pt idx="6166">
                  <c:v>0.38461538461538503</c:v>
                </c:pt>
                <c:pt idx="6167">
                  <c:v>0.38461538461538503</c:v>
                </c:pt>
                <c:pt idx="6168">
                  <c:v>0.38461538461538503</c:v>
                </c:pt>
                <c:pt idx="6169">
                  <c:v>0.38461538461538503</c:v>
                </c:pt>
                <c:pt idx="6170">
                  <c:v>0.38461538461538503</c:v>
                </c:pt>
                <c:pt idx="6171">
                  <c:v>0.38461538461538503</c:v>
                </c:pt>
                <c:pt idx="6172">
                  <c:v>0.38461538461538503</c:v>
                </c:pt>
                <c:pt idx="6173">
                  <c:v>0.38461538461538503</c:v>
                </c:pt>
                <c:pt idx="6174">
                  <c:v>0.38461538461538503</c:v>
                </c:pt>
                <c:pt idx="6175">
                  <c:v>0.38461538461538503</c:v>
                </c:pt>
                <c:pt idx="6176">
                  <c:v>0.38476190476190503</c:v>
                </c:pt>
                <c:pt idx="6177">
                  <c:v>0.38490566037735802</c:v>
                </c:pt>
                <c:pt idx="6178">
                  <c:v>0.38495575221238898</c:v>
                </c:pt>
                <c:pt idx="6179">
                  <c:v>0.38497652582159603</c:v>
                </c:pt>
                <c:pt idx="6180">
                  <c:v>0.385085574572127</c:v>
                </c:pt>
                <c:pt idx="6181">
                  <c:v>0.38513513513513498</c:v>
                </c:pt>
                <c:pt idx="6182">
                  <c:v>0.38515674984005099</c:v>
                </c:pt>
                <c:pt idx="6183">
                  <c:v>0.38524590163934402</c:v>
                </c:pt>
                <c:pt idx="6184">
                  <c:v>0.38532110091743099</c:v>
                </c:pt>
                <c:pt idx="6185">
                  <c:v>0.38536585365853698</c:v>
                </c:pt>
                <c:pt idx="6186">
                  <c:v>0.38541666666666702</c:v>
                </c:pt>
                <c:pt idx="6187">
                  <c:v>0.38547486033519501</c:v>
                </c:pt>
                <c:pt idx="6188">
                  <c:v>0.38562091503267998</c:v>
                </c:pt>
                <c:pt idx="6189">
                  <c:v>0.38567493112947698</c:v>
                </c:pt>
                <c:pt idx="6190">
                  <c:v>0.38571428571428601</c:v>
                </c:pt>
                <c:pt idx="6191">
                  <c:v>0.38571428571428601</c:v>
                </c:pt>
                <c:pt idx="6192">
                  <c:v>0.385752688172043</c:v>
                </c:pt>
                <c:pt idx="6193">
                  <c:v>0.38586956521739102</c:v>
                </c:pt>
                <c:pt idx="6194">
                  <c:v>0.38596491228070201</c:v>
                </c:pt>
                <c:pt idx="6195">
                  <c:v>0.38598901098901101</c:v>
                </c:pt>
                <c:pt idx="6196">
                  <c:v>0.38636363636363602</c:v>
                </c:pt>
                <c:pt idx="6197">
                  <c:v>0.38638920134983101</c:v>
                </c:pt>
                <c:pt idx="6198">
                  <c:v>0.38640132669983401</c:v>
                </c:pt>
                <c:pt idx="6199">
                  <c:v>0.38650306748466301</c:v>
                </c:pt>
                <c:pt idx="6200">
                  <c:v>0.38655462184873901</c:v>
                </c:pt>
                <c:pt idx="6201">
                  <c:v>0.38658777120315602</c:v>
                </c:pt>
                <c:pt idx="6202">
                  <c:v>0.38666666666666699</c:v>
                </c:pt>
                <c:pt idx="6203">
                  <c:v>0.38666666666666699</c:v>
                </c:pt>
                <c:pt idx="6204">
                  <c:v>0.38669438669438699</c:v>
                </c:pt>
                <c:pt idx="6205">
                  <c:v>0.38679245283018898</c:v>
                </c:pt>
                <c:pt idx="6206">
                  <c:v>0.386861313868613</c:v>
                </c:pt>
                <c:pt idx="6207">
                  <c:v>0.38701725554642602</c:v>
                </c:pt>
                <c:pt idx="6208">
                  <c:v>0.38709677419354799</c:v>
                </c:pt>
                <c:pt idx="6209">
                  <c:v>0.38721804511278202</c:v>
                </c:pt>
                <c:pt idx="6210">
                  <c:v>0.38725490196078399</c:v>
                </c:pt>
                <c:pt idx="6211">
                  <c:v>0.38754325259515598</c:v>
                </c:pt>
                <c:pt idx="6212">
                  <c:v>0.38768115942029002</c:v>
                </c:pt>
                <c:pt idx="6213">
                  <c:v>0.387692307692308</c:v>
                </c:pt>
                <c:pt idx="6214">
                  <c:v>0.38775510204081598</c:v>
                </c:pt>
                <c:pt idx="6215">
                  <c:v>0.38775510204081598</c:v>
                </c:pt>
                <c:pt idx="6216">
                  <c:v>0.387862796833773</c:v>
                </c:pt>
                <c:pt idx="6217">
                  <c:v>0.38789376158122302</c:v>
                </c:pt>
                <c:pt idx="6218">
                  <c:v>0.38799661876584901</c:v>
                </c:pt>
                <c:pt idx="6219">
                  <c:v>0.38801261829653</c:v>
                </c:pt>
                <c:pt idx="6220">
                  <c:v>0.38815789473684198</c:v>
                </c:pt>
                <c:pt idx="6221">
                  <c:v>0.38820638820638798</c:v>
                </c:pt>
                <c:pt idx="6222">
                  <c:v>0.388489208633093</c:v>
                </c:pt>
                <c:pt idx="6223">
                  <c:v>0.38851351351351299</c:v>
                </c:pt>
                <c:pt idx="6224">
                  <c:v>0.38857142857142901</c:v>
                </c:pt>
                <c:pt idx="6225">
                  <c:v>0.388581952117864</c:v>
                </c:pt>
                <c:pt idx="6226">
                  <c:v>0.38860103626942999</c:v>
                </c:pt>
                <c:pt idx="6227">
                  <c:v>0.38875502008032098</c:v>
                </c:pt>
                <c:pt idx="6228">
                  <c:v>0.38876146788990801</c:v>
                </c:pt>
                <c:pt idx="6229">
                  <c:v>0.38880484114977298</c:v>
                </c:pt>
                <c:pt idx="6230">
                  <c:v>0.38882421420256102</c:v>
                </c:pt>
                <c:pt idx="6231">
                  <c:v>0.38882421420256102</c:v>
                </c:pt>
                <c:pt idx="6232">
                  <c:v>0.38888888888888901</c:v>
                </c:pt>
                <c:pt idx="6233">
                  <c:v>0.38888888888888901</c:v>
                </c:pt>
                <c:pt idx="6234">
                  <c:v>0.38888888888888901</c:v>
                </c:pt>
                <c:pt idx="6235">
                  <c:v>0.38888888888888901</c:v>
                </c:pt>
                <c:pt idx="6236">
                  <c:v>0.38888888888888901</c:v>
                </c:pt>
                <c:pt idx="6237">
                  <c:v>0.38904109589041103</c:v>
                </c:pt>
                <c:pt idx="6238">
                  <c:v>0.38904109589041103</c:v>
                </c:pt>
                <c:pt idx="6239">
                  <c:v>0.38929440389294401</c:v>
                </c:pt>
                <c:pt idx="6240">
                  <c:v>0.38934426229508201</c:v>
                </c:pt>
                <c:pt idx="6241">
                  <c:v>0.38938053097345099</c:v>
                </c:pt>
                <c:pt idx="6242">
                  <c:v>0.38942307692307698</c:v>
                </c:pt>
                <c:pt idx="6243">
                  <c:v>0.38942976356050102</c:v>
                </c:pt>
                <c:pt idx="6244">
                  <c:v>0.389513108614232</c:v>
                </c:pt>
                <c:pt idx="6245">
                  <c:v>0.38961038961039002</c:v>
                </c:pt>
                <c:pt idx="6246">
                  <c:v>0.38967136150234699</c:v>
                </c:pt>
                <c:pt idx="6247">
                  <c:v>0.38972162740899402</c:v>
                </c:pt>
                <c:pt idx="6248">
                  <c:v>0.389791183294663</c:v>
                </c:pt>
                <c:pt idx="6249">
                  <c:v>0.38987341772151901</c:v>
                </c:pt>
                <c:pt idx="6250">
                  <c:v>0.390070921985816</c:v>
                </c:pt>
                <c:pt idx="6251">
                  <c:v>0.39016897081413199</c:v>
                </c:pt>
                <c:pt idx="6252">
                  <c:v>0.39020537124802501</c:v>
                </c:pt>
                <c:pt idx="6253">
                  <c:v>0.39024390243902402</c:v>
                </c:pt>
                <c:pt idx="6254">
                  <c:v>0.39024390243902402</c:v>
                </c:pt>
                <c:pt idx="6255">
                  <c:v>0.39031567683253099</c:v>
                </c:pt>
                <c:pt idx="6256">
                  <c:v>0.39037433155080198</c:v>
                </c:pt>
                <c:pt idx="6257">
                  <c:v>0.39047619047618998</c:v>
                </c:pt>
                <c:pt idx="6258">
                  <c:v>0.39050131926121401</c:v>
                </c:pt>
                <c:pt idx="6259">
                  <c:v>0.390532544378698</c:v>
                </c:pt>
                <c:pt idx="6260">
                  <c:v>0.39055793991416299</c:v>
                </c:pt>
                <c:pt idx="6261">
                  <c:v>0.39072847682119199</c:v>
                </c:pt>
                <c:pt idx="6262">
                  <c:v>0.39076154806491897</c:v>
                </c:pt>
                <c:pt idx="6263">
                  <c:v>0.39076923076923098</c:v>
                </c:pt>
                <c:pt idx="6264">
                  <c:v>0.39082687338501299</c:v>
                </c:pt>
                <c:pt idx="6265">
                  <c:v>0.390862944162436</c:v>
                </c:pt>
                <c:pt idx="6266">
                  <c:v>0.39102564102564102</c:v>
                </c:pt>
                <c:pt idx="6267">
                  <c:v>0.39110070257611201</c:v>
                </c:pt>
                <c:pt idx="6268">
                  <c:v>0.39130434782608697</c:v>
                </c:pt>
                <c:pt idx="6269">
                  <c:v>0.39130434782608697</c:v>
                </c:pt>
                <c:pt idx="6270">
                  <c:v>0.39130434782608697</c:v>
                </c:pt>
                <c:pt idx="6271">
                  <c:v>0.39130434782608697</c:v>
                </c:pt>
                <c:pt idx="6272">
                  <c:v>0.39140811455847302</c:v>
                </c:pt>
                <c:pt idx="6273">
                  <c:v>0.391496899911426</c:v>
                </c:pt>
                <c:pt idx="6274">
                  <c:v>0.39150943396226401</c:v>
                </c:pt>
                <c:pt idx="6275">
                  <c:v>0.39170506912442399</c:v>
                </c:pt>
                <c:pt idx="6276">
                  <c:v>0.39175257731958801</c:v>
                </c:pt>
                <c:pt idx="6277">
                  <c:v>0.39175257731958801</c:v>
                </c:pt>
                <c:pt idx="6278">
                  <c:v>0.39175257731958801</c:v>
                </c:pt>
                <c:pt idx="6279">
                  <c:v>0.39175257731958801</c:v>
                </c:pt>
                <c:pt idx="6280">
                  <c:v>0.39184952978056398</c:v>
                </c:pt>
                <c:pt idx="6281">
                  <c:v>0.391891891891892</c:v>
                </c:pt>
                <c:pt idx="6282">
                  <c:v>0.391891891891892</c:v>
                </c:pt>
                <c:pt idx="6283">
                  <c:v>0.39200000000000002</c:v>
                </c:pt>
                <c:pt idx="6284">
                  <c:v>0.39209726443769</c:v>
                </c:pt>
                <c:pt idx="6285">
                  <c:v>0.39210526315789501</c:v>
                </c:pt>
                <c:pt idx="6286">
                  <c:v>0.39215686274509798</c:v>
                </c:pt>
                <c:pt idx="6287">
                  <c:v>0.39215686274509798</c:v>
                </c:pt>
                <c:pt idx="6288">
                  <c:v>0.39218328840970301</c:v>
                </c:pt>
                <c:pt idx="6289">
                  <c:v>0.392226148409894</c:v>
                </c:pt>
                <c:pt idx="6290">
                  <c:v>0.39229422066549902</c:v>
                </c:pt>
                <c:pt idx="6291">
                  <c:v>0.39236111111111099</c:v>
                </c:pt>
                <c:pt idx="6292">
                  <c:v>0.392405063291139</c:v>
                </c:pt>
                <c:pt idx="6293">
                  <c:v>0.392405063291139</c:v>
                </c:pt>
                <c:pt idx="6294">
                  <c:v>0.392405063291139</c:v>
                </c:pt>
                <c:pt idx="6295">
                  <c:v>0.39241585002130402</c:v>
                </c:pt>
                <c:pt idx="6296">
                  <c:v>0.39252336448598102</c:v>
                </c:pt>
                <c:pt idx="6297">
                  <c:v>0.39256198347107402</c:v>
                </c:pt>
                <c:pt idx="6298">
                  <c:v>0.39256198347107402</c:v>
                </c:pt>
                <c:pt idx="6299">
                  <c:v>0.39272030651341</c:v>
                </c:pt>
                <c:pt idx="6300">
                  <c:v>0.39272727272727298</c:v>
                </c:pt>
                <c:pt idx="6301">
                  <c:v>0.39285714285714302</c:v>
                </c:pt>
                <c:pt idx="6302">
                  <c:v>0.39285714285714302</c:v>
                </c:pt>
                <c:pt idx="6303">
                  <c:v>0.39304812834224601</c:v>
                </c:pt>
                <c:pt idx="6304">
                  <c:v>0.39312977099236601</c:v>
                </c:pt>
                <c:pt idx="6305">
                  <c:v>0.39313984168865401</c:v>
                </c:pt>
                <c:pt idx="6306">
                  <c:v>0.39333333333333298</c:v>
                </c:pt>
                <c:pt idx="6307">
                  <c:v>0.393364928909953</c:v>
                </c:pt>
                <c:pt idx="6308">
                  <c:v>0.393386545039909</c:v>
                </c:pt>
                <c:pt idx="6309">
                  <c:v>0.39341563786008199</c:v>
                </c:pt>
                <c:pt idx="6310">
                  <c:v>0.39347079037800697</c:v>
                </c:pt>
                <c:pt idx="6311">
                  <c:v>0.39353891336270203</c:v>
                </c:pt>
                <c:pt idx="6312">
                  <c:v>0.39370078740157499</c:v>
                </c:pt>
                <c:pt idx="6313">
                  <c:v>0.39393939393939398</c:v>
                </c:pt>
                <c:pt idx="6314">
                  <c:v>0.39402985074626901</c:v>
                </c:pt>
                <c:pt idx="6315">
                  <c:v>0.39411764705882302</c:v>
                </c:pt>
                <c:pt idx="6316">
                  <c:v>0.39418316831683198</c:v>
                </c:pt>
                <c:pt idx="6317">
                  <c:v>0.39424280350438001</c:v>
                </c:pt>
                <c:pt idx="6318">
                  <c:v>0.39436619718309801</c:v>
                </c:pt>
                <c:pt idx="6319">
                  <c:v>0.39443378119001898</c:v>
                </c:pt>
                <c:pt idx="6320">
                  <c:v>0.39446721311475402</c:v>
                </c:pt>
                <c:pt idx="6321">
                  <c:v>0.394736842105263</c:v>
                </c:pt>
                <c:pt idx="6322">
                  <c:v>0.394736842105263</c:v>
                </c:pt>
                <c:pt idx="6323">
                  <c:v>0.394769613947696</c:v>
                </c:pt>
                <c:pt idx="6324">
                  <c:v>0.39478584729981397</c:v>
                </c:pt>
                <c:pt idx="6325">
                  <c:v>0.39482200647249199</c:v>
                </c:pt>
                <c:pt idx="6326">
                  <c:v>0.39490445859872603</c:v>
                </c:pt>
                <c:pt idx="6327">
                  <c:v>0.39500000000000002</c:v>
                </c:pt>
                <c:pt idx="6328">
                  <c:v>0.39502762430939198</c:v>
                </c:pt>
                <c:pt idx="6329">
                  <c:v>0.39506172839506198</c:v>
                </c:pt>
                <c:pt idx="6330">
                  <c:v>0.39516129032258102</c:v>
                </c:pt>
                <c:pt idx="6331">
                  <c:v>0.395238095238095</c:v>
                </c:pt>
                <c:pt idx="6332">
                  <c:v>0.395360564800807</c:v>
                </c:pt>
                <c:pt idx="6333">
                  <c:v>0.395437262357414</c:v>
                </c:pt>
                <c:pt idx="6334">
                  <c:v>0.39560439560439598</c:v>
                </c:pt>
                <c:pt idx="6335">
                  <c:v>0.395759717314488</c:v>
                </c:pt>
                <c:pt idx="6336">
                  <c:v>0.39577039274924503</c:v>
                </c:pt>
                <c:pt idx="6337">
                  <c:v>0.39583333333333298</c:v>
                </c:pt>
                <c:pt idx="6338">
                  <c:v>0.39591836734693903</c:v>
                </c:pt>
                <c:pt idx="6339">
                  <c:v>0.39610389610389601</c:v>
                </c:pt>
                <c:pt idx="6340">
                  <c:v>0.39622641509433998</c:v>
                </c:pt>
                <c:pt idx="6341">
                  <c:v>0.39630390143737199</c:v>
                </c:pt>
                <c:pt idx="6342">
                  <c:v>0.396484375</c:v>
                </c:pt>
                <c:pt idx="6343">
                  <c:v>0.396610169491525</c:v>
                </c:pt>
                <c:pt idx="6344">
                  <c:v>0.39669421487603301</c:v>
                </c:pt>
                <c:pt idx="6345">
                  <c:v>0.39682539682539703</c:v>
                </c:pt>
                <c:pt idx="6346">
                  <c:v>0.39682539682539703</c:v>
                </c:pt>
                <c:pt idx="6347">
                  <c:v>0.39682539682539703</c:v>
                </c:pt>
                <c:pt idx="6348">
                  <c:v>0.39694656488549601</c:v>
                </c:pt>
                <c:pt idx="6349">
                  <c:v>0.397031539888683</c:v>
                </c:pt>
                <c:pt idx="6350">
                  <c:v>0.39703903095558502</c:v>
                </c:pt>
                <c:pt idx="6351">
                  <c:v>0.39705882352941202</c:v>
                </c:pt>
                <c:pt idx="6352">
                  <c:v>0.39705882352941202</c:v>
                </c:pt>
                <c:pt idx="6353">
                  <c:v>0.39716312056737602</c:v>
                </c:pt>
                <c:pt idx="6354">
                  <c:v>0.39722222222222198</c:v>
                </c:pt>
                <c:pt idx="6355">
                  <c:v>0.39741219963031399</c:v>
                </c:pt>
                <c:pt idx="6356">
                  <c:v>0.39743589743589702</c:v>
                </c:pt>
                <c:pt idx="6357">
                  <c:v>0.39745627980922099</c:v>
                </c:pt>
                <c:pt idx="6358">
                  <c:v>0.39754098360655699</c:v>
                </c:pt>
                <c:pt idx="6359">
                  <c:v>0.39769452449567699</c:v>
                </c:pt>
                <c:pt idx="6360">
                  <c:v>0.39772727272727298</c:v>
                </c:pt>
                <c:pt idx="6361">
                  <c:v>0.39772727272727298</c:v>
                </c:pt>
                <c:pt idx="6362">
                  <c:v>0.397743300423131</c:v>
                </c:pt>
                <c:pt idx="6363">
                  <c:v>0.39776951672862398</c:v>
                </c:pt>
                <c:pt idx="6364">
                  <c:v>0.397959183673469</c:v>
                </c:pt>
                <c:pt idx="6365">
                  <c:v>0.397959183673469</c:v>
                </c:pt>
                <c:pt idx="6366">
                  <c:v>0.397959183673469</c:v>
                </c:pt>
                <c:pt idx="6367">
                  <c:v>0.39800000000000002</c:v>
                </c:pt>
                <c:pt idx="6368">
                  <c:v>0.39801980198019798</c:v>
                </c:pt>
                <c:pt idx="6369">
                  <c:v>0.39805825242718401</c:v>
                </c:pt>
                <c:pt idx="6370">
                  <c:v>0.39810426540284399</c:v>
                </c:pt>
                <c:pt idx="6371">
                  <c:v>0.398382204246714</c:v>
                </c:pt>
                <c:pt idx="6372">
                  <c:v>0.39844660194174802</c:v>
                </c:pt>
                <c:pt idx="6373">
                  <c:v>0.39855072463768099</c:v>
                </c:pt>
                <c:pt idx="6374">
                  <c:v>0.39873417721519</c:v>
                </c:pt>
                <c:pt idx="6375">
                  <c:v>0.39884393063583801</c:v>
                </c:pt>
                <c:pt idx="6376">
                  <c:v>0.39889196675900301</c:v>
                </c:pt>
                <c:pt idx="6377">
                  <c:v>0.398907103825137</c:v>
                </c:pt>
                <c:pt idx="6378">
                  <c:v>0.398952879581152</c:v>
                </c:pt>
                <c:pt idx="6379">
                  <c:v>0.39898989898989901</c:v>
                </c:pt>
                <c:pt idx="6380">
                  <c:v>0.39912280701754399</c:v>
                </c:pt>
                <c:pt idx="6381">
                  <c:v>0.39935414424111898</c:v>
                </c:pt>
                <c:pt idx="6382">
                  <c:v>0.39944903581267199</c:v>
                </c:pt>
                <c:pt idx="6383">
                  <c:v>0.39948453608247397</c:v>
                </c:pt>
                <c:pt idx="6384">
                  <c:v>0.39964157706093201</c:v>
                </c:pt>
                <c:pt idx="6385">
                  <c:v>0.39971139971140002</c:v>
                </c:pt>
                <c:pt idx="6386">
                  <c:v>0.4</c:v>
                </c:pt>
                <c:pt idx="6387">
                  <c:v>0.4</c:v>
                </c:pt>
                <c:pt idx="6388">
                  <c:v>0.4</c:v>
                </c:pt>
                <c:pt idx="6389">
                  <c:v>0.4</c:v>
                </c:pt>
                <c:pt idx="6390">
                  <c:v>0.4</c:v>
                </c:pt>
                <c:pt idx="6391">
                  <c:v>0.4</c:v>
                </c:pt>
                <c:pt idx="6392">
                  <c:v>0.4</c:v>
                </c:pt>
                <c:pt idx="6393">
                  <c:v>0.4</c:v>
                </c:pt>
                <c:pt idx="6394">
                  <c:v>0.4</c:v>
                </c:pt>
                <c:pt idx="6395">
                  <c:v>0.4</c:v>
                </c:pt>
                <c:pt idx="6396">
                  <c:v>0.4</c:v>
                </c:pt>
                <c:pt idx="6397">
                  <c:v>0.4</c:v>
                </c:pt>
                <c:pt idx="6398">
                  <c:v>0.4</c:v>
                </c:pt>
                <c:pt idx="6399">
                  <c:v>0.40011750881316099</c:v>
                </c:pt>
                <c:pt idx="6400">
                  <c:v>0.40041493775933601</c:v>
                </c:pt>
                <c:pt idx="6401">
                  <c:v>0.40044742729306498</c:v>
                </c:pt>
                <c:pt idx="6402">
                  <c:v>0.40061633281972298</c:v>
                </c:pt>
                <c:pt idx="6403">
                  <c:v>0.400709219858156</c:v>
                </c:pt>
                <c:pt idx="6404">
                  <c:v>0.400770712909441</c:v>
                </c:pt>
                <c:pt idx="6405">
                  <c:v>0.40084388185654002</c:v>
                </c:pt>
                <c:pt idx="6406">
                  <c:v>0.40104166666666702</c:v>
                </c:pt>
                <c:pt idx="6407">
                  <c:v>0.40119760479041899</c:v>
                </c:pt>
                <c:pt idx="6408">
                  <c:v>0.40119760479041899</c:v>
                </c:pt>
                <c:pt idx="6409">
                  <c:v>0.40129449838187697</c:v>
                </c:pt>
                <c:pt idx="6410">
                  <c:v>0.40149253731343298</c:v>
                </c:pt>
                <c:pt idx="6411">
                  <c:v>0.40168067226890802</c:v>
                </c:pt>
                <c:pt idx="6412">
                  <c:v>0.401709401709402</c:v>
                </c:pt>
                <c:pt idx="6413">
                  <c:v>0.40178571428571402</c:v>
                </c:pt>
                <c:pt idx="6414">
                  <c:v>0.40178571428571402</c:v>
                </c:pt>
                <c:pt idx="6415">
                  <c:v>0.40178571428571402</c:v>
                </c:pt>
                <c:pt idx="6416">
                  <c:v>0.40182648401826498</c:v>
                </c:pt>
                <c:pt idx="6417">
                  <c:v>0.40184453227931499</c:v>
                </c:pt>
                <c:pt idx="6418">
                  <c:v>0.40203562340966897</c:v>
                </c:pt>
                <c:pt idx="6419">
                  <c:v>0.40233236151603502</c:v>
                </c:pt>
                <c:pt idx="6420">
                  <c:v>0.40243902439024398</c:v>
                </c:pt>
                <c:pt idx="6421">
                  <c:v>0.40251572327044</c:v>
                </c:pt>
                <c:pt idx="6422">
                  <c:v>0.40254652301665</c:v>
                </c:pt>
                <c:pt idx="6423">
                  <c:v>0.40265486725663702</c:v>
                </c:pt>
                <c:pt idx="6424">
                  <c:v>0.40268456375838901</c:v>
                </c:pt>
                <c:pt idx="6425">
                  <c:v>0.402877697841727</c:v>
                </c:pt>
                <c:pt idx="6426">
                  <c:v>0.402930402930403</c:v>
                </c:pt>
                <c:pt idx="6427">
                  <c:v>0.40303030303030302</c:v>
                </c:pt>
                <c:pt idx="6428">
                  <c:v>0.40304182509505698</c:v>
                </c:pt>
                <c:pt idx="6429">
                  <c:v>0.403189066059225</c:v>
                </c:pt>
                <c:pt idx="6430">
                  <c:v>0.40322580645161299</c:v>
                </c:pt>
                <c:pt idx="6431">
                  <c:v>0.40333871836295099</c:v>
                </c:pt>
                <c:pt idx="6432">
                  <c:v>0.403345724907063</c:v>
                </c:pt>
                <c:pt idx="6433">
                  <c:v>0.40343915343915299</c:v>
                </c:pt>
                <c:pt idx="6434">
                  <c:v>0.40350877192982498</c:v>
                </c:pt>
                <c:pt idx="6435">
                  <c:v>0.40350877192982498</c:v>
                </c:pt>
                <c:pt idx="6436">
                  <c:v>0.40350877192982498</c:v>
                </c:pt>
                <c:pt idx="6437">
                  <c:v>0.40362225097024601</c:v>
                </c:pt>
                <c:pt idx="6438">
                  <c:v>0.40363636363636402</c:v>
                </c:pt>
                <c:pt idx="6439">
                  <c:v>0.403669724770642</c:v>
                </c:pt>
                <c:pt idx="6440">
                  <c:v>0.40370370370370401</c:v>
                </c:pt>
                <c:pt idx="6441">
                  <c:v>0.40375586854460099</c:v>
                </c:pt>
                <c:pt idx="6442">
                  <c:v>0.40384615384615402</c:v>
                </c:pt>
                <c:pt idx="6443">
                  <c:v>0.40384615384615402</c:v>
                </c:pt>
                <c:pt idx="6444">
                  <c:v>0.40388349514563099</c:v>
                </c:pt>
                <c:pt idx="6445">
                  <c:v>0.40397350993377501</c:v>
                </c:pt>
                <c:pt idx="6446">
                  <c:v>0.40404040404040398</c:v>
                </c:pt>
                <c:pt idx="6447">
                  <c:v>0.40408163265306102</c:v>
                </c:pt>
                <c:pt idx="6448">
                  <c:v>0.40412219359587798</c:v>
                </c:pt>
                <c:pt idx="6449">
                  <c:v>0.40425531914893598</c:v>
                </c:pt>
                <c:pt idx="6450">
                  <c:v>0.40433815350389302</c:v>
                </c:pt>
                <c:pt idx="6451">
                  <c:v>0.404466501240695</c:v>
                </c:pt>
                <c:pt idx="6452">
                  <c:v>0.40449438202247201</c:v>
                </c:pt>
                <c:pt idx="6453">
                  <c:v>0.40460526315789502</c:v>
                </c:pt>
                <c:pt idx="6454">
                  <c:v>0.40472878998609202</c:v>
                </c:pt>
                <c:pt idx="6455">
                  <c:v>0.40486725663716799</c:v>
                </c:pt>
                <c:pt idx="6456">
                  <c:v>0.40492957746478903</c:v>
                </c:pt>
                <c:pt idx="6457">
                  <c:v>0.40493942218080098</c:v>
                </c:pt>
                <c:pt idx="6458">
                  <c:v>0.40498442367601201</c:v>
                </c:pt>
                <c:pt idx="6459">
                  <c:v>0.40512820512820502</c:v>
                </c:pt>
                <c:pt idx="6460">
                  <c:v>0.405208333333333</c:v>
                </c:pt>
                <c:pt idx="6461">
                  <c:v>0.40522875816993498</c:v>
                </c:pt>
                <c:pt idx="6462">
                  <c:v>0.40540540540540498</c:v>
                </c:pt>
                <c:pt idx="6463">
                  <c:v>0.40540540540540498</c:v>
                </c:pt>
                <c:pt idx="6464">
                  <c:v>0.40550458715596299</c:v>
                </c:pt>
                <c:pt idx="6465">
                  <c:v>0.40566037735849098</c:v>
                </c:pt>
                <c:pt idx="6466">
                  <c:v>0.405797101449275</c:v>
                </c:pt>
                <c:pt idx="6467">
                  <c:v>0.40588235294117597</c:v>
                </c:pt>
                <c:pt idx="6468">
                  <c:v>0.40594059405940602</c:v>
                </c:pt>
                <c:pt idx="6469">
                  <c:v>0.40594059405940602</c:v>
                </c:pt>
                <c:pt idx="6470">
                  <c:v>0.40625</c:v>
                </c:pt>
                <c:pt idx="6471">
                  <c:v>0.406360424028269</c:v>
                </c:pt>
                <c:pt idx="6472">
                  <c:v>0.40663176265270501</c:v>
                </c:pt>
                <c:pt idx="6473">
                  <c:v>0.40677966101694901</c:v>
                </c:pt>
                <c:pt idx="6474">
                  <c:v>0.40697674418604601</c:v>
                </c:pt>
                <c:pt idx="6475">
                  <c:v>0.40704647676161898</c:v>
                </c:pt>
                <c:pt idx="6476">
                  <c:v>0.40705128205128199</c:v>
                </c:pt>
                <c:pt idx="6477">
                  <c:v>0.407134071340713</c:v>
                </c:pt>
                <c:pt idx="6478">
                  <c:v>0.407407407407407</c:v>
                </c:pt>
                <c:pt idx="6479">
                  <c:v>0.407407407407407</c:v>
                </c:pt>
                <c:pt idx="6480">
                  <c:v>0.407407407407407</c:v>
                </c:pt>
                <c:pt idx="6481">
                  <c:v>0.40756302521008397</c:v>
                </c:pt>
                <c:pt idx="6482">
                  <c:v>0.40762463343108502</c:v>
                </c:pt>
                <c:pt idx="6483">
                  <c:v>0.40782828282828298</c:v>
                </c:pt>
                <c:pt idx="6484">
                  <c:v>0.40784313725490201</c:v>
                </c:pt>
                <c:pt idx="6485">
                  <c:v>0.40784313725490201</c:v>
                </c:pt>
                <c:pt idx="6486">
                  <c:v>0.40789473684210498</c:v>
                </c:pt>
                <c:pt idx="6487">
                  <c:v>0.40804597701149398</c:v>
                </c:pt>
                <c:pt idx="6488">
                  <c:v>0.40816326530612201</c:v>
                </c:pt>
                <c:pt idx="6489">
                  <c:v>0.40816326530612201</c:v>
                </c:pt>
                <c:pt idx="6490">
                  <c:v>0.40816326530612201</c:v>
                </c:pt>
                <c:pt idx="6491">
                  <c:v>0.40837696335078499</c:v>
                </c:pt>
                <c:pt idx="6492">
                  <c:v>0.40839694656488501</c:v>
                </c:pt>
                <c:pt idx="6493">
                  <c:v>0.40840140023337201</c:v>
                </c:pt>
                <c:pt idx="6494">
                  <c:v>0.40845070422535201</c:v>
                </c:pt>
                <c:pt idx="6495">
                  <c:v>0.40846681922196798</c:v>
                </c:pt>
                <c:pt idx="6496">
                  <c:v>0.40869565217391302</c:v>
                </c:pt>
                <c:pt idx="6497">
                  <c:v>0.40869565217391302</c:v>
                </c:pt>
                <c:pt idx="6498">
                  <c:v>0.40878828229028003</c:v>
                </c:pt>
                <c:pt idx="6499">
                  <c:v>0.409326424870466</c:v>
                </c:pt>
                <c:pt idx="6500">
                  <c:v>0.40948275862069</c:v>
                </c:pt>
                <c:pt idx="6501">
                  <c:v>0.40954274353876702</c:v>
                </c:pt>
                <c:pt idx="6502">
                  <c:v>0.40955364134690703</c:v>
                </c:pt>
                <c:pt idx="6503">
                  <c:v>0.40972222222222199</c:v>
                </c:pt>
                <c:pt idx="6504">
                  <c:v>0.40983606557377</c:v>
                </c:pt>
                <c:pt idx="6505">
                  <c:v>0.40990099009900999</c:v>
                </c:pt>
                <c:pt idx="6506">
                  <c:v>0.41</c:v>
                </c:pt>
                <c:pt idx="6507">
                  <c:v>0.41002277904327999</c:v>
                </c:pt>
                <c:pt idx="6508">
                  <c:v>0.41011235955056202</c:v>
                </c:pt>
                <c:pt idx="6509">
                  <c:v>0.41013215859030799</c:v>
                </c:pt>
                <c:pt idx="6510">
                  <c:v>0.41014084507042298</c:v>
                </c:pt>
                <c:pt idx="6511">
                  <c:v>0.41015625</c:v>
                </c:pt>
                <c:pt idx="6512">
                  <c:v>0.41017385705086901</c:v>
                </c:pt>
                <c:pt idx="6513">
                  <c:v>0.41019955654102003</c:v>
                </c:pt>
                <c:pt idx="6514">
                  <c:v>0.41044776119402998</c:v>
                </c:pt>
                <c:pt idx="6515">
                  <c:v>0.41054232133806401</c:v>
                </c:pt>
                <c:pt idx="6516">
                  <c:v>0.41059602649006599</c:v>
                </c:pt>
                <c:pt idx="6517">
                  <c:v>0.41060606060606097</c:v>
                </c:pt>
                <c:pt idx="6518">
                  <c:v>0.41071428571428598</c:v>
                </c:pt>
                <c:pt idx="6519">
                  <c:v>0.41071428571428598</c:v>
                </c:pt>
                <c:pt idx="6520">
                  <c:v>0.41071428571428598</c:v>
                </c:pt>
                <c:pt idx="6521">
                  <c:v>0.41082802547770703</c:v>
                </c:pt>
                <c:pt idx="6522">
                  <c:v>0.41083521444695298</c:v>
                </c:pt>
                <c:pt idx="6523">
                  <c:v>0.41089108910891098</c:v>
                </c:pt>
                <c:pt idx="6524">
                  <c:v>0.410926365795724</c:v>
                </c:pt>
                <c:pt idx="6525">
                  <c:v>0.41095890410958902</c:v>
                </c:pt>
                <c:pt idx="6526">
                  <c:v>0.41105121293800501</c:v>
                </c:pt>
                <c:pt idx="6527">
                  <c:v>0.41106719367588901</c:v>
                </c:pt>
                <c:pt idx="6528">
                  <c:v>0.41111111111111098</c:v>
                </c:pt>
                <c:pt idx="6529">
                  <c:v>0.411228070175439</c:v>
                </c:pt>
                <c:pt idx="6530">
                  <c:v>0.41134751773049599</c:v>
                </c:pt>
                <c:pt idx="6531">
                  <c:v>0.41161616161616199</c:v>
                </c:pt>
                <c:pt idx="6532">
                  <c:v>0.41176470588235298</c:v>
                </c:pt>
                <c:pt idx="6533">
                  <c:v>0.41176470588235298</c:v>
                </c:pt>
                <c:pt idx="6534">
                  <c:v>0.41176470588235298</c:v>
                </c:pt>
                <c:pt idx="6535">
                  <c:v>0.41182645206438101</c:v>
                </c:pt>
                <c:pt idx="6536">
                  <c:v>0.41194968553459099</c:v>
                </c:pt>
                <c:pt idx="6537">
                  <c:v>0.41221374045801501</c:v>
                </c:pt>
                <c:pt idx="6538">
                  <c:v>0.41228070175438603</c:v>
                </c:pt>
                <c:pt idx="6539">
                  <c:v>0.41232227488151701</c:v>
                </c:pt>
                <c:pt idx="6540">
                  <c:v>0.41237113402061898</c:v>
                </c:pt>
                <c:pt idx="6541">
                  <c:v>0.41249999999999998</c:v>
                </c:pt>
                <c:pt idx="6542">
                  <c:v>0.41249999999999998</c:v>
                </c:pt>
                <c:pt idx="6543">
                  <c:v>0.41262848751835501</c:v>
                </c:pt>
                <c:pt idx="6544">
                  <c:v>0.41263940520446102</c:v>
                </c:pt>
                <c:pt idx="6545">
                  <c:v>0.41265822784810102</c:v>
                </c:pt>
                <c:pt idx="6546">
                  <c:v>0.41283018867924498</c:v>
                </c:pt>
                <c:pt idx="6547">
                  <c:v>0.41287878787878801</c:v>
                </c:pt>
                <c:pt idx="6548">
                  <c:v>0.412903225806452</c:v>
                </c:pt>
                <c:pt idx="6549">
                  <c:v>0.41293532338308497</c:v>
                </c:pt>
                <c:pt idx="6550">
                  <c:v>0.41297935103244798</c:v>
                </c:pt>
                <c:pt idx="6551">
                  <c:v>0.413223140495868</c:v>
                </c:pt>
                <c:pt idx="6552">
                  <c:v>0.41330645161290303</c:v>
                </c:pt>
                <c:pt idx="6553">
                  <c:v>0.413612565445026</c:v>
                </c:pt>
                <c:pt idx="6554">
                  <c:v>0.413680781758958</c:v>
                </c:pt>
                <c:pt idx="6555">
                  <c:v>0.41379310344827602</c:v>
                </c:pt>
                <c:pt idx="6556">
                  <c:v>0.41393442622950799</c:v>
                </c:pt>
                <c:pt idx="6557">
                  <c:v>0.41399416909621001</c:v>
                </c:pt>
                <c:pt idx="6558">
                  <c:v>0.41401273885350298</c:v>
                </c:pt>
                <c:pt idx="6559">
                  <c:v>0.414225941422594</c:v>
                </c:pt>
                <c:pt idx="6560">
                  <c:v>0.41441441441441401</c:v>
                </c:pt>
                <c:pt idx="6561">
                  <c:v>0.41443633414436298</c:v>
                </c:pt>
                <c:pt idx="6562">
                  <c:v>0.41447368421052599</c:v>
                </c:pt>
                <c:pt idx="6563">
                  <c:v>0.41447368421052599</c:v>
                </c:pt>
                <c:pt idx="6564">
                  <c:v>0.41450777202072497</c:v>
                </c:pt>
                <c:pt idx="6565">
                  <c:v>0.41458333333333303</c:v>
                </c:pt>
                <c:pt idx="6566">
                  <c:v>0.41463414634146301</c:v>
                </c:pt>
                <c:pt idx="6567">
                  <c:v>0.41463414634146301</c:v>
                </c:pt>
                <c:pt idx="6568">
                  <c:v>0.41466498103666199</c:v>
                </c:pt>
                <c:pt idx="6569">
                  <c:v>0.41472868217054298</c:v>
                </c:pt>
                <c:pt idx="6570">
                  <c:v>0.41481481481481502</c:v>
                </c:pt>
                <c:pt idx="6571">
                  <c:v>0.41484716157205198</c:v>
                </c:pt>
                <c:pt idx="6572">
                  <c:v>0.41499999999999998</c:v>
                </c:pt>
                <c:pt idx="6573">
                  <c:v>0.41509433962264197</c:v>
                </c:pt>
                <c:pt idx="6574">
                  <c:v>0.41534391534391502</c:v>
                </c:pt>
                <c:pt idx="6575">
                  <c:v>0.41538461538461502</c:v>
                </c:pt>
                <c:pt idx="6576">
                  <c:v>0.41545189504373198</c:v>
                </c:pt>
                <c:pt idx="6577">
                  <c:v>0.41549295774647899</c:v>
                </c:pt>
                <c:pt idx="6578">
                  <c:v>0.415542363734485</c:v>
                </c:pt>
                <c:pt idx="6579">
                  <c:v>0.415584415584416</c:v>
                </c:pt>
                <c:pt idx="6580">
                  <c:v>0.41590612777053498</c:v>
                </c:pt>
                <c:pt idx="6581">
                  <c:v>0.41603630862329799</c:v>
                </c:pt>
                <c:pt idx="6582">
                  <c:v>0.41605839416058399</c:v>
                </c:pt>
                <c:pt idx="6583">
                  <c:v>0.41610169491525401</c:v>
                </c:pt>
                <c:pt idx="6584">
                  <c:v>0.41617357001972399</c:v>
                </c:pt>
                <c:pt idx="6585">
                  <c:v>0.41630901287553601</c:v>
                </c:pt>
                <c:pt idx="6586">
                  <c:v>0.41654357459379598</c:v>
                </c:pt>
                <c:pt idx="6587">
                  <c:v>0.41655658300308201</c:v>
                </c:pt>
                <c:pt idx="6588">
                  <c:v>0.41656210790464199</c:v>
                </c:pt>
                <c:pt idx="6589">
                  <c:v>0.41666666666666702</c:v>
                </c:pt>
                <c:pt idx="6590">
                  <c:v>0.41693811074918602</c:v>
                </c:pt>
                <c:pt idx="6591">
                  <c:v>0.41746538871139499</c:v>
                </c:pt>
                <c:pt idx="6592">
                  <c:v>0.41747572815534001</c:v>
                </c:pt>
                <c:pt idx="6593">
                  <c:v>0.41758241758241799</c:v>
                </c:pt>
                <c:pt idx="6594">
                  <c:v>0.41758241758241799</c:v>
                </c:pt>
                <c:pt idx="6595">
                  <c:v>0.41766467065868301</c:v>
                </c:pt>
                <c:pt idx="6596">
                  <c:v>0.41781450872359999</c:v>
                </c:pt>
                <c:pt idx="6597">
                  <c:v>0.41791044776119401</c:v>
                </c:pt>
                <c:pt idx="6598">
                  <c:v>0.41791044776119401</c:v>
                </c:pt>
                <c:pt idx="6599">
                  <c:v>0.41791044776119401</c:v>
                </c:pt>
                <c:pt idx="6600">
                  <c:v>0.41812400635930003</c:v>
                </c:pt>
                <c:pt idx="6601">
                  <c:v>0.41818181818181799</c:v>
                </c:pt>
                <c:pt idx="6602">
                  <c:v>0.418359668924003</c:v>
                </c:pt>
                <c:pt idx="6603">
                  <c:v>0.41836734693877597</c:v>
                </c:pt>
                <c:pt idx="6604">
                  <c:v>0.418604651162791</c:v>
                </c:pt>
                <c:pt idx="6605">
                  <c:v>0.41868512110726602</c:v>
                </c:pt>
                <c:pt idx="6606">
                  <c:v>0.41869918699186998</c:v>
                </c:pt>
                <c:pt idx="6607">
                  <c:v>0.41869918699186998</c:v>
                </c:pt>
                <c:pt idx="6608">
                  <c:v>0.41901408450704197</c:v>
                </c:pt>
                <c:pt idx="6609">
                  <c:v>0.419047619047619</c:v>
                </c:pt>
                <c:pt idx="6610">
                  <c:v>0.41908713692946098</c:v>
                </c:pt>
                <c:pt idx="6611">
                  <c:v>0.41918294849023102</c:v>
                </c:pt>
                <c:pt idx="6612">
                  <c:v>0.41935483870967699</c:v>
                </c:pt>
                <c:pt idx="6613">
                  <c:v>0.41952506596306099</c:v>
                </c:pt>
                <c:pt idx="6614">
                  <c:v>0.41970802919708</c:v>
                </c:pt>
                <c:pt idx="6615">
                  <c:v>0.41977077363896798</c:v>
                </c:pt>
                <c:pt idx="6616">
                  <c:v>0.41980198019802001</c:v>
                </c:pt>
                <c:pt idx="6617">
                  <c:v>0.419965576592083</c:v>
                </c:pt>
                <c:pt idx="6618">
                  <c:v>0.42</c:v>
                </c:pt>
                <c:pt idx="6619">
                  <c:v>0.42</c:v>
                </c:pt>
                <c:pt idx="6620">
                  <c:v>0.42016806722689098</c:v>
                </c:pt>
                <c:pt idx="6621">
                  <c:v>0.42028985507246402</c:v>
                </c:pt>
                <c:pt idx="6622">
                  <c:v>0.42028985507246402</c:v>
                </c:pt>
                <c:pt idx="6623">
                  <c:v>0.42028985507246402</c:v>
                </c:pt>
                <c:pt idx="6624">
                  <c:v>0.42033898305084699</c:v>
                </c:pt>
                <c:pt idx="6625">
                  <c:v>0.42041312272175002</c:v>
                </c:pt>
                <c:pt idx="6626">
                  <c:v>0.420560747663551</c:v>
                </c:pt>
                <c:pt idx="6627">
                  <c:v>0.42063492063492097</c:v>
                </c:pt>
                <c:pt idx="6628">
                  <c:v>0.42063492063492097</c:v>
                </c:pt>
                <c:pt idx="6629">
                  <c:v>0.42105263157894701</c:v>
                </c:pt>
                <c:pt idx="6630">
                  <c:v>0.42105263157894701</c:v>
                </c:pt>
                <c:pt idx="6631">
                  <c:v>0.42105263157894701</c:v>
                </c:pt>
                <c:pt idx="6632">
                  <c:v>0.42105263157894701</c:v>
                </c:pt>
                <c:pt idx="6633">
                  <c:v>0.42105263157894701</c:v>
                </c:pt>
                <c:pt idx="6634">
                  <c:v>0.42120343839541502</c:v>
                </c:pt>
                <c:pt idx="6635">
                  <c:v>0.42123287671232901</c:v>
                </c:pt>
                <c:pt idx="6636">
                  <c:v>0.42131979695431498</c:v>
                </c:pt>
                <c:pt idx="6637">
                  <c:v>0.42134831460674199</c:v>
                </c:pt>
                <c:pt idx="6638">
                  <c:v>0.42142857142857099</c:v>
                </c:pt>
                <c:pt idx="6639">
                  <c:v>0.421678996461885</c:v>
                </c:pt>
                <c:pt idx="6640">
                  <c:v>0.421875</c:v>
                </c:pt>
                <c:pt idx="6641">
                  <c:v>0.42188130803391199</c:v>
                </c:pt>
                <c:pt idx="6642">
                  <c:v>0.42201834862385301</c:v>
                </c:pt>
                <c:pt idx="6643">
                  <c:v>0.42211055276381898</c:v>
                </c:pt>
                <c:pt idx="6644">
                  <c:v>0.42215568862275399</c:v>
                </c:pt>
                <c:pt idx="6645">
                  <c:v>0.42241379310344801</c:v>
                </c:pt>
                <c:pt idx="6646">
                  <c:v>0.42241379310344801</c:v>
                </c:pt>
                <c:pt idx="6647">
                  <c:v>0.42251655629139101</c:v>
                </c:pt>
                <c:pt idx="6648">
                  <c:v>0.42253521126760601</c:v>
                </c:pt>
                <c:pt idx="6649">
                  <c:v>0.42253521126760601</c:v>
                </c:pt>
                <c:pt idx="6650">
                  <c:v>0.42260869565217402</c:v>
                </c:pt>
                <c:pt idx="6651">
                  <c:v>0.42268041237113402</c:v>
                </c:pt>
                <c:pt idx="6652">
                  <c:v>0.42268041237113402</c:v>
                </c:pt>
                <c:pt idx="6653">
                  <c:v>0.422764227642276</c:v>
                </c:pt>
                <c:pt idx="6654">
                  <c:v>0.42286751361161501</c:v>
                </c:pt>
                <c:pt idx="6655">
                  <c:v>0.42296072507552901</c:v>
                </c:pt>
                <c:pt idx="6656">
                  <c:v>0.42307692307692302</c:v>
                </c:pt>
                <c:pt idx="6657">
                  <c:v>0.42348754448398601</c:v>
                </c:pt>
                <c:pt idx="6658">
                  <c:v>0.423655913978495</c:v>
                </c:pt>
                <c:pt idx="6659">
                  <c:v>0.42368742368742401</c:v>
                </c:pt>
                <c:pt idx="6660">
                  <c:v>0.42385786802030501</c:v>
                </c:pt>
                <c:pt idx="6661">
                  <c:v>0.423921271763815</c:v>
                </c:pt>
                <c:pt idx="6662">
                  <c:v>0.42439024390243901</c:v>
                </c:pt>
                <c:pt idx="6663">
                  <c:v>0.42465753424657499</c:v>
                </c:pt>
                <c:pt idx="6664">
                  <c:v>0.42477876106194701</c:v>
                </c:pt>
                <c:pt idx="6665">
                  <c:v>0.42489270386266098</c:v>
                </c:pt>
                <c:pt idx="6666">
                  <c:v>0.42499999999999999</c:v>
                </c:pt>
                <c:pt idx="6667">
                  <c:v>0.42511013215859</c:v>
                </c:pt>
                <c:pt idx="6668">
                  <c:v>0.42531645569620202</c:v>
                </c:pt>
                <c:pt idx="6669">
                  <c:v>0.42548435171386001</c:v>
                </c:pt>
                <c:pt idx="6670">
                  <c:v>0.42553191489361702</c:v>
                </c:pt>
                <c:pt idx="6671">
                  <c:v>0.42553191489361702</c:v>
                </c:pt>
                <c:pt idx="6672">
                  <c:v>0.42553191489361702</c:v>
                </c:pt>
                <c:pt idx="6673">
                  <c:v>0.42553191489361702</c:v>
                </c:pt>
                <c:pt idx="6674">
                  <c:v>0.42558139534883699</c:v>
                </c:pt>
                <c:pt idx="6675">
                  <c:v>0.42568807339449499</c:v>
                </c:pt>
                <c:pt idx="6676">
                  <c:v>0.42574257425742601</c:v>
                </c:pt>
                <c:pt idx="6677">
                  <c:v>0.42578710644677698</c:v>
                </c:pt>
                <c:pt idx="6678">
                  <c:v>0.42580645161290298</c:v>
                </c:pt>
                <c:pt idx="6679">
                  <c:v>0.42592592592592599</c:v>
                </c:pt>
                <c:pt idx="6680">
                  <c:v>0.42596810933940799</c:v>
                </c:pt>
                <c:pt idx="6681">
                  <c:v>0.42619392185238802</c:v>
                </c:pt>
                <c:pt idx="6682">
                  <c:v>0.42628039317123601</c:v>
                </c:pt>
                <c:pt idx="6683">
                  <c:v>0.42639593908629397</c:v>
                </c:pt>
                <c:pt idx="6684">
                  <c:v>0.42642642642642598</c:v>
                </c:pt>
                <c:pt idx="6685">
                  <c:v>0.42655367231638402</c:v>
                </c:pt>
                <c:pt idx="6686">
                  <c:v>0.42661448140900199</c:v>
                </c:pt>
                <c:pt idx="6687">
                  <c:v>0.426966292134831</c:v>
                </c:pt>
                <c:pt idx="6688">
                  <c:v>0.426966292134831</c:v>
                </c:pt>
                <c:pt idx="6689">
                  <c:v>0.42703533026113699</c:v>
                </c:pt>
                <c:pt idx="6690">
                  <c:v>0.42718446601941701</c:v>
                </c:pt>
                <c:pt idx="6691">
                  <c:v>0.42723816107846502</c:v>
                </c:pt>
                <c:pt idx="6692">
                  <c:v>0.42727272727272703</c:v>
                </c:pt>
                <c:pt idx="6693">
                  <c:v>0.427350427350427</c:v>
                </c:pt>
                <c:pt idx="6694">
                  <c:v>0.427350427350427</c:v>
                </c:pt>
                <c:pt idx="6695">
                  <c:v>0.427350427350427</c:v>
                </c:pt>
                <c:pt idx="6696">
                  <c:v>0.42741935483871002</c:v>
                </c:pt>
                <c:pt idx="6697">
                  <c:v>0.42748091603053401</c:v>
                </c:pt>
                <c:pt idx="6698">
                  <c:v>0.42758620689655202</c:v>
                </c:pt>
                <c:pt idx="6699">
                  <c:v>0.42780748663101598</c:v>
                </c:pt>
                <c:pt idx="6700">
                  <c:v>0.42804428044280401</c:v>
                </c:pt>
                <c:pt idx="6701">
                  <c:v>0.42809364548494999</c:v>
                </c:pt>
                <c:pt idx="6702">
                  <c:v>0.42815249266862199</c:v>
                </c:pt>
                <c:pt idx="6703">
                  <c:v>0.42825112107623298</c:v>
                </c:pt>
                <c:pt idx="6704">
                  <c:v>0.42837176799440901</c:v>
                </c:pt>
                <c:pt idx="6705">
                  <c:v>0.42842535787321101</c:v>
                </c:pt>
                <c:pt idx="6706">
                  <c:v>0.42857142857142899</c:v>
                </c:pt>
                <c:pt idx="6707">
                  <c:v>0.42857142857142899</c:v>
                </c:pt>
                <c:pt idx="6708">
                  <c:v>0.42869490060501297</c:v>
                </c:pt>
                <c:pt idx="6709">
                  <c:v>0.42881355932203402</c:v>
                </c:pt>
                <c:pt idx="6710">
                  <c:v>0.42881745120551101</c:v>
                </c:pt>
                <c:pt idx="6711">
                  <c:v>0.42882249560632701</c:v>
                </c:pt>
                <c:pt idx="6712">
                  <c:v>0.42888402625820599</c:v>
                </c:pt>
                <c:pt idx="6713">
                  <c:v>0.42889390519187398</c:v>
                </c:pt>
                <c:pt idx="6714">
                  <c:v>0.42922374429223698</c:v>
                </c:pt>
                <c:pt idx="6715">
                  <c:v>0.429441624365482</c:v>
                </c:pt>
                <c:pt idx="6716">
                  <c:v>0.42944785276073599</c:v>
                </c:pt>
                <c:pt idx="6717">
                  <c:v>0.42948717948717902</c:v>
                </c:pt>
                <c:pt idx="6718">
                  <c:v>0.42953020134228198</c:v>
                </c:pt>
                <c:pt idx="6719">
                  <c:v>0.42962962962963003</c:v>
                </c:pt>
                <c:pt idx="6720">
                  <c:v>0.42962962962963003</c:v>
                </c:pt>
                <c:pt idx="6721">
                  <c:v>0.4296875</c:v>
                </c:pt>
                <c:pt idx="6722">
                  <c:v>0.4296875</c:v>
                </c:pt>
                <c:pt idx="6723">
                  <c:v>0.42984869325997199</c:v>
                </c:pt>
                <c:pt idx="6724">
                  <c:v>0.42985074626865699</c:v>
                </c:pt>
                <c:pt idx="6725">
                  <c:v>0.42990654205607498</c:v>
                </c:pt>
                <c:pt idx="6726">
                  <c:v>0.42991829038340701</c:v>
                </c:pt>
                <c:pt idx="6727">
                  <c:v>0.43027888446215101</c:v>
                </c:pt>
                <c:pt idx="6728">
                  <c:v>0.43046357615893999</c:v>
                </c:pt>
                <c:pt idx="6729">
                  <c:v>0.43065693430656898</c:v>
                </c:pt>
                <c:pt idx="6730">
                  <c:v>0.43069306930693102</c:v>
                </c:pt>
                <c:pt idx="6731">
                  <c:v>0.430753564154786</c:v>
                </c:pt>
                <c:pt idx="6732">
                  <c:v>0.43076923076923102</c:v>
                </c:pt>
                <c:pt idx="6733">
                  <c:v>0.43092105263157898</c:v>
                </c:pt>
                <c:pt idx="6734">
                  <c:v>0.431034482758621</c:v>
                </c:pt>
                <c:pt idx="6735">
                  <c:v>0.43115942028985499</c:v>
                </c:pt>
                <c:pt idx="6736">
                  <c:v>0.43141153081510902</c:v>
                </c:pt>
                <c:pt idx="6737">
                  <c:v>0.43142144638404001</c:v>
                </c:pt>
                <c:pt idx="6738">
                  <c:v>0.43148688046647199</c:v>
                </c:pt>
                <c:pt idx="6739">
                  <c:v>0.43157894736842101</c:v>
                </c:pt>
                <c:pt idx="6740">
                  <c:v>0.43157894736842101</c:v>
                </c:pt>
                <c:pt idx="6741">
                  <c:v>0.43167701863354002</c:v>
                </c:pt>
                <c:pt idx="6742">
                  <c:v>0.43174250832408401</c:v>
                </c:pt>
                <c:pt idx="6743">
                  <c:v>0.43181818181818199</c:v>
                </c:pt>
                <c:pt idx="6744">
                  <c:v>0.43195266272189298</c:v>
                </c:pt>
                <c:pt idx="6745">
                  <c:v>0.43195266272189298</c:v>
                </c:pt>
                <c:pt idx="6746">
                  <c:v>0.43197278911564602</c:v>
                </c:pt>
                <c:pt idx="6747">
                  <c:v>0.43209876543209902</c:v>
                </c:pt>
                <c:pt idx="6748">
                  <c:v>0.43224699828473401</c:v>
                </c:pt>
                <c:pt idx="6749">
                  <c:v>0.43239113827349102</c:v>
                </c:pt>
                <c:pt idx="6750">
                  <c:v>0.43243243243243201</c:v>
                </c:pt>
                <c:pt idx="6751">
                  <c:v>0.43243243243243201</c:v>
                </c:pt>
                <c:pt idx="6752">
                  <c:v>0.432642487046632</c:v>
                </c:pt>
                <c:pt idx="6753">
                  <c:v>0.432668329177057</c:v>
                </c:pt>
                <c:pt idx="6754">
                  <c:v>0.43275862068965498</c:v>
                </c:pt>
                <c:pt idx="6755">
                  <c:v>0.43283582089552203</c:v>
                </c:pt>
                <c:pt idx="6756">
                  <c:v>0.43283582089552203</c:v>
                </c:pt>
                <c:pt idx="6757">
                  <c:v>0.43296089385474901</c:v>
                </c:pt>
                <c:pt idx="6758">
                  <c:v>0.43312101910827999</c:v>
                </c:pt>
                <c:pt idx="6759">
                  <c:v>0.43312101910827999</c:v>
                </c:pt>
                <c:pt idx="6760">
                  <c:v>0.43333333333333302</c:v>
                </c:pt>
                <c:pt idx="6761">
                  <c:v>0.43352601156069398</c:v>
                </c:pt>
                <c:pt idx="6762">
                  <c:v>0.43362068965517198</c:v>
                </c:pt>
                <c:pt idx="6763">
                  <c:v>0.43396226415094302</c:v>
                </c:pt>
                <c:pt idx="6764">
                  <c:v>0.434285714285714</c:v>
                </c:pt>
                <c:pt idx="6765">
                  <c:v>0.434412265758092</c:v>
                </c:pt>
                <c:pt idx="6766">
                  <c:v>0.43445692883895098</c:v>
                </c:pt>
                <c:pt idx="6767">
                  <c:v>0.434782608695652</c:v>
                </c:pt>
                <c:pt idx="6768">
                  <c:v>0.43492695883134103</c:v>
                </c:pt>
                <c:pt idx="6769">
                  <c:v>0.435019841269841</c:v>
                </c:pt>
                <c:pt idx="6770">
                  <c:v>0.43505674653215598</c:v>
                </c:pt>
                <c:pt idx="6771">
                  <c:v>0.43525179856115098</c:v>
                </c:pt>
                <c:pt idx="6772">
                  <c:v>0.43535427319211101</c:v>
                </c:pt>
                <c:pt idx="6773">
                  <c:v>0.43538461538461498</c:v>
                </c:pt>
                <c:pt idx="6774">
                  <c:v>0.43546365914787</c:v>
                </c:pt>
                <c:pt idx="6775">
                  <c:v>0.43566591422121898</c:v>
                </c:pt>
                <c:pt idx="6776">
                  <c:v>0.43570057581573901</c:v>
                </c:pt>
                <c:pt idx="6777">
                  <c:v>0.435828877005348</c:v>
                </c:pt>
                <c:pt idx="6778">
                  <c:v>0.43589743589743601</c:v>
                </c:pt>
                <c:pt idx="6779">
                  <c:v>0.43589743589743601</c:v>
                </c:pt>
                <c:pt idx="6780">
                  <c:v>0.43612334801762098</c:v>
                </c:pt>
                <c:pt idx="6781">
                  <c:v>0.43619047619047602</c:v>
                </c:pt>
                <c:pt idx="6782">
                  <c:v>0.43621621621621598</c:v>
                </c:pt>
                <c:pt idx="6783">
                  <c:v>0.43636363636363601</c:v>
                </c:pt>
                <c:pt idx="6784">
                  <c:v>0.43636363636363601</c:v>
                </c:pt>
                <c:pt idx="6785">
                  <c:v>0.43636363636363601</c:v>
                </c:pt>
                <c:pt idx="6786">
                  <c:v>0.43646408839779</c:v>
                </c:pt>
                <c:pt idx="6787">
                  <c:v>0.43653458697112202</c:v>
                </c:pt>
                <c:pt idx="6788">
                  <c:v>0.43653846153846199</c:v>
                </c:pt>
                <c:pt idx="6789">
                  <c:v>0.43661971830985902</c:v>
                </c:pt>
                <c:pt idx="6790">
                  <c:v>0.43661971830985902</c:v>
                </c:pt>
                <c:pt idx="6791">
                  <c:v>0.43661971830985902</c:v>
                </c:pt>
                <c:pt idx="6792">
                  <c:v>0.43667296786389398</c:v>
                </c:pt>
                <c:pt idx="6793">
                  <c:v>0.436708860759494</c:v>
                </c:pt>
                <c:pt idx="6794">
                  <c:v>0.43674176776429802</c:v>
                </c:pt>
                <c:pt idx="6795">
                  <c:v>0.43678160919540199</c:v>
                </c:pt>
                <c:pt idx="6796">
                  <c:v>0.43726235741444902</c:v>
                </c:pt>
                <c:pt idx="6797">
                  <c:v>0.43735763097949898</c:v>
                </c:pt>
                <c:pt idx="6798">
                  <c:v>0.43741209563994399</c:v>
                </c:pt>
                <c:pt idx="6799">
                  <c:v>0.4375</c:v>
                </c:pt>
                <c:pt idx="6800">
                  <c:v>0.4375</c:v>
                </c:pt>
                <c:pt idx="6801">
                  <c:v>0.4375</c:v>
                </c:pt>
                <c:pt idx="6802">
                  <c:v>0.43782383419689103</c:v>
                </c:pt>
                <c:pt idx="6803">
                  <c:v>0.43809523809523798</c:v>
                </c:pt>
                <c:pt idx="6804">
                  <c:v>0.43810096153846201</c:v>
                </c:pt>
                <c:pt idx="6805">
                  <c:v>0.43859649122806998</c:v>
                </c:pt>
                <c:pt idx="6806">
                  <c:v>0.43859649122806998</c:v>
                </c:pt>
                <c:pt idx="6807">
                  <c:v>0.43878185208203802</c:v>
                </c:pt>
                <c:pt idx="6808">
                  <c:v>0.43911248710010298</c:v>
                </c:pt>
                <c:pt idx="6809">
                  <c:v>0.43925233644859801</c:v>
                </c:pt>
                <c:pt idx="6810">
                  <c:v>0.43936243936243902</c:v>
                </c:pt>
                <c:pt idx="6811">
                  <c:v>0.43942133815551498</c:v>
                </c:pt>
                <c:pt idx="6812">
                  <c:v>0.43951612903225801</c:v>
                </c:pt>
                <c:pt idx="6813">
                  <c:v>0.43951612903225801</c:v>
                </c:pt>
                <c:pt idx="6814">
                  <c:v>0.439645625692137</c:v>
                </c:pt>
                <c:pt idx="6815">
                  <c:v>0.43969368219527799</c:v>
                </c:pt>
                <c:pt idx="6816">
                  <c:v>0.439716312056738</c:v>
                </c:pt>
                <c:pt idx="6817">
                  <c:v>0.43984962406014999</c:v>
                </c:pt>
                <c:pt idx="6818">
                  <c:v>0.44</c:v>
                </c:pt>
                <c:pt idx="6819">
                  <c:v>0.440217391304348</c:v>
                </c:pt>
                <c:pt idx="6820">
                  <c:v>0.44032921810699599</c:v>
                </c:pt>
                <c:pt idx="6821">
                  <c:v>0.44041450777202101</c:v>
                </c:pt>
                <c:pt idx="6822">
                  <c:v>0.44059405940594099</c:v>
                </c:pt>
                <c:pt idx="6823">
                  <c:v>0.44059405940594099</c:v>
                </c:pt>
                <c:pt idx="6824">
                  <c:v>0.44079885877318098</c:v>
                </c:pt>
                <c:pt idx="6825">
                  <c:v>0.44082840236686399</c:v>
                </c:pt>
                <c:pt idx="6826">
                  <c:v>0.44114411441144102</c:v>
                </c:pt>
                <c:pt idx="6827">
                  <c:v>0.441156691324815</c:v>
                </c:pt>
                <c:pt idx="6828">
                  <c:v>0.441176470588235</c:v>
                </c:pt>
                <c:pt idx="6829">
                  <c:v>0.441176470588235</c:v>
                </c:pt>
                <c:pt idx="6830">
                  <c:v>0.441176470588235</c:v>
                </c:pt>
                <c:pt idx="6831">
                  <c:v>0.44131455399060998</c:v>
                </c:pt>
                <c:pt idx="6832">
                  <c:v>0.44137931034482802</c:v>
                </c:pt>
                <c:pt idx="6833">
                  <c:v>0.44155844155844198</c:v>
                </c:pt>
                <c:pt idx="6834">
                  <c:v>0.44166666666666698</c:v>
                </c:pt>
                <c:pt idx="6835">
                  <c:v>0.44186046511627902</c:v>
                </c:pt>
                <c:pt idx="6836">
                  <c:v>0.44186046511627902</c:v>
                </c:pt>
                <c:pt idx="6837">
                  <c:v>0.44196428571428598</c:v>
                </c:pt>
                <c:pt idx="6838">
                  <c:v>0.442105263157895</c:v>
                </c:pt>
                <c:pt idx="6839">
                  <c:v>0.44213649851631998</c:v>
                </c:pt>
                <c:pt idx="6840">
                  <c:v>0.44217687074829898</c:v>
                </c:pt>
                <c:pt idx="6841">
                  <c:v>0.44247787610619499</c:v>
                </c:pt>
                <c:pt idx="6842">
                  <c:v>0.44266666666666699</c:v>
                </c:pt>
                <c:pt idx="6843">
                  <c:v>0.442857142857143</c:v>
                </c:pt>
                <c:pt idx="6844">
                  <c:v>0.44327176781002597</c:v>
                </c:pt>
                <c:pt idx="6845">
                  <c:v>0.44342507645259899</c:v>
                </c:pt>
                <c:pt idx="6846">
                  <c:v>0.44354838709677402</c:v>
                </c:pt>
                <c:pt idx="6847">
                  <c:v>0.443843031123139</c:v>
                </c:pt>
                <c:pt idx="6848">
                  <c:v>0.44423791821561298</c:v>
                </c:pt>
                <c:pt idx="6849">
                  <c:v>0.44444444444444398</c:v>
                </c:pt>
                <c:pt idx="6850">
                  <c:v>0.44444444444444398</c:v>
                </c:pt>
                <c:pt idx="6851">
                  <c:v>0.44444444444444398</c:v>
                </c:pt>
                <c:pt idx="6852">
                  <c:v>0.44444444444444398</c:v>
                </c:pt>
                <c:pt idx="6853">
                  <c:v>0.44444444444444398</c:v>
                </c:pt>
                <c:pt idx="6854">
                  <c:v>0.44444444444444398</c:v>
                </c:pt>
                <c:pt idx="6855">
                  <c:v>0.444651162790698</c:v>
                </c:pt>
                <c:pt idx="6856">
                  <c:v>0.44483985765124601</c:v>
                </c:pt>
                <c:pt idx="6857">
                  <c:v>0.444933920704846</c:v>
                </c:pt>
                <c:pt idx="6858">
                  <c:v>0.44494584837545098</c:v>
                </c:pt>
                <c:pt idx="6859">
                  <c:v>0.44498777506112502</c:v>
                </c:pt>
                <c:pt idx="6860">
                  <c:v>0.44510978043912203</c:v>
                </c:pt>
                <c:pt idx="6861">
                  <c:v>0.44537815126050401</c:v>
                </c:pt>
                <c:pt idx="6862">
                  <c:v>0.44537815126050401</c:v>
                </c:pt>
                <c:pt idx="6863">
                  <c:v>0.44550109729334297</c:v>
                </c:pt>
                <c:pt idx="6864">
                  <c:v>0.44565217391304301</c:v>
                </c:pt>
                <c:pt idx="6865">
                  <c:v>0.44569939183318802</c:v>
                </c:pt>
                <c:pt idx="6866">
                  <c:v>0.44573322286661099</c:v>
                </c:pt>
                <c:pt idx="6867">
                  <c:v>0.44584913611462301</c:v>
                </c:pt>
                <c:pt idx="6868">
                  <c:v>0.44604316546762601</c:v>
                </c:pt>
                <c:pt idx="6869">
                  <c:v>0.44615384615384601</c:v>
                </c:pt>
                <c:pt idx="6870">
                  <c:v>0.44623655913978499</c:v>
                </c:pt>
                <c:pt idx="6871">
                  <c:v>0.44631901840490801</c:v>
                </c:pt>
                <c:pt idx="6872">
                  <c:v>0.44660194174757301</c:v>
                </c:pt>
                <c:pt idx="6873">
                  <c:v>0.44667370644139398</c:v>
                </c:pt>
                <c:pt idx="6874">
                  <c:v>0.44670050761421298</c:v>
                </c:pt>
                <c:pt idx="6875">
                  <c:v>0.44674556213017702</c:v>
                </c:pt>
                <c:pt idx="6876">
                  <c:v>0.44696969696969702</c:v>
                </c:pt>
                <c:pt idx="6877">
                  <c:v>0.44698544698544701</c:v>
                </c:pt>
                <c:pt idx="6878">
                  <c:v>0.44705882352941201</c:v>
                </c:pt>
                <c:pt idx="6879">
                  <c:v>0.447204968944099</c:v>
                </c:pt>
                <c:pt idx="6880">
                  <c:v>0.44747081712062298</c:v>
                </c:pt>
                <c:pt idx="6881">
                  <c:v>0.44751381215469599</c:v>
                </c:pt>
                <c:pt idx="6882">
                  <c:v>0.44776119402985098</c:v>
                </c:pt>
                <c:pt idx="6883">
                  <c:v>0.44827586206896503</c:v>
                </c:pt>
                <c:pt idx="6884">
                  <c:v>0.44881889763779498</c:v>
                </c:pt>
                <c:pt idx="6885">
                  <c:v>0.44897959183673503</c:v>
                </c:pt>
                <c:pt idx="6886">
                  <c:v>0.44897959183673503</c:v>
                </c:pt>
                <c:pt idx="6887">
                  <c:v>0.44897959183673503</c:v>
                </c:pt>
                <c:pt idx="6888">
                  <c:v>0.449013157894737</c:v>
                </c:pt>
                <c:pt idx="6889">
                  <c:v>0.44940476190476197</c:v>
                </c:pt>
                <c:pt idx="6890">
                  <c:v>0.449438202247191</c:v>
                </c:pt>
                <c:pt idx="6891">
                  <c:v>0.449438202247191</c:v>
                </c:pt>
                <c:pt idx="6892">
                  <c:v>0.449438202247191</c:v>
                </c:pt>
                <c:pt idx="6893">
                  <c:v>0.449487554904832</c:v>
                </c:pt>
                <c:pt idx="6894">
                  <c:v>0.44950495049504902</c:v>
                </c:pt>
                <c:pt idx="6895">
                  <c:v>0.449511400651466</c:v>
                </c:pt>
                <c:pt idx="6896">
                  <c:v>0.44954128440367003</c:v>
                </c:pt>
                <c:pt idx="6897">
                  <c:v>0.44957841483979799</c:v>
                </c:pt>
                <c:pt idx="6898">
                  <c:v>0.44959128065395099</c:v>
                </c:pt>
                <c:pt idx="6899">
                  <c:v>0.44966442953020103</c:v>
                </c:pt>
                <c:pt idx="6900">
                  <c:v>0.449826989619377</c:v>
                </c:pt>
                <c:pt idx="6901">
                  <c:v>0.45</c:v>
                </c:pt>
                <c:pt idx="6902">
                  <c:v>0.45</c:v>
                </c:pt>
                <c:pt idx="6903">
                  <c:v>0.45</c:v>
                </c:pt>
                <c:pt idx="6904">
                  <c:v>0.45028142589118197</c:v>
                </c:pt>
                <c:pt idx="6905">
                  <c:v>0.45051194539249101</c:v>
                </c:pt>
                <c:pt idx="6906">
                  <c:v>0.45052083333333298</c:v>
                </c:pt>
                <c:pt idx="6907">
                  <c:v>0.45061728395061701</c:v>
                </c:pt>
                <c:pt idx="6908">
                  <c:v>0.45098039215686297</c:v>
                </c:pt>
                <c:pt idx="6909">
                  <c:v>0.45108695652173902</c:v>
                </c:pt>
                <c:pt idx="6910">
                  <c:v>0.45132743362831901</c:v>
                </c:pt>
                <c:pt idx="6911">
                  <c:v>0.45161290322580599</c:v>
                </c:pt>
                <c:pt idx="6912">
                  <c:v>0.45161290322580599</c:v>
                </c:pt>
                <c:pt idx="6913">
                  <c:v>0.451807228915663</c:v>
                </c:pt>
                <c:pt idx="6914">
                  <c:v>0.451807228915663</c:v>
                </c:pt>
                <c:pt idx="6915">
                  <c:v>0.45188284518828398</c:v>
                </c:pt>
                <c:pt idx="6916">
                  <c:v>0.45192307692307698</c:v>
                </c:pt>
                <c:pt idx="6917">
                  <c:v>0.45205479452054798</c:v>
                </c:pt>
                <c:pt idx="6918">
                  <c:v>0.45205479452054798</c:v>
                </c:pt>
                <c:pt idx="6919">
                  <c:v>0.452380952380952</c:v>
                </c:pt>
                <c:pt idx="6920">
                  <c:v>0.452380952380952</c:v>
                </c:pt>
                <c:pt idx="6921">
                  <c:v>0.45265151515151503</c:v>
                </c:pt>
                <c:pt idx="6922">
                  <c:v>0.45272727272727298</c:v>
                </c:pt>
                <c:pt idx="6923">
                  <c:v>0.45274725274725303</c:v>
                </c:pt>
                <c:pt idx="6924">
                  <c:v>0.452755905511811</c:v>
                </c:pt>
                <c:pt idx="6925">
                  <c:v>0.45295404814004397</c:v>
                </c:pt>
                <c:pt idx="6926">
                  <c:v>0.45305164319248797</c:v>
                </c:pt>
                <c:pt idx="6927">
                  <c:v>0.453125</c:v>
                </c:pt>
                <c:pt idx="6928">
                  <c:v>0.45333333333333298</c:v>
                </c:pt>
                <c:pt idx="6929">
                  <c:v>0.453416149068323</c:v>
                </c:pt>
                <c:pt idx="6930">
                  <c:v>0.45348837209302301</c:v>
                </c:pt>
                <c:pt idx="6931">
                  <c:v>0.45374449339207001</c:v>
                </c:pt>
                <c:pt idx="6932">
                  <c:v>0.45378151260504201</c:v>
                </c:pt>
                <c:pt idx="6933">
                  <c:v>0.45387453874538702</c:v>
                </c:pt>
                <c:pt idx="6934">
                  <c:v>0.454098360655738</c:v>
                </c:pt>
                <c:pt idx="6935">
                  <c:v>0.45416913069189802</c:v>
                </c:pt>
                <c:pt idx="6936">
                  <c:v>0.454320987654321</c:v>
                </c:pt>
                <c:pt idx="6937">
                  <c:v>0.45454545454545398</c:v>
                </c:pt>
                <c:pt idx="6938">
                  <c:v>0.45454545454545398</c:v>
                </c:pt>
                <c:pt idx="6939">
                  <c:v>0.45454545454545398</c:v>
                </c:pt>
                <c:pt idx="6940">
                  <c:v>0.45454545454545398</c:v>
                </c:pt>
                <c:pt idx="6941">
                  <c:v>0.45454545454545398</c:v>
                </c:pt>
                <c:pt idx="6942">
                  <c:v>0.45478961504028598</c:v>
                </c:pt>
                <c:pt idx="6943">
                  <c:v>0.455407969639469</c:v>
                </c:pt>
                <c:pt idx="6944">
                  <c:v>0.45544554455445502</c:v>
                </c:pt>
                <c:pt idx="6945">
                  <c:v>0.45588235294117602</c:v>
                </c:pt>
                <c:pt idx="6946">
                  <c:v>0.45590327169274503</c:v>
                </c:pt>
                <c:pt idx="6947">
                  <c:v>0.45592705167173198</c:v>
                </c:pt>
                <c:pt idx="6948">
                  <c:v>0.45600000000000002</c:v>
                </c:pt>
                <c:pt idx="6949">
                  <c:v>0.456451612903226</c:v>
                </c:pt>
                <c:pt idx="6950">
                  <c:v>0.45645645645645599</c:v>
                </c:pt>
                <c:pt idx="6951">
                  <c:v>0.45652173913043498</c:v>
                </c:pt>
                <c:pt idx="6952">
                  <c:v>0.456603773584906</c:v>
                </c:pt>
                <c:pt idx="6953">
                  <c:v>0.45662100456621002</c:v>
                </c:pt>
                <c:pt idx="6954">
                  <c:v>0.45669291338582702</c:v>
                </c:pt>
                <c:pt idx="6955">
                  <c:v>0.45676274944567602</c:v>
                </c:pt>
                <c:pt idx="6956">
                  <c:v>0.45689655172413801</c:v>
                </c:pt>
                <c:pt idx="6957">
                  <c:v>0.45705521472392602</c:v>
                </c:pt>
                <c:pt idx="6958">
                  <c:v>0.45714285714285702</c:v>
                </c:pt>
                <c:pt idx="6959">
                  <c:v>0.45717592592592599</c:v>
                </c:pt>
                <c:pt idx="6960">
                  <c:v>0.45726141078838201</c:v>
                </c:pt>
                <c:pt idx="6961">
                  <c:v>0.45744680851063801</c:v>
                </c:pt>
                <c:pt idx="6962">
                  <c:v>0.45750000000000002</c:v>
                </c:pt>
                <c:pt idx="6963">
                  <c:v>0.45764053840063301</c:v>
                </c:pt>
                <c:pt idx="6964">
                  <c:v>0.45801526717557201</c:v>
                </c:pt>
                <c:pt idx="6965">
                  <c:v>0.45833333333333298</c:v>
                </c:pt>
                <c:pt idx="6966">
                  <c:v>0.45833333333333298</c:v>
                </c:pt>
                <c:pt idx="6967">
                  <c:v>0.45833333333333298</c:v>
                </c:pt>
                <c:pt idx="6968">
                  <c:v>0.45833333333333298</c:v>
                </c:pt>
                <c:pt idx="6969">
                  <c:v>0.458515283842795</c:v>
                </c:pt>
                <c:pt idx="6970">
                  <c:v>0.45868945868945898</c:v>
                </c:pt>
                <c:pt idx="6971">
                  <c:v>0.458937198067633</c:v>
                </c:pt>
                <c:pt idx="6972">
                  <c:v>0.45901639344262302</c:v>
                </c:pt>
                <c:pt idx="6973">
                  <c:v>0.45901639344262302</c:v>
                </c:pt>
                <c:pt idx="6974">
                  <c:v>0.45906432748538001</c:v>
                </c:pt>
                <c:pt idx="6975">
                  <c:v>0.45918367346938799</c:v>
                </c:pt>
                <c:pt idx="6976">
                  <c:v>0.45925925925925898</c:v>
                </c:pt>
                <c:pt idx="6977">
                  <c:v>0.45945945945945899</c:v>
                </c:pt>
                <c:pt idx="6978">
                  <c:v>0.45945945945945899</c:v>
                </c:pt>
                <c:pt idx="6979">
                  <c:v>0.45959595959596</c:v>
                </c:pt>
                <c:pt idx="6980">
                  <c:v>0.46</c:v>
                </c:pt>
                <c:pt idx="6981">
                  <c:v>0.460051546391753</c:v>
                </c:pt>
                <c:pt idx="6982">
                  <c:v>0.46006389776357798</c:v>
                </c:pt>
                <c:pt idx="6983">
                  <c:v>0.460093896713615</c:v>
                </c:pt>
                <c:pt idx="6984">
                  <c:v>0.46017699115044203</c:v>
                </c:pt>
                <c:pt idx="6985">
                  <c:v>0.46031746031746001</c:v>
                </c:pt>
                <c:pt idx="6986">
                  <c:v>0.46035805626598503</c:v>
                </c:pt>
                <c:pt idx="6987">
                  <c:v>0.46067415730337102</c:v>
                </c:pt>
                <c:pt idx="6988">
                  <c:v>0.46067415730337102</c:v>
                </c:pt>
                <c:pt idx="6989">
                  <c:v>0.46086956521739098</c:v>
                </c:pt>
                <c:pt idx="6990">
                  <c:v>0.46153846153846201</c:v>
                </c:pt>
                <c:pt idx="6991">
                  <c:v>0.46153846153846201</c:v>
                </c:pt>
                <c:pt idx="6992">
                  <c:v>0.46193771626297597</c:v>
                </c:pt>
                <c:pt idx="6993">
                  <c:v>0.46195652173912999</c:v>
                </c:pt>
                <c:pt idx="6994">
                  <c:v>0.46226415094339601</c:v>
                </c:pt>
                <c:pt idx="6995">
                  <c:v>0.462365591397849</c:v>
                </c:pt>
                <c:pt idx="6996">
                  <c:v>0.462686567164179</c:v>
                </c:pt>
                <c:pt idx="6997">
                  <c:v>0.46341463414634099</c:v>
                </c:pt>
                <c:pt idx="6998">
                  <c:v>0.46350364963503599</c:v>
                </c:pt>
                <c:pt idx="6999">
                  <c:v>0.46363636363636401</c:v>
                </c:pt>
                <c:pt idx="7000">
                  <c:v>0.46376811594202899</c:v>
                </c:pt>
                <c:pt idx="7001">
                  <c:v>0.46380090497737603</c:v>
                </c:pt>
                <c:pt idx="7002">
                  <c:v>0.463829787234043</c:v>
                </c:pt>
                <c:pt idx="7003">
                  <c:v>0.46405228758169897</c:v>
                </c:pt>
                <c:pt idx="7004">
                  <c:v>0.46443514644351502</c:v>
                </c:pt>
                <c:pt idx="7005">
                  <c:v>0.46452702702702697</c:v>
                </c:pt>
                <c:pt idx="7006">
                  <c:v>0.46461538461538499</c:v>
                </c:pt>
                <c:pt idx="7007">
                  <c:v>0.46464646464646497</c:v>
                </c:pt>
                <c:pt idx="7008">
                  <c:v>0.46484375</c:v>
                </c:pt>
                <c:pt idx="7009">
                  <c:v>0.46493902439024398</c:v>
                </c:pt>
                <c:pt idx="7010">
                  <c:v>0.46500402252614598</c:v>
                </c:pt>
                <c:pt idx="7011">
                  <c:v>0.465040650406504</c:v>
                </c:pt>
                <c:pt idx="7012">
                  <c:v>0.46511627906976699</c:v>
                </c:pt>
                <c:pt idx="7013">
                  <c:v>0.46527777777777801</c:v>
                </c:pt>
                <c:pt idx="7014">
                  <c:v>0.46533756230176698</c:v>
                </c:pt>
                <c:pt idx="7015">
                  <c:v>0.46551724137931</c:v>
                </c:pt>
                <c:pt idx="7016">
                  <c:v>0.46584488957370301</c:v>
                </c:pt>
                <c:pt idx="7017">
                  <c:v>0.466019417475728</c:v>
                </c:pt>
                <c:pt idx="7018">
                  <c:v>0.46605410923940799</c:v>
                </c:pt>
                <c:pt idx="7019">
                  <c:v>0.46630727762803198</c:v>
                </c:pt>
                <c:pt idx="7020">
                  <c:v>0.46643109540636002</c:v>
                </c:pt>
                <c:pt idx="7021">
                  <c:v>0.46666666666666701</c:v>
                </c:pt>
                <c:pt idx="7022">
                  <c:v>0.46666666666666701</c:v>
                </c:pt>
                <c:pt idx="7023">
                  <c:v>0.46666666666666701</c:v>
                </c:pt>
                <c:pt idx="7024">
                  <c:v>0.46700507614213199</c:v>
                </c:pt>
                <c:pt idx="7025">
                  <c:v>0.46701846965699201</c:v>
                </c:pt>
                <c:pt idx="7026">
                  <c:v>0.46712802768166101</c:v>
                </c:pt>
                <c:pt idx="7027">
                  <c:v>0.46720368239355597</c:v>
                </c:pt>
                <c:pt idx="7028">
                  <c:v>0.467289719626168</c:v>
                </c:pt>
                <c:pt idx="7029">
                  <c:v>0.467289719626168</c:v>
                </c:pt>
                <c:pt idx="7030">
                  <c:v>0.46766169154228898</c:v>
                </c:pt>
                <c:pt idx="7031">
                  <c:v>0.46768060836501901</c:v>
                </c:pt>
                <c:pt idx="7032">
                  <c:v>0.46770601336302903</c:v>
                </c:pt>
                <c:pt idx="7033">
                  <c:v>0.467741935483871</c:v>
                </c:pt>
                <c:pt idx="7034">
                  <c:v>0.46788990825688098</c:v>
                </c:pt>
                <c:pt idx="7035">
                  <c:v>0.46808510638297901</c:v>
                </c:pt>
                <c:pt idx="7036">
                  <c:v>0.46808510638297901</c:v>
                </c:pt>
                <c:pt idx="7037">
                  <c:v>0.46846846846846801</c:v>
                </c:pt>
                <c:pt idx="7038">
                  <c:v>0.46875</c:v>
                </c:pt>
                <c:pt idx="7039">
                  <c:v>0.46875</c:v>
                </c:pt>
                <c:pt idx="7040">
                  <c:v>0.469202898550725</c:v>
                </c:pt>
                <c:pt idx="7041">
                  <c:v>0.46923076923076901</c:v>
                </c:pt>
                <c:pt idx="7042">
                  <c:v>0.46932515337423297</c:v>
                </c:pt>
                <c:pt idx="7043">
                  <c:v>0.469387755102041</c:v>
                </c:pt>
                <c:pt idx="7044">
                  <c:v>0.46949152542372902</c:v>
                </c:pt>
                <c:pt idx="7045">
                  <c:v>0.46961325966850798</c:v>
                </c:pt>
                <c:pt idx="7046">
                  <c:v>0.46961325966850798</c:v>
                </c:pt>
                <c:pt idx="7047">
                  <c:v>0.46969696969697</c:v>
                </c:pt>
                <c:pt idx="7048">
                  <c:v>0.46969696969697</c:v>
                </c:pt>
                <c:pt idx="7049">
                  <c:v>0.46973365617433399</c:v>
                </c:pt>
                <c:pt idx="7050">
                  <c:v>0.46979038224414299</c:v>
                </c:pt>
                <c:pt idx="7051">
                  <c:v>0.47</c:v>
                </c:pt>
                <c:pt idx="7052">
                  <c:v>0.47014925373134298</c:v>
                </c:pt>
                <c:pt idx="7053">
                  <c:v>0.47014925373134298</c:v>
                </c:pt>
                <c:pt idx="7054">
                  <c:v>0.47017543859649102</c:v>
                </c:pt>
                <c:pt idx="7055">
                  <c:v>0.47019867549668898</c:v>
                </c:pt>
                <c:pt idx="7056">
                  <c:v>0.47058823529411797</c:v>
                </c:pt>
                <c:pt idx="7057">
                  <c:v>0.470703125</c:v>
                </c:pt>
                <c:pt idx="7058">
                  <c:v>0.47073052733430099</c:v>
                </c:pt>
                <c:pt idx="7059">
                  <c:v>0.47077922077922102</c:v>
                </c:pt>
                <c:pt idx="7060">
                  <c:v>0.47077922077922102</c:v>
                </c:pt>
                <c:pt idx="7061">
                  <c:v>0.47089947089947098</c:v>
                </c:pt>
                <c:pt idx="7062">
                  <c:v>0.47169811320754701</c:v>
                </c:pt>
                <c:pt idx="7063">
                  <c:v>0.47169811320754701</c:v>
                </c:pt>
                <c:pt idx="7064">
                  <c:v>0.47199999999999998</c:v>
                </c:pt>
                <c:pt idx="7065">
                  <c:v>0.47214076246334302</c:v>
                </c:pt>
                <c:pt idx="7066">
                  <c:v>0.47222222222222199</c:v>
                </c:pt>
                <c:pt idx="7067">
                  <c:v>0.47222222222222199</c:v>
                </c:pt>
                <c:pt idx="7068">
                  <c:v>0.472289156626506</c:v>
                </c:pt>
                <c:pt idx="7069">
                  <c:v>0.472350230414747</c:v>
                </c:pt>
                <c:pt idx="7070">
                  <c:v>0.47246696035242303</c:v>
                </c:pt>
                <c:pt idx="7071">
                  <c:v>0.47252747252747201</c:v>
                </c:pt>
                <c:pt idx="7072">
                  <c:v>0.472727272727273</c:v>
                </c:pt>
                <c:pt idx="7073">
                  <c:v>0.472727272727273</c:v>
                </c:pt>
                <c:pt idx="7074">
                  <c:v>0.472727272727273</c:v>
                </c:pt>
                <c:pt idx="7075">
                  <c:v>0.472882968601332</c:v>
                </c:pt>
                <c:pt idx="7076">
                  <c:v>0.47330960854092502</c:v>
                </c:pt>
                <c:pt idx="7077">
                  <c:v>0.47368421052631599</c:v>
                </c:pt>
                <c:pt idx="7078">
                  <c:v>0.47368421052631599</c:v>
                </c:pt>
                <c:pt idx="7079">
                  <c:v>0.47368421052631599</c:v>
                </c:pt>
                <c:pt idx="7080">
                  <c:v>0.47378277153558002</c:v>
                </c:pt>
                <c:pt idx="7081">
                  <c:v>0.47428571428571398</c:v>
                </c:pt>
                <c:pt idx="7082">
                  <c:v>0.47435897435897401</c:v>
                </c:pt>
                <c:pt idx="7083">
                  <c:v>0.47435897435897401</c:v>
                </c:pt>
                <c:pt idx="7084">
                  <c:v>0.47466666666666701</c:v>
                </c:pt>
                <c:pt idx="7085">
                  <c:v>0.47488151658767802</c:v>
                </c:pt>
                <c:pt idx="7086">
                  <c:v>0.47491638795986602</c:v>
                </c:pt>
                <c:pt idx="7087">
                  <c:v>0.47540983606557402</c:v>
                </c:pt>
                <c:pt idx="7088">
                  <c:v>0.47540983606557402</c:v>
                </c:pt>
                <c:pt idx="7089">
                  <c:v>0.47540983606557402</c:v>
                </c:pt>
                <c:pt idx="7090">
                  <c:v>0.47580645161290303</c:v>
                </c:pt>
                <c:pt idx="7091">
                  <c:v>0.47587511825922402</c:v>
                </c:pt>
                <c:pt idx="7092">
                  <c:v>0.47599999999999998</c:v>
                </c:pt>
                <c:pt idx="7093">
                  <c:v>0.47602131438721101</c:v>
                </c:pt>
                <c:pt idx="7094">
                  <c:v>0.476190476190476</c:v>
                </c:pt>
                <c:pt idx="7095">
                  <c:v>0.476190476190476</c:v>
                </c:pt>
                <c:pt idx="7096">
                  <c:v>0.47634069400630902</c:v>
                </c:pt>
                <c:pt idx="7097">
                  <c:v>0.47643979057591601</c:v>
                </c:pt>
                <c:pt idx="7098">
                  <c:v>0.4765625</c:v>
                </c:pt>
                <c:pt idx="7099">
                  <c:v>0.47671232876712299</c:v>
                </c:pt>
                <c:pt idx="7100">
                  <c:v>0.47683923705722098</c:v>
                </c:pt>
                <c:pt idx="7101">
                  <c:v>0.47692307692307701</c:v>
                </c:pt>
                <c:pt idx="7102">
                  <c:v>0.47727272727272702</c:v>
                </c:pt>
                <c:pt idx="7103">
                  <c:v>0.47736976942783899</c:v>
                </c:pt>
                <c:pt idx="7104">
                  <c:v>0.47737355811889998</c:v>
                </c:pt>
                <c:pt idx="7105">
                  <c:v>0.47741935483871001</c:v>
                </c:pt>
                <c:pt idx="7106">
                  <c:v>0.47747747747747699</c:v>
                </c:pt>
                <c:pt idx="7107">
                  <c:v>0.47761194029850701</c:v>
                </c:pt>
                <c:pt idx="7108">
                  <c:v>0.477732793522267</c:v>
                </c:pt>
                <c:pt idx="7109">
                  <c:v>0.47781818181818198</c:v>
                </c:pt>
                <c:pt idx="7110">
                  <c:v>0.47798742138364803</c:v>
                </c:pt>
                <c:pt idx="7111">
                  <c:v>0.47826086956521702</c:v>
                </c:pt>
                <c:pt idx="7112">
                  <c:v>0.47839506172839502</c:v>
                </c:pt>
                <c:pt idx="7113">
                  <c:v>0.47877984084880598</c:v>
                </c:pt>
                <c:pt idx="7114">
                  <c:v>0.47894736842105301</c:v>
                </c:pt>
                <c:pt idx="7115">
                  <c:v>0.47896879240162799</c:v>
                </c:pt>
                <c:pt idx="7116">
                  <c:v>0.47902869757174399</c:v>
                </c:pt>
                <c:pt idx="7117">
                  <c:v>0.47916666666666702</c:v>
                </c:pt>
                <c:pt idx="7118">
                  <c:v>0.47926267281106</c:v>
                </c:pt>
                <c:pt idx="7119">
                  <c:v>0.47933884297520701</c:v>
                </c:pt>
                <c:pt idx="7120">
                  <c:v>0.47933884297520701</c:v>
                </c:pt>
                <c:pt idx="7121">
                  <c:v>0.47945205479452002</c:v>
                </c:pt>
                <c:pt idx="7122">
                  <c:v>0.47959183673469402</c:v>
                </c:pt>
                <c:pt idx="7123">
                  <c:v>0.479757085020243</c:v>
                </c:pt>
                <c:pt idx="7124">
                  <c:v>0.47986577181208001</c:v>
                </c:pt>
                <c:pt idx="7125">
                  <c:v>0.48</c:v>
                </c:pt>
                <c:pt idx="7126">
                  <c:v>0.480263157894737</c:v>
                </c:pt>
                <c:pt idx="7127">
                  <c:v>0.48031496062992102</c:v>
                </c:pt>
                <c:pt idx="7128">
                  <c:v>0.48051948051948001</c:v>
                </c:pt>
                <c:pt idx="7129">
                  <c:v>0.48067010309278302</c:v>
                </c:pt>
                <c:pt idx="7130">
                  <c:v>0.48120300751879702</c:v>
                </c:pt>
                <c:pt idx="7131">
                  <c:v>0.48125000000000001</c:v>
                </c:pt>
                <c:pt idx="7132">
                  <c:v>0.48130841121495299</c:v>
                </c:pt>
                <c:pt idx="7133">
                  <c:v>0.48148148148148101</c:v>
                </c:pt>
                <c:pt idx="7134">
                  <c:v>0.48148148148148101</c:v>
                </c:pt>
                <c:pt idx="7135">
                  <c:v>0.48148148148148101</c:v>
                </c:pt>
                <c:pt idx="7136">
                  <c:v>0.48148148148148101</c:v>
                </c:pt>
                <c:pt idx="7137">
                  <c:v>0.48217054263565901</c:v>
                </c:pt>
                <c:pt idx="7138">
                  <c:v>0.48230088495575202</c:v>
                </c:pt>
                <c:pt idx="7139">
                  <c:v>0.48245614035087703</c:v>
                </c:pt>
                <c:pt idx="7140">
                  <c:v>0.48257839721254298</c:v>
                </c:pt>
                <c:pt idx="7141">
                  <c:v>0.48275862068965503</c:v>
                </c:pt>
                <c:pt idx="7142">
                  <c:v>0.48275862068965503</c:v>
                </c:pt>
                <c:pt idx="7143">
                  <c:v>0.48275862068965503</c:v>
                </c:pt>
                <c:pt idx="7144">
                  <c:v>0.48324958123953099</c:v>
                </c:pt>
                <c:pt idx="7145">
                  <c:v>0.483333333333333</c:v>
                </c:pt>
                <c:pt idx="7146">
                  <c:v>0.48378839590443701</c:v>
                </c:pt>
                <c:pt idx="7147">
                  <c:v>0.483870967741935</c:v>
                </c:pt>
                <c:pt idx="7148">
                  <c:v>0.484076433121019</c:v>
                </c:pt>
                <c:pt idx="7149">
                  <c:v>0.48478015783540002</c:v>
                </c:pt>
                <c:pt idx="7150">
                  <c:v>0.48484848484848497</c:v>
                </c:pt>
                <c:pt idx="7151">
                  <c:v>0.48507462686567199</c:v>
                </c:pt>
                <c:pt idx="7152">
                  <c:v>0.48534201954397399</c:v>
                </c:pt>
                <c:pt idx="7153">
                  <c:v>0.48557692307692302</c:v>
                </c:pt>
                <c:pt idx="7154">
                  <c:v>0.48561759729272402</c:v>
                </c:pt>
                <c:pt idx="7155">
                  <c:v>0.48571428571428599</c:v>
                </c:pt>
                <c:pt idx="7156">
                  <c:v>0.48587570621468901</c:v>
                </c:pt>
                <c:pt idx="7157">
                  <c:v>0.486033519553073</c:v>
                </c:pt>
                <c:pt idx="7158">
                  <c:v>0.48614609571788397</c:v>
                </c:pt>
                <c:pt idx="7159">
                  <c:v>0.48623853211009199</c:v>
                </c:pt>
                <c:pt idx="7160">
                  <c:v>0.486312399355878</c:v>
                </c:pt>
                <c:pt idx="7161">
                  <c:v>0.48641304347826098</c:v>
                </c:pt>
                <c:pt idx="7162">
                  <c:v>0.48653846153846098</c:v>
                </c:pt>
                <c:pt idx="7163">
                  <c:v>0.48660714285714302</c:v>
                </c:pt>
                <c:pt idx="7164">
                  <c:v>0.48672566371681403</c:v>
                </c:pt>
                <c:pt idx="7165">
                  <c:v>0.48672566371681403</c:v>
                </c:pt>
                <c:pt idx="7166">
                  <c:v>0.48685857321652098</c:v>
                </c:pt>
                <c:pt idx="7167">
                  <c:v>0.48715415019762798</c:v>
                </c:pt>
                <c:pt idx="7168">
                  <c:v>0.487179487179487</c:v>
                </c:pt>
                <c:pt idx="7169">
                  <c:v>0.487544483985765</c:v>
                </c:pt>
                <c:pt idx="7170">
                  <c:v>0.48760330578512401</c:v>
                </c:pt>
                <c:pt idx="7171">
                  <c:v>0.48764996471418498</c:v>
                </c:pt>
                <c:pt idx="7172">
                  <c:v>0.48780487804877998</c:v>
                </c:pt>
                <c:pt idx="7173">
                  <c:v>0.48780487804877998</c:v>
                </c:pt>
                <c:pt idx="7174">
                  <c:v>0.48806366047745398</c:v>
                </c:pt>
                <c:pt idx="7175">
                  <c:v>0.48814229249011898</c:v>
                </c:pt>
                <c:pt idx="7176">
                  <c:v>0.48825065274151402</c:v>
                </c:pt>
                <c:pt idx="7177">
                  <c:v>0.488400488400488</c:v>
                </c:pt>
                <c:pt idx="7178">
                  <c:v>0.48863636363636398</c:v>
                </c:pt>
                <c:pt idx="7179">
                  <c:v>0.488721804511278</c:v>
                </c:pt>
                <c:pt idx="7180">
                  <c:v>0.48958333333333298</c:v>
                </c:pt>
                <c:pt idx="7181">
                  <c:v>0.489614243323442</c:v>
                </c:pt>
                <c:pt idx="7182">
                  <c:v>0.48979591836734698</c:v>
                </c:pt>
                <c:pt idx="7183">
                  <c:v>0.49</c:v>
                </c:pt>
                <c:pt idx="7184">
                  <c:v>0.49044585987261102</c:v>
                </c:pt>
                <c:pt idx="7185">
                  <c:v>0.49044585987261102</c:v>
                </c:pt>
                <c:pt idx="7186">
                  <c:v>0.49048316251830198</c:v>
                </c:pt>
                <c:pt idx="7187">
                  <c:v>0.49052132701421802</c:v>
                </c:pt>
                <c:pt idx="7188">
                  <c:v>0.490566037735849</c:v>
                </c:pt>
                <c:pt idx="7189">
                  <c:v>0.490566037735849</c:v>
                </c:pt>
                <c:pt idx="7190">
                  <c:v>0.49079754601226999</c:v>
                </c:pt>
                <c:pt idx="7191">
                  <c:v>0.49090909090909102</c:v>
                </c:pt>
                <c:pt idx="7192">
                  <c:v>0.49128919860627202</c:v>
                </c:pt>
                <c:pt idx="7193">
                  <c:v>0.49137931034482801</c:v>
                </c:pt>
                <c:pt idx="7194">
                  <c:v>0.49137931034482801</c:v>
                </c:pt>
                <c:pt idx="7195">
                  <c:v>0.49175824175824201</c:v>
                </c:pt>
                <c:pt idx="7196">
                  <c:v>0.49180327868852503</c:v>
                </c:pt>
                <c:pt idx="7197">
                  <c:v>0.491869918699187</c:v>
                </c:pt>
                <c:pt idx="7198">
                  <c:v>0.49206349206349198</c:v>
                </c:pt>
                <c:pt idx="7199">
                  <c:v>0.49206349206349198</c:v>
                </c:pt>
                <c:pt idx="7200">
                  <c:v>0.49241658240647102</c:v>
                </c:pt>
                <c:pt idx="7201">
                  <c:v>0.49258160237388698</c:v>
                </c:pt>
                <c:pt idx="7202">
                  <c:v>0.49320388349514599</c:v>
                </c:pt>
                <c:pt idx="7203">
                  <c:v>0.49360044518642199</c:v>
                </c:pt>
                <c:pt idx="7204">
                  <c:v>0.49363057324840798</c:v>
                </c:pt>
                <c:pt idx="7205">
                  <c:v>0.49465648854961802</c:v>
                </c:pt>
                <c:pt idx="7206">
                  <c:v>0.49532710280373798</c:v>
                </c:pt>
                <c:pt idx="7207">
                  <c:v>0.495412844036697</c:v>
                </c:pt>
                <c:pt idx="7208">
                  <c:v>0.49549549549549499</c:v>
                </c:pt>
                <c:pt idx="7209">
                  <c:v>0.49551569506726501</c:v>
                </c:pt>
                <c:pt idx="7210">
                  <c:v>0.49662162162162199</c:v>
                </c:pt>
                <c:pt idx="7211">
                  <c:v>0.49670329670329699</c:v>
                </c:pt>
                <c:pt idx="7212">
                  <c:v>0.49710982658959502</c:v>
                </c:pt>
                <c:pt idx="7213">
                  <c:v>0.49717514124293799</c:v>
                </c:pt>
                <c:pt idx="7214">
                  <c:v>0.49859154929577498</c:v>
                </c:pt>
                <c:pt idx="7215">
                  <c:v>0.49897540983606598</c:v>
                </c:pt>
                <c:pt idx="7216">
                  <c:v>0.5</c:v>
                </c:pt>
                <c:pt idx="7217">
                  <c:v>0.5</c:v>
                </c:pt>
                <c:pt idx="7218">
                  <c:v>0.5</c:v>
                </c:pt>
                <c:pt idx="7219">
                  <c:v>0.5</c:v>
                </c:pt>
                <c:pt idx="7220">
                  <c:v>0.5</c:v>
                </c:pt>
                <c:pt idx="7221">
                  <c:v>0.5</c:v>
                </c:pt>
                <c:pt idx="7222">
                  <c:v>0.5</c:v>
                </c:pt>
                <c:pt idx="7223">
                  <c:v>0.5</c:v>
                </c:pt>
                <c:pt idx="7224">
                  <c:v>0.5</c:v>
                </c:pt>
                <c:pt idx="7225">
                  <c:v>0.5</c:v>
                </c:pt>
                <c:pt idx="7226">
                  <c:v>0.5</c:v>
                </c:pt>
                <c:pt idx="7227">
                  <c:v>0.5</c:v>
                </c:pt>
                <c:pt idx="7228">
                  <c:v>0.5</c:v>
                </c:pt>
                <c:pt idx="7229">
                  <c:v>0.5</c:v>
                </c:pt>
                <c:pt idx="7230">
                  <c:v>0.5</c:v>
                </c:pt>
                <c:pt idx="7231">
                  <c:v>0.5</c:v>
                </c:pt>
                <c:pt idx="7232">
                  <c:v>0.5</c:v>
                </c:pt>
                <c:pt idx="7233">
                  <c:v>0.5</c:v>
                </c:pt>
                <c:pt idx="7234">
                  <c:v>0.5</c:v>
                </c:pt>
                <c:pt idx="7235">
                  <c:v>0.50130208333333304</c:v>
                </c:pt>
                <c:pt idx="7236">
                  <c:v>0.501811594202899</c:v>
                </c:pt>
                <c:pt idx="7237">
                  <c:v>0.50196695515342205</c:v>
                </c:pt>
                <c:pt idx="7238">
                  <c:v>0.50224215246636805</c:v>
                </c:pt>
                <c:pt idx="7239">
                  <c:v>0.502325581395349</c:v>
                </c:pt>
                <c:pt idx="7240">
                  <c:v>0.50241779497098604</c:v>
                </c:pt>
                <c:pt idx="7241">
                  <c:v>0.50314465408804998</c:v>
                </c:pt>
                <c:pt idx="7242">
                  <c:v>0.50416666666666698</c:v>
                </c:pt>
                <c:pt idx="7243">
                  <c:v>0.50485436893203905</c:v>
                </c:pt>
                <c:pt idx="7244">
                  <c:v>0.50515463917525805</c:v>
                </c:pt>
                <c:pt idx="7245">
                  <c:v>0.50537634408602095</c:v>
                </c:pt>
                <c:pt idx="7246">
                  <c:v>0.50596782563570297</c:v>
                </c:pt>
                <c:pt idx="7247">
                  <c:v>0.50617283950617298</c:v>
                </c:pt>
                <c:pt idx="7248">
                  <c:v>0.506329113924051</c:v>
                </c:pt>
                <c:pt idx="7249">
                  <c:v>0.506493506493506</c:v>
                </c:pt>
                <c:pt idx="7250">
                  <c:v>0.50652528548123998</c:v>
                </c:pt>
                <c:pt idx="7251">
                  <c:v>0.50666666666666704</c:v>
                </c:pt>
                <c:pt idx="7252">
                  <c:v>0.50678733031674195</c:v>
                </c:pt>
                <c:pt idx="7253">
                  <c:v>0.50689655172413794</c:v>
                </c:pt>
                <c:pt idx="7254">
                  <c:v>0.50709219858155996</c:v>
                </c:pt>
                <c:pt idx="7255">
                  <c:v>0.50793650793650802</c:v>
                </c:pt>
                <c:pt idx="7256">
                  <c:v>0.50793650793650802</c:v>
                </c:pt>
                <c:pt idx="7257">
                  <c:v>0.50799507995079995</c:v>
                </c:pt>
                <c:pt idx="7258">
                  <c:v>0.50819672131147497</c:v>
                </c:pt>
                <c:pt idx="7259">
                  <c:v>0.50819672131147497</c:v>
                </c:pt>
                <c:pt idx="7260">
                  <c:v>0.50840336134453801</c:v>
                </c:pt>
                <c:pt idx="7261">
                  <c:v>0.50843881856540096</c:v>
                </c:pt>
                <c:pt idx="7262">
                  <c:v>0.508486562942008</c:v>
                </c:pt>
                <c:pt idx="7263">
                  <c:v>0.50887573964497002</c:v>
                </c:pt>
                <c:pt idx="7264">
                  <c:v>0.50898203592814395</c:v>
                </c:pt>
                <c:pt idx="7265">
                  <c:v>0.50898203592814395</c:v>
                </c:pt>
                <c:pt idx="7266">
                  <c:v>0.50904392764857898</c:v>
                </c:pt>
                <c:pt idx="7267">
                  <c:v>0.50906555090655503</c:v>
                </c:pt>
                <c:pt idx="7268">
                  <c:v>0.509423503325942</c:v>
                </c:pt>
                <c:pt idx="7269">
                  <c:v>0.50950570342205304</c:v>
                </c:pt>
                <c:pt idx="7270">
                  <c:v>0.50961538461538503</c:v>
                </c:pt>
                <c:pt idx="7271">
                  <c:v>0.50986842105263197</c:v>
                </c:pt>
                <c:pt idx="7272">
                  <c:v>0.51</c:v>
                </c:pt>
                <c:pt idx="7273">
                  <c:v>0.510112359550562</c:v>
                </c:pt>
                <c:pt idx="7274">
                  <c:v>0.51020408163265296</c:v>
                </c:pt>
                <c:pt idx="7275">
                  <c:v>0.51059635288319405</c:v>
                </c:pt>
                <c:pt idx="7276">
                  <c:v>0.51063829787234005</c:v>
                </c:pt>
                <c:pt idx="7277">
                  <c:v>0.51070528967254403</c:v>
                </c:pt>
                <c:pt idx="7278">
                  <c:v>0.51147540983606599</c:v>
                </c:pt>
                <c:pt idx="7279">
                  <c:v>0.51168224299065401</c:v>
                </c:pt>
                <c:pt idx="7280">
                  <c:v>0.51193317422434403</c:v>
                </c:pt>
                <c:pt idx="7281">
                  <c:v>0.51225490196078405</c:v>
                </c:pt>
                <c:pt idx="7282">
                  <c:v>0.51263537906137202</c:v>
                </c:pt>
                <c:pt idx="7283">
                  <c:v>0.512820512820513</c:v>
                </c:pt>
                <c:pt idx="7284">
                  <c:v>0.51302083333333304</c:v>
                </c:pt>
                <c:pt idx="7285">
                  <c:v>0.51304347826087005</c:v>
                </c:pt>
                <c:pt idx="7286">
                  <c:v>0.51327433628318597</c:v>
                </c:pt>
                <c:pt idx="7287">
                  <c:v>0.51388888888888895</c:v>
                </c:pt>
                <c:pt idx="7288">
                  <c:v>0.51412429378531099</c:v>
                </c:pt>
                <c:pt idx="7289">
                  <c:v>0.51412429378531099</c:v>
                </c:pt>
                <c:pt idx="7290">
                  <c:v>0.51432129514321301</c:v>
                </c:pt>
                <c:pt idx="7291">
                  <c:v>0.51499348109517595</c:v>
                </c:pt>
                <c:pt idx="7292">
                  <c:v>0.515384615384615</c:v>
                </c:pt>
                <c:pt idx="7293">
                  <c:v>0.515486725663717</c:v>
                </c:pt>
                <c:pt idx="7294">
                  <c:v>0.51578947368421102</c:v>
                </c:pt>
                <c:pt idx="7295">
                  <c:v>0.51578947368421102</c:v>
                </c:pt>
                <c:pt idx="7296">
                  <c:v>0.51612903225806395</c:v>
                </c:pt>
                <c:pt idx="7297">
                  <c:v>0.51642475171886904</c:v>
                </c:pt>
                <c:pt idx="7298">
                  <c:v>0.51646090534979405</c:v>
                </c:pt>
                <c:pt idx="7299">
                  <c:v>0.51659751037344404</c:v>
                </c:pt>
                <c:pt idx="7300">
                  <c:v>0.51717902350813705</c:v>
                </c:pt>
                <c:pt idx="7301">
                  <c:v>0.51724137931034497</c:v>
                </c:pt>
                <c:pt idx="7302">
                  <c:v>0.51785714285714302</c:v>
                </c:pt>
                <c:pt idx="7303">
                  <c:v>0.51838610827374898</c:v>
                </c:pt>
                <c:pt idx="7304">
                  <c:v>0.518427518427518</c:v>
                </c:pt>
                <c:pt idx="7305">
                  <c:v>0.51886792452830199</c:v>
                </c:pt>
                <c:pt idx="7306">
                  <c:v>0.518987341772152</c:v>
                </c:pt>
                <c:pt idx="7307">
                  <c:v>0.51933701657458597</c:v>
                </c:pt>
                <c:pt idx="7308">
                  <c:v>0.51937984496124001</c:v>
                </c:pt>
                <c:pt idx="7309">
                  <c:v>0.51948051948051899</c:v>
                </c:pt>
                <c:pt idx="7310">
                  <c:v>0.51948051948051899</c:v>
                </c:pt>
                <c:pt idx="7311">
                  <c:v>0.51973684210526305</c:v>
                </c:pt>
                <c:pt idx="7312">
                  <c:v>0.52024291497975705</c:v>
                </c:pt>
                <c:pt idx="7313">
                  <c:v>0.52034883720930203</c:v>
                </c:pt>
                <c:pt idx="7314">
                  <c:v>0.52083333333333304</c:v>
                </c:pt>
                <c:pt idx="7315">
                  <c:v>0.52089136490250698</c:v>
                </c:pt>
                <c:pt idx="7316">
                  <c:v>0.52112676056338003</c:v>
                </c:pt>
                <c:pt idx="7317">
                  <c:v>0.52175969725638605</c:v>
                </c:pt>
                <c:pt idx="7318">
                  <c:v>0.522198731501057</c:v>
                </c:pt>
                <c:pt idx="7319">
                  <c:v>0.52235772357723598</c:v>
                </c:pt>
                <c:pt idx="7320">
                  <c:v>0.52293577981651396</c:v>
                </c:pt>
                <c:pt idx="7321">
                  <c:v>0.52302631578947401</c:v>
                </c:pt>
                <c:pt idx="7322">
                  <c:v>0.52307692307692299</c:v>
                </c:pt>
                <c:pt idx="7323">
                  <c:v>0.52317880794701999</c:v>
                </c:pt>
                <c:pt idx="7324">
                  <c:v>0.52320675105485204</c:v>
                </c:pt>
                <c:pt idx="7325">
                  <c:v>0.52358490566037696</c:v>
                </c:pt>
                <c:pt idx="7326">
                  <c:v>0.52380952380952395</c:v>
                </c:pt>
                <c:pt idx="7327">
                  <c:v>0.52427184466019405</c:v>
                </c:pt>
                <c:pt idx="7328">
                  <c:v>0.52450558899398103</c:v>
                </c:pt>
                <c:pt idx="7329">
                  <c:v>0.524752475247525</c:v>
                </c:pt>
                <c:pt idx="7330">
                  <c:v>0.52494415487714097</c:v>
                </c:pt>
                <c:pt idx="7331">
                  <c:v>0.52560646900269503</c:v>
                </c:pt>
                <c:pt idx="7332">
                  <c:v>0.52560646900269503</c:v>
                </c:pt>
                <c:pt idx="7333">
                  <c:v>0.52578361981799804</c:v>
                </c:pt>
                <c:pt idx="7334">
                  <c:v>0.52593917710196803</c:v>
                </c:pt>
                <c:pt idx="7335">
                  <c:v>0.52610441767068294</c:v>
                </c:pt>
                <c:pt idx="7336">
                  <c:v>0.52631578947368396</c:v>
                </c:pt>
                <c:pt idx="7337">
                  <c:v>0.52631578947368396</c:v>
                </c:pt>
                <c:pt idx="7338">
                  <c:v>0.52657601977750301</c:v>
                </c:pt>
                <c:pt idx="7339">
                  <c:v>0.52688172043010695</c:v>
                </c:pt>
                <c:pt idx="7340">
                  <c:v>0.52705061082024396</c:v>
                </c:pt>
                <c:pt idx="7341">
                  <c:v>0.52710843373493999</c:v>
                </c:pt>
                <c:pt idx="7342">
                  <c:v>0.52747252747252704</c:v>
                </c:pt>
                <c:pt idx="7343">
                  <c:v>0.52747252747252704</c:v>
                </c:pt>
                <c:pt idx="7344">
                  <c:v>0.527586206896552</c:v>
                </c:pt>
                <c:pt idx="7345">
                  <c:v>0.52777777777777801</c:v>
                </c:pt>
                <c:pt idx="7346">
                  <c:v>0.52840909090909105</c:v>
                </c:pt>
                <c:pt idx="7347">
                  <c:v>0.52857142857142903</c:v>
                </c:pt>
                <c:pt idx="7348">
                  <c:v>0.52881654201495798</c:v>
                </c:pt>
                <c:pt idx="7349">
                  <c:v>0.52884615384615397</c:v>
                </c:pt>
                <c:pt idx="7350">
                  <c:v>0.52884615384615397</c:v>
                </c:pt>
                <c:pt idx="7351">
                  <c:v>0.52894211576846295</c:v>
                </c:pt>
                <c:pt idx="7352">
                  <c:v>0.52906976744186096</c:v>
                </c:pt>
                <c:pt idx="7353">
                  <c:v>0.52910052910052896</c:v>
                </c:pt>
                <c:pt idx="7354">
                  <c:v>0.52930883639545101</c:v>
                </c:pt>
                <c:pt idx="7355">
                  <c:v>0.52941176470588203</c:v>
                </c:pt>
                <c:pt idx="7356">
                  <c:v>0.52980132450331097</c:v>
                </c:pt>
                <c:pt idx="7357">
                  <c:v>0.52982954545454497</c:v>
                </c:pt>
                <c:pt idx="7358">
                  <c:v>0.52986857825567502</c:v>
                </c:pt>
                <c:pt idx="7359">
                  <c:v>0.53</c:v>
                </c:pt>
                <c:pt idx="7360">
                  <c:v>0.53030303030303005</c:v>
                </c:pt>
                <c:pt idx="7361">
                  <c:v>0.530612244897959</c:v>
                </c:pt>
                <c:pt idx="7362">
                  <c:v>0.53067484662576703</c:v>
                </c:pt>
                <c:pt idx="7363">
                  <c:v>0.53166421207658299</c:v>
                </c:pt>
                <c:pt idx="7364">
                  <c:v>0.532258064516129</c:v>
                </c:pt>
                <c:pt idx="7365">
                  <c:v>0.53246753246753198</c:v>
                </c:pt>
                <c:pt idx="7366">
                  <c:v>0.53246753246753198</c:v>
                </c:pt>
                <c:pt idx="7367">
                  <c:v>0.53260869565217395</c:v>
                </c:pt>
                <c:pt idx="7368">
                  <c:v>0.53274336283185797</c:v>
                </c:pt>
                <c:pt idx="7369">
                  <c:v>0.53325123152709397</c:v>
                </c:pt>
                <c:pt idx="7370">
                  <c:v>0.53333333333333299</c:v>
                </c:pt>
                <c:pt idx="7371">
                  <c:v>0.53333333333333299</c:v>
                </c:pt>
                <c:pt idx="7372">
                  <c:v>0.53333333333333299</c:v>
                </c:pt>
                <c:pt idx="7373">
                  <c:v>0.53333333333333299</c:v>
                </c:pt>
                <c:pt idx="7374">
                  <c:v>0.53362255965292804</c:v>
                </c:pt>
                <c:pt idx="7375">
                  <c:v>0.53403141361256501</c:v>
                </c:pt>
                <c:pt idx="7376">
                  <c:v>0.53438395415472795</c:v>
                </c:pt>
                <c:pt idx="7377">
                  <c:v>0.53467954345917501</c:v>
                </c:pt>
                <c:pt idx="7378">
                  <c:v>0.534959349593496</c:v>
                </c:pt>
                <c:pt idx="7379">
                  <c:v>0.53597650513950101</c:v>
                </c:pt>
                <c:pt idx="7380">
                  <c:v>0.53658536585365901</c:v>
                </c:pt>
                <c:pt idx="7381">
                  <c:v>0.53684210526315801</c:v>
                </c:pt>
                <c:pt idx="7382">
                  <c:v>0.53703703703703698</c:v>
                </c:pt>
                <c:pt idx="7383">
                  <c:v>0.53716216216216195</c:v>
                </c:pt>
                <c:pt idx="7384">
                  <c:v>0.53723404255319196</c:v>
                </c:pt>
                <c:pt idx="7385">
                  <c:v>0.53725261932479595</c:v>
                </c:pt>
                <c:pt idx="7386">
                  <c:v>0.537313432835821</c:v>
                </c:pt>
                <c:pt idx="7387">
                  <c:v>0.53754940711462496</c:v>
                </c:pt>
                <c:pt idx="7388">
                  <c:v>0.53765323992994796</c:v>
                </c:pt>
                <c:pt idx="7389">
                  <c:v>0.53888888888888897</c:v>
                </c:pt>
                <c:pt idx="7390">
                  <c:v>0.53917050691244195</c:v>
                </c:pt>
                <c:pt idx="7391">
                  <c:v>0.53932584269662898</c:v>
                </c:pt>
                <c:pt idx="7392">
                  <c:v>0.53950338600451497</c:v>
                </c:pt>
                <c:pt idx="7393">
                  <c:v>0.54008438818565396</c:v>
                </c:pt>
                <c:pt idx="7394">
                  <c:v>0.54069767441860495</c:v>
                </c:pt>
                <c:pt idx="7395">
                  <c:v>0.54081632653061196</c:v>
                </c:pt>
                <c:pt idx="7396">
                  <c:v>0.54141414141414101</c:v>
                </c:pt>
                <c:pt idx="7397">
                  <c:v>0.54166666666666696</c:v>
                </c:pt>
                <c:pt idx="7398">
                  <c:v>0.54166666666666696</c:v>
                </c:pt>
                <c:pt idx="7399">
                  <c:v>0.54166666666666696</c:v>
                </c:pt>
                <c:pt idx="7400">
                  <c:v>0.54205607476635498</c:v>
                </c:pt>
                <c:pt idx="7401">
                  <c:v>0.54216867469879504</c:v>
                </c:pt>
                <c:pt idx="7402">
                  <c:v>0.54236060825488797</c:v>
                </c:pt>
                <c:pt idx="7403">
                  <c:v>0.54273504273504303</c:v>
                </c:pt>
                <c:pt idx="7404">
                  <c:v>0.54320987654320996</c:v>
                </c:pt>
                <c:pt idx="7405">
                  <c:v>0.54329608938547502</c:v>
                </c:pt>
                <c:pt idx="7406">
                  <c:v>0.54347826086956497</c:v>
                </c:pt>
                <c:pt idx="7407">
                  <c:v>0.54347826086956497</c:v>
                </c:pt>
                <c:pt idx="7408">
                  <c:v>0.54347826086956497</c:v>
                </c:pt>
                <c:pt idx="7409">
                  <c:v>0.54385964912280704</c:v>
                </c:pt>
                <c:pt idx="7410">
                  <c:v>0.54545454545454497</c:v>
                </c:pt>
                <c:pt idx="7411">
                  <c:v>0.54545454545454497</c:v>
                </c:pt>
                <c:pt idx="7412">
                  <c:v>0.54545454545454497</c:v>
                </c:pt>
                <c:pt idx="7413">
                  <c:v>0.54545454545454497</c:v>
                </c:pt>
                <c:pt idx="7414">
                  <c:v>0.54545454545454497</c:v>
                </c:pt>
                <c:pt idx="7415">
                  <c:v>0.547808764940239</c:v>
                </c:pt>
                <c:pt idx="7416">
                  <c:v>0.54810126582278496</c:v>
                </c:pt>
                <c:pt idx="7417">
                  <c:v>0.54819277108433695</c:v>
                </c:pt>
                <c:pt idx="7418">
                  <c:v>0.54838709677419295</c:v>
                </c:pt>
                <c:pt idx="7419">
                  <c:v>0.55012224938875298</c:v>
                </c:pt>
                <c:pt idx="7420">
                  <c:v>0.55038759689922501</c:v>
                </c:pt>
                <c:pt idx="7421">
                  <c:v>0.55042016806722704</c:v>
                </c:pt>
                <c:pt idx="7422">
                  <c:v>0.55191256830601099</c:v>
                </c:pt>
                <c:pt idx="7423">
                  <c:v>0.55194805194805197</c:v>
                </c:pt>
                <c:pt idx="7424">
                  <c:v>0.55383480825958697</c:v>
                </c:pt>
                <c:pt idx="7425">
                  <c:v>0.55416666666666703</c:v>
                </c:pt>
                <c:pt idx="7426">
                  <c:v>0.55511022044088199</c:v>
                </c:pt>
                <c:pt idx="7427">
                  <c:v>0.55555555555555602</c:v>
                </c:pt>
                <c:pt idx="7428">
                  <c:v>0.55652173913043501</c:v>
                </c:pt>
                <c:pt idx="7429">
                  <c:v>0.55680224403927103</c:v>
                </c:pt>
                <c:pt idx="7430">
                  <c:v>0.556962025316456</c:v>
                </c:pt>
                <c:pt idx="7431">
                  <c:v>0.55714285714285705</c:v>
                </c:pt>
                <c:pt idx="7432">
                  <c:v>0.55752212389380496</c:v>
                </c:pt>
                <c:pt idx="7433">
                  <c:v>0.55769230769230804</c:v>
                </c:pt>
                <c:pt idx="7434">
                  <c:v>0.55769230769230804</c:v>
                </c:pt>
                <c:pt idx="7435">
                  <c:v>0.55819477434679299</c:v>
                </c:pt>
                <c:pt idx="7436">
                  <c:v>0.55851063829787195</c:v>
                </c:pt>
                <c:pt idx="7437">
                  <c:v>0.55882352941176505</c:v>
                </c:pt>
                <c:pt idx="7438">
                  <c:v>0.55901639344262299</c:v>
                </c:pt>
                <c:pt idx="7439">
                  <c:v>0.56000000000000005</c:v>
                </c:pt>
                <c:pt idx="7440">
                  <c:v>0.56005788712011595</c:v>
                </c:pt>
                <c:pt idx="7441">
                  <c:v>0.56087408949011397</c:v>
                </c:pt>
                <c:pt idx="7442">
                  <c:v>0.56097560975609795</c:v>
                </c:pt>
                <c:pt idx="7443">
                  <c:v>0.56097560975609795</c:v>
                </c:pt>
                <c:pt idx="7444">
                  <c:v>0.56115107913669104</c:v>
                </c:pt>
                <c:pt idx="7445">
                  <c:v>0.56164383561643805</c:v>
                </c:pt>
                <c:pt idx="7446">
                  <c:v>0.5625</c:v>
                </c:pt>
                <c:pt idx="7447">
                  <c:v>0.5625</c:v>
                </c:pt>
                <c:pt idx="7448">
                  <c:v>0.56338028169014098</c:v>
                </c:pt>
                <c:pt idx="7449">
                  <c:v>0.56349206349206304</c:v>
                </c:pt>
                <c:pt idx="7450">
                  <c:v>0.56603773584905703</c:v>
                </c:pt>
                <c:pt idx="7451">
                  <c:v>0.56678700361010803</c:v>
                </c:pt>
                <c:pt idx="7452">
                  <c:v>0.56696428571428603</c:v>
                </c:pt>
                <c:pt idx="7453">
                  <c:v>0.567114093959732</c:v>
                </c:pt>
                <c:pt idx="7454">
                  <c:v>0.56799999999999995</c:v>
                </c:pt>
                <c:pt idx="7455">
                  <c:v>0.56799999999999995</c:v>
                </c:pt>
                <c:pt idx="7456">
                  <c:v>0.56818181818181801</c:v>
                </c:pt>
                <c:pt idx="7457">
                  <c:v>0.56842105263157905</c:v>
                </c:pt>
                <c:pt idx="7458">
                  <c:v>0.56862745098039202</c:v>
                </c:pt>
                <c:pt idx="7459">
                  <c:v>0.56882591093117396</c:v>
                </c:pt>
                <c:pt idx="7460">
                  <c:v>0.56902356902356899</c:v>
                </c:pt>
                <c:pt idx="7461">
                  <c:v>0.56995884773662597</c:v>
                </c:pt>
                <c:pt idx="7462">
                  <c:v>0.57058823529411795</c:v>
                </c:pt>
                <c:pt idx="7463">
                  <c:v>0.57073954983922803</c:v>
                </c:pt>
                <c:pt idx="7464">
                  <c:v>0.57083333333333297</c:v>
                </c:pt>
                <c:pt idx="7465">
                  <c:v>0.57104557640750697</c:v>
                </c:pt>
                <c:pt idx="7466">
                  <c:v>0.57114624505928901</c:v>
                </c:pt>
                <c:pt idx="7467">
                  <c:v>0.57142857142857095</c:v>
                </c:pt>
                <c:pt idx="7468">
                  <c:v>0.57199999999999995</c:v>
                </c:pt>
                <c:pt idx="7469">
                  <c:v>0.57209302325581401</c:v>
                </c:pt>
                <c:pt idx="7470">
                  <c:v>0.57225433526011604</c:v>
                </c:pt>
                <c:pt idx="7471">
                  <c:v>0.57246376811594202</c:v>
                </c:pt>
                <c:pt idx="7472">
                  <c:v>0.57272727272727297</c:v>
                </c:pt>
                <c:pt idx="7473">
                  <c:v>0.57275541795665597</c:v>
                </c:pt>
                <c:pt idx="7474">
                  <c:v>0.57300275482093699</c:v>
                </c:pt>
                <c:pt idx="7475">
                  <c:v>0.573260073260073</c:v>
                </c:pt>
                <c:pt idx="7476">
                  <c:v>0.57333333333333303</c:v>
                </c:pt>
                <c:pt idx="7477">
                  <c:v>0.57364341085271298</c:v>
                </c:pt>
                <c:pt idx="7478">
                  <c:v>0.57407407407407396</c:v>
                </c:pt>
                <c:pt idx="7479">
                  <c:v>0.57431192660550501</c:v>
                </c:pt>
                <c:pt idx="7480">
                  <c:v>0.57666666666666699</c:v>
                </c:pt>
                <c:pt idx="7481">
                  <c:v>0.57692307692307698</c:v>
                </c:pt>
                <c:pt idx="7482">
                  <c:v>0.57700205338808996</c:v>
                </c:pt>
                <c:pt idx="7483">
                  <c:v>0.57729941291585096</c:v>
                </c:pt>
                <c:pt idx="7484">
                  <c:v>0.57746478873239404</c:v>
                </c:pt>
                <c:pt idx="7485">
                  <c:v>0.57751937984496104</c:v>
                </c:pt>
                <c:pt idx="7486">
                  <c:v>0.577565632458234</c:v>
                </c:pt>
                <c:pt idx="7487">
                  <c:v>0.57843137254902</c:v>
                </c:pt>
                <c:pt idx="7488">
                  <c:v>0.57870370370370405</c:v>
                </c:pt>
                <c:pt idx="7489">
                  <c:v>0.57999999999999996</c:v>
                </c:pt>
                <c:pt idx="7490">
                  <c:v>0.57999999999999996</c:v>
                </c:pt>
                <c:pt idx="7491">
                  <c:v>0.58015267175572505</c:v>
                </c:pt>
                <c:pt idx="7492">
                  <c:v>0.58048780487804896</c:v>
                </c:pt>
                <c:pt idx="7493">
                  <c:v>0.580808080808081</c:v>
                </c:pt>
                <c:pt idx="7494">
                  <c:v>0.58148893360161003</c:v>
                </c:pt>
                <c:pt idx="7495">
                  <c:v>0.58181818181818201</c:v>
                </c:pt>
                <c:pt idx="7496">
                  <c:v>0.58333333333333304</c:v>
                </c:pt>
                <c:pt idx="7497">
                  <c:v>0.58333333333333304</c:v>
                </c:pt>
                <c:pt idx="7498">
                  <c:v>0.58369098712446399</c:v>
                </c:pt>
                <c:pt idx="7499">
                  <c:v>0.58445040214477195</c:v>
                </c:pt>
                <c:pt idx="7500">
                  <c:v>0.58490566037735803</c:v>
                </c:pt>
                <c:pt idx="7501">
                  <c:v>0.58686440677966101</c:v>
                </c:pt>
                <c:pt idx="7502">
                  <c:v>0.58690176322418097</c:v>
                </c:pt>
                <c:pt idx="7503">
                  <c:v>0.58695652173913004</c:v>
                </c:pt>
                <c:pt idx="7504">
                  <c:v>0.58695652173913004</c:v>
                </c:pt>
                <c:pt idx="7505">
                  <c:v>0.58771929824561397</c:v>
                </c:pt>
                <c:pt idx="7506">
                  <c:v>0.58778625954198505</c:v>
                </c:pt>
                <c:pt idx="7507">
                  <c:v>0.58802816901408395</c:v>
                </c:pt>
                <c:pt idx="7508">
                  <c:v>0.58823529411764697</c:v>
                </c:pt>
                <c:pt idx="7509">
                  <c:v>0.58823529411764697</c:v>
                </c:pt>
                <c:pt idx="7510">
                  <c:v>0.58854166666666696</c:v>
                </c:pt>
                <c:pt idx="7511">
                  <c:v>0.58901515151515105</c:v>
                </c:pt>
                <c:pt idx="7512">
                  <c:v>0.58904109589041098</c:v>
                </c:pt>
                <c:pt idx="7513">
                  <c:v>0.59110169491525399</c:v>
                </c:pt>
                <c:pt idx="7514">
                  <c:v>0.59183673469387799</c:v>
                </c:pt>
                <c:pt idx="7515">
                  <c:v>0.59223300970873805</c:v>
                </c:pt>
                <c:pt idx="7516">
                  <c:v>0.59230769230769198</c:v>
                </c:pt>
                <c:pt idx="7517">
                  <c:v>0.59340659340659296</c:v>
                </c:pt>
                <c:pt idx="7518">
                  <c:v>0.59375</c:v>
                </c:pt>
                <c:pt idx="7519">
                  <c:v>0.59433962264150897</c:v>
                </c:pt>
                <c:pt idx="7520">
                  <c:v>0.59583694709453605</c:v>
                </c:pt>
                <c:pt idx="7521">
                  <c:v>0.59621993127147799</c:v>
                </c:pt>
                <c:pt idx="7522">
                  <c:v>0.596730245231608</c:v>
                </c:pt>
                <c:pt idx="7523">
                  <c:v>0.59961807765754305</c:v>
                </c:pt>
                <c:pt idx="7524">
                  <c:v>0.6</c:v>
                </c:pt>
                <c:pt idx="7525">
                  <c:v>0.6</c:v>
                </c:pt>
                <c:pt idx="7526">
                  <c:v>0.6</c:v>
                </c:pt>
                <c:pt idx="7527">
                  <c:v>0.60077519379844901</c:v>
                </c:pt>
                <c:pt idx="7528">
                  <c:v>0.6015625</c:v>
                </c:pt>
                <c:pt idx="7529">
                  <c:v>0.60256410256410198</c:v>
                </c:pt>
                <c:pt idx="7530">
                  <c:v>0.60282574568288805</c:v>
                </c:pt>
                <c:pt idx="7531">
                  <c:v>0.60377358490566002</c:v>
                </c:pt>
                <c:pt idx="7532">
                  <c:v>0.60420650095602302</c:v>
                </c:pt>
                <c:pt idx="7533">
                  <c:v>0.607594936708861</c:v>
                </c:pt>
                <c:pt idx="7534">
                  <c:v>0.607655502392344</c:v>
                </c:pt>
                <c:pt idx="7535">
                  <c:v>0.60784313725490202</c:v>
                </c:pt>
                <c:pt idx="7536">
                  <c:v>0.60784313725490202</c:v>
                </c:pt>
                <c:pt idx="7537">
                  <c:v>0.60849772382397604</c:v>
                </c:pt>
                <c:pt idx="7538">
                  <c:v>0.61111111111111105</c:v>
                </c:pt>
                <c:pt idx="7539">
                  <c:v>0.61165048543689304</c:v>
                </c:pt>
                <c:pt idx="7540">
                  <c:v>0.61242603550295904</c:v>
                </c:pt>
                <c:pt idx="7541">
                  <c:v>0.61318681318681301</c:v>
                </c:pt>
                <c:pt idx="7542">
                  <c:v>0.614250614250614</c:v>
                </c:pt>
                <c:pt idx="7543">
                  <c:v>0.61594202898550698</c:v>
                </c:pt>
                <c:pt idx="7544">
                  <c:v>0.61682242990654201</c:v>
                </c:pt>
                <c:pt idx="7545">
                  <c:v>0.61702127659574502</c:v>
                </c:pt>
                <c:pt idx="7546">
                  <c:v>0.61832061068702304</c:v>
                </c:pt>
                <c:pt idx="7547">
                  <c:v>0.61832740213523096</c:v>
                </c:pt>
                <c:pt idx="7548">
                  <c:v>0.618618618618619</c:v>
                </c:pt>
                <c:pt idx="7549">
                  <c:v>0.62105263157894697</c:v>
                </c:pt>
                <c:pt idx="7550">
                  <c:v>0.62393162393162405</c:v>
                </c:pt>
                <c:pt idx="7551">
                  <c:v>0.62596259625962603</c:v>
                </c:pt>
                <c:pt idx="7552">
                  <c:v>0.62624584717608001</c:v>
                </c:pt>
                <c:pt idx="7553">
                  <c:v>0.63057324840764295</c:v>
                </c:pt>
                <c:pt idx="7554">
                  <c:v>0.63157894736842102</c:v>
                </c:pt>
                <c:pt idx="7555">
                  <c:v>0.633663366336634</c:v>
                </c:pt>
                <c:pt idx="7556">
                  <c:v>0.633663366336634</c:v>
                </c:pt>
                <c:pt idx="7557">
                  <c:v>0.63406940063091499</c:v>
                </c:pt>
                <c:pt idx="7558">
                  <c:v>0.63414634146341498</c:v>
                </c:pt>
                <c:pt idx="7559">
                  <c:v>0.634920634920635</c:v>
                </c:pt>
                <c:pt idx="7560">
                  <c:v>0.63517915309446205</c:v>
                </c:pt>
                <c:pt idx="7561">
                  <c:v>0.63786764705882304</c:v>
                </c:pt>
                <c:pt idx="7562">
                  <c:v>0.63793103448275901</c:v>
                </c:pt>
                <c:pt idx="7563">
                  <c:v>0.63839285714285698</c:v>
                </c:pt>
                <c:pt idx="7564">
                  <c:v>0.63934426229508201</c:v>
                </c:pt>
                <c:pt idx="7565">
                  <c:v>0.64044943820224698</c:v>
                </c:pt>
                <c:pt idx="7566">
                  <c:v>0.64055299539170496</c:v>
                </c:pt>
                <c:pt idx="7567">
                  <c:v>0.64119601328903597</c:v>
                </c:pt>
                <c:pt idx="7568">
                  <c:v>0.64135021097046396</c:v>
                </c:pt>
                <c:pt idx="7569">
                  <c:v>0.64244186046511598</c:v>
                </c:pt>
                <c:pt idx="7570">
                  <c:v>0.64516129032258096</c:v>
                </c:pt>
                <c:pt idx="7571">
                  <c:v>0.64622641509433998</c:v>
                </c:pt>
                <c:pt idx="7572">
                  <c:v>0.64705882352941202</c:v>
                </c:pt>
                <c:pt idx="7573">
                  <c:v>0.64926931106471797</c:v>
                </c:pt>
                <c:pt idx="7574">
                  <c:v>0.64983164983164998</c:v>
                </c:pt>
                <c:pt idx="7575">
                  <c:v>0.65</c:v>
                </c:pt>
                <c:pt idx="7576">
                  <c:v>0.65040650406504097</c:v>
                </c:pt>
                <c:pt idx="7577">
                  <c:v>0.65069686411149796</c:v>
                </c:pt>
                <c:pt idx="7578">
                  <c:v>0.65074626865671603</c:v>
                </c:pt>
                <c:pt idx="7579">
                  <c:v>0.65384615384615397</c:v>
                </c:pt>
                <c:pt idx="7580">
                  <c:v>0.65441176470588203</c:v>
                </c:pt>
                <c:pt idx="7581">
                  <c:v>0.65476190476190499</c:v>
                </c:pt>
                <c:pt idx="7582">
                  <c:v>0.655555555555555</c:v>
                </c:pt>
                <c:pt idx="7583">
                  <c:v>0.65625</c:v>
                </c:pt>
                <c:pt idx="7584">
                  <c:v>0.65882352941176503</c:v>
                </c:pt>
                <c:pt idx="7585">
                  <c:v>0.66004962779156295</c:v>
                </c:pt>
                <c:pt idx="7586">
                  <c:v>0.66161616161616199</c:v>
                </c:pt>
                <c:pt idx="7587">
                  <c:v>0.66346153846153799</c:v>
                </c:pt>
                <c:pt idx="7588">
                  <c:v>0.66666666666666696</c:v>
                </c:pt>
                <c:pt idx="7589">
                  <c:v>0.66666666666666696</c:v>
                </c:pt>
                <c:pt idx="7590">
                  <c:v>0.66666666666666696</c:v>
                </c:pt>
                <c:pt idx="7591">
                  <c:v>0.66666666666666696</c:v>
                </c:pt>
                <c:pt idx="7592">
                  <c:v>0.66666666666666696</c:v>
                </c:pt>
                <c:pt idx="7593">
                  <c:v>0.66666666666666696</c:v>
                </c:pt>
                <c:pt idx="7594">
                  <c:v>0.67054263565891503</c:v>
                </c:pt>
                <c:pt idx="7595">
                  <c:v>0.67175572519084004</c:v>
                </c:pt>
                <c:pt idx="7596">
                  <c:v>0.67256637168141598</c:v>
                </c:pt>
                <c:pt idx="7597">
                  <c:v>0.67298578199052095</c:v>
                </c:pt>
                <c:pt idx="7598">
                  <c:v>0.67345276872964199</c:v>
                </c:pt>
                <c:pt idx="7599">
                  <c:v>0.67633928571428603</c:v>
                </c:pt>
                <c:pt idx="7600">
                  <c:v>0.67708333333333304</c:v>
                </c:pt>
                <c:pt idx="7601">
                  <c:v>0.67948717948717896</c:v>
                </c:pt>
                <c:pt idx="7602">
                  <c:v>0.68075117370892002</c:v>
                </c:pt>
                <c:pt idx="7603">
                  <c:v>0.68092105263157898</c:v>
                </c:pt>
                <c:pt idx="7604">
                  <c:v>0.68115942028985499</c:v>
                </c:pt>
                <c:pt idx="7605">
                  <c:v>0.68379446640316199</c:v>
                </c:pt>
                <c:pt idx="7606">
                  <c:v>0.68438538205980104</c:v>
                </c:pt>
                <c:pt idx="7607">
                  <c:v>0.684579439252336</c:v>
                </c:pt>
                <c:pt idx="7608">
                  <c:v>0.684782608695652</c:v>
                </c:pt>
                <c:pt idx="7609">
                  <c:v>0.68533333333333302</c:v>
                </c:pt>
                <c:pt idx="7610">
                  <c:v>0.68571428571428605</c:v>
                </c:pt>
                <c:pt idx="7611">
                  <c:v>0.68727272727272704</c:v>
                </c:pt>
                <c:pt idx="7612">
                  <c:v>0.6875</c:v>
                </c:pt>
                <c:pt idx="7613">
                  <c:v>0.68933539412673905</c:v>
                </c:pt>
                <c:pt idx="7614">
                  <c:v>0.69023569023568998</c:v>
                </c:pt>
                <c:pt idx="7615">
                  <c:v>0.69064748201438797</c:v>
                </c:pt>
                <c:pt idx="7616">
                  <c:v>0.69359331476323105</c:v>
                </c:pt>
                <c:pt idx="7617">
                  <c:v>0.69672131147541005</c:v>
                </c:pt>
                <c:pt idx="7618">
                  <c:v>0.69759450171821302</c:v>
                </c:pt>
                <c:pt idx="7619">
                  <c:v>0.70270270270270296</c:v>
                </c:pt>
                <c:pt idx="7620">
                  <c:v>0.70796460176991105</c:v>
                </c:pt>
                <c:pt idx="7621">
                  <c:v>0.71428571428571397</c:v>
                </c:pt>
                <c:pt idx="7622">
                  <c:v>0.71428571428571397</c:v>
                </c:pt>
                <c:pt idx="7623">
                  <c:v>0.71491228070175405</c:v>
                </c:pt>
                <c:pt idx="7624">
                  <c:v>0.71578947368420998</c:v>
                </c:pt>
                <c:pt idx="7625">
                  <c:v>0.71646341463414598</c:v>
                </c:pt>
                <c:pt idx="7626">
                  <c:v>0.71739130434782605</c:v>
                </c:pt>
                <c:pt idx="7627">
                  <c:v>0.71794871794871795</c:v>
                </c:pt>
                <c:pt idx="7628">
                  <c:v>0.71929824561403499</c:v>
                </c:pt>
                <c:pt idx="7629">
                  <c:v>0.723981900452489</c:v>
                </c:pt>
                <c:pt idx="7630">
                  <c:v>0.72499999999999998</c:v>
                </c:pt>
                <c:pt idx="7631">
                  <c:v>0.72982456140350904</c:v>
                </c:pt>
                <c:pt idx="7632">
                  <c:v>0.731343283582089</c:v>
                </c:pt>
                <c:pt idx="7633">
                  <c:v>0.73263157894736797</c:v>
                </c:pt>
                <c:pt idx="7634">
                  <c:v>0.73355263157894701</c:v>
                </c:pt>
                <c:pt idx="7635">
                  <c:v>0.73655913978494603</c:v>
                </c:pt>
                <c:pt idx="7636">
                  <c:v>0.74188034188034202</c:v>
                </c:pt>
                <c:pt idx="7637">
                  <c:v>0.75</c:v>
                </c:pt>
                <c:pt idx="7638">
                  <c:v>0.75274725274725296</c:v>
                </c:pt>
                <c:pt idx="7639">
                  <c:v>0.75438596491228105</c:v>
                </c:pt>
                <c:pt idx="7640">
                  <c:v>0.75710594315245505</c:v>
                </c:pt>
                <c:pt idx="7641">
                  <c:v>0.76190476190476197</c:v>
                </c:pt>
                <c:pt idx="7642">
                  <c:v>0.76381909547738702</c:v>
                </c:pt>
                <c:pt idx="7643">
                  <c:v>0.77099236641221403</c:v>
                </c:pt>
                <c:pt idx="7644">
                  <c:v>0.77142857142857102</c:v>
                </c:pt>
                <c:pt idx="7645">
                  <c:v>0.77446808510638299</c:v>
                </c:pt>
                <c:pt idx="7646">
                  <c:v>0.77608695652173898</c:v>
                </c:pt>
                <c:pt idx="7647">
                  <c:v>0.77901785714285698</c:v>
                </c:pt>
                <c:pt idx="7648">
                  <c:v>0.77941176470588203</c:v>
                </c:pt>
                <c:pt idx="7649">
                  <c:v>0.78217821782178198</c:v>
                </c:pt>
                <c:pt idx="7650">
                  <c:v>0.78500000000000003</c:v>
                </c:pt>
                <c:pt idx="7651">
                  <c:v>0.78571428571428603</c:v>
                </c:pt>
                <c:pt idx="7652">
                  <c:v>0.786885245901639</c:v>
                </c:pt>
                <c:pt idx="7653">
                  <c:v>0.80472103004291795</c:v>
                </c:pt>
                <c:pt idx="7654">
                  <c:v>0.80544747081712098</c:v>
                </c:pt>
                <c:pt idx="7655">
                  <c:v>0.81272084805653699</c:v>
                </c:pt>
                <c:pt idx="7656">
                  <c:v>0.81407035175879405</c:v>
                </c:pt>
                <c:pt idx="7657">
                  <c:v>0.81860465116279102</c:v>
                </c:pt>
                <c:pt idx="7658">
                  <c:v>0.82094594594594605</c:v>
                </c:pt>
                <c:pt idx="7659">
                  <c:v>0.82105263157894703</c:v>
                </c:pt>
                <c:pt idx="7660">
                  <c:v>0.82727272727272705</c:v>
                </c:pt>
                <c:pt idx="7661">
                  <c:v>0.82939632545931796</c:v>
                </c:pt>
                <c:pt idx="7662">
                  <c:v>0.83132530120481896</c:v>
                </c:pt>
                <c:pt idx="7663">
                  <c:v>0.84951456310679596</c:v>
                </c:pt>
                <c:pt idx="7664">
                  <c:v>0.85772357723577197</c:v>
                </c:pt>
                <c:pt idx="7665">
                  <c:v>0.85897435897435903</c:v>
                </c:pt>
                <c:pt idx="7666">
                  <c:v>0.86153846153846203</c:v>
                </c:pt>
                <c:pt idx="7667">
                  <c:v>0.86206896551724099</c:v>
                </c:pt>
                <c:pt idx="7668">
                  <c:v>0.865771812080537</c:v>
                </c:pt>
                <c:pt idx="7669">
                  <c:v>0.879432624113475</c:v>
                </c:pt>
                <c:pt idx="7670">
                  <c:v>0.87969924812030098</c:v>
                </c:pt>
                <c:pt idx="7671">
                  <c:v>0.88888888888888895</c:v>
                </c:pt>
                <c:pt idx="7672">
                  <c:v>0.88888888888888895</c:v>
                </c:pt>
                <c:pt idx="7673">
                  <c:v>0.88888888888888895</c:v>
                </c:pt>
                <c:pt idx="7674">
                  <c:v>0.89919354838709697</c:v>
                </c:pt>
                <c:pt idx="7675">
                  <c:v>0.90196078431372495</c:v>
                </c:pt>
                <c:pt idx="7676">
                  <c:v>0.90660592255125305</c:v>
                </c:pt>
                <c:pt idx="7677">
                  <c:v>0.91696750902527102</c:v>
                </c:pt>
                <c:pt idx="7678">
                  <c:v>0.92021276595744705</c:v>
                </c:pt>
                <c:pt idx="7679">
                  <c:v>0.92222222222222205</c:v>
                </c:pt>
                <c:pt idx="7680">
                  <c:v>0.93537414965986398</c:v>
                </c:pt>
                <c:pt idx="7681">
                  <c:v>0.97752808988763995</c:v>
                </c:pt>
                <c:pt idx="7682">
                  <c:v>0.98309859154929602</c:v>
                </c:pt>
                <c:pt idx="7683">
                  <c:v>0.98529411764705899</c:v>
                </c:pt>
                <c:pt idx="7684">
                  <c:v>0.99074074074074103</c:v>
                </c:pt>
                <c:pt idx="7685">
                  <c:v>0.99583333333333302</c:v>
                </c:pt>
                <c:pt idx="7686">
                  <c:v>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904136"/>
        <c:axId val="171904528"/>
      </c:scatterChart>
      <c:valAx>
        <c:axId val="171904136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 dirty="0" smtClean="0">
                    <a:effectLst/>
                  </a:rPr>
                  <a:t>Campus % of Econ. Disadvantaged Students</a:t>
                </a:r>
                <a:endParaRPr lang="en-US" sz="1000" dirty="0" smtClean="0">
                  <a:effectLst/>
                </a:endParaRPr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171904528"/>
        <c:crosses val="autoZero"/>
        <c:crossBetween val="midCat"/>
      </c:valAx>
      <c:valAx>
        <c:axId val="171904528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Percentage of </a:t>
                </a:r>
                <a:r>
                  <a:rPr lang="en-US" sz="1000" b="1" i="0" baseline="0" dirty="0" err="1" smtClean="0">
                    <a:effectLst/>
                  </a:rPr>
                  <a:t>EcoDis</a:t>
                </a:r>
                <a:r>
                  <a:rPr lang="en-US" sz="1000" b="1" i="0" baseline="0" dirty="0" smtClean="0">
                    <a:effectLst/>
                  </a:rPr>
                  <a:t> Students Meeting </a:t>
                </a:r>
                <a:endParaRPr lang="en-US" sz="1000" dirty="0" smtClean="0">
                  <a:effectLst/>
                </a:endParaRPr>
              </a:p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Postsecondary Standard</a:t>
                </a:r>
                <a:endParaRPr lang="en-US" sz="1000" dirty="0" smtClean="0">
                  <a:effectLst/>
                </a:endParaRPr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171904136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srgbClr val="003663"/>
                </a:solidFill>
                <a:latin typeface="+mn-lt"/>
                <a:ea typeface="+mn-ea"/>
                <a:cs typeface="+mn-cs"/>
              </a:defRPr>
            </a:pPr>
            <a:r>
              <a:rPr lang="en-US" sz="1200" b="1" i="0" baseline="0" dirty="0" smtClean="0">
                <a:effectLst/>
              </a:rPr>
              <a:t>Student Achievement (Post Secondary Std.) for </a:t>
            </a:r>
            <a:r>
              <a:rPr lang="en-US" sz="1200" b="1" i="0" baseline="0" dirty="0" smtClean="0">
                <a:solidFill>
                  <a:srgbClr val="C00000"/>
                </a:solidFill>
                <a:effectLst/>
              </a:rPr>
              <a:t>NON</a:t>
            </a:r>
            <a:r>
              <a:rPr lang="en-US" sz="1200" b="1" i="0" baseline="0" dirty="0" smtClean="0">
                <a:effectLst/>
              </a:rPr>
              <a:t> Econ. Disadvantaged Students Across All Campuses in Texas</a:t>
            </a:r>
            <a:endParaRPr lang="en-US" sz="1200" dirty="0" smtClean="0"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Non EcoDis PS'!$C$1:$C$2</c:f>
              <c:strCache>
                <c:ptCount val="2"/>
                <c:pt idx="1">
                  <c:v>PS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Non EcoDis PS'!$B$3:$B$7445</c:f>
              <c:numCache>
                <c:formatCode>0%</c:formatCode>
                <c:ptCount val="7443"/>
                <c:pt idx="0">
                  <c:v>0.53300000000000003</c:v>
                </c:pt>
                <c:pt idx="1">
                  <c:v>0.90900000000000003</c:v>
                </c:pt>
                <c:pt idx="2">
                  <c:v>0.65</c:v>
                </c:pt>
                <c:pt idx="3">
                  <c:v>0.88800000000000001</c:v>
                </c:pt>
                <c:pt idx="4">
                  <c:v>0.877</c:v>
                </c:pt>
                <c:pt idx="5">
                  <c:v>0.91100000000000003</c:v>
                </c:pt>
                <c:pt idx="6">
                  <c:v>0.17100000000000001</c:v>
                </c:pt>
                <c:pt idx="7">
                  <c:v>0.79200000000000004</c:v>
                </c:pt>
                <c:pt idx="8">
                  <c:v>0.95699999999999996</c:v>
                </c:pt>
                <c:pt idx="9">
                  <c:v>0.95399999999999996</c:v>
                </c:pt>
                <c:pt idx="10">
                  <c:v>0.90900000000000003</c:v>
                </c:pt>
                <c:pt idx="11">
                  <c:v>0.89800000000000002</c:v>
                </c:pt>
                <c:pt idx="12">
                  <c:v>0.51100000000000001</c:v>
                </c:pt>
                <c:pt idx="13">
                  <c:v>0.57299999999999995</c:v>
                </c:pt>
                <c:pt idx="14">
                  <c:v>0.90500000000000003</c:v>
                </c:pt>
                <c:pt idx="15">
                  <c:v>0.82899999999999996</c:v>
                </c:pt>
                <c:pt idx="16">
                  <c:v>0.92100000000000004</c:v>
                </c:pt>
                <c:pt idx="17">
                  <c:v>0.88</c:v>
                </c:pt>
                <c:pt idx="18">
                  <c:v>0.93400000000000005</c:v>
                </c:pt>
                <c:pt idx="19">
                  <c:v>0.85299999999999998</c:v>
                </c:pt>
                <c:pt idx="20">
                  <c:v>0.92100000000000004</c:v>
                </c:pt>
                <c:pt idx="21">
                  <c:v>0.86299999999999999</c:v>
                </c:pt>
                <c:pt idx="22">
                  <c:v>0.94399999999999995</c:v>
                </c:pt>
                <c:pt idx="23">
                  <c:v>0.83899999999999997</c:v>
                </c:pt>
                <c:pt idx="24">
                  <c:v>0.95299999999999996</c:v>
                </c:pt>
                <c:pt idx="25">
                  <c:v>0.52800000000000002</c:v>
                </c:pt>
                <c:pt idx="26">
                  <c:v>0.92100000000000004</c:v>
                </c:pt>
                <c:pt idx="27">
                  <c:v>0.84</c:v>
                </c:pt>
                <c:pt idx="28">
                  <c:v>0.13</c:v>
                </c:pt>
                <c:pt idx="29">
                  <c:v>0.34399999999999997</c:v>
                </c:pt>
                <c:pt idx="30">
                  <c:v>0.95699999999999996</c:v>
                </c:pt>
                <c:pt idx="31">
                  <c:v>0.95699999999999996</c:v>
                </c:pt>
                <c:pt idx="32">
                  <c:v>0.96299999999999997</c:v>
                </c:pt>
                <c:pt idx="33">
                  <c:v>0.86699999999999999</c:v>
                </c:pt>
                <c:pt idx="34">
                  <c:v>0.998</c:v>
                </c:pt>
                <c:pt idx="35">
                  <c:v>0.92100000000000004</c:v>
                </c:pt>
                <c:pt idx="36">
                  <c:v>0.90300000000000002</c:v>
                </c:pt>
                <c:pt idx="37">
                  <c:v>0.51500000000000001</c:v>
                </c:pt>
                <c:pt idx="38">
                  <c:v>0.93600000000000005</c:v>
                </c:pt>
                <c:pt idx="39">
                  <c:v>0.92800000000000005</c:v>
                </c:pt>
                <c:pt idx="40">
                  <c:v>0.71199999999999997</c:v>
                </c:pt>
                <c:pt idx="41">
                  <c:v>0.93600000000000005</c:v>
                </c:pt>
                <c:pt idx="42">
                  <c:v>0.96299999999999997</c:v>
                </c:pt>
                <c:pt idx="43">
                  <c:v>0.93500000000000005</c:v>
                </c:pt>
                <c:pt idx="44">
                  <c:v>0.58599999999999997</c:v>
                </c:pt>
                <c:pt idx="45">
                  <c:v>0.52900000000000003</c:v>
                </c:pt>
                <c:pt idx="46">
                  <c:v>0.40799999999999997</c:v>
                </c:pt>
                <c:pt idx="47">
                  <c:v>0.33300000000000002</c:v>
                </c:pt>
                <c:pt idx="48">
                  <c:v>0.92400000000000004</c:v>
                </c:pt>
                <c:pt idx="49">
                  <c:v>0.9</c:v>
                </c:pt>
                <c:pt idx="50">
                  <c:v>0.96499999999999997</c:v>
                </c:pt>
                <c:pt idx="51">
                  <c:v>0.95199999999999996</c:v>
                </c:pt>
                <c:pt idx="52">
                  <c:v>0</c:v>
                </c:pt>
                <c:pt idx="53">
                  <c:v>0.95299999999999996</c:v>
                </c:pt>
                <c:pt idx="54">
                  <c:v>0.89300000000000002</c:v>
                </c:pt>
                <c:pt idx="55">
                  <c:v>0.80800000000000005</c:v>
                </c:pt>
                <c:pt idx="56">
                  <c:v>0.69299999999999995</c:v>
                </c:pt>
                <c:pt idx="57">
                  <c:v>0.91800000000000004</c:v>
                </c:pt>
                <c:pt idx="58">
                  <c:v>0.91700000000000004</c:v>
                </c:pt>
                <c:pt idx="59">
                  <c:v>0.58699999999999997</c:v>
                </c:pt>
                <c:pt idx="60">
                  <c:v>0.65600000000000003</c:v>
                </c:pt>
                <c:pt idx="61">
                  <c:v>0.47699999999999998</c:v>
                </c:pt>
                <c:pt idx="62">
                  <c:v>0.84</c:v>
                </c:pt>
                <c:pt idx="63">
                  <c:v>0.94099999999999995</c:v>
                </c:pt>
                <c:pt idx="64">
                  <c:v>0.93100000000000005</c:v>
                </c:pt>
                <c:pt idx="65">
                  <c:v>0.78</c:v>
                </c:pt>
                <c:pt idx="66">
                  <c:v>0.90400000000000003</c:v>
                </c:pt>
                <c:pt idx="67">
                  <c:v>0.91</c:v>
                </c:pt>
                <c:pt idx="68">
                  <c:v>0.63600000000000001</c:v>
                </c:pt>
                <c:pt idx="69">
                  <c:v>0.94899999999999995</c:v>
                </c:pt>
                <c:pt idx="70">
                  <c:v>0.94199999999999995</c:v>
                </c:pt>
                <c:pt idx="71">
                  <c:v>0.88400000000000001</c:v>
                </c:pt>
                <c:pt idx="72">
                  <c:v>1</c:v>
                </c:pt>
                <c:pt idx="73">
                  <c:v>0.96299999999999997</c:v>
                </c:pt>
                <c:pt idx="74">
                  <c:v>0.30499999999999999</c:v>
                </c:pt>
                <c:pt idx="75">
                  <c:v>0.93899999999999995</c:v>
                </c:pt>
                <c:pt idx="76">
                  <c:v>0.95599999999999996</c:v>
                </c:pt>
                <c:pt idx="77">
                  <c:v>0.79</c:v>
                </c:pt>
                <c:pt idx="78">
                  <c:v>0.14000000000000001</c:v>
                </c:pt>
                <c:pt idx="79">
                  <c:v>0.875</c:v>
                </c:pt>
                <c:pt idx="80">
                  <c:v>0.90300000000000002</c:v>
                </c:pt>
                <c:pt idx="81">
                  <c:v>0.67300000000000004</c:v>
                </c:pt>
                <c:pt idx="82">
                  <c:v>0.95099999999999996</c:v>
                </c:pt>
                <c:pt idx="83">
                  <c:v>0.86399999999999999</c:v>
                </c:pt>
                <c:pt idx="84">
                  <c:v>0.88900000000000001</c:v>
                </c:pt>
                <c:pt idx="85">
                  <c:v>0.96599999999999997</c:v>
                </c:pt>
                <c:pt idx="86">
                  <c:v>0.91800000000000004</c:v>
                </c:pt>
                <c:pt idx="87">
                  <c:v>0.95699999999999996</c:v>
                </c:pt>
                <c:pt idx="88">
                  <c:v>0.78800000000000003</c:v>
                </c:pt>
                <c:pt idx="89">
                  <c:v>0.94599999999999995</c:v>
                </c:pt>
                <c:pt idx="90">
                  <c:v>0.89300000000000002</c:v>
                </c:pt>
                <c:pt idx="91">
                  <c:v>0.93899999999999995</c:v>
                </c:pt>
                <c:pt idx="92">
                  <c:v>0.90100000000000002</c:v>
                </c:pt>
                <c:pt idx="93">
                  <c:v>0.52200000000000002</c:v>
                </c:pt>
                <c:pt idx="94">
                  <c:v>0.95299999999999996</c:v>
                </c:pt>
                <c:pt idx="95">
                  <c:v>0.90100000000000002</c:v>
                </c:pt>
                <c:pt idx="96">
                  <c:v>0.91100000000000003</c:v>
                </c:pt>
                <c:pt idx="97">
                  <c:v>0.95599999999999996</c:v>
                </c:pt>
                <c:pt idx="98">
                  <c:v>0.58799999999999997</c:v>
                </c:pt>
                <c:pt idx="99">
                  <c:v>0.85699999999999998</c:v>
                </c:pt>
                <c:pt idx="100">
                  <c:v>0.625</c:v>
                </c:pt>
                <c:pt idx="101">
                  <c:v>0.71699999999999997</c:v>
                </c:pt>
                <c:pt idx="102">
                  <c:v>0.81299999999999994</c:v>
                </c:pt>
                <c:pt idx="103">
                  <c:v>0.96199999999999997</c:v>
                </c:pt>
                <c:pt idx="104">
                  <c:v>0.93100000000000005</c:v>
                </c:pt>
                <c:pt idx="105">
                  <c:v>0.91900000000000004</c:v>
                </c:pt>
                <c:pt idx="106">
                  <c:v>0.92200000000000004</c:v>
                </c:pt>
                <c:pt idx="107">
                  <c:v>0.78600000000000003</c:v>
                </c:pt>
                <c:pt idx="108">
                  <c:v>0.79400000000000004</c:v>
                </c:pt>
                <c:pt idx="109">
                  <c:v>0.68600000000000005</c:v>
                </c:pt>
                <c:pt idx="110">
                  <c:v>0.13500000000000001</c:v>
                </c:pt>
                <c:pt idx="111">
                  <c:v>0.84499999999999997</c:v>
                </c:pt>
                <c:pt idx="112">
                  <c:v>0.76</c:v>
                </c:pt>
                <c:pt idx="113">
                  <c:v>0.89400000000000002</c:v>
                </c:pt>
                <c:pt idx="114">
                  <c:v>0.97</c:v>
                </c:pt>
                <c:pt idx="115">
                  <c:v>0.33300000000000002</c:v>
                </c:pt>
                <c:pt idx="116">
                  <c:v>0.92600000000000005</c:v>
                </c:pt>
                <c:pt idx="117">
                  <c:v>0.98099999999999998</c:v>
                </c:pt>
                <c:pt idx="118">
                  <c:v>0.75800000000000001</c:v>
                </c:pt>
                <c:pt idx="119">
                  <c:v>0.89200000000000002</c:v>
                </c:pt>
                <c:pt idx="120">
                  <c:v>0.53800000000000003</c:v>
                </c:pt>
                <c:pt idx="121">
                  <c:v>0.877</c:v>
                </c:pt>
                <c:pt idx="122">
                  <c:v>0.32500000000000001</c:v>
                </c:pt>
                <c:pt idx="123">
                  <c:v>0.88200000000000001</c:v>
                </c:pt>
                <c:pt idx="124">
                  <c:v>0.94399999999999995</c:v>
                </c:pt>
                <c:pt idx="125">
                  <c:v>0.88600000000000001</c:v>
                </c:pt>
                <c:pt idx="126">
                  <c:v>0.93700000000000006</c:v>
                </c:pt>
                <c:pt idx="127">
                  <c:v>0.92</c:v>
                </c:pt>
                <c:pt idx="128">
                  <c:v>0.55600000000000005</c:v>
                </c:pt>
                <c:pt idx="129">
                  <c:v>0.89700000000000002</c:v>
                </c:pt>
                <c:pt idx="130">
                  <c:v>0.875</c:v>
                </c:pt>
                <c:pt idx="131">
                  <c:v>0.57899999999999996</c:v>
                </c:pt>
                <c:pt idx="132">
                  <c:v>0.75900000000000001</c:v>
                </c:pt>
                <c:pt idx="133">
                  <c:v>0.90400000000000003</c:v>
                </c:pt>
                <c:pt idx="134">
                  <c:v>0.99399999999999999</c:v>
                </c:pt>
                <c:pt idx="135">
                  <c:v>0.90900000000000003</c:v>
                </c:pt>
                <c:pt idx="136">
                  <c:v>0.91400000000000003</c:v>
                </c:pt>
                <c:pt idx="137">
                  <c:v>0.72299999999999998</c:v>
                </c:pt>
                <c:pt idx="138">
                  <c:v>0.93500000000000005</c:v>
                </c:pt>
                <c:pt idx="139">
                  <c:v>0.91600000000000004</c:v>
                </c:pt>
                <c:pt idx="140">
                  <c:v>0.52700000000000002</c:v>
                </c:pt>
                <c:pt idx="141">
                  <c:v>0.55200000000000005</c:v>
                </c:pt>
                <c:pt idx="142">
                  <c:v>0.624</c:v>
                </c:pt>
                <c:pt idx="143">
                  <c:v>0.91100000000000003</c:v>
                </c:pt>
                <c:pt idx="144">
                  <c:v>0.6</c:v>
                </c:pt>
                <c:pt idx="145">
                  <c:v>0.69199999999999995</c:v>
                </c:pt>
                <c:pt idx="146">
                  <c:v>0.82899999999999996</c:v>
                </c:pt>
                <c:pt idx="147">
                  <c:v>0.92800000000000005</c:v>
                </c:pt>
                <c:pt idx="148">
                  <c:v>0.93300000000000005</c:v>
                </c:pt>
                <c:pt idx="149">
                  <c:v>0.90700000000000003</c:v>
                </c:pt>
                <c:pt idx="150">
                  <c:v>0.55000000000000004</c:v>
                </c:pt>
                <c:pt idx="151">
                  <c:v>0.86699999999999999</c:v>
                </c:pt>
                <c:pt idx="152">
                  <c:v>0.83099999999999996</c:v>
                </c:pt>
                <c:pt idx="153">
                  <c:v>0.95299999999999996</c:v>
                </c:pt>
                <c:pt idx="154">
                  <c:v>0.91300000000000003</c:v>
                </c:pt>
                <c:pt idx="155">
                  <c:v>0.94199999999999995</c:v>
                </c:pt>
                <c:pt idx="156">
                  <c:v>0.58199999999999996</c:v>
                </c:pt>
                <c:pt idx="157">
                  <c:v>0.92700000000000005</c:v>
                </c:pt>
                <c:pt idx="158">
                  <c:v>0.94099999999999995</c:v>
                </c:pt>
                <c:pt idx="159">
                  <c:v>0.66500000000000004</c:v>
                </c:pt>
                <c:pt idx="160">
                  <c:v>0.89200000000000002</c:v>
                </c:pt>
                <c:pt idx="161">
                  <c:v>0.88300000000000001</c:v>
                </c:pt>
                <c:pt idx="162">
                  <c:v>0.85699999999999998</c:v>
                </c:pt>
                <c:pt idx="163">
                  <c:v>0.92100000000000004</c:v>
                </c:pt>
                <c:pt idx="164">
                  <c:v>0.91900000000000004</c:v>
                </c:pt>
                <c:pt idx="165">
                  <c:v>0.28199999999999997</c:v>
                </c:pt>
                <c:pt idx="166">
                  <c:v>0.76500000000000001</c:v>
                </c:pt>
                <c:pt idx="167">
                  <c:v>0.88500000000000001</c:v>
                </c:pt>
                <c:pt idx="168">
                  <c:v>0.81499999999999995</c:v>
                </c:pt>
                <c:pt idx="169">
                  <c:v>0.64500000000000002</c:v>
                </c:pt>
                <c:pt idx="170">
                  <c:v>0.55200000000000005</c:v>
                </c:pt>
                <c:pt idx="171">
                  <c:v>0.59799999999999998</c:v>
                </c:pt>
                <c:pt idx="172">
                  <c:v>0.92800000000000005</c:v>
                </c:pt>
                <c:pt idx="173">
                  <c:v>0.94499999999999995</c:v>
                </c:pt>
                <c:pt idx="174">
                  <c:v>0.86399999999999999</c:v>
                </c:pt>
                <c:pt idx="175">
                  <c:v>0.98699999999999999</c:v>
                </c:pt>
                <c:pt idx="176">
                  <c:v>0.28299999999999997</c:v>
                </c:pt>
                <c:pt idx="177">
                  <c:v>0.95299999999999996</c:v>
                </c:pt>
                <c:pt idx="178">
                  <c:v>0.92</c:v>
                </c:pt>
                <c:pt idx="179">
                  <c:v>0.92300000000000004</c:v>
                </c:pt>
                <c:pt idx="180">
                  <c:v>0.92800000000000005</c:v>
                </c:pt>
                <c:pt idx="181">
                  <c:v>0.68799999999999994</c:v>
                </c:pt>
                <c:pt idx="182">
                  <c:v>0.874</c:v>
                </c:pt>
                <c:pt idx="183">
                  <c:v>0.78600000000000003</c:v>
                </c:pt>
                <c:pt idx="184">
                  <c:v>0.91</c:v>
                </c:pt>
                <c:pt idx="185">
                  <c:v>0.68500000000000005</c:v>
                </c:pt>
                <c:pt idx="186">
                  <c:v>0.79600000000000004</c:v>
                </c:pt>
                <c:pt idx="187">
                  <c:v>0.89200000000000002</c:v>
                </c:pt>
                <c:pt idx="188">
                  <c:v>0.89900000000000002</c:v>
                </c:pt>
                <c:pt idx="189">
                  <c:v>0.71899999999999997</c:v>
                </c:pt>
                <c:pt idx="190">
                  <c:v>0.70699999999999996</c:v>
                </c:pt>
                <c:pt idx="191">
                  <c:v>0.88100000000000001</c:v>
                </c:pt>
                <c:pt idx="192">
                  <c:v>0.64700000000000002</c:v>
                </c:pt>
                <c:pt idx="193">
                  <c:v>0</c:v>
                </c:pt>
                <c:pt idx="194">
                  <c:v>0.67300000000000004</c:v>
                </c:pt>
                <c:pt idx="195">
                  <c:v>0.84599999999999997</c:v>
                </c:pt>
                <c:pt idx="196">
                  <c:v>0.92800000000000005</c:v>
                </c:pt>
                <c:pt idx="197">
                  <c:v>0.63400000000000001</c:v>
                </c:pt>
                <c:pt idx="198">
                  <c:v>0.86699999999999999</c:v>
                </c:pt>
                <c:pt idx="199">
                  <c:v>0.91600000000000004</c:v>
                </c:pt>
                <c:pt idx="200">
                  <c:v>0.92700000000000005</c:v>
                </c:pt>
                <c:pt idx="201">
                  <c:v>0.48599999999999999</c:v>
                </c:pt>
                <c:pt idx="202">
                  <c:v>0.75600000000000001</c:v>
                </c:pt>
                <c:pt idx="203">
                  <c:v>0.58699999999999997</c:v>
                </c:pt>
                <c:pt idx="204">
                  <c:v>0.70499999999999996</c:v>
                </c:pt>
                <c:pt idx="205">
                  <c:v>0.72199999999999998</c:v>
                </c:pt>
                <c:pt idx="206">
                  <c:v>0.97299999999999998</c:v>
                </c:pt>
                <c:pt idx="207">
                  <c:v>0.872</c:v>
                </c:pt>
                <c:pt idx="208">
                  <c:v>0.68300000000000005</c:v>
                </c:pt>
                <c:pt idx="209">
                  <c:v>0.27600000000000002</c:v>
                </c:pt>
                <c:pt idx="210">
                  <c:v>0.82199999999999995</c:v>
                </c:pt>
                <c:pt idx="211">
                  <c:v>0.92600000000000005</c:v>
                </c:pt>
                <c:pt idx="212">
                  <c:v>0.60399999999999998</c:v>
                </c:pt>
                <c:pt idx="213">
                  <c:v>0.76300000000000001</c:v>
                </c:pt>
                <c:pt idx="214">
                  <c:v>0.91400000000000003</c:v>
                </c:pt>
                <c:pt idx="215">
                  <c:v>0.54200000000000004</c:v>
                </c:pt>
                <c:pt idx="216">
                  <c:v>0.84699999999999998</c:v>
                </c:pt>
                <c:pt idx="217">
                  <c:v>0.94199999999999995</c:v>
                </c:pt>
                <c:pt idx="218">
                  <c:v>0.94599999999999995</c:v>
                </c:pt>
                <c:pt idx="219">
                  <c:v>0.92</c:v>
                </c:pt>
                <c:pt idx="220">
                  <c:v>0.88400000000000001</c:v>
                </c:pt>
                <c:pt idx="221">
                  <c:v>0.93200000000000005</c:v>
                </c:pt>
                <c:pt idx="222">
                  <c:v>0.877</c:v>
                </c:pt>
                <c:pt idx="223">
                  <c:v>0.69199999999999995</c:v>
                </c:pt>
                <c:pt idx="224">
                  <c:v>0.97699999999999998</c:v>
                </c:pt>
                <c:pt idx="225">
                  <c:v>0.89</c:v>
                </c:pt>
                <c:pt idx="226">
                  <c:v>0.90100000000000002</c:v>
                </c:pt>
                <c:pt idx="227">
                  <c:v>0.96399999999999997</c:v>
                </c:pt>
                <c:pt idx="228">
                  <c:v>0.94299999999999995</c:v>
                </c:pt>
                <c:pt idx="229">
                  <c:v>0.85599999999999998</c:v>
                </c:pt>
                <c:pt idx="230">
                  <c:v>0.96699999999999997</c:v>
                </c:pt>
                <c:pt idx="231">
                  <c:v>0.96599999999999997</c:v>
                </c:pt>
                <c:pt idx="232">
                  <c:v>0.93400000000000005</c:v>
                </c:pt>
                <c:pt idx="233">
                  <c:v>0.93200000000000005</c:v>
                </c:pt>
                <c:pt idx="234">
                  <c:v>0.88600000000000001</c:v>
                </c:pt>
                <c:pt idx="235">
                  <c:v>0.77500000000000002</c:v>
                </c:pt>
                <c:pt idx="236">
                  <c:v>0.93700000000000006</c:v>
                </c:pt>
                <c:pt idx="237">
                  <c:v>0.95299999999999996</c:v>
                </c:pt>
                <c:pt idx="238">
                  <c:v>0.97</c:v>
                </c:pt>
                <c:pt idx="239">
                  <c:v>0.96399999999999997</c:v>
                </c:pt>
                <c:pt idx="240">
                  <c:v>0.95099999999999996</c:v>
                </c:pt>
                <c:pt idx="241">
                  <c:v>0.35099999999999998</c:v>
                </c:pt>
                <c:pt idx="242">
                  <c:v>0.97899999999999998</c:v>
                </c:pt>
                <c:pt idx="243">
                  <c:v>0.93799999999999994</c:v>
                </c:pt>
                <c:pt idx="244">
                  <c:v>0.91800000000000004</c:v>
                </c:pt>
                <c:pt idx="245">
                  <c:v>0.87</c:v>
                </c:pt>
                <c:pt idx="246">
                  <c:v>0.82899999999999996</c:v>
                </c:pt>
                <c:pt idx="247">
                  <c:v>0.92300000000000004</c:v>
                </c:pt>
                <c:pt idx="248">
                  <c:v>0.75</c:v>
                </c:pt>
                <c:pt idx="249">
                  <c:v>0.94499999999999995</c:v>
                </c:pt>
                <c:pt idx="250">
                  <c:v>0.88</c:v>
                </c:pt>
                <c:pt idx="251">
                  <c:v>0.65700000000000003</c:v>
                </c:pt>
                <c:pt idx="252">
                  <c:v>0.89900000000000002</c:v>
                </c:pt>
                <c:pt idx="253">
                  <c:v>0.80100000000000005</c:v>
                </c:pt>
                <c:pt idx="254">
                  <c:v>0.95399999999999996</c:v>
                </c:pt>
                <c:pt idx="255">
                  <c:v>0.873</c:v>
                </c:pt>
                <c:pt idx="256">
                  <c:v>0.85299999999999998</c:v>
                </c:pt>
                <c:pt idx="257">
                  <c:v>0.66300000000000003</c:v>
                </c:pt>
                <c:pt idx="258">
                  <c:v>0.86799999999999999</c:v>
                </c:pt>
                <c:pt idx="259">
                  <c:v>0.91800000000000004</c:v>
                </c:pt>
                <c:pt idx="260">
                  <c:v>0.94599999999999995</c:v>
                </c:pt>
                <c:pt idx="261">
                  <c:v>0.71299999999999997</c:v>
                </c:pt>
                <c:pt idx="262">
                  <c:v>0.91100000000000003</c:v>
                </c:pt>
                <c:pt idx="263">
                  <c:v>0.85399999999999998</c:v>
                </c:pt>
                <c:pt idx="264">
                  <c:v>0.153</c:v>
                </c:pt>
                <c:pt idx="265">
                  <c:v>0.92200000000000004</c:v>
                </c:pt>
                <c:pt idx="266">
                  <c:v>0.71299999999999997</c:v>
                </c:pt>
                <c:pt idx="267">
                  <c:v>0.5</c:v>
                </c:pt>
                <c:pt idx="268">
                  <c:v>0.96</c:v>
                </c:pt>
                <c:pt idx="269">
                  <c:v>0.88900000000000001</c:v>
                </c:pt>
                <c:pt idx="270">
                  <c:v>0.88</c:v>
                </c:pt>
                <c:pt idx="271">
                  <c:v>0.92900000000000005</c:v>
                </c:pt>
                <c:pt idx="272">
                  <c:v>0.73799999999999999</c:v>
                </c:pt>
                <c:pt idx="273">
                  <c:v>0.80600000000000005</c:v>
                </c:pt>
                <c:pt idx="274">
                  <c:v>0.89900000000000002</c:v>
                </c:pt>
                <c:pt idx="275">
                  <c:v>0.88</c:v>
                </c:pt>
                <c:pt idx="276">
                  <c:v>0.95399999999999996</c:v>
                </c:pt>
                <c:pt idx="277">
                  <c:v>0.89400000000000002</c:v>
                </c:pt>
                <c:pt idx="278">
                  <c:v>0.75700000000000001</c:v>
                </c:pt>
                <c:pt idx="279">
                  <c:v>0.80500000000000005</c:v>
                </c:pt>
                <c:pt idx="280">
                  <c:v>0.90900000000000003</c:v>
                </c:pt>
                <c:pt idx="281">
                  <c:v>0.56999999999999995</c:v>
                </c:pt>
                <c:pt idx="282">
                  <c:v>0.80400000000000005</c:v>
                </c:pt>
                <c:pt idx="283">
                  <c:v>0.84599999999999997</c:v>
                </c:pt>
                <c:pt idx="284">
                  <c:v>0.92800000000000005</c:v>
                </c:pt>
                <c:pt idx="285">
                  <c:v>0.97699999999999998</c:v>
                </c:pt>
                <c:pt idx="286">
                  <c:v>0.96099999999999997</c:v>
                </c:pt>
                <c:pt idx="287">
                  <c:v>0.625</c:v>
                </c:pt>
                <c:pt idx="288">
                  <c:v>0.92200000000000004</c:v>
                </c:pt>
                <c:pt idx="289">
                  <c:v>0.73199999999999998</c:v>
                </c:pt>
                <c:pt idx="290">
                  <c:v>0.61499999999999999</c:v>
                </c:pt>
                <c:pt idx="291">
                  <c:v>0.88800000000000001</c:v>
                </c:pt>
                <c:pt idx="292">
                  <c:v>0.83299999999999996</c:v>
                </c:pt>
                <c:pt idx="293">
                  <c:v>0.83199999999999996</c:v>
                </c:pt>
                <c:pt idx="294">
                  <c:v>0.68200000000000005</c:v>
                </c:pt>
                <c:pt idx="295">
                  <c:v>0.83499999999999996</c:v>
                </c:pt>
                <c:pt idx="296">
                  <c:v>0.55900000000000005</c:v>
                </c:pt>
                <c:pt idx="297">
                  <c:v>0.91900000000000004</c:v>
                </c:pt>
                <c:pt idx="298">
                  <c:v>0.97899999999999998</c:v>
                </c:pt>
                <c:pt idx="299">
                  <c:v>0.93700000000000006</c:v>
                </c:pt>
                <c:pt idx="300">
                  <c:v>0.89900000000000002</c:v>
                </c:pt>
                <c:pt idx="301">
                  <c:v>0.56100000000000005</c:v>
                </c:pt>
                <c:pt idx="302">
                  <c:v>0.66300000000000003</c:v>
                </c:pt>
                <c:pt idx="303">
                  <c:v>0.94</c:v>
                </c:pt>
                <c:pt idx="304">
                  <c:v>0.92800000000000005</c:v>
                </c:pt>
                <c:pt idx="305">
                  <c:v>0.61799999999999999</c:v>
                </c:pt>
                <c:pt idx="306">
                  <c:v>0.58599999999999997</c:v>
                </c:pt>
                <c:pt idx="307">
                  <c:v>0.94</c:v>
                </c:pt>
                <c:pt idx="308">
                  <c:v>0.90100000000000002</c:v>
                </c:pt>
                <c:pt idx="309">
                  <c:v>0.91</c:v>
                </c:pt>
                <c:pt idx="310">
                  <c:v>0.8</c:v>
                </c:pt>
                <c:pt idx="311">
                  <c:v>0.86699999999999999</c:v>
                </c:pt>
                <c:pt idx="312">
                  <c:v>0.91200000000000003</c:v>
                </c:pt>
                <c:pt idx="313">
                  <c:v>0.86399999999999999</c:v>
                </c:pt>
                <c:pt idx="314">
                  <c:v>0.86099999999999999</c:v>
                </c:pt>
                <c:pt idx="315">
                  <c:v>0.84899999999999998</c:v>
                </c:pt>
                <c:pt idx="316">
                  <c:v>0.875</c:v>
                </c:pt>
                <c:pt idx="317">
                  <c:v>0.56100000000000005</c:v>
                </c:pt>
                <c:pt idx="318">
                  <c:v>0.84599999999999997</c:v>
                </c:pt>
                <c:pt idx="319">
                  <c:v>0.623</c:v>
                </c:pt>
                <c:pt idx="320">
                  <c:v>0.93700000000000006</c:v>
                </c:pt>
                <c:pt idx="321">
                  <c:v>0.90400000000000003</c:v>
                </c:pt>
                <c:pt idx="322">
                  <c:v>0.92200000000000004</c:v>
                </c:pt>
                <c:pt idx="323">
                  <c:v>0.86</c:v>
                </c:pt>
                <c:pt idx="324">
                  <c:v>0.90200000000000002</c:v>
                </c:pt>
                <c:pt idx="325">
                  <c:v>0.95099999999999996</c:v>
                </c:pt>
                <c:pt idx="326">
                  <c:v>0.54100000000000004</c:v>
                </c:pt>
                <c:pt idx="327">
                  <c:v>0.71</c:v>
                </c:pt>
                <c:pt idx="328">
                  <c:v>0.91100000000000003</c:v>
                </c:pt>
                <c:pt idx="329">
                  <c:v>0.92</c:v>
                </c:pt>
                <c:pt idx="330">
                  <c:v>0.76500000000000001</c:v>
                </c:pt>
                <c:pt idx="331">
                  <c:v>0.69699999999999995</c:v>
                </c:pt>
                <c:pt idx="332">
                  <c:v>0.872</c:v>
                </c:pt>
                <c:pt idx="333">
                  <c:v>0.92100000000000004</c:v>
                </c:pt>
                <c:pt idx="334">
                  <c:v>0.73399999999999999</c:v>
                </c:pt>
                <c:pt idx="335">
                  <c:v>0.95599999999999996</c:v>
                </c:pt>
                <c:pt idx="336">
                  <c:v>0.97299999999999998</c:v>
                </c:pt>
                <c:pt idx="337">
                  <c:v>0.71099999999999997</c:v>
                </c:pt>
                <c:pt idx="338">
                  <c:v>0.94399999999999995</c:v>
                </c:pt>
                <c:pt idx="339">
                  <c:v>0.88200000000000001</c:v>
                </c:pt>
                <c:pt idx="340">
                  <c:v>0.91900000000000004</c:v>
                </c:pt>
                <c:pt idx="341">
                  <c:v>0.68200000000000005</c:v>
                </c:pt>
                <c:pt idx="342">
                  <c:v>0.88200000000000001</c:v>
                </c:pt>
                <c:pt idx="343">
                  <c:v>0.94199999999999995</c:v>
                </c:pt>
                <c:pt idx="344">
                  <c:v>0.97399999999999998</c:v>
                </c:pt>
                <c:pt idx="345">
                  <c:v>0.54</c:v>
                </c:pt>
                <c:pt idx="346">
                  <c:v>0.86199999999999999</c:v>
                </c:pt>
                <c:pt idx="347">
                  <c:v>0.51500000000000001</c:v>
                </c:pt>
                <c:pt idx="348">
                  <c:v>0.83899999999999997</c:v>
                </c:pt>
                <c:pt idx="349">
                  <c:v>0.80400000000000005</c:v>
                </c:pt>
                <c:pt idx="350">
                  <c:v>0.61499999999999999</c:v>
                </c:pt>
                <c:pt idx="351">
                  <c:v>0.58299999999999996</c:v>
                </c:pt>
                <c:pt idx="352">
                  <c:v>0.53500000000000003</c:v>
                </c:pt>
                <c:pt idx="353">
                  <c:v>0.93300000000000005</c:v>
                </c:pt>
                <c:pt idx="354">
                  <c:v>0.91200000000000003</c:v>
                </c:pt>
                <c:pt idx="355">
                  <c:v>0.35699999999999998</c:v>
                </c:pt>
                <c:pt idx="356">
                  <c:v>0.82399999999999995</c:v>
                </c:pt>
                <c:pt idx="357">
                  <c:v>0.61599999999999999</c:v>
                </c:pt>
                <c:pt idx="358">
                  <c:v>0.82</c:v>
                </c:pt>
                <c:pt idx="359">
                  <c:v>0.94799999999999995</c:v>
                </c:pt>
                <c:pt idx="360">
                  <c:v>0.95099999999999996</c:v>
                </c:pt>
                <c:pt idx="361">
                  <c:v>0.85499999999999998</c:v>
                </c:pt>
                <c:pt idx="362">
                  <c:v>0.90900000000000003</c:v>
                </c:pt>
                <c:pt idx="363">
                  <c:v>0.92900000000000005</c:v>
                </c:pt>
                <c:pt idx="364">
                  <c:v>0.88400000000000001</c:v>
                </c:pt>
                <c:pt idx="365">
                  <c:v>0.92600000000000005</c:v>
                </c:pt>
                <c:pt idx="366">
                  <c:v>0.86199999999999999</c:v>
                </c:pt>
                <c:pt idx="367">
                  <c:v>0.59699999999999998</c:v>
                </c:pt>
                <c:pt idx="368">
                  <c:v>0.91300000000000003</c:v>
                </c:pt>
                <c:pt idx="369">
                  <c:v>0.66800000000000004</c:v>
                </c:pt>
                <c:pt idx="370">
                  <c:v>0.86299999999999999</c:v>
                </c:pt>
                <c:pt idx="371">
                  <c:v>0.376</c:v>
                </c:pt>
                <c:pt idx="372">
                  <c:v>0.82599999999999996</c:v>
                </c:pt>
                <c:pt idx="373">
                  <c:v>0.88</c:v>
                </c:pt>
                <c:pt idx="374">
                  <c:v>0.91100000000000003</c:v>
                </c:pt>
                <c:pt idx="375">
                  <c:v>0.73299999999999998</c:v>
                </c:pt>
                <c:pt idx="376">
                  <c:v>0.89300000000000002</c:v>
                </c:pt>
                <c:pt idx="377">
                  <c:v>0.58099999999999996</c:v>
                </c:pt>
                <c:pt idx="378">
                  <c:v>0.311</c:v>
                </c:pt>
                <c:pt idx="379">
                  <c:v>0.40400000000000003</c:v>
                </c:pt>
                <c:pt idx="380">
                  <c:v>0.85</c:v>
                </c:pt>
                <c:pt idx="381">
                  <c:v>0.96199999999999997</c:v>
                </c:pt>
                <c:pt idx="382">
                  <c:v>0.89400000000000002</c:v>
                </c:pt>
                <c:pt idx="383">
                  <c:v>0.73799999999999999</c:v>
                </c:pt>
                <c:pt idx="384">
                  <c:v>0.91700000000000004</c:v>
                </c:pt>
                <c:pt idx="385">
                  <c:v>0.91900000000000004</c:v>
                </c:pt>
                <c:pt idx="386">
                  <c:v>0.85299999999999998</c:v>
                </c:pt>
                <c:pt idx="387">
                  <c:v>0.86599999999999999</c:v>
                </c:pt>
                <c:pt idx="388">
                  <c:v>0.63200000000000001</c:v>
                </c:pt>
                <c:pt idx="389">
                  <c:v>0.52600000000000002</c:v>
                </c:pt>
                <c:pt idx="390">
                  <c:v>0.91600000000000004</c:v>
                </c:pt>
                <c:pt idx="391">
                  <c:v>0.86699999999999999</c:v>
                </c:pt>
                <c:pt idx="392">
                  <c:v>0.93500000000000005</c:v>
                </c:pt>
                <c:pt idx="393">
                  <c:v>0.26500000000000001</c:v>
                </c:pt>
                <c:pt idx="394">
                  <c:v>0.83099999999999996</c:v>
                </c:pt>
                <c:pt idx="395">
                  <c:v>0.97</c:v>
                </c:pt>
                <c:pt idx="396">
                  <c:v>0.92</c:v>
                </c:pt>
                <c:pt idx="397">
                  <c:v>0.86199999999999999</c:v>
                </c:pt>
                <c:pt idx="398">
                  <c:v>0.85699999999999998</c:v>
                </c:pt>
                <c:pt idx="399">
                  <c:v>0.72499999999999998</c:v>
                </c:pt>
                <c:pt idx="400">
                  <c:v>0.71699999999999997</c:v>
                </c:pt>
                <c:pt idx="401">
                  <c:v>0.188</c:v>
                </c:pt>
                <c:pt idx="402">
                  <c:v>0.96899999999999997</c:v>
                </c:pt>
                <c:pt idx="403">
                  <c:v>0.33700000000000002</c:v>
                </c:pt>
                <c:pt idx="404">
                  <c:v>0.93899999999999995</c:v>
                </c:pt>
                <c:pt idx="405">
                  <c:v>0.80400000000000005</c:v>
                </c:pt>
                <c:pt idx="406">
                  <c:v>0.84399999999999997</c:v>
                </c:pt>
                <c:pt idx="407">
                  <c:v>0.89200000000000002</c:v>
                </c:pt>
                <c:pt idx="408">
                  <c:v>0.92</c:v>
                </c:pt>
                <c:pt idx="409">
                  <c:v>0.91600000000000004</c:v>
                </c:pt>
                <c:pt idx="410">
                  <c:v>0.71799999999999997</c:v>
                </c:pt>
                <c:pt idx="411">
                  <c:v>0.84299999999999997</c:v>
                </c:pt>
                <c:pt idx="412">
                  <c:v>0.79300000000000004</c:v>
                </c:pt>
                <c:pt idx="413">
                  <c:v>0.85399999999999998</c:v>
                </c:pt>
                <c:pt idx="414">
                  <c:v>0.94599999999999995</c:v>
                </c:pt>
                <c:pt idx="415">
                  <c:v>0.88</c:v>
                </c:pt>
                <c:pt idx="416">
                  <c:v>0.88100000000000001</c:v>
                </c:pt>
                <c:pt idx="417">
                  <c:v>0.63900000000000001</c:v>
                </c:pt>
                <c:pt idx="418">
                  <c:v>0.77500000000000002</c:v>
                </c:pt>
                <c:pt idx="419">
                  <c:v>0.48</c:v>
                </c:pt>
                <c:pt idx="420">
                  <c:v>0.92300000000000004</c:v>
                </c:pt>
                <c:pt idx="421">
                  <c:v>0.73599999999999999</c:v>
                </c:pt>
                <c:pt idx="422">
                  <c:v>0.66200000000000003</c:v>
                </c:pt>
                <c:pt idx="423">
                  <c:v>0.93600000000000005</c:v>
                </c:pt>
                <c:pt idx="424">
                  <c:v>0.68799999999999994</c:v>
                </c:pt>
                <c:pt idx="425">
                  <c:v>0.873</c:v>
                </c:pt>
                <c:pt idx="426">
                  <c:v>0.92</c:v>
                </c:pt>
                <c:pt idx="427">
                  <c:v>0.80100000000000005</c:v>
                </c:pt>
                <c:pt idx="428">
                  <c:v>0.92200000000000004</c:v>
                </c:pt>
                <c:pt idx="429">
                  <c:v>0.97099999999999997</c:v>
                </c:pt>
                <c:pt idx="430">
                  <c:v>0.95499999999999996</c:v>
                </c:pt>
                <c:pt idx="431">
                  <c:v>0.72499999999999998</c:v>
                </c:pt>
                <c:pt idx="432">
                  <c:v>0.91600000000000004</c:v>
                </c:pt>
                <c:pt idx="433">
                  <c:v>0.83799999999999997</c:v>
                </c:pt>
                <c:pt idx="434">
                  <c:v>0.76100000000000001</c:v>
                </c:pt>
                <c:pt idx="435">
                  <c:v>0.66700000000000004</c:v>
                </c:pt>
                <c:pt idx="436">
                  <c:v>0.56399999999999995</c:v>
                </c:pt>
                <c:pt idx="437">
                  <c:v>0.752</c:v>
                </c:pt>
                <c:pt idx="438">
                  <c:v>0.625</c:v>
                </c:pt>
                <c:pt idx="439">
                  <c:v>0</c:v>
                </c:pt>
                <c:pt idx="440">
                  <c:v>0.96199999999999997</c:v>
                </c:pt>
                <c:pt idx="441">
                  <c:v>0.88700000000000001</c:v>
                </c:pt>
                <c:pt idx="442">
                  <c:v>0.65200000000000002</c:v>
                </c:pt>
                <c:pt idx="443">
                  <c:v>0.81699999999999995</c:v>
                </c:pt>
                <c:pt idx="444">
                  <c:v>0.72299999999999998</c:v>
                </c:pt>
                <c:pt idx="445">
                  <c:v>0.90400000000000003</c:v>
                </c:pt>
                <c:pt idx="446">
                  <c:v>0.90100000000000002</c:v>
                </c:pt>
                <c:pt idx="447">
                  <c:v>0.59699999999999998</c:v>
                </c:pt>
                <c:pt idx="448">
                  <c:v>0.877</c:v>
                </c:pt>
                <c:pt idx="449">
                  <c:v>0.93899999999999995</c:v>
                </c:pt>
                <c:pt idx="450">
                  <c:v>0.97599999999999998</c:v>
                </c:pt>
                <c:pt idx="451">
                  <c:v>0.89800000000000002</c:v>
                </c:pt>
                <c:pt idx="452">
                  <c:v>0.93400000000000005</c:v>
                </c:pt>
                <c:pt idx="453">
                  <c:v>0.95299999999999996</c:v>
                </c:pt>
                <c:pt idx="454">
                  <c:v>0.93799999999999994</c:v>
                </c:pt>
                <c:pt idx="455">
                  <c:v>0.879</c:v>
                </c:pt>
                <c:pt idx="456">
                  <c:v>0.93899999999999995</c:v>
                </c:pt>
                <c:pt idx="457">
                  <c:v>0.72599999999999998</c:v>
                </c:pt>
                <c:pt idx="458">
                  <c:v>0.69099999999999995</c:v>
                </c:pt>
                <c:pt idx="459">
                  <c:v>0.90200000000000002</c:v>
                </c:pt>
                <c:pt idx="460">
                  <c:v>0.48499999999999999</c:v>
                </c:pt>
                <c:pt idx="461">
                  <c:v>0.92</c:v>
                </c:pt>
                <c:pt idx="462">
                  <c:v>0.92600000000000005</c:v>
                </c:pt>
                <c:pt idx="463">
                  <c:v>0.83499999999999996</c:v>
                </c:pt>
                <c:pt idx="464">
                  <c:v>0.90700000000000003</c:v>
                </c:pt>
                <c:pt idx="465">
                  <c:v>0.90200000000000002</c:v>
                </c:pt>
                <c:pt idx="466">
                  <c:v>0.82899999999999996</c:v>
                </c:pt>
                <c:pt idx="467">
                  <c:v>0.625</c:v>
                </c:pt>
                <c:pt idx="468">
                  <c:v>0.85599999999999998</c:v>
                </c:pt>
                <c:pt idx="469">
                  <c:v>0.89200000000000002</c:v>
                </c:pt>
                <c:pt idx="470">
                  <c:v>0.84199999999999997</c:v>
                </c:pt>
                <c:pt idx="471">
                  <c:v>0.77900000000000003</c:v>
                </c:pt>
                <c:pt idx="472">
                  <c:v>0.93100000000000005</c:v>
                </c:pt>
                <c:pt idx="473">
                  <c:v>0.86299999999999999</c:v>
                </c:pt>
                <c:pt idx="474">
                  <c:v>0.95499999999999996</c:v>
                </c:pt>
                <c:pt idx="475">
                  <c:v>0.76600000000000001</c:v>
                </c:pt>
                <c:pt idx="476">
                  <c:v>0.79400000000000004</c:v>
                </c:pt>
                <c:pt idx="477">
                  <c:v>0.93799999999999994</c:v>
                </c:pt>
                <c:pt idx="478">
                  <c:v>0.432</c:v>
                </c:pt>
                <c:pt idx="479">
                  <c:v>0.95099999999999996</c:v>
                </c:pt>
                <c:pt idx="480">
                  <c:v>0.56499999999999995</c:v>
                </c:pt>
                <c:pt idx="481">
                  <c:v>0.94699999999999995</c:v>
                </c:pt>
                <c:pt idx="482">
                  <c:v>0.629</c:v>
                </c:pt>
                <c:pt idx="483">
                  <c:v>0.72899999999999998</c:v>
                </c:pt>
                <c:pt idx="484">
                  <c:v>0.77</c:v>
                </c:pt>
                <c:pt idx="485">
                  <c:v>0.75600000000000001</c:v>
                </c:pt>
                <c:pt idx="486">
                  <c:v>0.72499999999999998</c:v>
                </c:pt>
                <c:pt idx="487">
                  <c:v>0.96299999999999997</c:v>
                </c:pt>
                <c:pt idx="488">
                  <c:v>0.51600000000000001</c:v>
                </c:pt>
                <c:pt idx="489">
                  <c:v>0.95099999999999996</c:v>
                </c:pt>
                <c:pt idx="490">
                  <c:v>0.47399999999999998</c:v>
                </c:pt>
                <c:pt idx="491">
                  <c:v>0.91300000000000003</c:v>
                </c:pt>
                <c:pt idx="492">
                  <c:v>0.88500000000000001</c:v>
                </c:pt>
                <c:pt idx="493">
                  <c:v>0.52300000000000002</c:v>
                </c:pt>
                <c:pt idx="494">
                  <c:v>1</c:v>
                </c:pt>
                <c:pt idx="495">
                  <c:v>0.84099999999999997</c:v>
                </c:pt>
                <c:pt idx="496">
                  <c:v>0.88300000000000001</c:v>
                </c:pt>
                <c:pt idx="497">
                  <c:v>0.78600000000000003</c:v>
                </c:pt>
                <c:pt idx="498">
                  <c:v>0.95</c:v>
                </c:pt>
                <c:pt idx="499">
                  <c:v>0.83899999999999997</c:v>
                </c:pt>
                <c:pt idx="500">
                  <c:v>0.79</c:v>
                </c:pt>
                <c:pt idx="501">
                  <c:v>0.84099999999999997</c:v>
                </c:pt>
                <c:pt idx="502">
                  <c:v>0.85599999999999998</c:v>
                </c:pt>
                <c:pt idx="503">
                  <c:v>0.88300000000000001</c:v>
                </c:pt>
                <c:pt idx="504">
                  <c:v>0.79300000000000004</c:v>
                </c:pt>
                <c:pt idx="505">
                  <c:v>0.76900000000000002</c:v>
                </c:pt>
                <c:pt idx="506">
                  <c:v>0.89700000000000002</c:v>
                </c:pt>
                <c:pt idx="507">
                  <c:v>0.96799999999999997</c:v>
                </c:pt>
                <c:pt idx="508">
                  <c:v>0.96299999999999997</c:v>
                </c:pt>
                <c:pt idx="509">
                  <c:v>0.92400000000000004</c:v>
                </c:pt>
                <c:pt idx="510">
                  <c:v>0.82499999999999996</c:v>
                </c:pt>
                <c:pt idx="511">
                  <c:v>0.92800000000000005</c:v>
                </c:pt>
                <c:pt idx="512">
                  <c:v>0.52200000000000002</c:v>
                </c:pt>
                <c:pt idx="513">
                  <c:v>0.92500000000000004</c:v>
                </c:pt>
                <c:pt idx="514">
                  <c:v>0.90400000000000003</c:v>
                </c:pt>
                <c:pt idx="515">
                  <c:v>0.91</c:v>
                </c:pt>
                <c:pt idx="516">
                  <c:v>0.78700000000000003</c:v>
                </c:pt>
                <c:pt idx="517">
                  <c:v>0.93500000000000005</c:v>
                </c:pt>
                <c:pt idx="518">
                  <c:v>0.80400000000000005</c:v>
                </c:pt>
                <c:pt idx="519">
                  <c:v>0.91700000000000004</c:v>
                </c:pt>
                <c:pt idx="520">
                  <c:v>0.96</c:v>
                </c:pt>
                <c:pt idx="521">
                  <c:v>0.77100000000000002</c:v>
                </c:pt>
                <c:pt idx="522">
                  <c:v>0.82599999999999996</c:v>
                </c:pt>
                <c:pt idx="523">
                  <c:v>0.88100000000000001</c:v>
                </c:pt>
                <c:pt idx="524">
                  <c:v>0.86799999999999999</c:v>
                </c:pt>
                <c:pt idx="525">
                  <c:v>0.91</c:v>
                </c:pt>
                <c:pt idx="526">
                  <c:v>0.93700000000000006</c:v>
                </c:pt>
                <c:pt idx="527">
                  <c:v>0.89500000000000002</c:v>
                </c:pt>
                <c:pt idx="528">
                  <c:v>0.89600000000000002</c:v>
                </c:pt>
                <c:pt idx="529">
                  <c:v>0.85499999999999998</c:v>
                </c:pt>
                <c:pt idx="530">
                  <c:v>0.89900000000000002</c:v>
                </c:pt>
                <c:pt idx="531">
                  <c:v>0.65300000000000002</c:v>
                </c:pt>
                <c:pt idx="532">
                  <c:v>0.65800000000000003</c:v>
                </c:pt>
                <c:pt idx="533">
                  <c:v>0.93300000000000005</c:v>
                </c:pt>
                <c:pt idx="534">
                  <c:v>0.96699999999999997</c:v>
                </c:pt>
                <c:pt idx="535">
                  <c:v>0.56499999999999995</c:v>
                </c:pt>
                <c:pt idx="536">
                  <c:v>0.96699999999999997</c:v>
                </c:pt>
                <c:pt idx="537">
                  <c:v>0.84199999999999997</c:v>
                </c:pt>
                <c:pt idx="538">
                  <c:v>0.84099999999999997</c:v>
                </c:pt>
                <c:pt idx="539">
                  <c:v>0.874</c:v>
                </c:pt>
                <c:pt idx="540">
                  <c:v>0.86199999999999999</c:v>
                </c:pt>
                <c:pt idx="541">
                  <c:v>0.70699999999999996</c:v>
                </c:pt>
                <c:pt idx="542">
                  <c:v>0.95099999999999996</c:v>
                </c:pt>
                <c:pt idx="543">
                  <c:v>0.76200000000000001</c:v>
                </c:pt>
                <c:pt idx="544">
                  <c:v>0.51900000000000002</c:v>
                </c:pt>
                <c:pt idx="545">
                  <c:v>0.9</c:v>
                </c:pt>
                <c:pt idx="546">
                  <c:v>0.84</c:v>
                </c:pt>
                <c:pt idx="547">
                  <c:v>0.96499999999999997</c:v>
                </c:pt>
                <c:pt idx="548">
                  <c:v>0.86299999999999999</c:v>
                </c:pt>
                <c:pt idx="549">
                  <c:v>0.81</c:v>
                </c:pt>
                <c:pt idx="550">
                  <c:v>0.91500000000000004</c:v>
                </c:pt>
                <c:pt idx="551">
                  <c:v>0.85399999999999998</c:v>
                </c:pt>
                <c:pt idx="552">
                  <c:v>0.96299999999999997</c:v>
                </c:pt>
                <c:pt idx="553">
                  <c:v>0.90400000000000003</c:v>
                </c:pt>
                <c:pt idx="554">
                  <c:v>0.90800000000000003</c:v>
                </c:pt>
                <c:pt idx="555">
                  <c:v>0.73899999999999999</c:v>
                </c:pt>
                <c:pt idx="556">
                  <c:v>0.84099999999999997</c:v>
                </c:pt>
                <c:pt idx="557">
                  <c:v>0.94399999999999995</c:v>
                </c:pt>
                <c:pt idx="558">
                  <c:v>0.93200000000000005</c:v>
                </c:pt>
                <c:pt idx="559">
                  <c:v>0.51600000000000001</c:v>
                </c:pt>
                <c:pt idx="560">
                  <c:v>0.93899999999999995</c:v>
                </c:pt>
                <c:pt idx="561">
                  <c:v>0.95499999999999996</c:v>
                </c:pt>
                <c:pt idx="562">
                  <c:v>0.92500000000000004</c:v>
                </c:pt>
                <c:pt idx="563">
                  <c:v>0.91500000000000004</c:v>
                </c:pt>
                <c:pt idx="564">
                  <c:v>0.92400000000000004</c:v>
                </c:pt>
                <c:pt idx="565">
                  <c:v>0.66600000000000004</c:v>
                </c:pt>
                <c:pt idx="566">
                  <c:v>0.53100000000000003</c:v>
                </c:pt>
                <c:pt idx="567">
                  <c:v>0.879</c:v>
                </c:pt>
                <c:pt idx="568">
                  <c:v>0.92</c:v>
                </c:pt>
                <c:pt idx="569">
                  <c:v>0.54900000000000004</c:v>
                </c:pt>
                <c:pt idx="570">
                  <c:v>0.83299999999999996</c:v>
                </c:pt>
                <c:pt idx="571">
                  <c:v>0.64400000000000002</c:v>
                </c:pt>
                <c:pt idx="572">
                  <c:v>0.97</c:v>
                </c:pt>
                <c:pt idx="573">
                  <c:v>0.65</c:v>
                </c:pt>
                <c:pt idx="574">
                  <c:v>0.84899999999999998</c:v>
                </c:pt>
                <c:pt idx="575">
                  <c:v>0.91900000000000004</c:v>
                </c:pt>
                <c:pt idx="576">
                  <c:v>0.92300000000000004</c:v>
                </c:pt>
                <c:pt idx="577">
                  <c:v>0.90700000000000003</c:v>
                </c:pt>
                <c:pt idx="578">
                  <c:v>0.60699999999999998</c:v>
                </c:pt>
                <c:pt idx="579">
                  <c:v>0.76300000000000001</c:v>
                </c:pt>
                <c:pt idx="580">
                  <c:v>0.433</c:v>
                </c:pt>
                <c:pt idx="581">
                  <c:v>0.95299999999999996</c:v>
                </c:pt>
                <c:pt idx="582">
                  <c:v>0.94799999999999995</c:v>
                </c:pt>
                <c:pt idx="583">
                  <c:v>0.74299999999999999</c:v>
                </c:pt>
                <c:pt idx="584">
                  <c:v>0.84899999999999998</c:v>
                </c:pt>
                <c:pt idx="585">
                  <c:v>0.92500000000000004</c:v>
                </c:pt>
                <c:pt idx="586">
                  <c:v>0.91400000000000003</c:v>
                </c:pt>
                <c:pt idx="587">
                  <c:v>0.86599999999999999</c:v>
                </c:pt>
                <c:pt idx="588">
                  <c:v>0.91700000000000004</c:v>
                </c:pt>
                <c:pt idx="589">
                  <c:v>0.877</c:v>
                </c:pt>
                <c:pt idx="590">
                  <c:v>0.88</c:v>
                </c:pt>
                <c:pt idx="591">
                  <c:v>0.61099999999999999</c:v>
                </c:pt>
                <c:pt idx="592">
                  <c:v>0.746</c:v>
                </c:pt>
                <c:pt idx="593">
                  <c:v>0.77500000000000002</c:v>
                </c:pt>
                <c:pt idx="594">
                  <c:v>0.94799999999999995</c:v>
                </c:pt>
                <c:pt idx="595">
                  <c:v>0.876</c:v>
                </c:pt>
                <c:pt idx="596">
                  <c:v>0.91</c:v>
                </c:pt>
                <c:pt idx="597">
                  <c:v>0.78800000000000003</c:v>
                </c:pt>
                <c:pt idx="598">
                  <c:v>0.92600000000000005</c:v>
                </c:pt>
                <c:pt idx="599">
                  <c:v>0.80400000000000005</c:v>
                </c:pt>
                <c:pt idx="600">
                  <c:v>0.84799999999999998</c:v>
                </c:pt>
                <c:pt idx="601">
                  <c:v>0.98399999999999999</c:v>
                </c:pt>
                <c:pt idx="602">
                  <c:v>6.7000000000000004E-2</c:v>
                </c:pt>
                <c:pt idx="603">
                  <c:v>0.95899999999999996</c:v>
                </c:pt>
                <c:pt idx="604">
                  <c:v>0.9</c:v>
                </c:pt>
                <c:pt idx="605">
                  <c:v>0.79500000000000004</c:v>
                </c:pt>
                <c:pt idx="606">
                  <c:v>0.77</c:v>
                </c:pt>
                <c:pt idx="607">
                  <c:v>0.69699999999999995</c:v>
                </c:pt>
                <c:pt idx="608">
                  <c:v>0.66700000000000004</c:v>
                </c:pt>
                <c:pt idx="609">
                  <c:v>0.82899999999999996</c:v>
                </c:pt>
                <c:pt idx="610">
                  <c:v>0.871</c:v>
                </c:pt>
                <c:pt idx="611">
                  <c:v>0.85899999999999999</c:v>
                </c:pt>
                <c:pt idx="612">
                  <c:v>0.85</c:v>
                </c:pt>
                <c:pt idx="613">
                  <c:v>0.92900000000000005</c:v>
                </c:pt>
                <c:pt idx="614">
                  <c:v>0.503</c:v>
                </c:pt>
                <c:pt idx="615">
                  <c:v>0.91600000000000004</c:v>
                </c:pt>
                <c:pt idx="616">
                  <c:v>0.89300000000000002</c:v>
                </c:pt>
                <c:pt idx="617">
                  <c:v>0.93799999999999994</c:v>
                </c:pt>
                <c:pt idx="618">
                  <c:v>0.95499999999999996</c:v>
                </c:pt>
                <c:pt idx="619">
                  <c:v>0.88500000000000001</c:v>
                </c:pt>
                <c:pt idx="620">
                  <c:v>0.93300000000000005</c:v>
                </c:pt>
                <c:pt idx="621">
                  <c:v>0.80300000000000005</c:v>
                </c:pt>
                <c:pt idx="622">
                  <c:v>0.78200000000000003</c:v>
                </c:pt>
                <c:pt idx="623">
                  <c:v>0.90800000000000003</c:v>
                </c:pt>
                <c:pt idx="624">
                  <c:v>0.94799999999999995</c:v>
                </c:pt>
                <c:pt idx="625">
                  <c:v>0.97</c:v>
                </c:pt>
                <c:pt idx="626">
                  <c:v>0.91100000000000003</c:v>
                </c:pt>
                <c:pt idx="627">
                  <c:v>0.83299999999999996</c:v>
                </c:pt>
                <c:pt idx="628">
                  <c:v>0.91400000000000003</c:v>
                </c:pt>
                <c:pt idx="629">
                  <c:v>0.81399999999999995</c:v>
                </c:pt>
                <c:pt idx="630">
                  <c:v>0.66700000000000004</c:v>
                </c:pt>
                <c:pt idx="631">
                  <c:v>0.79500000000000004</c:v>
                </c:pt>
                <c:pt idx="632">
                  <c:v>0.94199999999999995</c:v>
                </c:pt>
                <c:pt idx="633">
                  <c:v>0.89100000000000001</c:v>
                </c:pt>
                <c:pt idx="634">
                  <c:v>0.97699999999999998</c:v>
                </c:pt>
                <c:pt idx="635">
                  <c:v>0.95</c:v>
                </c:pt>
                <c:pt idx="636">
                  <c:v>0.87</c:v>
                </c:pt>
                <c:pt idx="637">
                  <c:v>0.88600000000000001</c:v>
                </c:pt>
                <c:pt idx="638">
                  <c:v>0.94699999999999995</c:v>
                </c:pt>
                <c:pt idx="639">
                  <c:v>0.95699999999999996</c:v>
                </c:pt>
                <c:pt idx="640">
                  <c:v>0.68600000000000005</c:v>
                </c:pt>
                <c:pt idx="641">
                  <c:v>0.93</c:v>
                </c:pt>
                <c:pt idx="642">
                  <c:v>0.90800000000000003</c:v>
                </c:pt>
                <c:pt idx="643">
                  <c:v>0.79400000000000004</c:v>
                </c:pt>
                <c:pt idx="644">
                  <c:v>0.70799999999999996</c:v>
                </c:pt>
                <c:pt idx="645">
                  <c:v>0.80600000000000005</c:v>
                </c:pt>
                <c:pt idx="646">
                  <c:v>0.85099999999999998</c:v>
                </c:pt>
                <c:pt idx="647">
                  <c:v>0.81</c:v>
                </c:pt>
                <c:pt idx="648">
                  <c:v>0.83499999999999996</c:v>
                </c:pt>
                <c:pt idx="649">
                  <c:v>0.84199999999999997</c:v>
                </c:pt>
                <c:pt idx="650">
                  <c:v>0.70599999999999996</c:v>
                </c:pt>
                <c:pt idx="651">
                  <c:v>0.95099999999999996</c:v>
                </c:pt>
                <c:pt idx="652">
                  <c:v>0.71199999999999997</c:v>
                </c:pt>
                <c:pt idx="653">
                  <c:v>0.82199999999999995</c:v>
                </c:pt>
                <c:pt idx="654">
                  <c:v>0.92200000000000004</c:v>
                </c:pt>
                <c:pt idx="655">
                  <c:v>0.44500000000000001</c:v>
                </c:pt>
                <c:pt idx="656">
                  <c:v>0.90800000000000003</c:v>
                </c:pt>
                <c:pt idx="657">
                  <c:v>0.79200000000000004</c:v>
                </c:pt>
                <c:pt idx="658">
                  <c:v>0.88100000000000001</c:v>
                </c:pt>
                <c:pt idx="659">
                  <c:v>0.96299999999999997</c:v>
                </c:pt>
                <c:pt idx="660">
                  <c:v>0.26900000000000002</c:v>
                </c:pt>
                <c:pt idx="661">
                  <c:v>0.89600000000000002</c:v>
                </c:pt>
                <c:pt idx="662">
                  <c:v>0.78800000000000003</c:v>
                </c:pt>
                <c:pt idx="663">
                  <c:v>0.876</c:v>
                </c:pt>
                <c:pt idx="664">
                  <c:v>0.88700000000000001</c:v>
                </c:pt>
                <c:pt idx="665">
                  <c:v>0.86699999999999999</c:v>
                </c:pt>
                <c:pt idx="666">
                  <c:v>0.93500000000000005</c:v>
                </c:pt>
                <c:pt idx="667">
                  <c:v>0.88800000000000001</c:v>
                </c:pt>
                <c:pt idx="668">
                  <c:v>0.94599999999999995</c:v>
                </c:pt>
                <c:pt idx="669">
                  <c:v>0.89</c:v>
                </c:pt>
                <c:pt idx="670">
                  <c:v>0.83899999999999997</c:v>
                </c:pt>
                <c:pt idx="671">
                  <c:v>0.59499999999999997</c:v>
                </c:pt>
                <c:pt idx="672">
                  <c:v>0.73199999999999998</c:v>
                </c:pt>
                <c:pt idx="673">
                  <c:v>0.77400000000000002</c:v>
                </c:pt>
                <c:pt idx="674">
                  <c:v>0.92200000000000004</c:v>
                </c:pt>
                <c:pt idx="675">
                  <c:v>0.94199999999999995</c:v>
                </c:pt>
                <c:pt idx="676">
                  <c:v>0.89800000000000002</c:v>
                </c:pt>
                <c:pt idx="677">
                  <c:v>0.92700000000000005</c:v>
                </c:pt>
                <c:pt idx="678">
                  <c:v>0.88700000000000001</c:v>
                </c:pt>
                <c:pt idx="679">
                  <c:v>0.91700000000000004</c:v>
                </c:pt>
                <c:pt idx="680">
                  <c:v>0.93400000000000005</c:v>
                </c:pt>
                <c:pt idx="681">
                  <c:v>0.88600000000000001</c:v>
                </c:pt>
                <c:pt idx="682">
                  <c:v>0.86499999999999999</c:v>
                </c:pt>
                <c:pt idx="683">
                  <c:v>0.61799999999999999</c:v>
                </c:pt>
                <c:pt idx="684">
                  <c:v>0.88800000000000001</c:v>
                </c:pt>
                <c:pt idx="685">
                  <c:v>0.83799999999999997</c:v>
                </c:pt>
                <c:pt idx="686">
                  <c:v>0.751</c:v>
                </c:pt>
                <c:pt idx="687">
                  <c:v>0.68200000000000005</c:v>
                </c:pt>
                <c:pt idx="688">
                  <c:v>0.93</c:v>
                </c:pt>
                <c:pt idx="689">
                  <c:v>0.83599999999999997</c:v>
                </c:pt>
                <c:pt idx="690">
                  <c:v>0.89400000000000002</c:v>
                </c:pt>
                <c:pt idx="691">
                  <c:v>0.91800000000000004</c:v>
                </c:pt>
                <c:pt idx="692">
                  <c:v>0.88200000000000001</c:v>
                </c:pt>
                <c:pt idx="693">
                  <c:v>0.86699999999999999</c:v>
                </c:pt>
                <c:pt idx="694">
                  <c:v>0.70099999999999996</c:v>
                </c:pt>
                <c:pt idx="695">
                  <c:v>0.88800000000000001</c:v>
                </c:pt>
                <c:pt idx="696">
                  <c:v>0.747</c:v>
                </c:pt>
                <c:pt idx="697">
                  <c:v>0.82599999999999996</c:v>
                </c:pt>
                <c:pt idx="698">
                  <c:v>0.81399999999999995</c:v>
                </c:pt>
                <c:pt idx="699">
                  <c:v>0.60899999999999999</c:v>
                </c:pt>
                <c:pt idx="700">
                  <c:v>0.75900000000000001</c:v>
                </c:pt>
                <c:pt idx="701">
                  <c:v>0.72899999999999998</c:v>
                </c:pt>
                <c:pt idx="702">
                  <c:v>0.60599999999999998</c:v>
                </c:pt>
                <c:pt idx="703">
                  <c:v>0.94299999999999995</c:v>
                </c:pt>
                <c:pt idx="704">
                  <c:v>0.91100000000000003</c:v>
                </c:pt>
                <c:pt idx="705">
                  <c:v>0.80800000000000005</c:v>
                </c:pt>
                <c:pt idx="706">
                  <c:v>0.41699999999999998</c:v>
                </c:pt>
                <c:pt idx="707">
                  <c:v>0.92800000000000005</c:v>
                </c:pt>
                <c:pt idx="708">
                  <c:v>0.83499999999999996</c:v>
                </c:pt>
                <c:pt idx="709">
                  <c:v>0.94399999999999995</c:v>
                </c:pt>
                <c:pt idx="710">
                  <c:v>0.69399999999999995</c:v>
                </c:pt>
                <c:pt idx="711">
                  <c:v>0.69399999999999995</c:v>
                </c:pt>
                <c:pt idx="712">
                  <c:v>0.91800000000000004</c:v>
                </c:pt>
                <c:pt idx="713">
                  <c:v>0.90900000000000003</c:v>
                </c:pt>
                <c:pt idx="714">
                  <c:v>0.76900000000000002</c:v>
                </c:pt>
                <c:pt idx="715">
                  <c:v>0.91</c:v>
                </c:pt>
                <c:pt idx="716">
                  <c:v>0.94</c:v>
                </c:pt>
                <c:pt idx="717">
                  <c:v>0.67900000000000005</c:v>
                </c:pt>
                <c:pt idx="718">
                  <c:v>0.70399999999999996</c:v>
                </c:pt>
                <c:pt idx="719">
                  <c:v>0.67300000000000004</c:v>
                </c:pt>
                <c:pt idx="720">
                  <c:v>0.92800000000000005</c:v>
                </c:pt>
                <c:pt idx="721">
                  <c:v>0.32400000000000001</c:v>
                </c:pt>
                <c:pt idx="722">
                  <c:v>0.84099999999999997</c:v>
                </c:pt>
                <c:pt idx="723">
                  <c:v>0.73399999999999999</c:v>
                </c:pt>
                <c:pt idx="724">
                  <c:v>0.64800000000000002</c:v>
                </c:pt>
                <c:pt idx="725">
                  <c:v>0.879</c:v>
                </c:pt>
                <c:pt idx="726">
                  <c:v>0.78200000000000003</c:v>
                </c:pt>
                <c:pt idx="727">
                  <c:v>0.88400000000000001</c:v>
                </c:pt>
                <c:pt idx="728">
                  <c:v>0.77700000000000002</c:v>
                </c:pt>
                <c:pt idx="729">
                  <c:v>0.70099999999999996</c:v>
                </c:pt>
                <c:pt idx="730">
                  <c:v>0.89400000000000002</c:v>
                </c:pt>
                <c:pt idx="731">
                  <c:v>0.36399999999999999</c:v>
                </c:pt>
                <c:pt idx="732">
                  <c:v>0.83499999999999996</c:v>
                </c:pt>
                <c:pt idx="733">
                  <c:v>0.94199999999999995</c:v>
                </c:pt>
                <c:pt idx="734">
                  <c:v>0.92700000000000005</c:v>
                </c:pt>
                <c:pt idx="735">
                  <c:v>0.878</c:v>
                </c:pt>
                <c:pt idx="736">
                  <c:v>0.72599999999999998</c:v>
                </c:pt>
                <c:pt idx="737">
                  <c:v>0.91300000000000003</c:v>
                </c:pt>
                <c:pt idx="738">
                  <c:v>0.83099999999999996</c:v>
                </c:pt>
                <c:pt idx="739">
                  <c:v>0.93400000000000005</c:v>
                </c:pt>
                <c:pt idx="740">
                  <c:v>0.88</c:v>
                </c:pt>
                <c:pt idx="741">
                  <c:v>0.90100000000000002</c:v>
                </c:pt>
                <c:pt idx="742">
                  <c:v>0.82199999999999995</c:v>
                </c:pt>
                <c:pt idx="743">
                  <c:v>0.72</c:v>
                </c:pt>
                <c:pt idx="744">
                  <c:v>0.79600000000000004</c:v>
                </c:pt>
                <c:pt idx="745">
                  <c:v>0.71499999999999997</c:v>
                </c:pt>
                <c:pt idx="746">
                  <c:v>0.93899999999999995</c:v>
                </c:pt>
                <c:pt idx="747">
                  <c:v>0.90200000000000002</c:v>
                </c:pt>
                <c:pt idx="748">
                  <c:v>0.78600000000000003</c:v>
                </c:pt>
                <c:pt idx="749">
                  <c:v>0.59899999999999998</c:v>
                </c:pt>
                <c:pt idx="750">
                  <c:v>0.71899999999999997</c:v>
                </c:pt>
                <c:pt idx="751">
                  <c:v>0.94799999999999995</c:v>
                </c:pt>
                <c:pt idx="752">
                  <c:v>0.66700000000000004</c:v>
                </c:pt>
                <c:pt idx="753">
                  <c:v>0.78300000000000003</c:v>
                </c:pt>
                <c:pt idx="754">
                  <c:v>0.83</c:v>
                </c:pt>
                <c:pt idx="755">
                  <c:v>0.76</c:v>
                </c:pt>
                <c:pt idx="756">
                  <c:v>0.94399999999999995</c:v>
                </c:pt>
                <c:pt idx="757">
                  <c:v>0.92900000000000005</c:v>
                </c:pt>
                <c:pt idx="758">
                  <c:v>0.86299999999999999</c:v>
                </c:pt>
                <c:pt idx="759">
                  <c:v>0.435</c:v>
                </c:pt>
                <c:pt idx="760">
                  <c:v>0.94099999999999995</c:v>
                </c:pt>
                <c:pt idx="761">
                  <c:v>0.97599999999999998</c:v>
                </c:pt>
                <c:pt idx="762">
                  <c:v>0.92700000000000005</c:v>
                </c:pt>
                <c:pt idx="763">
                  <c:v>0.78500000000000003</c:v>
                </c:pt>
                <c:pt idx="764">
                  <c:v>0.72299999999999998</c:v>
                </c:pt>
                <c:pt idx="765">
                  <c:v>0.74</c:v>
                </c:pt>
                <c:pt idx="766">
                  <c:v>0.85799999999999998</c:v>
                </c:pt>
                <c:pt idx="767">
                  <c:v>0.91700000000000004</c:v>
                </c:pt>
                <c:pt idx="768">
                  <c:v>0.89900000000000002</c:v>
                </c:pt>
                <c:pt idx="769">
                  <c:v>0.71299999999999997</c:v>
                </c:pt>
                <c:pt idx="770">
                  <c:v>0.81899999999999995</c:v>
                </c:pt>
                <c:pt idx="771">
                  <c:v>0.71399999999999997</c:v>
                </c:pt>
                <c:pt idx="772">
                  <c:v>0.624</c:v>
                </c:pt>
                <c:pt idx="773">
                  <c:v>0.83399999999999996</c:v>
                </c:pt>
                <c:pt idx="774">
                  <c:v>0.88600000000000001</c:v>
                </c:pt>
                <c:pt idx="775">
                  <c:v>0.93100000000000005</c:v>
                </c:pt>
                <c:pt idx="776">
                  <c:v>0.49199999999999999</c:v>
                </c:pt>
                <c:pt idx="777">
                  <c:v>0.96</c:v>
                </c:pt>
                <c:pt idx="778">
                  <c:v>0.77600000000000002</c:v>
                </c:pt>
                <c:pt idx="779">
                  <c:v>0.433</c:v>
                </c:pt>
                <c:pt idx="780">
                  <c:v>0.36699999999999999</c:v>
                </c:pt>
                <c:pt idx="781">
                  <c:v>0.94</c:v>
                </c:pt>
                <c:pt idx="782">
                  <c:v>0.84199999999999997</c:v>
                </c:pt>
                <c:pt idx="783">
                  <c:v>0.503</c:v>
                </c:pt>
                <c:pt idx="784">
                  <c:v>0.92300000000000004</c:v>
                </c:pt>
                <c:pt idx="785">
                  <c:v>0.94</c:v>
                </c:pt>
                <c:pt idx="786">
                  <c:v>0.83299999999999996</c:v>
                </c:pt>
                <c:pt idx="787">
                  <c:v>0.81599999999999995</c:v>
                </c:pt>
                <c:pt idx="788">
                  <c:v>0.68200000000000005</c:v>
                </c:pt>
                <c:pt idx="789">
                  <c:v>0.93400000000000005</c:v>
                </c:pt>
                <c:pt idx="790">
                  <c:v>0.96099999999999997</c:v>
                </c:pt>
                <c:pt idx="791">
                  <c:v>0.80400000000000005</c:v>
                </c:pt>
                <c:pt idx="792">
                  <c:v>0.85299999999999998</c:v>
                </c:pt>
                <c:pt idx="793">
                  <c:v>0.82</c:v>
                </c:pt>
                <c:pt idx="794">
                  <c:v>0.70299999999999996</c:v>
                </c:pt>
                <c:pt idx="795">
                  <c:v>0.91800000000000004</c:v>
                </c:pt>
                <c:pt idx="796">
                  <c:v>0.93899999999999995</c:v>
                </c:pt>
                <c:pt idx="797">
                  <c:v>0.90600000000000003</c:v>
                </c:pt>
                <c:pt idx="798">
                  <c:v>0.83599999999999997</c:v>
                </c:pt>
                <c:pt idx="799">
                  <c:v>0.84</c:v>
                </c:pt>
                <c:pt idx="800">
                  <c:v>0.91300000000000003</c:v>
                </c:pt>
                <c:pt idx="801">
                  <c:v>0.89100000000000001</c:v>
                </c:pt>
                <c:pt idx="802">
                  <c:v>0.86099999999999999</c:v>
                </c:pt>
                <c:pt idx="803">
                  <c:v>0.24099999999999999</c:v>
                </c:pt>
                <c:pt idx="804">
                  <c:v>0.85</c:v>
                </c:pt>
                <c:pt idx="805">
                  <c:v>0.85299999999999998</c:v>
                </c:pt>
                <c:pt idx="806">
                  <c:v>0.505</c:v>
                </c:pt>
                <c:pt idx="807">
                  <c:v>0.94599999999999995</c:v>
                </c:pt>
                <c:pt idx="808">
                  <c:v>0.92600000000000005</c:v>
                </c:pt>
                <c:pt idx="809">
                  <c:v>0.60199999999999998</c:v>
                </c:pt>
                <c:pt idx="810">
                  <c:v>0.61499999999999999</c:v>
                </c:pt>
                <c:pt idx="811">
                  <c:v>0.85699999999999998</c:v>
                </c:pt>
                <c:pt idx="812">
                  <c:v>0.73799999999999999</c:v>
                </c:pt>
                <c:pt idx="813">
                  <c:v>0.70099999999999996</c:v>
                </c:pt>
                <c:pt idx="814">
                  <c:v>0.86799999999999999</c:v>
                </c:pt>
                <c:pt idx="815">
                  <c:v>0.85199999999999998</c:v>
                </c:pt>
                <c:pt idx="816">
                  <c:v>0.64800000000000002</c:v>
                </c:pt>
                <c:pt idx="817">
                  <c:v>0.87</c:v>
                </c:pt>
                <c:pt idx="818">
                  <c:v>0.91800000000000004</c:v>
                </c:pt>
                <c:pt idx="819">
                  <c:v>0.93</c:v>
                </c:pt>
                <c:pt idx="820">
                  <c:v>0.91</c:v>
                </c:pt>
                <c:pt idx="821">
                  <c:v>0.84299999999999997</c:v>
                </c:pt>
                <c:pt idx="822">
                  <c:v>0.92100000000000004</c:v>
                </c:pt>
                <c:pt idx="823">
                  <c:v>0.74199999999999999</c:v>
                </c:pt>
                <c:pt idx="824">
                  <c:v>0.72099999999999997</c:v>
                </c:pt>
                <c:pt idx="825">
                  <c:v>0.89100000000000001</c:v>
                </c:pt>
                <c:pt idx="826">
                  <c:v>0.86399999999999999</c:v>
                </c:pt>
                <c:pt idx="827">
                  <c:v>0.39500000000000002</c:v>
                </c:pt>
                <c:pt idx="828">
                  <c:v>0.59099999999999997</c:v>
                </c:pt>
                <c:pt idx="829">
                  <c:v>0.73199999999999998</c:v>
                </c:pt>
                <c:pt idx="830">
                  <c:v>0.80600000000000005</c:v>
                </c:pt>
                <c:pt idx="831">
                  <c:v>0.97399999999999998</c:v>
                </c:pt>
                <c:pt idx="832">
                  <c:v>0.60299999999999998</c:v>
                </c:pt>
                <c:pt idx="833">
                  <c:v>0.93300000000000005</c:v>
                </c:pt>
                <c:pt idx="834">
                  <c:v>0.89700000000000002</c:v>
                </c:pt>
                <c:pt idx="835">
                  <c:v>0.85899999999999999</c:v>
                </c:pt>
                <c:pt idx="836">
                  <c:v>0.91800000000000004</c:v>
                </c:pt>
                <c:pt idx="837">
                  <c:v>0.90300000000000002</c:v>
                </c:pt>
                <c:pt idx="838">
                  <c:v>0.89600000000000002</c:v>
                </c:pt>
                <c:pt idx="839">
                  <c:v>0.57199999999999995</c:v>
                </c:pt>
                <c:pt idx="840">
                  <c:v>0.94599999999999995</c:v>
                </c:pt>
                <c:pt idx="841">
                  <c:v>0.91100000000000003</c:v>
                </c:pt>
                <c:pt idx="842">
                  <c:v>0.86799999999999999</c:v>
                </c:pt>
                <c:pt idx="843">
                  <c:v>0.94099999999999995</c:v>
                </c:pt>
                <c:pt idx="844">
                  <c:v>0.86199999999999999</c:v>
                </c:pt>
                <c:pt idx="845">
                  <c:v>0.77700000000000002</c:v>
                </c:pt>
                <c:pt idx="846">
                  <c:v>0.81200000000000006</c:v>
                </c:pt>
                <c:pt idx="847">
                  <c:v>0.56200000000000006</c:v>
                </c:pt>
                <c:pt idx="848">
                  <c:v>0.58399999999999996</c:v>
                </c:pt>
                <c:pt idx="849">
                  <c:v>0.873</c:v>
                </c:pt>
                <c:pt idx="850">
                  <c:v>0.58399999999999996</c:v>
                </c:pt>
                <c:pt idx="851">
                  <c:v>0.88</c:v>
                </c:pt>
                <c:pt idx="852">
                  <c:v>0.91300000000000003</c:v>
                </c:pt>
                <c:pt idx="853">
                  <c:v>0.71199999999999997</c:v>
                </c:pt>
                <c:pt idx="854">
                  <c:v>0.90100000000000002</c:v>
                </c:pt>
                <c:pt idx="855">
                  <c:v>0.89500000000000002</c:v>
                </c:pt>
                <c:pt idx="856">
                  <c:v>0.84399999999999997</c:v>
                </c:pt>
                <c:pt idx="857">
                  <c:v>0.81899999999999995</c:v>
                </c:pt>
                <c:pt idx="858">
                  <c:v>0.96</c:v>
                </c:pt>
                <c:pt idx="859">
                  <c:v>0.88400000000000001</c:v>
                </c:pt>
                <c:pt idx="860">
                  <c:v>0.36</c:v>
                </c:pt>
                <c:pt idx="861">
                  <c:v>0.70799999999999996</c:v>
                </c:pt>
                <c:pt idx="862">
                  <c:v>0.78900000000000003</c:v>
                </c:pt>
                <c:pt idx="863">
                  <c:v>0.93600000000000005</c:v>
                </c:pt>
                <c:pt idx="864">
                  <c:v>0.93400000000000005</c:v>
                </c:pt>
                <c:pt idx="865">
                  <c:v>0.79600000000000004</c:v>
                </c:pt>
                <c:pt idx="866">
                  <c:v>0.80200000000000005</c:v>
                </c:pt>
                <c:pt idx="867">
                  <c:v>0.52200000000000002</c:v>
                </c:pt>
                <c:pt idx="868">
                  <c:v>0.877</c:v>
                </c:pt>
                <c:pt idx="869">
                  <c:v>0.67300000000000004</c:v>
                </c:pt>
                <c:pt idx="870">
                  <c:v>0.85599999999999998</c:v>
                </c:pt>
                <c:pt idx="871">
                  <c:v>0.89900000000000002</c:v>
                </c:pt>
                <c:pt idx="872">
                  <c:v>0.74099999999999999</c:v>
                </c:pt>
                <c:pt idx="873">
                  <c:v>0.94</c:v>
                </c:pt>
                <c:pt idx="874">
                  <c:v>0.85</c:v>
                </c:pt>
                <c:pt idx="875">
                  <c:v>0.90800000000000003</c:v>
                </c:pt>
                <c:pt idx="876">
                  <c:v>0.77800000000000002</c:v>
                </c:pt>
                <c:pt idx="877">
                  <c:v>0.83499999999999996</c:v>
                </c:pt>
                <c:pt idx="878">
                  <c:v>0.82899999999999996</c:v>
                </c:pt>
                <c:pt idx="879">
                  <c:v>0.83899999999999997</c:v>
                </c:pt>
                <c:pt idx="880">
                  <c:v>0.70199999999999996</c:v>
                </c:pt>
                <c:pt idx="881">
                  <c:v>0.72399999999999998</c:v>
                </c:pt>
                <c:pt idx="882">
                  <c:v>0.90700000000000003</c:v>
                </c:pt>
                <c:pt idx="883">
                  <c:v>0.94599999999999995</c:v>
                </c:pt>
                <c:pt idx="884">
                  <c:v>0.96499999999999997</c:v>
                </c:pt>
                <c:pt idx="885">
                  <c:v>0.52900000000000003</c:v>
                </c:pt>
                <c:pt idx="886">
                  <c:v>0.81299999999999994</c:v>
                </c:pt>
                <c:pt idx="887">
                  <c:v>0.84499999999999997</c:v>
                </c:pt>
                <c:pt idx="888">
                  <c:v>0.52600000000000002</c:v>
                </c:pt>
                <c:pt idx="889">
                  <c:v>0.50900000000000001</c:v>
                </c:pt>
                <c:pt idx="890">
                  <c:v>0.77700000000000002</c:v>
                </c:pt>
                <c:pt idx="891">
                  <c:v>0.81299999999999994</c:v>
                </c:pt>
                <c:pt idx="892">
                  <c:v>0.91700000000000004</c:v>
                </c:pt>
                <c:pt idx="893">
                  <c:v>0.49099999999999999</c:v>
                </c:pt>
                <c:pt idx="894">
                  <c:v>0.81499999999999995</c:v>
                </c:pt>
                <c:pt idx="895">
                  <c:v>0.113</c:v>
                </c:pt>
                <c:pt idx="896">
                  <c:v>0.59599999999999997</c:v>
                </c:pt>
                <c:pt idx="897">
                  <c:v>0.91500000000000004</c:v>
                </c:pt>
                <c:pt idx="898">
                  <c:v>0.93300000000000005</c:v>
                </c:pt>
                <c:pt idx="899">
                  <c:v>0.9</c:v>
                </c:pt>
                <c:pt idx="900">
                  <c:v>0.94699999999999995</c:v>
                </c:pt>
                <c:pt idx="901">
                  <c:v>0.875</c:v>
                </c:pt>
                <c:pt idx="902">
                  <c:v>0.91300000000000003</c:v>
                </c:pt>
                <c:pt idx="903">
                  <c:v>0.90900000000000003</c:v>
                </c:pt>
                <c:pt idx="904">
                  <c:v>0.33300000000000002</c:v>
                </c:pt>
                <c:pt idx="905">
                  <c:v>0.54500000000000004</c:v>
                </c:pt>
                <c:pt idx="906">
                  <c:v>0.66</c:v>
                </c:pt>
                <c:pt idx="907">
                  <c:v>0.86299999999999999</c:v>
                </c:pt>
                <c:pt idx="908">
                  <c:v>0.90900000000000003</c:v>
                </c:pt>
                <c:pt idx="909">
                  <c:v>0.94699999999999995</c:v>
                </c:pt>
                <c:pt idx="910">
                  <c:v>0.73099999999999998</c:v>
                </c:pt>
                <c:pt idx="911">
                  <c:v>0.57899999999999996</c:v>
                </c:pt>
                <c:pt idx="912">
                  <c:v>0.57999999999999996</c:v>
                </c:pt>
                <c:pt idx="913">
                  <c:v>0.77100000000000002</c:v>
                </c:pt>
                <c:pt idx="914">
                  <c:v>0.82799999999999996</c:v>
                </c:pt>
                <c:pt idx="915">
                  <c:v>0.86599999999999999</c:v>
                </c:pt>
                <c:pt idx="916">
                  <c:v>0.89</c:v>
                </c:pt>
                <c:pt idx="917">
                  <c:v>0.89100000000000001</c:v>
                </c:pt>
                <c:pt idx="918">
                  <c:v>0.89600000000000002</c:v>
                </c:pt>
                <c:pt idx="919">
                  <c:v>0.94799999999999995</c:v>
                </c:pt>
                <c:pt idx="920">
                  <c:v>0.82199999999999995</c:v>
                </c:pt>
                <c:pt idx="921">
                  <c:v>0.97099999999999997</c:v>
                </c:pt>
                <c:pt idx="922">
                  <c:v>0.16700000000000001</c:v>
                </c:pt>
                <c:pt idx="923">
                  <c:v>0.78</c:v>
                </c:pt>
                <c:pt idx="924">
                  <c:v>0.67400000000000004</c:v>
                </c:pt>
                <c:pt idx="925">
                  <c:v>0.78300000000000003</c:v>
                </c:pt>
                <c:pt idx="926">
                  <c:v>0.95599999999999996</c:v>
                </c:pt>
                <c:pt idx="927">
                  <c:v>0.89700000000000002</c:v>
                </c:pt>
                <c:pt idx="928">
                  <c:v>0.82899999999999996</c:v>
                </c:pt>
                <c:pt idx="929">
                  <c:v>0.94599999999999995</c:v>
                </c:pt>
                <c:pt idx="930">
                  <c:v>0.93700000000000006</c:v>
                </c:pt>
                <c:pt idx="931">
                  <c:v>0.57099999999999995</c:v>
                </c:pt>
                <c:pt idx="932">
                  <c:v>0.876</c:v>
                </c:pt>
                <c:pt idx="933">
                  <c:v>0.434</c:v>
                </c:pt>
                <c:pt idx="934">
                  <c:v>0.88300000000000001</c:v>
                </c:pt>
                <c:pt idx="935">
                  <c:v>0.86799999999999999</c:v>
                </c:pt>
                <c:pt idx="936">
                  <c:v>0.93</c:v>
                </c:pt>
                <c:pt idx="937">
                  <c:v>0.97699999999999998</c:v>
                </c:pt>
                <c:pt idx="938">
                  <c:v>0.41799999999999998</c:v>
                </c:pt>
                <c:pt idx="939">
                  <c:v>0.81299999999999994</c:v>
                </c:pt>
                <c:pt idx="940">
                  <c:v>0.86599999999999999</c:v>
                </c:pt>
                <c:pt idx="941">
                  <c:v>0.752</c:v>
                </c:pt>
                <c:pt idx="942">
                  <c:v>0.64</c:v>
                </c:pt>
                <c:pt idx="943">
                  <c:v>0.91100000000000003</c:v>
                </c:pt>
                <c:pt idx="944">
                  <c:v>0.69399999999999995</c:v>
                </c:pt>
                <c:pt idx="945">
                  <c:v>0.503</c:v>
                </c:pt>
                <c:pt idx="946">
                  <c:v>0.77600000000000002</c:v>
                </c:pt>
                <c:pt idx="947">
                  <c:v>0.48299999999999998</c:v>
                </c:pt>
                <c:pt idx="948">
                  <c:v>0.59799999999999998</c:v>
                </c:pt>
                <c:pt idx="949">
                  <c:v>0.85799999999999998</c:v>
                </c:pt>
                <c:pt idx="950">
                  <c:v>0.69399999999999995</c:v>
                </c:pt>
                <c:pt idx="951">
                  <c:v>0.77</c:v>
                </c:pt>
                <c:pt idx="952">
                  <c:v>0.92100000000000004</c:v>
                </c:pt>
                <c:pt idx="953">
                  <c:v>0.32300000000000001</c:v>
                </c:pt>
                <c:pt idx="954">
                  <c:v>0.85899999999999999</c:v>
                </c:pt>
                <c:pt idx="955">
                  <c:v>0.84</c:v>
                </c:pt>
                <c:pt idx="956">
                  <c:v>0.35299999999999998</c:v>
                </c:pt>
                <c:pt idx="957">
                  <c:v>0.86299999999999999</c:v>
                </c:pt>
                <c:pt idx="958">
                  <c:v>0.90500000000000003</c:v>
                </c:pt>
                <c:pt idx="959">
                  <c:v>0.70799999999999996</c:v>
                </c:pt>
                <c:pt idx="960">
                  <c:v>0.61</c:v>
                </c:pt>
                <c:pt idx="961">
                  <c:v>0.82899999999999996</c:v>
                </c:pt>
                <c:pt idx="962">
                  <c:v>0.70599999999999996</c:v>
                </c:pt>
                <c:pt idx="963">
                  <c:v>0.92700000000000005</c:v>
                </c:pt>
                <c:pt idx="964">
                  <c:v>0.79</c:v>
                </c:pt>
                <c:pt idx="965">
                  <c:v>0.63700000000000001</c:v>
                </c:pt>
                <c:pt idx="966">
                  <c:v>0.70599999999999996</c:v>
                </c:pt>
                <c:pt idx="967">
                  <c:v>0.34899999999999998</c:v>
                </c:pt>
                <c:pt idx="968">
                  <c:v>0.82599999999999996</c:v>
                </c:pt>
                <c:pt idx="969">
                  <c:v>0.78800000000000003</c:v>
                </c:pt>
                <c:pt idx="970">
                  <c:v>0.72</c:v>
                </c:pt>
                <c:pt idx="971">
                  <c:v>0.76500000000000001</c:v>
                </c:pt>
                <c:pt idx="972">
                  <c:v>0.95</c:v>
                </c:pt>
                <c:pt idx="973">
                  <c:v>0.86099999999999999</c:v>
                </c:pt>
                <c:pt idx="974">
                  <c:v>0.85</c:v>
                </c:pt>
                <c:pt idx="975">
                  <c:v>0.85099999999999998</c:v>
                </c:pt>
                <c:pt idx="976">
                  <c:v>0.83</c:v>
                </c:pt>
                <c:pt idx="977">
                  <c:v>0.86399999999999999</c:v>
                </c:pt>
                <c:pt idx="978">
                  <c:v>0.61799999999999999</c:v>
                </c:pt>
                <c:pt idx="979">
                  <c:v>0.745</c:v>
                </c:pt>
                <c:pt idx="980">
                  <c:v>0.84499999999999997</c:v>
                </c:pt>
                <c:pt idx="981">
                  <c:v>0.93500000000000005</c:v>
                </c:pt>
                <c:pt idx="982">
                  <c:v>0.93300000000000005</c:v>
                </c:pt>
                <c:pt idx="983">
                  <c:v>0.65600000000000003</c:v>
                </c:pt>
                <c:pt idx="984">
                  <c:v>0.83899999999999997</c:v>
                </c:pt>
                <c:pt idx="985">
                  <c:v>0.90500000000000003</c:v>
                </c:pt>
                <c:pt idx="986">
                  <c:v>0.63600000000000001</c:v>
                </c:pt>
                <c:pt idx="987">
                  <c:v>0.36</c:v>
                </c:pt>
                <c:pt idx="988">
                  <c:v>0.88</c:v>
                </c:pt>
                <c:pt idx="989">
                  <c:v>0.88600000000000001</c:v>
                </c:pt>
                <c:pt idx="990">
                  <c:v>0.75700000000000001</c:v>
                </c:pt>
                <c:pt idx="991">
                  <c:v>0.38200000000000001</c:v>
                </c:pt>
                <c:pt idx="992">
                  <c:v>0.61</c:v>
                </c:pt>
                <c:pt idx="993">
                  <c:v>0.93100000000000005</c:v>
                </c:pt>
                <c:pt idx="994">
                  <c:v>0.93500000000000005</c:v>
                </c:pt>
                <c:pt idx="995">
                  <c:v>0.36099999999999999</c:v>
                </c:pt>
                <c:pt idx="996">
                  <c:v>0.80200000000000005</c:v>
                </c:pt>
                <c:pt idx="997">
                  <c:v>0.59599999999999997</c:v>
                </c:pt>
                <c:pt idx="998">
                  <c:v>0.77300000000000002</c:v>
                </c:pt>
                <c:pt idx="999">
                  <c:v>0.41599999999999998</c:v>
                </c:pt>
                <c:pt idx="1000">
                  <c:v>0.65400000000000003</c:v>
                </c:pt>
                <c:pt idx="1001">
                  <c:v>0.82099999999999995</c:v>
                </c:pt>
                <c:pt idx="1002">
                  <c:v>0.91200000000000003</c:v>
                </c:pt>
                <c:pt idx="1003">
                  <c:v>0.83899999999999997</c:v>
                </c:pt>
                <c:pt idx="1004">
                  <c:v>0.85499999999999998</c:v>
                </c:pt>
                <c:pt idx="1005">
                  <c:v>0.84199999999999997</c:v>
                </c:pt>
                <c:pt idx="1006">
                  <c:v>0.25600000000000001</c:v>
                </c:pt>
                <c:pt idx="1007">
                  <c:v>0.60599999999999998</c:v>
                </c:pt>
                <c:pt idx="1008">
                  <c:v>0.97599999999999998</c:v>
                </c:pt>
                <c:pt idx="1009">
                  <c:v>0.77900000000000003</c:v>
                </c:pt>
                <c:pt idx="1010">
                  <c:v>0.75700000000000001</c:v>
                </c:pt>
                <c:pt idx="1011">
                  <c:v>0.90200000000000002</c:v>
                </c:pt>
                <c:pt idx="1012">
                  <c:v>0.83299999999999996</c:v>
                </c:pt>
                <c:pt idx="1013">
                  <c:v>0.90500000000000003</c:v>
                </c:pt>
                <c:pt idx="1014">
                  <c:v>0.85299999999999998</c:v>
                </c:pt>
                <c:pt idx="1015">
                  <c:v>0.57899999999999996</c:v>
                </c:pt>
                <c:pt idx="1016">
                  <c:v>0.82299999999999995</c:v>
                </c:pt>
                <c:pt idx="1017">
                  <c:v>0.69</c:v>
                </c:pt>
                <c:pt idx="1018">
                  <c:v>0.94399999999999995</c:v>
                </c:pt>
                <c:pt idx="1019">
                  <c:v>0.92800000000000005</c:v>
                </c:pt>
                <c:pt idx="1020">
                  <c:v>0.92200000000000004</c:v>
                </c:pt>
                <c:pt idx="1021">
                  <c:v>0.94599999999999995</c:v>
                </c:pt>
                <c:pt idx="1022">
                  <c:v>0.68</c:v>
                </c:pt>
                <c:pt idx="1023">
                  <c:v>0.872</c:v>
                </c:pt>
                <c:pt idx="1024">
                  <c:v>0.86</c:v>
                </c:pt>
                <c:pt idx="1025">
                  <c:v>0.89200000000000002</c:v>
                </c:pt>
                <c:pt idx="1026">
                  <c:v>0.88900000000000001</c:v>
                </c:pt>
                <c:pt idx="1027">
                  <c:v>0.70199999999999996</c:v>
                </c:pt>
                <c:pt idx="1028">
                  <c:v>0.78700000000000003</c:v>
                </c:pt>
                <c:pt idx="1029">
                  <c:v>0.89900000000000002</c:v>
                </c:pt>
                <c:pt idx="1030">
                  <c:v>0.82799999999999996</c:v>
                </c:pt>
                <c:pt idx="1031">
                  <c:v>0.76900000000000002</c:v>
                </c:pt>
                <c:pt idx="1032">
                  <c:v>0.91700000000000004</c:v>
                </c:pt>
                <c:pt idx="1033">
                  <c:v>0.95299999999999996</c:v>
                </c:pt>
                <c:pt idx="1034">
                  <c:v>0.91800000000000004</c:v>
                </c:pt>
                <c:pt idx="1035">
                  <c:v>0.89900000000000002</c:v>
                </c:pt>
                <c:pt idx="1036">
                  <c:v>0.72299999999999998</c:v>
                </c:pt>
                <c:pt idx="1037">
                  <c:v>0.57699999999999996</c:v>
                </c:pt>
                <c:pt idx="1038">
                  <c:v>0.85399999999999998</c:v>
                </c:pt>
                <c:pt idx="1039">
                  <c:v>0.81799999999999995</c:v>
                </c:pt>
                <c:pt idx="1040">
                  <c:v>0.94199999999999995</c:v>
                </c:pt>
                <c:pt idx="1041">
                  <c:v>0.90500000000000003</c:v>
                </c:pt>
                <c:pt idx="1042">
                  <c:v>0.88300000000000001</c:v>
                </c:pt>
                <c:pt idx="1043">
                  <c:v>0.93100000000000005</c:v>
                </c:pt>
                <c:pt idx="1044">
                  <c:v>0.68</c:v>
                </c:pt>
                <c:pt idx="1045">
                  <c:v>0.9</c:v>
                </c:pt>
                <c:pt idx="1046">
                  <c:v>0.88300000000000001</c:v>
                </c:pt>
                <c:pt idx="1047">
                  <c:v>0.45300000000000001</c:v>
                </c:pt>
                <c:pt idx="1048">
                  <c:v>0.58099999999999996</c:v>
                </c:pt>
                <c:pt idx="1049">
                  <c:v>0.86799999999999999</c:v>
                </c:pt>
                <c:pt idx="1050">
                  <c:v>0.80800000000000005</c:v>
                </c:pt>
                <c:pt idx="1051">
                  <c:v>0.91300000000000003</c:v>
                </c:pt>
                <c:pt idx="1052">
                  <c:v>0.89300000000000002</c:v>
                </c:pt>
                <c:pt idx="1053">
                  <c:v>0.70299999999999996</c:v>
                </c:pt>
                <c:pt idx="1054">
                  <c:v>0.75700000000000001</c:v>
                </c:pt>
                <c:pt idx="1055">
                  <c:v>0.747</c:v>
                </c:pt>
                <c:pt idx="1056">
                  <c:v>0.77700000000000002</c:v>
                </c:pt>
                <c:pt idx="1057">
                  <c:v>0.65</c:v>
                </c:pt>
                <c:pt idx="1058">
                  <c:v>0.875</c:v>
                </c:pt>
                <c:pt idx="1059">
                  <c:v>0.91</c:v>
                </c:pt>
                <c:pt idx="1060">
                  <c:v>0.96399999999999997</c:v>
                </c:pt>
                <c:pt idx="1061">
                  <c:v>0.90900000000000003</c:v>
                </c:pt>
                <c:pt idx="1062">
                  <c:v>0.49299999999999999</c:v>
                </c:pt>
                <c:pt idx="1063">
                  <c:v>0.88800000000000001</c:v>
                </c:pt>
                <c:pt idx="1064">
                  <c:v>0.85199999999999998</c:v>
                </c:pt>
                <c:pt idx="1065">
                  <c:v>0.89300000000000002</c:v>
                </c:pt>
                <c:pt idx="1066">
                  <c:v>0.85099999999999998</c:v>
                </c:pt>
                <c:pt idx="1067">
                  <c:v>0.61799999999999999</c:v>
                </c:pt>
                <c:pt idx="1068">
                  <c:v>0.93700000000000006</c:v>
                </c:pt>
                <c:pt idx="1069">
                  <c:v>0.50800000000000001</c:v>
                </c:pt>
                <c:pt idx="1070">
                  <c:v>0.92600000000000005</c:v>
                </c:pt>
                <c:pt idx="1071">
                  <c:v>0.91100000000000003</c:v>
                </c:pt>
                <c:pt idx="1072">
                  <c:v>0.67500000000000004</c:v>
                </c:pt>
                <c:pt idx="1073">
                  <c:v>0.90800000000000003</c:v>
                </c:pt>
                <c:pt idx="1074">
                  <c:v>0.89</c:v>
                </c:pt>
                <c:pt idx="1075">
                  <c:v>0.92400000000000004</c:v>
                </c:pt>
                <c:pt idx="1076">
                  <c:v>0.71299999999999997</c:v>
                </c:pt>
                <c:pt idx="1077">
                  <c:v>0.88200000000000001</c:v>
                </c:pt>
                <c:pt idx="1078">
                  <c:v>0.77900000000000003</c:v>
                </c:pt>
                <c:pt idx="1079">
                  <c:v>0.55900000000000005</c:v>
                </c:pt>
                <c:pt idx="1080">
                  <c:v>0.75900000000000001</c:v>
                </c:pt>
                <c:pt idx="1081">
                  <c:v>0.78700000000000003</c:v>
                </c:pt>
                <c:pt idx="1082">
                  <c:v>0.875</c:v>
                </c:pt>
                <c:pt idx="1083">
                  <c:v>0.73799999999999999</c:v>
                </c:pt>
                <c:pt idx="1084">
                  <c:v>0.72899999999999998</c:v>
                </c:pt>
                <c:pt idx="1085">
                  <c:v>0.82199999999999995</c:v>
                </c:pt>
                <c:pt idx="1086">
                  <c:v>0.81799999999999995</c:v>
                </c:pt>
                <c:pt idx="1087">
                  <c:v>0.89</c:v>
                </c:pt>
                <c:pt idx="1088">
                  <c:v>0.53300000000000003</c:v>
                </c:pt>
                <c:pt idx="1089">
                  <c:v>0.71399999999999997</c:v>
                </c:pt>
                <c:pt idx="1090">
                  <c:v>0.78900000000000003</c:v>
                </c:pt>
                <c:pt idx="1091">
                  <c:v>0.73399999999999999</c:v>
                </c:pt>
                <c:pt idx="1092">
                  <c:v>0.876</c:v>
                </c:pt>
                <c:pt idx="1093">
                  <c:v>0.755</c:v>
                </c:pt>
                <c:pt idx="1094">
                  <c:v>0.89800000000000002</c:v>
                </c:pt>
                <c:pt idx="1095">
                  <c:v>0.79100000000000004</c:v>
                </c:pt>
                <c:pt idx="1096">
                  <c:v>0.76200000000000001</c:v>
                </c:pt>
                <c:pt idx="1097">
                  <c:v>0.83799999999999997</c:v>
                </c:pt>
                <c:pt idx="1098">
                  <c:v>0.95499999999999996</c:v>
                </c:pt>
                <c:pt idx="1099">
                  <c:v>0.61199999999999999</c:v>
                </c:pt>
                <c:pt idx="1100">
                  <c:v>0.88</c:v>
                </c:pt>
                <c:pt idx="1101">
                  <c:v>0.77</c:v>
                </c:pt>
                <c:pt idx="1102">
                  <c:v>0.55600000000000005</c:v>
                </c:pt>
                <c:pt idx="1103">
                  <c:v>0.51200000000000001</c:v>
                </c:pt>
                <c:pt idx="1104">
                  <c:v>0.55500000000000005</c:v>
                </c:pt>
                <c:pt idx="1105">
                  <c:v>0.86799999999999999</c:v>
                </c:pt>
                <c:pt idx="1106">
                  <c:v>0.55400000000000005</c:v>
                </c:pt>
                <c:pt idx="1107">
                  <c:v>0.80700000000000005</c:v>
                </c:pt>
                <c:pt idx="1108">
                  <c:v>0.39300000000000002</c:v>
                </c:pt>
                <c:pt idx="1109">
                  <c:v>0.33300000000000002</c:v>
                </c:pt>
                <c:pt idx="1110">
                  <c:v>0.90300000000000002</c:v>
                </c:pt>
                <c:pt idx="1111">
                  <c:v>0.74199999999999999</c:v>
                </c:pt>
                <c:pt idx="1112">
                  <c:v>0.95</c:v>
                </c:pt>
                <c:pt idx="1113">
                  <c:v>0.93500000000000005</c:v>
                </c:pt>
                <c:pt idx="1114">
                  <c:v>0.85699999999999998</c:v>
                </c:pt>
                <c:pt idx="1115">
                  <c:v>0.98</c:v>
                </c:pt>
                <c:pt idx="1116">
                  <c:v>0.29799999999999999</c:v>
                </c:pt>
                <c:pt idx="1117">
                  <c:v>0.93300000000000005</c:v>
                </c:pt>
                <c:pt idx="1118">
                  <c:v>0.59399999999999997</c:v>
                </c:pt>
                <c:pt idx="1119">
                  <c:v>0.79900000000000004</c:v>
                </c:pt>
                <c:pt idx="1120">
                  <c:v>0.92200000000000004</c:v>
                </c:pt>
                <c:pt idx="1121">
                  <c:v>0.90300000000000002</c:v>
                </c:pt>
                <c:pt idx="1122">
                  <c:v>0.93300000000000005</c:v>
                </c:pt>
                <c:pt idx="1123">
                  <c:v>0.93500000000000005</c:v>
                </c:pt>
                <c:pt idx="1124">
                  <c:v>0.91600000000000004</c:v>
                </c:pt>
                <c:pt idx="1125">
                  <c:v>0.85199999999999998</c:v>
                </c:pt>
                <c:pt idx="1126">
                  <c:v>0.86599999999999999</c:v>
                </c:pt>
                <c:pt idx="1127">
                  <c:v>0.93</c:v>
                </c:pt>
                <c:pt idx="1128">
                  <c:v>0.47399999999999998</c:v>
                </c:pt>
                <c:pt idx="1129">
                  <c:v>0.84599999999999997</c:v>
                </c:pt>
                <c:pt idx="1130">
                  <c:v>0.33900000000000002</c:v>
                </c:pt>
                <c:pt idx="1131">
                  <c:v>0.86099999999999999</c:v>
                </c:pt>
                <c:pt idx="1132">
                  <c:v>0.68400000000000005</c:v>
                </c:pt>
                <c:pt idx="1133">
                  <c:v>0.70399999999999996</c:v>
                </c:pt>
                <c:pt idx="1134">
                  <c:v>0.80300000000000005</c:v>
                </c:pt>
                <c:pt idx="1135">
                  <c:v>0.92500000000000004</c:v>
                </c:pt>
                <c:pt idx="1136">
                  <c:v>0.44800000000000001</c:v>
                </c:pt>
                <c:pt idx="1137">
                  <c:v>0.88</c:v>
                </c:pt>
                <c:pt idx="1138">
                  <c:v>0.70899999999999996</c:v>
                </c:pt>
                <c:pt idx="1139">
                  <c:v>0.68200000000000005</c:v>
                </c:pt>
                <c:pt idx="1140">
                  <c:v>0.81899999999999995</c:v>
                </c:pt>
                <c:pt idx="1141">
                  <c:v>0.81499999999999995</c:v>
                </c:pt>
                <c:pt idx="1142">
                  <c:v>0.91400000000000003</c:v>
                </c:pt>
                <c:pt idx="1143">
                  <c:v>0.28599999999999998</c:v>
                </c:pt>
                <c:pt idx="1144">
                  <c:v>0.82099999999999995</c:v>
                </c:pt>
                <c:pt idx="1145">
                  <c:v>0.871</c:v>
                </c:pt>
                <c:pt idx="1146">
                  <c:v>0.77300000000000002</c:v>
                </c:pt>
                <c:pt idx="1147">
                  <c:v>0.86799999999999999</c:v>
                </c:pt>
                <c:pt idx="1148">
                  <c:v>0.621</c:v>
                </c:pt>
                <c:pt idx="1149">
                  <c:v>0.73799999999999999</c:v>
                </c:pt>
                <c:pt idx="1150">
                  <c:v>0.82199999999999995</c:v>
                </c:pt>
                <c:pt idx="1151">
                  <c:v>0.58699999999999997</c:v>
                </c:pt>
                <c:pt idx="1152">
                  <c:v>0.36299999999999999</c:v>
                </c:pt>
                <c:pt idx="1153">
                  <c:v>0.50900000000000001</c:v>
                </c:pt>
                <c:pt idx="1154">
                  <c:v>0.91200000000000003</c:v>
                </c:pt>
                <c:pt idx="1155">
                  <c:v>0.59599999999999997</c:v>
                </c:pt>
                <c:pt idx="1156">
                  <c:v>0.94599999999999995</c:v>
                </c:pt>
                <c:pt idx="1157">
                  <c:v>0.626</c:v>
                </c:pt>
                <c:pt idx="1158">
                  <c:v>0.86</c:v>
                </c:pt>
                <c:pt idx="1159">
                  <c:v>0.45600000000000002</c:v>
                </c:pt>
                <c:pt idx="1160">
                  <c:v>0.96799999999999997</c:v>
                </c:pt>
                <c:pt idx="1161">
                  <c:v>0.874</c:v>
                </c:pt>
                <c:pt idx="1162">
                  <c:v>0.79400000000000004</c:v>
                </c:pt>
                <c:pt idx="1163">
                  <c:v>0.70899999999999996</c:v>
                </c:pt>
                <c:pt idx="1164">
                  <c:v>0.71399999999999997</c:v>
                </c:pt>
                <c:pt idx="1165">
                  <c:v>0.86499999999999999</c:v>
                </c:pt>
                <c:pt idx="1166">
                  <c:v>0.94199999999999995</c:v>
                </c:pt>
                <c:pt idx="1167">
                  <c:v>0.83199999999999996</c:v>
                </c:pt>
                <c:pt idx="1168">
                  <c:v>0.74099999999999999</c:v>
                </c:pt>
                <c:pt idx="1169">
                  <c:v>0.48099999999999998</c:v>
                </c:pt>
                <c:pt idx="1170">
                  <c:v>0.89500000000000002</c:v>
                </c:pt>
                <c:pt idx="1171">
                  <c:v>0.76600000000000001</c:v>
                </c:pt>
                <c:pt idx="1172">
                  <c:v>0.95599999999999996</c:v>
                </c:pt>
                <c:pt idx="1173">
                  <c:v>0.89700000000000002</c:v>
                </c:pt>
                <c:pt idx="1174">
                  <c:v>0.94099999999999995</c:v>
                </c:pt>
                <c:pt idx="1175">
                  <c:v>0.66800000000000004</c:v>
                </c:pt>
                <c:pt idx="1176">
                  <c:v>0.82099999999999995</c:v>
                </c:pt>
                <c:pt idx="1177">
                  <c:v>0.78</c:v>
                </c:pt>
                <c:pt idx="1178">
                  <c:v>0.86299999999999999</c:v>
                </c:pt>
                <c:pt idx="1179">
                  <c:v>0.85099999999999998</c:v>
                </c:pt>
                <c:pt idx="1180">
                  <c:v>0.93300000000000005</c:v>
                </c:pt>
                <c:pt idx="1181">
                  <c:v>0.64300000000000002</c:v>
                </c:pt>
                <c:pt idx="1182">
                  <c:v>0.82699999999999996</c:v>
                </c:pt>
                <c:pt idx="1183">
                  <c:v>0.91800000000000004</c:v>
                </c:pt>
                <c:pt idx="1184">
                  <c:v>0.81299999999999994</c:v>
                </c:pt>
                <c:pt idx="1185">
                  <c:v>0.73299999999999998</c:v>
                </c:pt>
                <c:pt idx="1186">
                  <c:v>0.624</c:v>
                </c:pt>
                <c:pt idx="1187">
                  <c:v>0.36699999999999999</c:v>
                </c:pt>
                <c:pt idx="1188">
                  <c:v>0.90900000000000003</c:v>
                </c:pt>
                <c:pt idx="1189">
                  <c:v>0.873</c:v>
                </c:pt>
                <c:pt idx="1190">
                  <c:v>0.81200000000000006</c:v>
                </c:pt>
                <c:pt idx="1191">
                  <c:v>0.81399999999999995</c:v>
                </c:pt>
                <c:pt idx="1192">
                  <c:v>0.40899999999999997</c:v>
                </c:pt>
                <c:pt idx="1193">
                  <c:v>0.96499999999999997</c:v>
                </c:pt>
                <c:pt idx="1194">
                  <c:v>0.90500000000000003</c:v>
                </c:pt>
                <c:pt idx="1195">
                  <c:v>0.98399999999999999</c:v>
                </c:pt>
                <c:pt idx="1196">
                  <c:v>0.95899999999999996</c:v>
                </c:pt>
                <c:pt idx="1197">
                  <c:v>0.43</c:v>
                </c:pt>
                <c:pt idx="1198">
                  <c:v>0.57599999999999996</c:v>
                </c:pt>
                <c:pt idx="1199">
                  <c:v>0.45</c:v>
                </c:pt>
                <c:pt idx="1200">
                  <c:v>0.81699999999999995</c:v>
                </c:pt>
                <c:pt idx="1201">
                  <c:v>0.872</c:v>
                </c:pt>
                <c:pt idx="1202">
                  <c:v>0.79800000000000004</c:v>
                </c:pt>
                <c:pt idx="1203">
                  <c:v>0.92500000000000004</c:v>
                </c:pt>
                <c:pt idx="1204">
                  <c:v>0.8</c:v>
                </c:pt>
                <c:pt idx="1205">
                  <c:v>0.63300000000000001</c:v>
                </c:pt>
                <c:pt idx="1206">
                  <c:v>0.42299999999999999</c:v>
                </c:pt>
                <c:pt idx="1207">
                  <c:v>0.93500000000000005</c:v>
                </c:pt>
                <c:pt idx="1208">
                  <c:v>0.95199999999999996</c:v>
                </c:pt>
                <c:pt idx="1209">
                  <c:v>0.57799999999999996</c:v>
                </c:pt>
                <c:pt idx="1210">
                  <c:v>0.4</c:v>
                </c:pt>
                <c:pt idx="1211">
                  <c:v>0.78600000000000003</c:v>
                </c:pt>
                <c:pt idx="1212">
                  <c:v>0.82699999999999996</c:v>
                </c:pt>
                <c:pt idx="1213">
                  <c:v>0.95399999999999996</c:v>
                </c:pt>
                <c:pt idx="1214">
                  <c:v>0.68300000000000005</c:v>
                </c:pt>
                <c:pt idx="1215">
                  <c:v>0.67800000000000005</c:v>
                </c:pt>
                <c:pt idx="1216">
                  <c:v>0.9</c:v>
                </c:pt>
                <c:pt idx="1217">
                  <c:v>0.61699999999999999</c:v>
                </c:pt>
                <c:pt idx="1218">
                  <c:v>0.75900000000000001</c:v>
                </c:pt>
                <c:pt idx="1219">
                  <c:v>0.58099999999999996</c:v>
                </c:pt>
                <c:pt idx="1220">
                  <c:v>0.93700000000000006</c:v>
                </c:pt>
                <c:pt idx="1221">
                  <c:v>0.65500000000000003</c:v>
                </c:pt>
                <c:pt idx="1222">
                  <c:v>0.33700000000000002</c:v>
                </c:pt>
                <c:pt idx="1223">
                  <c:v>0.85799999999999998</c:v>
                </c:pt>
                <c:pt idx="1224">
                  <c:v>0.53700000000000003</c:v>
                </c:pt>
                <c:pt idx="1225">
                  <c:v>0.68</c:v>
                </c:pt>
                <c:pt idx="1226">
                  <c:v>0.88500000000000001</c:v>
                </c:pt>
                <c:pt idx="1227">
                  <c:v>0.8</c:v>
                </c:pt>
                <c:pt idx="1228">
                  <c:v>0.83699999999999997</c:v>
                </c:pt>
                <c:pt idx="1229">
                  <c:v>0.74099999999999999</c:v>
                </c:pt>
                <c:pt idx="1230">
                  <c:v>0.34200000000000003</c:v>
                </c:pt>
                <c:pt idx="1231">
                  <c:v>0.79100000000000004</c:v>
                </c:pt>
                <c:pt idx="1232">
                  <c:v>0.88100000000000001</c:v>
                </c:pt>
                <c:pt idx="1233">
                  <c:v>0.71899999999999997</c:v>
                </c:pt>
                <c:pt idx="1234">
                  <c:v>0.89300000000000002</c:v>
                </c:pt>
                <c:pt idx="1235">
                  <c:v>0.51800000000000002</c:v>
                </c:pt>
                <c:pt idx="1236">
                  <c:v>0.75800000000000001</c:v>
                </c:pt>
                <c:pt idx="1237">
                  <c:v>0.32100000000000001</c:v>
                </c:pt>
                <c:pt idx="1238">
                  <c:v>0.52800000000000002</c:v>
                </c:pt>
                <c:pt idx="1239">
                  <c:v>0.379</c:v>
                </c:pt>
                <c:pt idx="1240">
                  <c:v>0.77200000000000002</c:v>
                </c:pt>
                <c:pt idx="1241">
                  <c:v>0.38400000000000001</c:v>
                </c:pt>
                <c:pt idx="1242">
                  <c:v>0.89500000000000002</c:v>
                </c:pt>
                <c:pt idx="1243">
                  <c:v>0.89</c:v>
                </c:pt>
                <c:pt idx="1244">
                  <c:v>0.85799999999999998</c:v>
                </c:pt>
                <c:pt idx="1245">
                  <c:v>0.84499999999999997</c:v>
                </c:pt>
                <c:pt idx="1246">
                  <c:v>0.79900000000000004</c:v>
                </c:pt>
                <c:pt idx="1247">
                  <c:v>0.84299999999999997</c:v>
                </c:pt>
                <c:pt idx="1248">
                  <c:v>0.72199999999999998</c:v>
                </c:pt>
                <c:pt idx="1249">
                  <c:v>0.88400000000000001</c:v>
                </c:pt>
                <c:pt idx="1250">
                  <c:v>0.79400000000000004</c:v>
                </c:pt>
                <c:pt idx="1251">
                  <c:v>0.90800000000000003</c:v>
                </c:pt>
                <c:pt idx="1252">
                  <c:v>0.82099999999999995</c:v>
                </c:pt>
                <c:pt idx="1253">
                  <c:v>0.90300000000000002</c:v>
                </c:pt>
                <c:pt idx="1254">
                  <c:v>0.84399999999999997</c:v>
                </c:pt>
                <c:pt idx="1255">
                  <c:v>0.51500000000000001</c:v>
                </c:pt>
                <c:pt idx="1256">
                  <c:v>0.75800000000000001</c:v>
                </c:pt>
                <c:pt idx="1257">
                  <c:v>0.754</c:v>
                </c:pt>
                <c:pt idx="1258">
                  <c:v>0.83299999999999996</c:v>
                </c:pt>
                <c:pt idx="1259">
                  <c:v>0.76600000000000001</c:v>
                </c:pt>
                <c:pt idx="1260">
                  <c:v>0.75900000000000001</c:v>
                </c:pt>
                <c:pt idx="1261">
                  <c:v>0.70699999999999996</c:v>
                </c:pt>
                <c:pt idx="1262">
                  <c:v>0.70199999999999996</c:v>
                </c:pt>
                <c:pt idx="1263">
                  <c:v>0.91</c:v>
                </c:pt>
                <c:pt idx="1264">
                  <c:v>0.83099999999999996</c:v>
                </c:pt>
                <c:pt idx="1265">
                  <c:v>0.81399999999999995</c:v>
                </c:pt>
                <c:pt idx="1266">
                  <c:v>0.86</c:v>
                </c:pt>
                <c:pt idx="1267">
                  <c:v>0.80100000000000005</c:v>
                </c:pt>
                <c:pt idx="1268">
                  <c:v>0.86099999999999999</c:v>
                </c:pt>
                <c:pt idx="1269">
                  <c:v>0.78300000000000003</c:v>
                </c:pt>
                <c:pt idx="1270">
                  <c:v>0.7</c:v>
                </c:pt>
                <c:pt idx="1271">
                  <c:v>0.77800000000000002</c:v>
                </c:pt>
                <c:pt idx="1272">
                  <c:v>0.85499999999999998</c:v>
                </c:pt>
                <c:pt idx="1273">
                  <c:v>0.52300000000000002</c:v>
                </c:pt>
                <c:pt idx="1274">
                  <c:v>0.78900000000000003</c:v>
                </c:pt>
                <c:pt idx="1275">
                  <c:v>0.41599999999999998</c:v>
                </c:pt>
                <c:pt idx="1276">
                  <c:v>0.76</c:v>
                </c:pt>
                <c:pt idx="1277">
                  <c:v>0.88100000000000001</c:v>
                </c:pt>
                <c:pt idx="1278">
                  <c:v>0.81599999999999995</c:v>
                </c:pt>
                <c:pt idx="1279">
                  <c:v>0.89600000000000002</c:v>
                </c:pt>
                <c:pt idx="1280">
                  <c:v>0.95099999999999996</c:v>
                </c:pt>
                <c:pt idx="1281">
                  <c:v>0.59599999999999997</c:v>
                </c:pt>
                <c:pt idx="1282">
                  <c:v>0.80500000000000005</c:v>
                </c:pt>
                <c:pt idx="1283">
                  <c:v>0.82299999999999995</c:v>
                </c:pt>
                <c:pt idx="1284">
                  <c:v>0.74</c:v>
                </c:pt>
                <c:pt idx="1285">
                  <c:v>0.71699999999999997</c:v>
                </c:pt>
                <c:pt idx="1286">
                  <c:v>0.85099999999999998</c:v>
                </c:pt>
                <c:pt idx="1287">
                  <c:v>0.83899999999999997</c:v>
                </c:pt>
                <c:pt idx="1288">
                  <c:v>0.83099999999999996</c:v>
                </c:pt>
                <c:pt idx="1289">
                  <c:v>0.90500000000000003</c:v>
                </c:pt>
                <c:pt idx="1290">
                  <c:v>0.371</c:v>
                </c:pt>
                <c:pt idx="1291">
                  <c:v>0.77200000000000002</c:v>
                </c:pt>
                <c:pt idx="1292">
                  <c:v>0.86599999999999999</c:v>
                </c:pt>
                <c:pt idx="1293">
                  <c:v>0.56899999999999995</c:v>
                </c:pt>
                <c:pt idx="1294">
                  <c:v>0.49199999999999999</c:v>
                </c:pt>
                <c:pt idx="1295">
                  <c:v>0.74299999999999999</c:v>
                </c:pt>
                <c:pt idx="1296">
                  <c:v>0.91900000000000004</c:v>
                </c:pt>
                <c:pt idx="1297">
                  <c:v>0.88800000000000001</c:v>
                </c:pt>
                <c:pt idx="1298">
                  <c:v>0.71599999999999997</c:v>
                </c:pt>
                <c:pt idx="1299">
                  <c:v>0.86</c:v>
                </c:pt>
                <c:pt idx="1300">
                  <c:v>0.91</c:v>
                </c:pt>
                <c:pt idx="1301">
                  <c:v>0.80200000000000005</c:v>
                </c:pt>
                <c:pt idx="1302">
                  <c:v>0.80600000000000005</c:v>
                </c:pt>
                <c:pt idx="1303">
                  <c:v>0.876</c:v>
                </c:pt>
                <c:pt idx="1304">
                  <c:v>0.223</c:v>
                </c:pt>
                <c:pt idx="1305">
                  <c:v>0.84499999999999997</c:v>
                </c:pt>
                <c:pt idx="1306">
                  <c:v>0.90400000000000003</c:v>
                </c:pt>
                <c:pt idx="1307">
                  <c:v>0.80900000000000005</c:v>
                </c:pt>
                <c:pt idx="1308">
                  <c:v>0.84099999999999997</c:v>
                </c:pt>
                <c:pt idx="1309">
                  <c:v>0.85699999999999998</c:v>
                </c:pt>
                <c:pt idx="1310">
                  <c:v>0.68300000000000005</c:v>
                </c:pt>
                <c:pt idx="1311">
                  <c:v>0.54900000000000004</c:v>
                </c:pt>
                <c:pt idx="1312">
                  <c:v>0.82</c:v>
                </c:pt>
                <c:pt idx="1313">
                  <c:v>0.82799999999999996</c:v>
                </c:pt>
                <c:pt idx="1314">
                  <c:v>0.72099999999999997</c:v>
                </c:pt>
                <c:pt idx="1315">
                  <c:v>0.93100000000000005</c:v>
                </c:pt>
                <c:pt idx="1316">
                  <c:v>0.60399999999999998</c:v>
                </c:pt>
                <c:pt idx="1317">
                  <c:v>0.623</c:v>
                </c:pt>
                <c:pt idx="1318">
                  <c:v>0.60299999999999998</c:v>
                </c:pt>
                <c:pt idx="1319">
                  <c:v>0.69799999999999995</c:v>
                </c:pt>
                <c:pt idx="1320">
                  <c:v>0.47</c:v>
                </c:pt>
                <c:pt idx="1321">
                  <c:v>0.61099999999999999</c:v>
                </c:pt>
                <c:pt idx="1322">
                  <c:v>0.94599999999999995</c:v>
                </c:pt>
                <c:pt idx="1323">
                  <c:v>0.95499999999999996</c:v>
                </c:pt>
                <c:pt idx="1324">
                  <c:v>0.52600000000000002</c:v>
                </c:pt>
                <c:pt idx="1325">
                  <c:v>0.89</c:v>
                </c:pt>
                <c:pt idx="1326">
                  <c:v>0.53100000000000003</c:v>
                </c:pt>
                <c:pt idx="1327">
                  <c:v>0.871</c:v>
                </c:pt>
                <c:pt idx="1328">
                  <c:v>0.73899999999999999</c:v>
                </c:pt>
                <c:pt idx="1329">
                  <c:v>0.54800000000000004</c:v>
                </c:pt>
                <c:pt idx="1330">
                  <c:v>0.82299999999999995</c:v>
                </c:pt>
                <c:pt idx="1331">
                  <c:v>0.90600000000000003</c:v>
                </c:pt>
                <c:pt idx="1332">
                  <c:v>0.84199999999999997</c:v>
                </c:pt>
                <c:pt idx="1333">
                  <c:v>0.755</c:v>
                </c:pt>
                <c:pt idx="1334">
                  <c:v>0.93300000000000005</c:v>
                </c:pt>
                <c:pt idx="1335">
                  <c:v>0.86</c:v>
                </c:pt>
                <c:pt idx="1336">
                  <c:v>0.56000000000000005</c:v>
                </c:pt>
                <c:pt idx="1337">
                  <c:v>0.71599999999999997</c:v>
                </c:pt>
                <c:pt idx="1338">
                  <c:v>0.83199999999999996</c:v>
                </c:pt>
                <c:pt idx="1339">
                  <c:v>0.84499999999999997</c:v>
                </c:pt>
                <c:pt idx="1340">
                  <c:v>0.92</c:v>
                </c:pt>
                <c:pt idx="1341">
                  <c:v>0.36399999999999999</c:v>
                </c:pt>
                <c:pt idx="1342">
                  <c:v>0.44900000000000001</c:v>
                </c:pt>
                <c:pt idx="1343">
                  <c:v>0.55200000000000005</c:v>
                </c:pt>
                <c:pt idx="1344">
                  <c:v>0.86199999999999999</c:v>
                </c:pt>
                <c:pt idx="1345">
                  <c:v>0.82599999999999996</c:v>
                </c:pt>
                <c:pt idx="1346">
                  <c:v>0.54900000000000004</c:v>
                </c:pt>
                <c:pt idx="1347">
                  <c:v>0.65800000000000003</c:v>
                </c:pt>
                <c:pt idx="1348">
                  <c:v>0.629</c:v>
                </c:pt>
                <c:pt idx="1349">
                  <c:v>0.76700000000000002</c:v>
                </c:pt>
                <c:pt idx="1350">
                  <c:v>0.70799999999999996</c:v>
                </c:pt>
                <c:pt idx="1351">
                  <c:v>0.59799999999999998</c:v>
                </c:pt>
                <c:pt idx="1352">
                  <c:v>0.56399999999999995</c:v>
                </c:pt>
                <c:pt idx="1353">
                  <c:v>0.80100000000000005</c:v>
                </c:pt>
                <c:pt idx="1354">
                  <c:v>0.54400000000000004</c:v>
                </c:pt>
                <c:pt idx="1355">
                  <c:v>0.71799999999999997</c:v>
                </c:pt>
                <c:pt idx="1356">
                  <c:v>0.83</c:v>
                </c:pt>
                <c:pt idx="1357">
                  <c:v>0.86</c:v>
                </c:pt>
                <c:pt idx="1358">
                  <c:v>0.55500000000000005</c:v>
                </c:pt>
                <c:pt idx="1359">
                  <c:v>0.77600000000000002</c:v>
                </c:pt>
                <c:pt idx="1360">
                  <c:v>0.47</c:v>
                </c:pt>
                <c:pt idx="1361">
                  <c:v>0.437</c:v>
                </c:pt>
                <c:pt idx="1362">
                  <c:v>0.22700000000000001</c:v>
                </c:pt>
                <c:pt idx="1363">
                  <c:v>0.77600000000000002</c:v>
                </c:pt>
                <c:pt idx="1364">
                  <c:v>0.91300000000000003</c:v>
                </c:pt>
                <c:pt idx="1365">
                  <c:v>0.71599999999999997</c:v>
                </c:pt>
                <c:pt idx="1366">
                  <c:v>0.68200000000000005</c:v>
                </c:pt>
                <c:pt idx="1367">
                  <c:v>0.88800000000000001</c:v>
                </c:pt>
                <c:pt idx="1368">
                  <c:v>0.85899999999999999</c:v>
                </c:pt>
                <c:pt idx="1369">
                  <c:v>0.79500000000000004</c:v>
                </c:pt>
                <c:pt idx="1370">
                  <c:v>0.746</c:v>
                </c:pt>
                <c:pt idx="1371">
                  <c:v>0.91500000000000004</c:v>
                </c:pt>
                <c:pt idx="1372">
                  <c:v>0.93400000000000005</c:v>
                </c:pt>
                <c:pt idx="1373">
                  <c:v>0.85</c:v>
                </c:pt>
                <c:pt idx="1374">
                  <c:v>0.77100000000000002</c:v>
                </c:pt>
                <c:pt idx="1375">
                  <c:v>0.68899999999999995</c:v>
                </c:pt>
                <c:pt idx="1376">
                  <c:v>0.73299999999999998</c:v>
                </c:pt>
                <c:pt idx="1377">
                  <c:v>0.90700000000000003</c:v>
                </c:pt>
                <c:pt idx="1378">
                  <c:v>0.63600000000000001</c:v>
                </c:pt>
                <c:pt idx="1379">
                  <c:v>0.96</c:v>
                </c:pt>
                <c:pt idx="1380">
                  <c:v>0.42899999999999999</c:v>
                </c:pt>
                <c:pt idx="1381">
                  <c:v>0.86</c:v>
                </c:pt>
                <c:pt idx="1382">
                  <c:v>0.68600000000000005</c:v>
                </c:pt>
                <c:pt idx="1383">
                  <c:v>0.29499999999999998</c:v>
                </c:pt>
                <c:pt idx="1384">
                  <c:v>0.63700000000000001</c:v>
                </c:pt>
                <c:pt idx="1385">
                  <c:v>0.75900000000000001</c:v>
                </c:pt>
                <c:pt idx="1386">
                  <c:v>0.90500000000000003</c:v>
                </c:pt>
                <c:pt idx="1387">
                  <c:v>0.59299999999999997</c:v>
                </c:pt>
                <c:pt idx="1388">
                  <c:v>0.63600000000000001</c:v>
                </c:pt>
                <c:pt idx="1389">
                  <c:v>0.88200000000000001</c:v>
                </c:pt>
                <c:pt idx="1390">
                  <c:v>0.68100000000000005</c:v>
                </c:pt>
                <c:pt idx="1391">
                  <c:v>0.78700000000000003</c:v>
                </c:pt>
                <c:pt idx="1392">
                  <c:v>0.86799999999999999</c:v>
                </c:pt>
                <c:pt idx="1393">
                  <c:v>0.67300000000000004</c:v>
                </c:pt>
                <c:pt idx="1394">
                  <c:v>0.73899999999999999</c:v>
                </c:pt>
                <c:pt idx="1395">
                  <c:v>0.88700000000000001</c:v>
                </c:pt>
                <c:pt idx="1396">
                  <c:v>0.78</c:v>
                </c:pt>
                <c:pt idx="1397">
                  <c:v>0.75800000000000001</c:v>
                </c:pt>
                <c:pt idx="1398">
                  <c:v>0.85299999999999998</c:v>
                </c:pt>
                <c:pt idx="1399">
                  <c:v>0.81499999999999995</c:v>
                </c:pt>
                <c:pt idx="1400">
                  <c:v>0.751</c:v>
                </c:pt>
                <c:pt idx="1401">
                  <c:v>0.66300000000000003</c:v>
                </c:pt>
                <c:pt idx="1402">
                  <c:v>0.83499999999999996</c:v>
                </c:pt>
                <c:pt idx="1403">
                  <c:v>0.60099999999999998</c:v>
                </c:pt>
                <c:pt idx="1404">
                  <c:v>0.92</c:v>
                </c:pt>
                <c:pt idx="1405">
                  <c:v>0.879</c:v>
                </c:pt>
                <c:pt idx="1406">
                  <c:v>0.74</c:v>
                </c:pt>
                <c:pt idx="1407">
                  <c:v>0.57199999999999995</c:v>
                </c:pt>
                <c:pt idx="1408">
                  <c:v>0.81399999999999995</c:v>
                </c:pt>
                <c:pt idx="1409">
                  <c:v>0.47699999999999998</c:v>
                </c:pt>
                <c:pt idx="1410">
                  <c:v>0.79700000000000004</c:v>
                </c:pt>
                <c:pt idx="1411">
                  <c:v>0.83899999999999997</c:v>
                </c:pt>
                <c:pt idx="1412">
                  <c:v>0.67500000000000004</c:v>
                </c:pt>
                <c:pt idx="1413">
                  <c:v>0.51400000000000001</c:v>
                </c:pt>
                <c:pt idx="1414">
                  <c:v>0.73399999999999999</c:v>
                </c:pt>
                <c:pt idx="1415">
                  <c:v>0.69899999999999995</c:v>
                </c:pt>
                <c:pt idx="1416">
                  <c:v>0.83699999999999997</c:v>
                </c:pt>
                <c:pt idx="1417">
                  <c:v>0.80600000000000005</c:v>
                </c:pt>
                <c:pt idx="1418">
                  <c:v>0.91300000000000003</c:v>
                </c:pt>
                <c:pt idx="1419">
                  <c:v>0.67700000000000005</c:v>
                </c:pt>
                <c:pt idx="1420">
                  <c:v>0.91800000000000004</c:v>
                </c:pt>
                <c:pt idx="1421">
                  <c:v>0.61099999999999999</c:v>
                </c:pt>
                <c:pt idx="1422">
                  <c:v>0.73899999999999999</c:v>
                </c:pt>
                <c:pt idx="1423">
                  <c:v>0.56499999999999995</c:v>
                </c:pt>
                <c:pt idx="1424">
                  <c:v>0.81799999999999995</c:v>
                </c:pt>
                <c:pt idx="1425">
                  <c:v>0.61299999999999999</c:v>
                </c:pt>
                <c:pt idx="1426">
                  <c:v>0.91400000000000003</c:v>
                </c:pt>
                <c:pt idx="1427">
                  <c:v>0.73599999999999999</c:v>
                </c:pt>
                <c:pt idx="1428">
                  <c:v>0.86099999999999999</c:v>
                </c:pt>
                <c:pt idx="1429">
                  <c:v>0.66300000000000003</c:v>
                </c:pt>
                <c:pt idx="1430">
                  <c:v>0.86499999999999999</c:v>
                </c:pt>
                <c:pt idx="1431">
                  <c:v>0.92</c:v>
                </c:pt>
                <c:pt idx="1432">
                  <c:v>0.80300000000000005</c:v>
                </c:pt>
                <c:pt idx="1433">
                  <c:v>0.79300000000000004</c:v>
                </c:pt>
                <c:pt idx="1434">
                  <c:v>0.68899999999999995</c:v>
                </c:pt>
                <c:pt idx="1435">
                  <c:v>0.86499999999999999</c:v>
                </c:pt>
                <c:pt idx="1436">
                  <c:v>0.84299999999999997</c:v>
                </c:pt>
                <c:pt idx="1437">
                  <c:v>0.85499999999999998</c:v>
                </c:pt>
                <c:pt idx="1438">
                  <c:v>0.879</c:v>
                </c:pt>
                <c:pt idx="1439">
                  <c:v>0.68100000000000005</c:v>
                </c:pt>
                <c:pt idx="1440">
                  <c:v>0.42699999999999999</c:v>
                </c:pt>
                <c:pt idx="1441">
                  <c:v>0.81799999999999995</c:v>
                </c:pt>
                <c:pt idx="1442">
                  <c:v>0.86599999999999999</c:v>
                </c:pt>
                <c:pt idx="1443">
                  <c:v>0.80800000000000005</c:v>
                </c:pt>
                <c:pt idx="1444">
                  <c:v>0.88500000000000001</c:v>
                </c:pt>
                <c:pt idx="1445">
                  <c:v>0.88400000000000001</c:v>
                </c:pt>
                <c:pt idx="1446">
                  <c:v>0.68700000000000006</c:v>
                </c:pt>
                <c:pt idx="1447">
                  <c:v>0.76100000000000001</c:v>
                </c:pt>
                <c:pt idx="1448">
                  <c:v>0.78800000000000003</c:v>
                </c:pt>
                <c:pt idx="1449">
                  <c:v>0.85799999999999998</c:v>
                </c:pt>
                <c:pt idx="1450">
                  <c:v>0.69199999999999995</c:v>
                </c:pt>
                <c:pt idx="1451">
                  <c:v>0.82499999999999996</c:v>
                </c:pt>
                <c:pt idx="1452">
                  <c:v>0.95</c:v>
                </c:pt>
                <c:pt idx="1453">
                  <c:v>0.52100000000000002</c:v>
                </c:pt>
                <c:pt idx="1454">
                  <c:v>0.89200000000000002</c:v>
                </c:pt>
                <c:pt idx="1455">
                  <c:v>0.96199999999999997</c:v>
                </c:pt>
                <c:pt idx="1456">
                  <c:v>0.79800000000000004</c:v>
                </c:pt>
                <c:pt idx="1457">
                  <c:v>0.94299999999999995</c:v>
                </c:pt>
                <c:pt idx="1458">
                  <c:v>0.52300000000000002</c:v>
                </c:pt>
                <c:pt idx="1459">
                  <c:v>0.59299999999999997</c:v>
                </c:pt>
                <c:pt idx="1460">
                  <c:v>0.70299999999999996</c:v>
                </c:pt>
                <c:pt idx="1461">
                  <c:v>0.75700000000000001</c:v>
                </c:pt>
                <c:pt idx="1462">
                  <c:v>0.88900000000000001</c:v>
                </c:pt>
                <c:pt idx="1463">
                  <c:v>0.90700000000000003</c:v>
                </c:pt>
                <c:pt idx="1464">
                  <c:v>0.91100000000000003</c:v>
                </c:pt>
                <c:pt idx="1465">
                  <c:v>0.65600000000000003</c:v>
                </c:pt>
                <c:pt idx="1466">
                  <c:v>0.90800000000000003</c:v>
                </c:pt>
                <c:pt idx="1467">
                  <c:v>0.85099999999999998</c:v>
                </c:pt>
                <c:pt idx="1468">
                  <c:v>0.85099999999999998</c:v>
                </c:pt>
                <c:pt idx="1469">
                  <c:v>0.53</c:v>
                </c:pt>
                <c:pt idx="1470">
                  <c:v>0.92</c:v>
                </c:pt>
                <c:pt idx="1471">
                  <c:v>0.83899999999999997</c:v>
                </c:pt>
                <c:pt idx="1472">
                  <c:v>0.78900000000000003</c:v>
                </c:pt>
                <c:pt idx="1473">
                  <c:v>0.77</c:v>
                </c:pt>
                <c:pt idx="1474">
                  <c:v>0.39300000000000002</c:v>
                </c:pt>
                <c:pt idx="1475">
                  <c:v>0.70699999999999996</c:v>
                </c:pt>
                <c:pt idx="1476">
                  <c:v>0.877</c:v>
                </c:pt>
                <c:pt idx="1477">
                  <c:v>0.86399999999999999</c:v>
                </c:pt>
                <c:pt idx="1478">
                  <c:v>0.64800000000000002</c:v>
                </c:pt>
                <c:pt idx="1479">
                  <c:v>0.55600000000000005</c:v>
                </c:pt>
                <c:pt idx="1480">
                  <c:v>0.77200000000000002</c:v>
                </c:pt>
                <c:pt idx="1481">
                  <c:v>0.89900000000000002</c:v>
                </c:pt>
                <c:pt idx="1482">
                  <c:v>0.68100000000000005</c:v>
                </c:pt>
                <c:pt idx="1483">
                  <c:v>0.79900000000000004</c:v>
                </c:pt>
                <c:pt idx="1484">
                  <c:v>0.92100000000000004</c:v>
                </c:pt>
                <c:pt idx="1485">
                  <c:v>0.76900000000000002</c:v>
                </c:pt>
                <c:pt idx="1486">
                  <c:v>0.93200000000000005</c:v>
                </c:pt>
                <c:pt idx="1487">
                  <c:v>0.95799999999999996</c:v>
                </c:pt>
                <c:pt idx="1488">
                  <c:v>0.71099999999999997</c:v>
                </c:pt>
                <c:pt idx="1489">
                  <c:v>0.75800000000000001</c:v>
                </c:pt>
                <c:pt idx="1490">
                  <c:v>0.80600000000000005</c:v>
                </c:pt>
                <c:pt idx="1491">
                  <c:v>0.84799999999999998</c:v>
                </c:pt>
                <c:pt idx="1492">
                  <c:v>0.81599999999999995</c:v>
                </c:pt>
                <c:pt idx="1493">
                  <c:v>0.441</c:v>
                </c:pt>
                <c:pt idx="1494">
                  <c:v>0.79900000000000004</c:v>
                </c:pt>
                <c:pt idx="1495">
                  <c:v>0.33800000000000002</c:v>
                </c:pt>
                <c:pt idx="1496">
                  <c:v>0.63600000000000001</c:v>
                </c:pt>
                <c:pt idx="1497">
                  <c:v>0.83299999999999996</c:v>
                </c:pt>
                <c:pt idx="1498">
                  <c:v>0.86</c:v>
                </c:pt>
                <c:pt idx="1499">
                  <c:v>0.48199999999999998</c:v>
                </c:pt>
                <c:pt idx="1500">
                  <c:v>0.88800000000000001</c:v>
                </c:pt>
                <c:pt idx="1501">
                  <c:v>0.86399999999999999</c:v>
                </c:pt>
                <c:pt idx="1502">
                  <c:v>0.42</c:v>
                </c:pt>
                <c:pt idx="1503">
                  <c:v>0.63200000000000001</c:v>
                </c:pt>
                <c:pt idx="1504">
                  <c:v>0.85299999999999998</c:v>
                </c:pt>
                <c:pt idx="1505">
                  <c:v>0.78400000000000003</c:v>
                </c:pt>
                <c:pt idx="1506">
                  <c:v>0.94299999999999995</c:v>
                </c:pt>
                <c:pt idx="1507">
                  <c:v>0.65</c:v>
                </c:pt>
                <c:pt idx="1508">
                  <c:v>0.74399999999999999</c:v>
                </c:pt>
                <c:pt idx="1509">
                  <c:v>0.69699999999999995</c:v>
                </c:pt>
                <c:pt idx="1510">
                  <c:v>0.76100000000000001</c:v>
                </c:pt>
                <c:pt idx="1511">
                  <c:v>0.77600000000000002</c:v>
                </c:pt>
                <c:pt idx="1512">
                  <c:v>0.73799999999999999</c:v>
                </c:pt>
                <c:pt idx="1513">
                  <c:v>0.28899999999999998</c:v>
                </c:pt>
                <c:pt idx="1514">
                  <c:v>0.63200000000000001</c:v>
                </c:pt>
                <c:pt idx="1515">
                  <c:v>0.95699999999999996</c:v>
                </c:pt>
                <c:pt idx="1516">
                  <c:v>0.45700000000000002</c:v>
                </c:pt>
                <c:pt idx="1517">
                  <c:v>0.54700000000000004</c:v>
                </c:pt>
                <c:pt idx="1518">
                  <c:v>0.75800000000000001</c:v>
                </c:pt>
                <c:pt idx="1519">
                  <c:v>0.70799999999999996</c:v>
                </c:pt>
                <c:pt idx="1520">
                  <c:v>0.83599999999999997</c:v>
                </c:pt>
                <c:pt idx="1521">
                  <c:v>0.68500000000000005</c:v>
                </c:pt>
                <c:pt idx="1522">
                  <c:v>0.42499999999999999</c:v>
                </c:pt>
                <c:pt idx="1523">
                  <c:v>0.61599999999999999</c:v>
                </c:pt>
                <c:pt idx="1524">
                  <c:v>0.57099999999999995</c:v>
                </c:pt>
                <c:pt idx="1525">
                  <c:v>0.84499999999999997</c:v>
                </c:pt>
                <c:pt idx="1526">
                  <c:v>0.52800000000000002</c:v>
                </c:pt>
                <c:pt idx="1527">
                  <c:v>0.433</c:v>
                </c:pt>
                <c:pt idx="1528">
                  <c:v>0.63600000000000001</c:v>
                </c:pt>
                <c:pt idx="1529">
                  <c:v>0.64600000000000002</c:v>
                </c:pt>
                <c:pt idx="1530">
                  <c:v>0.80900000000000005</c:v>
                </c:pt>
                <c:pt idx="1531">
                  <c:v>0.68500000000000005</c:v>
                </c:pt>
                <c:pt idx="1532">
                  <c:v>0.876</c:v>
                </c:pt>
                <c:pt idx="1533">
                  <c:v>0.91</c:v>
                </c:pt>
                <c:pt idx="1534">
                  <c:v>0.746</c:v>
                </c:pt>
                <c:pt idx="1535">
                  <c:v>0.85899999999999999</c:v>
                </c:pt>
                <c:pt idx="1536">
                  <c:v>0.35</c:v>
                </c:pt>
                <c:pt idx="1537">
                  <c:v>0.69399999999999995</c:v>
                </c:pt>
                <c:pt idx="1538">
                  <c:v>0.79500000000000004</c:v>
                </c:pt>
                <c:pt idx="1539">
                  <c:v>0.90700000000000003</c:v>
                </c:pt>
                <c:pt idx="1540">
                  <c:v>0.33900000000000002</c:v>
                </c:pt>
                <c:pt idx="1541">
                  <c:v>0.68700000000000006</c:v>
                </c:pt>
                <c:pt idx="1542">
                  <c:v>0.71599999999999997</c:v>
                </c:pt>
                <c:pt idx="1543">
                  <c:v>0.65400000000000003</c:v>
                </c:pt>
                <c:pt idx="1544">
                  <c:v>0.85</c:v>
                </c:pt>
                <c:pt idx="1545">
                  <c:v>0.4</c:v>
                </c:pt>
                <c:pt idx="1546">
                  <c:v>0.83</c:v>
                </c:pt>
                <c:pt idx="1547">
                  <c:v>0.95299999999999996</c:v>
                </c:pt>
                <c:pt idx="1548">
                  <c:v>0.72199999999999998</c:v>
                </c:pt>
                <c:pt idx="1549">
                  <c:v>0.86299999999999999</c:v>
                </c:pt>
                <c:pt idx="1550">
                  <c:v>0.70299999999999996</c:v>
                </c:pt>
                <c:pt idx="1551">
                  <c:v>0.91200000000000003</c:v>
                </c:pt>
                <c:pt idx="1552">
                  <c:v>0.623</c:v>
                </c:pt>
                <c:pt idx="1553">
                  <c:v>0.746</c:v>
                </c:pt>
                <c:pt idx="1554">
                  <c:v>0.8</c:v>
                </c:pt>
                <c:pt idx="1555">
                  <c:v>0.65300000000000002</c:v>
                </c:pt>
                <c:pt idx="1556">
                  <c:v>0.77500000000000002</c:v>
                </c:pt>
                <c:pt idx="1557">
                  <c:v>0.67100000000000004</c:v>
                </c:pt>
                <c:pt idx="1558">
                  <c:v>0.90600000000000003</c:v>
                </c:pt>
                <c:pt idx="1559">
                  <c:v>0.316</c:v>
                </c:pt>
                <c:pt idx="1560">
                  <c:v>0.80700000000000005</c:v>
                </c:pt>
                <c:pt idx="1561">
                  <c:v>0.77900000000000003</c:v>
                </c:pt>
                <c:pt idx="1562">
                  <c:v>0.71399999999999997</c:v>
                </c:pt>
                <c:pt idx="1563">
                  <c:v>0.66700000000000004</c:v>
                </c:pt>
                <c:pt idx="1564">
                  <c:v>0.47</c:v>
                </c:pt>
                <c:pt idx="1565">
                  <c:v>0.67800000000000005</c:v>
                </c:pt>
                <c:pt idx="1566">
                  <c:v>0.876</c:v>
                </c:pt>
                <c:pt idx="1567">
                  <c:v>0.92600000000000005</c:v>
                </c:pt>
                <c:pt idx="1568">
                  <c:v>0.88800000000000001</c:v>
                </c:pt>
                <c:pt idx="1569">
                  <c:v>0.91200000000000003</c:v>
                </c:pt>
                <c:pt idx="1570">
                  <c:v>0.63300000000000001</c:v>
                </c:pt>
                <c:pt idx="1571">
                  <c:v>0.628</c:v>
                </c:pt>
                <c:pt idx="1572">
                  <c:v>0.89200000000000002</c:v>
                </c:pt>
                <c:pt idx="1573">
                  <c:v>0.31900000000000001</c:v>
                </c:pt>
                <c:pt idx="1574">
                  <c:v>0.35299999999999998</c:v>
                </c:pt>
                <c:pt idx="1575">
                  <c:v>0.93899999999999995</c:v>
                </c:pt>
                <c:pt idx="1576">
                  <c:v>0.68</c:v>
                </c:pt>
                <c:pt idx="1577">
                  <c:v>0.81399999999999995</c:v>
                </c:pt>
                <c:pt idx="1578">
                  <c:v>0.58599999999999997</c:v>
                </c:pt>
                <c:pt idx="1579">
                  <c:v>0.70499999999999996</c:v>
                </c:pt>
                <c:pt idx="1580">
                  <c:v>0.56000000000000005</c:v>
                </c:pt>
                <c:pt idx="1581">
                  <c:v>0.76800000000000002</c:v>
                </c:pt>
                <c:pt idx="1582">
                  <c:v>0.80600000000000005</c:v>
                </c:pt>
                <c:pt idx="1583">
                  <c:v>0.74399999999999999</c:v>
                </c:pt>
                <c:pt idx="1584">
                  <c:v>0.59699999999999998</c:v>
                </c:pt>
                <c:pt idx="1585">
                  <c:v>0.56999999999999995</c:v>
                </c:pt>
                <c:pt idx="1586">
                  <c:v>0.89900000000000002</c:v>
                </c:pt>
                <c:pt idx="1587">
                  <c:v>0.95399999999999996</c:v>
                </c:pt>
                <c:pt idx="1588">
                  <c:v>0.73499999999999999</c:v>
                </c:pt>
                <c:pt idx="1589">
                  <c:v>0.78</c:v>
                </c:pt>
                <c:pt idx="1590">
                  <c:v>0.73</c:v>
                </c:pt>
                <c:pt idx="1591">
                  <c:v>0.66500000000000004</c:v>
                </c:pt>
                <c:pt idx="1592">
                  <c:v>0.63300000000000001</c:v>
                </c:pt>
                <c:pt idx="1593">
                  <c:v>0.69799999999999995</c:v>
                </c:pt>
                <c:pt idx="1594">
                  <c:v>0.66100000000000003</c:v>
                </c:pt>
                <c:pt idx="1595">
                  <c:v>0.93400000000000005</c:v>
                </c:pt>
                <c:pt idx="1596">
                  <c:v>0.88</c:v>
                </c:pt>
                <c:pt idx="1597">
                  <c:v>0.69599999999999995</c:v>
                </c:pt>
                <c:pt idx="1598">
                  <c:v>0.72099999999999997</c:v>
                </c:pt>
                <c:pt idx="1599">
                  <c:v>0.61299999999999999</c:v>
                </c:pt>
                <c:pt idx="1600">
                  <c:v>0.56699999999999995</c:v>
                </c:pt>
                <c:pt idx="1601">
                  <c:v>0.92300000000000004</c:v>
                </c:pt>
                <c:pt idx="1602">
                  <c:v>0.93100000000000005</c:v>
                </c:pt>
                <c:pt idx="1603">
                  <c:v>0.85299999999999998</c:v>
                </c:pt>
                <c:pt idx="1604">
                  <c:v>0.6</c:v>
                </c:pt>
                <c:pt idx="1605">
                  <c:v>0.624</c:v>
                </c:pt>
                <c:pt idx="1606">
                  <c:v>0.97499999999999998</c:v>
                </c:pt>
                <c:pt idx="1607">
                  <c:v>0.81699999999999995</c:v>
                </c:pt>
                <c:pt idx="1608">
                  <c:v>0.30299999999999999</c:v>
                </c:pt>
                <c:pt idx="1609">
                  <c:v>0.74399999999999999</c:v>
                </c:pt>
                <c:pt idx="1610">
                  <c:v>0.81499999999999995</c:v>
                </c:pt>
                <c:pt idx="1611">
                  <c:v>0.64400000000000002</c:v>
                </c:pt>
                <c:pt idx="1612">
                  <c:v>0.68700000000000006</c:v>
                </c:pt>
                <c:pt idx="1613">
                  <c:v>0.79200000000000004</c:v>
                </c:pt>
                <c:pt idx="1614">
                  <c:v>0.29899999999999999</c:v>
                </c:pt>
                <c:pt idx="1615">
                  <c:v>0.66200000000000003</c:v>
                </c:pt>
                <c:pt idx="1616">
                  <c:v>0.93</c:v>
                </c:pt>
                <c:pt idx="1617">
                  <c:v>0.874</c:v>
                </c:pt>
                <c:pt idx="1618">
                  <c:v>0.92300000000000004</c:v>
                </c:pt>
                <c:pt idx="1619">
                  <c:v>0.627</c:v>
                </c:pt>
                <c:pt idx="1620">
                  <c:v>0.68100000000000005</c:v>
                </c:pt>
                <c:pt idx="1621">
                  <c:v>0.94399999999999995</c:v>
                </c:pt>
                <c:pt idx="1622">
                  <c:v>0.91700000000000004</c:v>
                </c:pt>
                <c:pt idx="1623">
                  <c:v>0.623</c:v>
                </c:pt>
                <c:pt idx="1624">
                  <c:v>0.81</c:v>
                </c:pt>
                <c:pt idx="1625">
                  <c:v>0.91700000000000004</c:v>
                </c:pt>
                <c:pt idx="1626">
                  <c:v>0.90600000000000003</c:v>
                </c:pt>
                <c:pt idx="1627">
                  <c:v>0.84799999999999998</c:v>
                </c:pt>
                <c:pt idx="1628">
                  <c:v>0.76</c:v>
                </c:pt>
                <c:pt idx="1629">
                  <c:v>0.63300000000000001</c:v>
                </c:pt>
                <c:pt idx="1630">
                  <c:v>0.57799999999999996</c:v>
                </c:pt>
                <c:pt idx="1631">
                  <c:v>0.505</c:v>
                </c:pt>
                <c:pt idx="1632">
                  <c:v>0.86199999999999999</c:v>
                </c:pt>
                <c:pt idx="1633">
                  <c:v>0.70599999999999996</c:v>
                </c:pt>
                <c:pt idx="1634">
                  <c:v>0.67</c:v>
                </c:pt>
                <c:pt idx="1635">
                  <c:v>0.93200000000000005</c:v>
                </c:pt>
                <c:pt idx="1636">
                  <c:v>0.90400000000000003</c:v>
                </c:pt>
                <c:pt idx="1637">
                  <c:v>0.92600000000000005</c:v>
                </c:pt>
                <c:pt idx="1638">
                  <c:v>0.9</c:v>
                </c:pt>
                <c:pt idx="1639">
                  <c:v>0.71</c:v>
                </c:pt>
                <c:pt idx="1640">
                  <c:v>0.60599999999999998</c:v>
                </c:pt>
                <c:pt idx="1641">
                  <c:v>0.876</c:v>
                </c:pt>
                <c:pt idx="1642">
                  <c:v>0.443</c:v>
                </c:pt>
                <c:pt idx="1643">
                  <c:v>0.47899999999999998</c:v>
                </c:pt>
                <c:pt idx="1644">
                  <c:v>0.84599999999999997</c:v>
                </c:pt>
                <c:pt idx="1645">
                  <c:v>0.64200000000000002</c:v>
                </c:pt>
                <c:pt idx="1646">
                  <c:v>0.89800000000000002</c:v>
                </c:pt>
                <c:pt idx="1647">
                  <c:v>0.83799999999999997</c:v>
                </c:pt>
                <c:pt idx="1648">
                  <c:v>0.88200000000000001</c:v>
                </c:pt>
                <c:pt idx="1649">
                  <c:v>0.93100000000000005</c:v>
                </c:pt>
                <c:pt idx="1650">
                  <c:v>0.874</c:v>
                </c:pt>
                <c:pt idx="1651">
                  <c:v>0.89900000000000002</c:v>
                </c:pt>
                <c:pt idx="1652">
                  <c:v>0.92800000000000005</c:v>
                </c:pt>
                <c:pt idx="1653">
                  <c:v>0.875</c:v>
                </c:pt>
                <c:pt idx="1654">
                  <c:v>0.84899999999999998</c:v>
                </c:pt>
                <c:pt idx="1655">
                  <c:v>0.81499999999999995</c:v>
                </c:pt>
                <c:pt idx="1656">
                  <c:v>0.73899999999999999</c:v>
                </c:pt>
                <c:pt idx="1657">
                  <c:v>0.79300000000000004</c:v>
                </c:pt>
                <c:pt idx="1658">
                  <c:v>0.48499999999999999</c:v>
                </c:pt>
                <c:pt idx="1659">
                  <c:v>0.93200000000000005</c:v>
                </c:pt>
                <c:pt idx="1660">
                  <c:v>0.81100000000000005</c:v>
                </c:pt>
                <c:pt idx="1661">
                  <c:v>0.16200000000000001</c:v>
                </c:pt>
                <c:pt idx="1662">
                  <c:v>0.755</c:v>
                </c:pt>
                <c:pt idx="1663">
                  <c:v>0.82599999999999996</c:v>
                </c:pt>
                <c:pt idx="1664">
                  <c:v>0.86799999999999999</c:v>
                </c:pt>
                <c:pt idx="1665">
                  <c:v>0.215</c:v>
                </c:pt>
                <c:pt idx="1666">
                  <c:v>0.878</c:v>
                </c:pt>
                <c:pt idx="1667">
                  <c:v>0.54800000000000004</c:v>
                </c:pt>
                <c:pt idx="1668">
                  <c:v>0.93</c:v>
                </c:pt>
                <c:pt idx="1669">
                  <c:v>0.73599999999999999</c:v>
                </c:pt>
                <c:pt idx="1670">
                  <c:v>0.35799999999999998</c:v>
                </c:pt>
                <c:pt idx="1671">
                  <c:v>0.59899999999999998</c:v>
                </c:pt>
                <c:pt idx="1672">
                  <c:v>0.57999999999999996</c:v>
                </c:pt>
                <c:pt idx="1673">
                  <c:v>0.91</c:v>
                </c:pt>
                <c:pt idx="1674">
                  <c:v>0.75</c:v>
                </c:pt>
                <c:pt idx="1675">
                  <c:v>0.83799999999999997</c:v>
                </c:pt>
                <c:pt idx="1676">
                  <c:v>0.95899999999999996</c:v>
                </c:pt>
                <c:pt idx="1677">
                  <c:v>0.93700000000000006</c:v>
                </c:pt>
                <c:pt idx="1678">
                  <c:v>0.83099999999999996</c:v>
                </c:pt>
                <c:pt idx="1679">
                  <c:v>0.66400000000000003</c:v>
                </c:pt>
                <c:pt idx="1680">
                  <c:v>0.54800000000000004</c:v>
                </c:pt>
                <c:pt idx="1681">
                  <c:v>0.66500000000000004</c:v>
                </c:pt>
                <c:pt idx="1682">
                  <c:v>0.61499999999999999</c:v>
                </c:pt>
                <c:pt idx="1683">
                  <c:v>0.85299999999999998</c:v>
                </c:pt>
                <c:pt idx="1684">
                  <c:v>0.371</c:v>
                </c:pt>
                <c:pt idx="1685">
                  <c:v>0.622</c:v>
                </c:pt>
                <c:pt idx="1686">
                  <c:v>0.73199999999999998</c:v>
                </c:pt>
                <c:pt idx="1687">
                  <c:v>0.76500000000000001</c:v>
                </c:pt>
                <c:pt idx="1688">
                  <c:v>0.83399999999999996</c:v>
                </c:pt>
                <c:pt idx="1689">
                  <c:v>0.88900000000000001</c:v>
                </c:pt>
                <c:pt idx="1690">
                  <c:v>0.879</c:v>
                </c:pt>
                <c:pt idx="1691">
                  <c:v>0.71599999999999997</c:v>
                </c:pt>
                <c:pt idx="1692">
                  <c:v>0.83399999999999996</c:v>
                </c:pt>
                <c:pt idx="1693">
                  <c:v>0.88500000000000001</c:v>
                </c:pt>
                <c:pt idx="1694">
                  <c:v>0.95899999999999996</c:v>
                </c:pt>
                <c:pt idx="1695">
                  <c:v>0.39400000000000002</c:v>
                </c:pt>
                <c:pt idx="1696">
                  <c:v>0.80800000000000005</c:v>
                </c:pt>
                <c:pt idx="1697">
                  <c:v>0.748</c:v>
                </c:pt>
                <c:pt idx="1698">
                  <c:v>0.74099999999999999</c:v>
                </c:pt>
                <c:pt idx="1699">
                  <c:v>0.77500000000000002</c:v>
                </c:pt>
                <c:pt idx="1700">
                  <c:v>0.85299999999999998</c:v>
                </c:pt>
                <c:pt idx="1701">
                  <c:v>0.76</c:v>
                </c:pt>
                <c:pt idx="1702">
                  <c:v>0.64</c:v>
                </c:pt>
                <c:pt idx="1703">
                  <c:v>0.78800000000000003</c:v>
                </c:pt>
                <c:pt idx="1704">
                  <c:v>0.80600000000000005</c:v>
                </c:pt>
                <c:pt idx="1705">
                  <c:v>0.54500000000000004</c:v>
                </c:pt>
                <c:pt idx="1706">
                  <c:v>0.70099999999999996</c:v>
                </c:pt>
                <c:pt idx="1707">
                  <c:v>0.65300000000000002</c:v>
                </c:pt>
                <c:pt idx="1708">
                  <c:v>0.72799999999999998</c:v>
                </c:pt>
                <c:pt idx="1709">
                  <c:v>0.89400000000000002</c:v>
                </c:pt>
                <c:pt idx="1710">
                  <c:v>0.81499999999999995</c:v>
                </c:pt>
                <c:pt idx="1711">
                  <c:v>0.66400000000000003</c:v>
                </c:pt>
                <c:pt idx="1712">
                  <c:v>0.26300000000000001</c:v>
                </c:pt>
                <c:pt idx="1713">
                  <c:v>0.65100000000000002</c:v>
                </c:pt>
                <c:pt idx="1714">
                  <c:v>0.96899999999999997</c:v>
                </c:pt>
                <c:pt idx="1715">
                  <c:v>0.52200000000000002</c:v>
                </c:pt>
                <c:pt idx="1716">
                  <c:v>0.77800000000000002</c:v>
                </c:pt>
                <c:pt idx="1717">
                  <c:v>0.93799999999999994</c:v>
                </c:pt>
                <c:pt idx="1718">
                  <c:v>0.30499999999999999</c:v>
                </c:pt>
                <c:pt idx="1719">
                  <c:v>0.76600000000000001</c:v>
                </c:pt>
                <c:pt idx="1720">
                  <c:v>0.78600000000000003</c:v>
                </c:pt>
                <c:pt idx="1721">
                  <c:v>0.69</c:v>
                </c:pt>
                <c:pt idx="1722">
                  <c:v>0.91600000000000004</c:v>
                </c:pt>
                <c:pt idx="1723">
                  <c:v>0.76600000000000001</c:v>
                </c:pt>
                <c:pt idx="1724">
                  <c:v>0.59899999999999998</c:v>
                </c:pt>
                <c:pt idx="1725">
                  <c:v>0.68500000000000005</c:v>
                </c:pt>
                <c:pt idx="1726">
                  <c:v>0.84299999999999997</c:v>
                </c:pt>
                <c:pt idx="1727">
                  <c:v>0.69</c:v>
                </c:pt>
                <c:pt idx="1728">
                  <c:v>0.45600000000000002</c:v>
                </c:pt>
                <c:pt idx="1729">
                  <c:v>0.66</c:v>
                </c:pt>
                <c:pt idx="1730">
                  <c:v>0.82299999999999995</c:v>
                </c:pt>
                <c:pt idx="1731">
                  <c:v>0.88900000000000001</c:v>
                </c:pt>
                <c:pt idx="1732">
                  <c:v>0.88</c:v>
                </c:pt>
                <c:pt idx="1733">
                  <c:v>0.89400000000000002</c:v>
                </c:pt>
                <c:pt idx="1734">
                  <c:v>0.65300000000000002</c:v>
                </c:pt>
                <c:pt idx="1735">
                  <c:v>0.82699999999999996</c:v>
                </c:pt>
                <c:pt idx="1736">
                  <c:v>0.92800000000000005</c:v>
                </c:pt>
                <c:pt idx="1737">
                  <c:v>0.624</c:v>
                </c:pt>
                <c:pt idx="1738">
                  <c:v>0.86599999999999999</c:v>
                </c:pt>
                <c:pt idx="1739">
                  <c:v>0.75600000000000001</c:v>
                </c:pt>
                <c:pt idx="1740">
                  <c:v>0.80400000000000005</c:v>
                </c:pt>
                <c:pt idx="1741">
                  <c:v>0.879</c:v>
                </c:pt>
                <c:pt idx="1742">
                  <c:v>0.71899999999999997</c:v>
                </c:pt>
                <c:pt idx="1743">
                  <c:v>0.95799999999999996</c:v>
                </c:pt>
                <c:pt idx="1744">
                  <c:v>0.38700000000000001</c:v>
                </c:pt>
                <c:pt idx="1745">
                  <c:v>0.88</c:v>
                </c:pt>
                <c:pt idx="1746">
                  <c:v>0.79600000000000004</c:v>
                </c:pt>
                <c:pt idx="1747">
                  <c:v>0.83</c:v>
                </c:pt>
                <c:pt idx="1748">
                  <c:v>0.93100000000000005</c:v>
                </c:pt>
                <c:pt idx="1749">
                  <c:v>0.76</c:v>
                </c:pt>
                <c:pt idx="1750">
                  <c:v>0.80600000000000005</c:v>
                </c:pt>
                <c:pt idx="1751">
                  <c:v>0.72699999999999998</c:v>
                </c:pt>
                <c:pt idx="1752">
                  <c:v>0.6</c:v>
                </c:pt>
                <c:pt idx="1753">
                  <c:v>0.95099999999999996</c:v>
                </c:pt>
                <c:pt idx="1754">
                  <c:v>0.70399999999999996</c:v>
                </c:pt>
                <c:pt idx="1755">
                  <c:v>0.54800000000000004</c:v>
                </c:pt>
                <c:pt idx="1756">
                  <c:v>0.86499999999999999</c:v>
                </c:pt>
                <c:pt idx="1757">
                  <c:v>0.91200000000000003</c:v>
                </c:pt>
                <c:pt idx="1758">
                  <c:v>0.92100000000000004</c:v>
                </c:pt>
                <c:pt idx="1759">
                  <c:v>0.74</c:v>
                </c:pt>
                <c:pt idx="1760">
                  <c:v>0.85699999999999998</c:v>
                </c:pt>
                <c:pt idx="1761">
                  <c:v>0.85499999999999998</c:v>
                </c:pt>
                <c:pt idx="1762">
                  <c:v>0.73399999999999999</c:v>
                </c:pt>
                <c:pt idx="1763">
                  <c:v>0.73699999999999999</c:v>
                </c:pt>
                <c:pt idx="1764">
                  <c:v>0.74299999999999999</c:v>
                </c:pt>
                <c:pt idx="1765">
                  <c:v>0.60099999999999998</c:v>
                </c:pt>
                <c:pt idx="1766">
                  <c:v>0.83199999999999996</c:v>
                </c:pt>
                <c:pt idx="1767">
                  <c:v>0.72199999999999998</c:v>
                </c:pt>
                <c:pt idx="1768">
                  <c:v>0.69899999999999995</c:v>
                </c:pt>
                <c:pt idx="1769">
                  <c:v>0.626</c:v>
                </c:pt>
                <c:pt idx="1770">
                  <c:v>0.57199999999999995</c:v>
                </c:pt>
                <c:pt idx="1771">
                  <c:v>0.82799999999999996</c:v>
                </c:pt>
                <c:pt idx="1772">
                  <c:v>0.83699999999999997</c:v>
                </c:pt>
                <c:pt idx="1773">
                  <c:v>0.51</c:v>
                </c:pt>
                <c:pt idx="1774">
                  <c:v>0.76900000000000002</c:v>
                </c:pt>
                <c:pt idx="1775">
                  <c:v>0.85199999999999998</c:v>
                </c:pt>
                <c:pt idx="1776">
                  <c:v>0.82899999999999996</c:v>
                </c:pt>
                <c:pt idx="1777">
                  <c:v>0.69699999999999995</c:v>
                </c:pt>
                <c:pt idx="1778">
                  <c:v>0.67800000000000005</c:v>
                </c:pt>
                <c:pt idx="1779">
                  <c:v>0.51</c:v>
                </c:pt>
                <c:pt idx="1780">
                  <c:v>0.82699999999999996</c:v>
                </c:pt>
                <c:pt idx="1781">
                  <c:v>0.81599999999999995</c:v>
                </c:pt>
                <c:pt idx="1782">
                  <c:v>0.42099999999999999</c:v>
                </c:pt>
                <c:pt idx="1783">
                  <c:v>0.90200000000000002</c:v>
                </c:pt>
                <c:pt idx="1784">
                  <c:v>0.36399999999999999</c:v>
                </c:pt>
                <c:pt idx="1785">
                  <c:v>0.53900000000000003</c:v>
                </c:pt>
                <c:pt idx="1786">
                  <c:v>0.44700000000000001</c:v>
                </c:pt>
                <c:pt idx="1787">
                  <c:v>0.68100000000000005</c:v>
                </c:pt>
                <c:pt idx="1788">
                  <c:v>0.72499999999999998</c:v>
                </c:pt>
                <c:pt idx="1789">
                  <c:v>0.79800000000000004</c:v>
                </c:pt>
                <c:pt idx="1790">
                  <c:v>0.84299999999999997</c:v>
                </c:pt>
                <c:pt idx="1791">
                  <c:v>0.66400000000000003</c:v>
                </c:pt>
                <c:pt idx="1792">
                  <c:v>0.81</c:v>
                </c:pt>
                <c:pt idx="1793">
                  <c:v>0.45700000000000002</c:v>
                </c:pt>
                <c:pt idx="1794">
                  <c:v>0.748</c:v>
                </c:pt>
                <c:pt idx="1795">
                  <c:v>0.73699999999999999</c:v>
                </c:pt>
                <c:pt idx="1796">
                  <c:v>0.70799999999999996</c:v>
                </c:pt>
                <c:pt idx="1797">
                  <c:v>0.69099999999999995</c:v>
                </c:pt>
                <c:pt idx="1798">
                  <c:v>0.47499999999999998</c:v>
                </c:pt>
                <c:pt idx="1799">
                  <c:v>0.69399999999999995</c:v>
                </c:pt>
                <c:pt idx="1800">
                  <c:v>0.56299999999999994</c:v>
                </c:pt>
                <c:pt idx="1801">
                  <c:v>0.75600000000000001</c:v>
                </c:pt>
                <c:pt idx="1802">
                  <c:v>0.56999999999999995</c:v>
                </c:pt>
                <c:pt idx="1803">
                  <c:v>0.442</c:v>
                </c:pt>
                <c:pt idx="1804">
                  <c:v>0.69799999999999995</c:v>
                </c:pt>
                <c:pt idx="1805">
                  <c:v>0.749</c:v>
                </c:pt>
                <c:pt idx="1806">
                  <c:v>0.72699999999999998</c:v>
                </c:pt>
                <c:pt idx="1807">
                  <c:v>0.9</c:v>
                </c:pt>
                <c:pt idx="1808">
                  <c:v>0.90100000000000002</c:v>
                </c:pt>
                <c:pt idx="1809">
                  <c:v>0.92900000000000005</c:v>
                </c:pt>
                <c:pt idx="1810">
                  <c:v>0.71</c:v>
                </c:pt>
                <c:pt idx="1811">
                  <c:v>0.90700000000000003</c:v>
                </c:pt>
                <c:pt idx="1812">
                  <c:v>0.77200000000000002</c:v>
                </c:pt>
                <c:pt idx="1813">
                  <c:v>0.44900000000000001</c:v>
                </c:pt>
                <c:pt idx="1814">
                  <c:v>0.90900000000000003</c:v>
                </c:pt>
                <c:pt idx="1815">
                  <c:v>0.56000000000000005</c:v>
                </c:pt>
                <c:pt idx="1816">
                  <c:v>0.48699999999999999</c:v>
                </c:pt>
                <c:pt idx="1817">
                  <c:v>0.45900000000000002</c:v>
                </c:pt>
                <c:pt idx="1818">
                  <c:v>0.83199999999999996</c:v>
                </c:pt>
                <c:pt idx="1819">
                  <c:v>0.76600000000000001</c:v>
                </c:pt>
                <c:pt idx="1820">
                  <c:v>0.75900000000000001</c:v>
                </c:pt>
                <c:pt idx="1821">
                  <c:v>0.90200000000000002</c:v>
                </c:pt>
                <c:pt idx="1822">
                  <c:v>0.89500000000000002</c:v>
                </c:pt>
                <c:pt idx="1823">
                  <c:v>0.80300000000000005</c:v>
                </c:pt>
                <c:pt idx="1824">
                  <c:v>0.84599999999999997</c:v>
                </c:pt>
                <c:pt idx="1825">
                  <c:v>0.55600000000000005</c:v>
                </c:pt>
                <c:pt idx="1826">
                  <c:v>0.89100000000000001</c:v>
                </c:pt>
                <c:pt idx="1827">
                  <c:v>0.92100000000000004</c:v>
                </c:pt>
                <c:pt idx="1828">
                  <c:v>0.91300000000000003</c:v>
                </c:pt>
                <c:pt idx="1829">
                  <c:v>0.51200000000000001</c:v>
                </c:pt>
                <c:pt idx="1830">
                  <c:v>0.64800000000000002</c:v>
                </c:pt>
                <c:pt idx="1831">
                  <c:v>0.372</c:v>
                </c:pt>
                <c:pt idx="1832">
                  <c:v>0.85299999999999998</c:v>
                </c:pt>
                <c:pt idx="1833">
                  <c:v>0.88700000000000001</c:v>
                </c:pt>
                <c:pt idx="1834">
                  <c:v>0.54</c:v>
                </c:pt>
                <c:pt idx="1835">
                  <c:v>0.71899999999999997</c:v>
                </c:pt>
                <c:pt idx="1836">
                  <c:v>0.627</c:v>
                </c:pt>
                <c:pt idx="1837">
                  <c:v>0.70799999999999996</c:v>
                </c:pt>
                <c:pt idx="1838">
                  <c:v>0.65400000000000003</c:v>
                </c:pt>
                <c:pt idx="1839">
                  <c:v>0.875</c:v>
                </c:pt>
                <c:pt idx="1840">
                  <c:v>0.93100000000000005</c:v>
                </c:pt>
                <c:pt idx="1841">
                  <c:v>0.747</c:v>
                </c:pt>
                <c:pt idx="1842">
                  <c:v>0.998</c:v>
                </c:pt>
                <c:pt idx="1843">
                  <c:v>0.77400000000000002</c:v>
                </c:pt>
                <c:pt idx="1844">
                  <c:v>0.872</c:v>
                </c:pt>
                <c:pt idx="1845">
                  <c:v>0.92800000000000005</c:v>
                </c:pt>
                <c:pt idx="1846">
                  <c:v>0.90800000000000003</c:v>
                </c:pt>
                <c:pt idx="1847">
                  <c:v>0.89</c:v>
                </c:pt>
                <c:pt idx="1848">
                  <c:v>0.93100000000000005</c:v>
                </c:pt>
                <c:pt idx="1849">
                  <c:v>0.71499999999999997</c:v>
                </c:pt>
                <c:pt idx="1850">
                  <c:v>0.67300000000000004</c:v>
                </c:pt>
                <c:pt idx="1851">
                  <c:v>0.70399999999999996</c:v>
                </c:pt>
                <c:pt idx="1852">
                  <c:v>0.52</c:v>
                </c:pt>
                <c:pt idx="1853">
                  <c:v>0.63400000000000001</c:v>
                </c:pt>
                <c:pt idx="1854">
                  <c:v>0.748</c:v>
                </c:pt>
                <c:pt idx="1855">
                  <c:v>0.503</c:v>
                </c:pt>
                <c:pt idx="1856">
                  <c:v>0.85299999999999998</c:v>
                </c:pt>
                <c:pt idx="1857">
                  <c:v>0.92300000000000004</c:v>
                </c:pt>
                <c:pt idx="1858">
                  <c:v>0.60599999999999998</c:v>
                </c:pt>
                <c:pt idx="1859">
                  <c:v>0.76</c:v>
                </c:pt>
                <c:pt idx="1860">
                  <c:v>0.76600000000000001</c:v>
                </c:pt>
                <c:pt idx="1861">
                  <c:v>0.45100000000000001</c:v>
                </c:pt>
                <c:pt idx="1862">
                  <c:v>0.63400000000000001</c:v>
                </c:pt>
                <c:pt idx="1863">
                  <c:v>0.84099999999999997</c:v>
                </c:pt>
                <c:pt idx="1864">
                  <c:v>0.80300000000000005</c:v>
                </c:pt>
                <c:pt idx="1865">
                  <c:v>0.39700000000000002</c:v>
                </c:pt>
                <c:pt idx="1866">
                  <c:v>0.68400000000000005</c:v>
                </c:pt>
                <c:pt idx="1867">
                  <c:v>0.59799999999999998</c:v>
                </c:pt>
                <c:pt idx="1868">
                  <c:v>0.68100000000000005</c:v>
                </c:pt>
                <c:pt idx="1869">
                  <c:v>0.78900000000000003</c:v>
                </c:pt>
                <c:pt idx="1870">
                  <c:v>0.755</c:v>
                </c:pt>
                <c:pt idx="1871">
                  <c:v>0.78800000000000003</c:v>
                </c:pt>
                <c:pt idx="1872">
                  <c:v>0.72499999999999998</c:v>
                </c:pt>
                <c:pt idx="1873">
                  <c:v>0.755</c:v>
                </c:pt>
                <c:pt idx="1874">
                  <c:v>0.86899999999999999</c:v>
                </c:pt>
                <c:pt idx="1875">
                  <c:v>0.77100000000000002</c:v>
                </c:pt>
                <c:pt idx="1876">
                  <c:v>0.85599999999999998</c:v>
                </c:pt>
                <c:pt idx="1877">
                  <c:v>0.875</c:v>
                </c:pt>
                <c:pt idx="1878">
                  <c:v>0.45</c:v>
                </c:pt>
                <c:pt idx="1879">
                  <c:v>0.84699999999999998</c:v>
                </c:pt>
                <c:pt idx="1880">
                  <c:v>0.65</c:v>
                </c:pt>
                <c:pt idx="1881">
                  <c:v>0.77400000000000002</c:v>
                </c:pt>
                <c:pt idx="1882">
                  <c:v>0.83899999999999997</c:v>
                </c:pt>
                <c:pt idx="1883">
                  <c:v>0.91300000000000003</c:v>
                </c:pt>
                <c:pt idx="1884">
                  <c:v>0.74199999999999999</c:v>
                </c:pt>
                <c:pt idx="1885">
                  <c:v>0.82499999999999996</c:v>
                </c:pt>
                <c:pt idx="1886">
                  <c:v>0.77300000000000002</c:v>
                </c:pt>
                <c:pt idx="1887">
                  <c:v>0.60899999999999999</c:v>
                </c:pt>
                <c:pt idx="1888">
                  <c:v>0.61599999999999999</c:v>
                </c:pt>
                <c:pt idx="1889">
                  <c:v>0.69</c:v>
                </c:pt>
                <c:pt idx="1890">
                  <c:v>0.89</c:v>
                </c:pt>
                <c:pt idx="1891">
                  <c:v>0.70499999999999996</c:v>
                </c:pt>
                <c:pt idx="1892">
                  <c:v>0.83599999999999997</c:v>
                </c:pt>
                <c:pt idx="1893">
                  <c:v>0.83199999999999996</c:v>
                </c:pt>
                <c:pt idx="1894">
                  <c:v>0.84499999999999997</c:v>
                </c:pt>
                <c:pt idx="1895">
                  <c:v>0.72599999999999998</c:v>
                </c:pt>
                <c:pt idx="1896">
                  <c:v>0.32200000000000001</c:v>
                </c:pt>
                <c:pt idx="1897">
                  <c:v>0.47599999999999998</c:v>
                </c:pt>
                <c:pt idx="1898">
                  <c:v>0.72899999999999998</c:v>
                </c:pt>
                <c:pt idx="1899">
                  <c:v>0.78</c:v>
                </c:pt>
                <c:pt idx="1900">
                  <c:v>0.878</c:v>
                </c:pt>
                <c:pt idx="1901">
                  <c:v>0.68799999999999994</c:v>
                </c:pt>
                <c:pt idx="1902">
                  <c:v>0.58099999999999996</c:v>
                </c:pt>
                <c:pt idx="1903">
                  <c:v>0.85499999999999998</c:v>
                </c:pt>
                <c:pt idx="1904">
                  <c:v>0.80600000000000005</c:v>
                </c:pt>
                <c:pt idx="1905">
                  <c:v>0.58399999999999996</c:v>
                </c:pt>
                <c:pt idx="1906">
                  <c:v>0.94299999999999995</c:v>
                </c:pt>
                <c:pt idx="1907">
                  <c:v>0.92800000000000005</c:v>
                </c:pt>
                <c:pt idx="1908">
                  <c:v>0.56299999999999994</c:v>
                </c:pt>
                <c:pt idx="1909">
                  <c:v>0.81399999999999995</c:v>
                </c:pt>
                <c:pt idx="1910">
                  <c:v>0.94</c:v>
                </c:pt>
                <c:pt idx="1911">
                  <c:v>0.68700000000000006</c:v>
                </c:pt>
                <c:pt idx="1912">
                  <c:v>0.69299999999999995</c:v>
                </c:pt>
                <c:pt idx="1913">
                  <c:v>0.79800000000000004</c:v>
                </c:pt>
                <c:pt idx="1914">
                  <c:v>0.56699999999999995</c:v>
                </c:pt>
                <c:pt idx="1915">
                  <c:v>0.90800000000000003</c:v>
                </c:pt>
                <c:pt idx="1916">
                  <c:v>0.877</c:v>
                </c:pt>
                <c:pt idx="1917">
                  <c:v>0.875</c:v>
                </c:pt>
                <c:pt idx="1918">
                  <c:v>0.317</c:v>
                </c:pt>
                <c:pt idx="1919">
                  <c:v>0.73399999999999999</c:v>
                </c:pt>
                <c:pt idx="1920">
                  <c:v>0.85399999999999998</c:v>
                </c:pt>
                <c:pt idx="1921">
                  <c:v>0.55800000000000005</c:v>
                </c:pt>
                <c:pt idx="1922">
                  <c:v>0.70199999999999996</c:v>
                </c:pt>
                <c:pt idx="1923">
                  <c:v>0.92300000000000004</c:v>
                </c:pt>
                <c:pt idx="1924">
                  <c:v>0.878</c:v>
                </c:pt>
                <c:pt idx="1925">
                  <c:v>0.95399999999999996</c:v>
                </c:pt>
                <c:pt idx="1926">
                  <c:v>0</c:v>
                </c:pt>
                <c:pt idx="1927">
                  <c:v>0.78</c:v>
                </c:pt>
                <c:pt idx="1928">
                  <c:v>0.83799999999999997</c:v>
                </c:pt>
                <c:pt idx="1929">
                  <c:v>0.77300000000000002</c:v>
                </c:pt>
                <c:pt idx="1930">
                  <c:v>0.65300000000000002</c:v>
                </c:pt>
                <c:pt idx="1931">
                  <c:v>0.54900000000000004</c:v>
                </c:pt>
                <c:pt idx="1932">
                  <c:v>0.79200000000000004</c:v>
                </c:pt>
                <c:pt idx="1933">
                  <c:v>0.93200000000000005</c:v>
                </c:pt>
                <c:pt idx="1934">
                  <c:v>0.77600000000000002</c:v>
                </c:pt>
                <c:pt idx="1935">
                  <c:v>0.73899999999999999</c:v>
                </c:pt>
                <c:pt idx="1936">
                  <c:v>0.67300000000000004</c:v>
                </c:pt>
                <c:pt idx="1937">
                  <c:v>0.86399999999999999</c:v>
                </c:pt>
                <c:pt idx="1938">
                  <c:v>0.92300000000000004</c:v>
                </c:pt>
                <c:pt idx="1939">
                  <c:v>0.67</c:v>
                </c:pt>
                <c:pt idx="1940">
                  <c:v>0.76900000000000002</c:v>
                </c:pt>
                <c:pt idx="1941">
                  <c:v>0.89400000000000002</c:v>
                </c:pt>
                <c:pt idx="1942">
                  <c:v>0.42899999999999999</c:v>
                </c:pt>
                <c:pt idx="1943">
                  <c:v>0.42</c:v>
                </c:pt>
                <c:pt idx="1944">
                  <c:v>0.74199999999999999</c:v>
                </c:pt>
                <c:pt idx="1945">
                  <c:v>0.87</c:v>
                </c:pt>
                <c:pt idx="1946">
                  <c:v>0.80500000000000005</c:v>
                </c:pt>
                <c:pt idx="1947">
                  <c:v>0.65500000000000003</c:v>
                </c:pt>
                <c:pt idx="1948">
                  <c:v>0.91100000000000003</c:v>
                </c:pt>
                <c:pt idx="1949">
                  <c:v>0.56000000000000005</c:v>
                </c:pt>
                <c:pt idx="1950">
                  <c:v>0.75800000000000001</c:v>
                </c:pt>
                <c:pt idx="1951">
                  <c:v>0.68600000000000005</c:v>
                </c:pt>
                <c:pt idx="1952">
                  <c:v>0.66</c:v>
                </c:pt>
                <c:pt idx="1953">
                  <c:v>0.65100000000000002</c:v>
                </c:pt>
                <c:pt idx="1954">
                  <c:v>0.71299999999999997</c:v>
                </c:pt>
                <c:pt idx="1955">
                  <c:v>0.91900000000000004</c:v>
                </c:pt>
                <c:pt idx="1956">
                  <c:v>0.78600000000000003</c:v>
                </c:pt>
                <c:pt idx="1957">
                  <c:v>0.89500000000000002</c:v>
                </c:pt>
                <c:pt idx="1958">
                  <c:v>0.46500000000000002</c:v>
                </c:pt>
                <c:pt idx="1959">
                  <c:v>0.55200000000000005</c:v>
                </c:pt>
                <c:pt idx="1960">
                  <c:v>0.70199999999999996</c:v>
                </c:pt>
                <c:pt idx="1961">
                  <c:v>0.81100000000000005</c:v>
                </c:pt>
                <c:pt idx="1962">
                  <c:v>0.88</c:v>
                </c:pt>
                <c:pt idx="1963">
                  <c:v>0.80700000000000005</c:v>
                </c:pt>
                <c:pt idx="1964">
                  <c:v>0.82499999999999996</c:v>
                </c:pt>
                <c:pt idx="1965">
                  <c:v>0.94</c:v>
                </c:pt>
                <c:pt idx="1966">
                  <c:v>0.78400000000000003</c:v>
                </c:pt>
                <c:pt idx="1967">
                  <c:v>0.70799999999999996</c:v>
                </c:pt>
                <c:pt idx="1968">
                  <c:v>0.68899999999999995</c:v>
                </c:pt>
                <c:pt idx="1969">
                  <c:v>0.81599999999999995</c:v>
                </c:pt>
                <c:pt idx="1970">
                  <c:v>0.82899999999999996</c:v>
                </c:pt>
                <c:pt idx="1971">
                  <c:v>0.94699999999999995</c:v>
                </c:pt>
                <c:pt idx="1972">
                  <c:v>0.73099999999999998</c:v>
                </c:pt>
                <c:pt idx="1973">
                  <c:v>0.66500000000000004</c:v>
                </c:pt>
                <c:pt idx="1974">
                  <c:v>0.95699999999999996</c:v>
                </c:pt>
                <c:pt idx="1975">
                  <c:v>0.76800000000000002</c:v>
                </c:pt>
                <c:pt idx="1976">
                  <c:v>0.82899999999999996</c:v>
                </c:pt>
                <c:pt idx="1977">
                  <c:v>0.89400000000000002</c:v>
                </c:pt>
                <c:pt idx="1978">
                  <c:v>0.65600000000000003</c:v>
                </c:pt>
                <c:pt idx="1979">
                  <c:v>0.34200000000000003</c:v>
                </c:pt>
                <c:pt idx="1980">
                  <c:v>0.73</c:v>
                </c:pt>
                <c:pt idx="1981">
                  <c:v>0.80200000000000005</c:v>
                </c:pt>
                <c:pt idx="1982">
                  <c:v>0.60099999999999998</c:v>
                </c:pt>
                <c:pt idx="1983">
                  <c:v>0.36499999999999999</c:v>
                </c:pt>
                <c:pt idx="1984">
                  <c:v>0.74</c:v>
                </c:pt>
                <c:pt idx="1985">
                  <c:v>0.77600000000000002</c:v>
                </c:pt>
                <c:pt idx="1986">
                  <c:v>0.76500000000000001</c:v>
                </c:pt>
                <c:pt idx="1987">
                  <c:v>0.81799999999999995</c:v>
                </c:pt>
                <c:pt idx="1988">
                  <c:v>0.58299999999999996</c:v>
                </c:pt>
                <c:pt idx="1989">
                  <c:v>0.72099999999999997</c:v>
                </c:pt>
                <c:pt idx="1990">
                  <c:v>0.85899999999999999</c:v>
                </c:pt>
                <c:pt idx="1991">
                  <c:v>0.83599999999999997</c:v>
                </c:pt>
                <c:pt idx="1992">
                  <c:v>0.41599999999999998</c:v>
                </c:pt>
                <c:pt idx="1993">
                  <c:v>0.48599999999999999</c:v>
                </c:pt>
                <c:pt idx="1994">
                  <c:v>0.53500000000000003</c:v>
                </c:pt>
                <c:pt idx="1995">
                  <c:v>0.94499999999999995</c:v>
                </c:pt>
                <c:pt idx="1996">
                  <c:v>0.93600000000000005</c:v>
                </c:pt>
                <c:pt idx="1997">
                  <c:v>0.51100000000000001</c:v>
                </c:pt>
                <c:pt idx="1998">
                  <c:v>0.79300000000000004</c:v>
                </c:pt>
                <c:pt idx="1999">
                  <c:v>0.94399999999999995</c:v>
                </c:pt>
                <c:pt idx="2000">
                  <c:v>0.77500000000000002</c:v>
                </c:pt>
                <c:pt idx="2001">
                  <c:v>0.68200000000000005</c:v>
                </c:pt>
                <c:pt idx="2002">
                  <c:v>0.314</c:v>
                </c:pt>
                <c:pt idx="2003">
                  <c:v>0.29799999999999999</c:v>
                </c:pt>
                <c:pt idx="2004">
                  <c:v>0.88800000000000001</c:v>
                </c:pt>
                <c:pt idx="2005">
                  <c:v>0.745</c:v>
                </c:pt>
                <c:pt idx="2006">
                  <c:v>0.88400000000000001</c:v>
                </c:pt>
                <c:pt idx="2007">
                  <c:v>0.80300000000000005</c:v>
                </c:pt>
                <c:pt idx="2008">
                  <c:v>0.87</c:v>
                </c:pt>
                <c:pt idx="2009">
                  <c:v>0.81599999999999995</c:v>
                </c:pt>
                <c:pt idx="2010">
                  <c:v>0.92500000000000004</c:v>
                </c:pt>
                <c:pt idx="2011">
                  <c:v>0.52900000000000003</c:v>
                </c:pt>
                <c:pt idx="2012">
                  <c:v>0.65900000000000003</c:v>
                </c:pt>
                <c:pt idx="2013">
                  <c:v>0.96299999999999997</c:v>
                </c:pt>
                <c:pt idx="2014">
                  <c:v>0.93100000000000005</c:v>
                </c:pt>
                <c:pt idx="2015">
                  <c:v>0.56699999999999995</c:v>
                </c:pt>
                <c:pt idx="2016">
                  <c:v>0.67400000000000004</c:v>
                </c:pt>
                <c:pt idx="2017">
                  <c:v>0.95599999999999996</c:v>
                </c:pt>
                <c:pt idx="2018">
                  <c:v>0.79100000000000004</c:v>
                </c:pt>
                <c:pt idx="2019">
                  <c:v>0.61899999999999999</c:v>
                </c:pt>
                <c:pt idx="2020">
                  <c:v>0.63600000000000001</c:v>
                </c:pt>
                <c:pt idx="2021">
                  <c:v>0.495</c:v>
                </c:pt>
                <c:pt idx="2022">
                  <c:v>0.55900000000000005</c:v>
                </c:pt>
                <c:pt idx="2023">
                  <c:v>0.36399999999999999</c:v>
                </c:pt>
                <c:pt idx="2024">
                  <c:v>0.68799999999999994</c:v>
                </c:pt>
                <c:pt idx="2025">
                  <c:v>0.504</c:v>
                </c:pt>
                <c:pt idx="2026">
                  <c:v>0.98099999999999998</c:v>
                </c:pt>
                <c:pt idx="2027">
                  <c:v>0.626</c:v>
                </c:pt>
                <c:pt idx="2028">
                  <c:v>0.90100000000000002</c:v>
                </c:pt>
                <c:pt idx="2029">
                  <c:v>0.79900000000000004</c:v>
                </c:pt>
                <c:pt idx="2030">
                  <c:v>0.95299999999999996</c:v>
                </c:pt>
                <c:pt idx="2031">
                  <c:v>0.4</c:v>
                </c:pt>
                <c:pt idx="2032">
                  <c:v>0.71799999999999997</c:v>
                </c:pt>
                <c:pt idx="2033">
                  <c:v>0.93100000000000005</c:v>
                </c:pt>
                <c:pt idx="2034">
                  <c:v>0.68600000000000005</c:v>
                </c:pt>
                <c:pt idx="2035">
                  <c:v>0.68300000000000005</c:v>
                </c:pt>
                <c:pt idx="2036">
                  <c:v>0.81100000000000005</c:v>
                </c:pt>
                <c:pt idx="2037">
                  <c:v>0.83699999999999997</c:v>
                </c:pt>
                <c:pt idx="2038">
                  <c:v>0.53800000000000003</c:v>
                </c:pt>
                <c:pt idx="2039">
                  <c:v>0.52100000000000002</c:v>
                </c:pt>
                <c:pt idx="2040">
                  <c:v>0.72</c:v>
                </c:pt>
                <c:pt idx="2041">
                  <c:v>0.67200000000000004</c:v>
                </c:pt>
                <c:pt idx="2042">
                  <c:v>0.72599999999999998</c:v>
                </c:pt>
                <c:pt idx="2043">
                  <c:v>0.93500000000000005</c:v>
                </c:pt>
                <c:pt idx="2044">
                  <c:v>0.51100000000000001</c:v>
                </c:pt>
                <c:pt idx="2045">
                  <c:v>0.81699999999999995</c:v>
                </c:pt>
                <c:pt idx="2046">
                  <c:v>0.89800000000000002</c:v>
                </c:pt>
                <c:pt idx="2047">
                  <c:v>0.48899999999999999</c:v>
                </c:pt>
                <c:pt idx="2048">
                  <c:v>0.94199999999999995</c:v>
                </c:pt>
                <c:pt idx="2049">
                  <c:v>0.42599999999999999</c:v>
                </c:pt>
                <c:pt idx="2050">
                  <c:v>0.81699999999999995</c:v>
                </c:pt>
                <c:pt idx="2051">
                  <c:v>0.86199999999999999</c:v>
                </c:pt>
                <c:pt idx="2052">
                  <c:v>0.79500000000000004</c:v>
                </c:pt>
                <c:pt idx="2053">
                  <c:v>0.83099999999999996</c:v>
                </c:pt>
                <c:pt idx="2054">
                  <c:v>0.45700000000000002</c:v>
                </c:pt>
                <c:pt idx="2055">
                  <c:v>0.34300000000000003</c:v>
                </c:pt>
                <c:pt idx="2056">
                  <c:v>0.75600000000000001</c:v>
                </c:pt>
                <c:pt idx="2057">
                  <c:v>0.94899999999999995</c:v>
                </c:pt>
                <c:pt idx="2058">
                  <c:v>0.26400000000000001</c:v>
                </c:pt>
                <c:pt idx="2059">
                  <c:v>0.68100000000000005</c:v>
                </c:pt>
                <c:pt idx="2060">
                  <c:v>0.85499999999999998</c:v>
                </c:pt>
                <c:pt idx="2061">
                  <c:v>0.32200000000000001</c:v>
                </c:pt>
                <c:pt idx="2062">
                  <c:v>0.80300000000000005</c:v>
                </c:pt>
                <c:pt idx="2063">
                  <c:v>0.83899999999999997</c:v>
                </c:pt>
                <c:pt idx="2064">
                  <c:v>0.84099999999999997</c:v>
                </c:pt>
                <c:pt idx="2065">
                  <c:v>0.70099999999999996</c:v>
                </c:pt>
                <c:pt idx="2066">
                  <c:v>0.85199999999999998</c:v>
                </c:pt>
                <c:pt idx="2067">
                  <c:v>0.90700000000000003</c:v>
                </c:pt>
                <c:pt idx="2068">
                  <c:v>0.82699999999999996</c:v>
                </c:pt>
                <c:pt idx="2069">
                  <c:v>0.91800000000000004</c:v>
                </c:pt>
                <c:pt idx="2070">
                  <c:v>0.28399999999999997</c:v>
                </c:pt>
                <c:pt idx="2071">
                  <c:v>0.70099999999999996</c:v>
                </c:pt>
                <c:pt idx="2072">
                  <c:v>0.73199999999999998</c:v>
                </c:pt>
                <c:pt idx="2073">
                  <c:v>0.69</c:v>
                </c:pt>
                <c:pt idx="2074">
                  <c:v>0.79900000000000004</c:v>
                </c:pt>
                <c:pt idx="2075">
                  <c:v>0.622</c:v>
                </c:pt>
                <c:pt idx="2076">
                  <c:v>0.89300000000000002</c:v>
                </c:pt>
                <c:pt idx="2077">
                  <c:v>0.69899999999999995</c:v>
                </c:pt>
                <c:pt idx="2078">
                  <c:v>0.71499999999999997</c:v>
                </c:pt>
                <c:pt idx="2079">
                  <c:v>0.56200000000000006</c:v>
                </c:pt>
                <c:pt idx="2080">
                  <c:v>0.78400000000000003</c:v>
                </c:pt>
                <c:pt idx="2081">
                  <c:v>0.73699999999999999</c:v>
                </c:pt>
                <c:pt idx="2082">
                  <c:v>0.56399999999999995</c:v>
                </c:pt>
                <c:pt idx="2083">
                  <c:v>0.90100000000000002</c:v>
                </c:pt>
                <c:pt idx="2084">
                  <c:v>0.77</c:v>
                </c:pt>
                <c:pt idx="2085">
                  <c:v>0.83599999999999997</c:v>
                </c:pt>
                <c:pt idx="2086">
                  <c:v>0.69799999999999995</c:v>
                </c:pt>
                <c:pt idx="2087">
                  <c:v>0.58499999999999996</c:v>
                </c:pt>
                <c:pt idx="2088">
                  <c:v>0.81799999999999995</c:v>
                </c:pt>
                <c:pt idx="2089">
                  <c:v>0.79</c:v>
                </c:pt>
                <c:pt idx="2090">
                  <c:v>0.72</c:v>
                </c:pt>
                <c:pt idx="2091">
                  <c:v>0.45200000000000001</c:v>
                </c:pt>
                <c:pt idx="2092">
                  <c:v>0.68899999999999995</c:v>
                </c:pt>
                <c:pt idx="2093">
                  <c:v>0.93100000000000005</c:v>
                </c:pt>
                <c:pt idx="2094">
                  <c:v>0.94499999999999995</c:v>
                </c:pt>
                <c:pt idx="2095">
                  <c:v>0.45500000000000002</c:v>
                </c:pt>
                <c:pt idx="2096">
                  <c:v>0.876</c:v>
                </c:pt>
                <c:pt idx="2097">
                  <c:v>0.78100000000000003</c:v>
                </c:pt>
                <c:pt idx="2098">
                  <c:v>0.755</c:v>
                </c:pt>
                <c:pt idx="2099">
                  <c:v>0.84199999999999997</c:v>
                </c:pt>
                <c:pt idx="2100">
                  <c:v>0.73299999999999998</c:v>
                </c:pt>
                <c:pt idx="2101">
                  <c:v>0.91100000000000003</c:v>
                </c:pt>
                <c:pt idx="2102">
                  <c:v>0.64</c:v>
                </c:pt>
                <c:pt idx="2103">
                  <c:v>0.71399999999999997</c:v>
                </c:pt>
                <c:pt idx="2104">
                  <c:v>0.52200000000000002</c:v>
                </c:pt>
                <c:pt idx="2105">
                  <c:v>0.86499999999999999</c:v>
                </c:pt>
                <c:pt idx="2106">
                  <c:v>0.52400000000000002</c:v>
                </c:pt>
                <c:pt idx="2107">
                  <c:v>0.85599999999999998</c:v>
                </c:pt>
                <c:pt idx="2108">
                  <c:v>0.46</c:v>
                </c:pt>
                <c:pt idx="2109">
                  <c:v>0.76800000000000002</c:v>
                </c:pt>
                <c:pt idx="2110">
                  <c:v>0.92</c:v>
                </c:pt>
                <c:pt idx="2111">
                  <c:v>0.82</c:v>
                </c:pt>
                <c:pt idx="2112">
                  <c:v>0.81499999999999995</c:v>
                </c:pt>
                <c:pt idx="2113">
                  <c:v>0.72299999999999998</c:v>
                </c:pt>
                <c:pt idx="2114">
                  <c:v>0.875</c:v>
                </c:pt>
                <c:pt idx="2115">
                  <c:v>0.79500000000000004</c:v>
                </c:pt>
                <c:pt idx="2116">
                  <c:v>0.92</c:v>
                </c:pt>
                <c:pt idx="2117">
                  <c:v>0.80800000000000005</c:v>
                </c:pt>
                <c:pt idx="2118">
                  <c:v>0.34</c:v>
                </c:pt>
                <c:pt idx="2119">
                  <c:v>0.61199999999999999</c:v>
                </c:pt>
                <c:pt idx="2120">
                  <c:v>0.66600000000000004</c:v>
                </c:pt>
                <c:pt idx="2121">
                  <c:v>0.80100000000000005</c:v>
                </c:pt>
                <c:pt idx="2122">
                  <c:v>0.26900000000000002</c:v>
                </c:pt>
                <c:pt idx="2123">
                  <c:v>0.91400000000000003</c:v>
                </c:pt>
                <c:pt idx="2124">
                  <c:v>1.4999999999999999E-2</c:v>
                </c:pt>
                <c:pt idx="2125">
                  <c:v>0.66700000000000004</c:v>
                </c:pt>
                <c:pt idx="2126">
                  <c:v>0.73699999999999999</c:v>
                </c:pt>
                <c:pt idx="2127">
                  <c:v>0.83199999999999996</c:v>
                </c:pt>
                <c:pt idx="2128">
                  <c:v>0.92800000000000005</c:v>
                </c:pt>
                <c:pt idx="2129">
                  <c:v>0.71199999999999997</c:v>
                </c:pt>
                <c:pt idx="2130">
                  <c:v>0.84399999999999997</c:v>
                </c:pt>
                <c:pt idx="2131">
                  <c:v>0.33200000000000002</c:v>
                </c:pt>
                <c:pt idx="2132">
                  <c:v>0.68700000000000006</c:v>
                </c:pt>
                <c:pt idx="2133">
                  <c:v>0.878</c:v>
                </c:pt>
                <c:pt idx="2134">
                  <c:v>0.35199999999999998</c:v>
                </c:pt>
                <c:pt idx="2135">
                  <c:v>0.82899999999999996</c:v>
                </c:pt>
                <c:pt idx="2136">
                  <c:v>0.51800000000000002</c:v>
                </c:pt>
                <c:pt idx="2137">
                  <c:v>0.90600000000000003</c:v>
                </c:pt>
                <c:pt idx="2138">
                  <c:v>0.502</c:v>
                </c:pt>
                <c:pt idx="2139">
                  <c:v>0.78900000000000003</c:v>
                </c:pt>
                <c:pt idx="2140">
                  <c:v>0.41299999999999998</c:v>
                </c:pt>
                <c:pt idx="2141">
                  <c:v>0.39600000000000002</c:v>
                </c:pt>
                <c:pt idx="2142">
                  <c:v>0.86099999999999999</c:v>
                </c:pt>
                <c:pt idx="2143">
                  <c:v>0.71899999999999997</c:v>
                </c:pt>
                <c:pt idx="2144">
                  <c:v>0.57599999999999996</c:v>
                </c:pt>
                <c:pt idx="2145">
                  <c:v>0.82299999999999995</c:v>
                </c:pt>
                <c:pt idx="2146">
                  <c:v>0.36</c:v>
                </c:pt>
                <c:pt idx="2147">
                  <c:v>0.81</c:v>
                </c:pt>
                <c:pt idx="2148">
                  <c:v>0.85899999999999999</c:v>
                </c:pt>
                <c:pt idx="2149">
                  <c:v>0.93600000000000005</c:v>
                </c:pt>
                <c:pt idx="2150">
                  <c:v>0.42499999999999999</c:v>
                </c:pt>
                <c:pt idx="2151">
                  <c:v>0.48099999999999998</c:v>
                </c:pt>
                <c:pt idx="2152">
                  <c:v>0.69599999999999995</c:v>
                </c:pt>
                <c:pt idx="2153">
                  <c:v>0.375</c:v>
                </c:pt>
                <c:pt idx="2154">
                  <c:v>0.61</c:v>
                </c:pt>
                <c:pt idx="2155">
                  <c:v>0.51800000000000002</c:v>
                </c:pt>
                <c:pt idx="2156">
                  <c:v>0.249</c:v>
                </c:pt>
                <c:pt idx="2157">
                  <c:v>0.73499999999999999</c:v>
                </c:pt>
                <c:pt idx="2158">
                  <c:v>0.92300000000000004</c:v>
                </c:pt>
                <c:pt idx="2159">
                  <c:v>0.78800000000000003</c:v>
                </c:pt>
                <c:pt idx="2160">
                  <c:v>0.84099999999999997</c:v>
                </c:pt>
                <c:pt idx="2161">
                  <c:v>0.56799999999999995</c:v>
                </c:pt>
                <c:pt idx="2162">
                  <c:v>0.874</c:v>
                </c:pt>
                <c:pt idx="2163">
                  <c:v>0.50900000000000001</c:v>
                </c:pt>
                <c:pt idx="2164">
                  <c:v>0.32400000000000001</c:v>
                </c:pt>
                <c:pt idx="2165">
                  <c:v>0.55200000000000005</c:v>
                </c:pt>
                <c:pt idx="2166">
                  <c:v>0.93400000000000005</c:v>
                </c:pt>
                <c:pt idx="2167">
                  <c:v>0.54500000000000004</c:v>
                </c:pt>
                <c:pt idx="2168">
                  <c:v>0.40100000000000002</c:v>
                </c:pt>
                <c:pt idx="2169">
                  <c:v>0.71699999999999997</c:v>
                </c:pt>
                <c:pt idx="2170">
                  <c:v>0.80200000000000005</c:v>
                </c:pt>
                <c:pt idx="2171">
                  <c:v>0.79400000000000004</c:v>
                </c:pt>
                <c:pt idx="2172">
                  <c:v>0.438</c:v>
                </c:pt>
                <c:pt idx="2173">
                  <c:v>0.78900000000000003</c:v>
                </c:pt>
                <c:pt idx="2174">
                  <c:v>0.85499999999999998</c:v>
                </c:pt>
                <c:pt idx="2175">
                  <c:v>0.59</c:v>
                </c:pt>
                <c:pt idx="2176">
                  <c:v>0.64200000000000002</c:v>
                </c:pt>
                <c:pt idx="2177">
                  <c:v>0.74099999999999999</c:v>
                </c:pt>
                <c:pt idx="2178">
                  <c:v>0.60199999999999998</c:v>
                </c:pt>
                <c:pt idx="2179">
                  <c:v>0.81399999999999995</c:v>
                </c:pt>
                <c:pt idx="2180">
                  <c:v>0.82799999999999996</c:v>
                </c:pt>
                <c:pt idx="2181">
                  <c:v>0.83899999999999997</c:v>
                </c:pt>
                <c:pt idx="2182">
                  <c:v>0.53100000000000003</c:v>
                </c:pt>
                <c:pt idx="2183">
                  <c:v>0.68</c:v>
                </c:pt>
                <c:pt idx="2184">
                  <c:v>0.40600000000000003</c:v>
                </c:pt>
                <c:pt idx="2185">
                  <c:v>0.59499999999999997</c:v>
                </c:pt>
                <c:pt idx="2186">
                  <c:v>0.88400000000000001</c:v>
                </c:pt>
                <c:pt idx="2187">
                  <c:v>0.53600000000000003</c:v>
                </c:pt>
                <c:pt idx="2188">
                  <c:v>0.94199999999999995</c:v>
                </c:pt>
                <c:pt idx="2189">
                  <c:v>0.92800000000000005</c:v>
                </c:pt>
                <c:pt idx="2190">
                  <c:v>0.66300000000000003</c:v>
                </c:pt>
                <c:pt idx="2191">
                  <c:v>0.73799999999999999</c:v>
                </c:pt>
                <c:pt idx="2192">
                  <c:v>0.52</c:v>
                </c:pt>
                <c:pt idx="2193">
                  <c:v>0.88200000000000001</c:v>
                </c:pt>
                <c:pt idx="2194">
                  <c:v>0.53400000000000003</c:v>
                </c:pt>
                <c:pt idx="2195">
                  <c:v>0.56100000000000005</c:v>
                </c:pt>
                <c:pt idx="2196">
                  <c:v>0.82299999999999995</c:v>
                </c:pt>
                <c:pt idx="2197">
                  <c:v>0.70699999999999996</c:v>
                </c:pt>
                <c:pt idx="2198">
                  <c:v>0.54700000000000004</c:v>
                </c:pt>
                <c:pt idx="2199">
                  <c:v>0.92500000000000004</c:v>
                </c:pt>
                <c:pt idx="2200">
                  <c:v>0.92200000000000004</c:v>
                </c:pt>
                <c:pt idx="2201">
                  <c:v>0.65500000000000003</c:v>
                </c:pt>
                <c:pt idx="2202">
                  <c:v>0.23499999999999999</c:v>
                </c:pt>
                <c:pt idx="2203">
                  <c:v>0.70299999999999996</c:v>
                </c:pt>
                <c:pt idx="2204">
                  <c:v>0.63500000000000001</c:v>
                </c:pt>
                <c:pt idx="2205">
                  <c:v>0.8</c:v>
                </c:pt>
                <c:pt idx="2206">
                  <c:v>0.88900000000000001</c:v>
                </c:pt>
                <c:pt idx="2207">
                  <c:v>0.47399999999999998</c:v>
                </c:pt>
                <c:pt idx="2208">
                  <c:v>0.61499999999999999</c:v>
                </c:pt>
                <c:pt idx="2209">
                  <c:v>0.504</c:v>
                </c:pt>
                <c:pt idx="2210">
                  <c:v>0.91100000000000003</c:v>
                </c:pt>
                <c:pt idx="2211">
                  <c:v>0.64700000000000002</c:v>
                </c:pt>
                <c:pt idx="2212">
                  <c:v>0.66</c:v>
                </c:pt>
                <c:pt idx="2213">
                  <c:v>0.77100000000000002</c:v>
                </c:pt>
                <c:pt idx="2214">
                  <c:v>0.68799999999999994</c:v>
                </c:pt>
                <c:pt idx="2215">
                  <c:v>0.74</c:v>
                </c:pt>
                <c:pt idx="2216">
                  <c:v>0.81100000000000005</c:v>
                </c:pt>
                <c:pt idx="2217">
                  <c:v>0.498</c:v>
                </c:pt>
                <c:pt idx="2218">
                  <c:v>0.64</c:v>
                </c:pt>
                <c:pt idx="2219">
                  <c:v>0.74399999999999999</c:v>
                </c:pt>
                <c:pt idx="2220">
                  <c:v>0.76200000000000001</c:v>
                </c:pt>
                <c:pt idx="2221">
                  <c:v>0.90700000000000003</c:v>
                </c:pt>
                <c:pt idx="2222">
                  <c:v>0.56799999999999995</c:v>
                </c:pt>
                <c:pt idx="2223">
                  <c:v>0.56799999999999995</c:v>
                </c:pt>
                <c:pt idx="2224">
                  <c:v>0.85799999999999998</c:v>
                </c:pt>
                <c:pt idx="2225">
                  <c:v>0.67500000000000004</c:v>
                </c:pt>
                <c:pt idx="2226">
                  <c:v>0.97599999999999998</c:v>
                </c:pt>
                <c:pt idx="2227">
                  <c:v>0.46700000000000003</c:v>
                </c:pt>
                <c:pt idx="2228">
                  <c:v>0.46100000000000002</c:v>
                </c:pt>
                <c:pt idx="2229">
                  <c:v>0.72399999999999998</c:v>
                </c:pt>
                <c:pt idx="2230">
                  <c:v>0.83</c:v>
                </c:pt>
                <c:pt idx="2231">
                  <c:v>0.96499999999999997</c:v>
                </c:pt>
                <c:pt idx="2232">
                  <c:v>0.80500000000000005</c:v>
                </c:pt>
                <c:pt idx="2233">
                  <c:v>0.84499999999999997</c:v>
                </c:pt>
                <c:pt idx="2234">
                  <c:v>0.88600000000000001</c:v>
                </c:pt>
                <c:pt idx="2235">
                  <c:v>0.73299999999999998</c:v>
                </c:pt>
                <c:pt idx="2236">
                  <c:v>0.73299999999999998</c:v>
                </c:pt>
                <c:pt idx="2237">
                  <c:v>0.90400000000000003</c:v>
                </c:pt>
                <c:pt idx="2238">
                  <c:v>0.66900000000000004</c:v>
                </c:pt>
                <c:pt idx="2239">
                  <c:v>0.92500000000000004</c:v>
                </c:pt>
                <c:pt idx="2240">
                  <c:v>0.82899999999999996</c:v>
                </c:pt>
                <c:pt idx="2241">
                  <c:v>0.58299999999999996</c:v>
                </c:pt>
                <c:pt idx="2242">
                  <c:v>0.75800000000000001</c:v>
                </c:pt>
                <c:pt idx="2243">
                  <c:v>0.65900000000000003</c:v>
                </c:pt>
                <c:pt idx="2244">
                  <c:v>0.55100000000000005</c:v>
                </c:pt>
                <c:pt idx="2245">
                  <c:v>0.433</c:v>
                </c:pt>
                <c:pt idx="2246">
                  <c:v>0.76500000000000001</c:v>
                </c:pt>
                <c:pt idx="2247">
                  <c:v>0.41499999999999998</c:v>
                </c:pt>
                <c:pt idx="2248">
                  <c:v>0.52500000000000002</c:v>
                </c:pt>
                <c:pt idx="2249">
                  <c:v>0.434</c:v>
                </c:pt>
                <c:pt idx="2250">
                  <c:v>0.67500000000000004</c:v>
                </c:pt>
                <c:pt idx="2251">
                  <c:v>0.79100000000000004</c:v>
                </c:pt>
                <c:pt idx="2252">
                  <c:v>0.5</c:v>
                </c:pt>
                <c:pt idx="2253">
                  <c:v>0.90600000000000003</c:v>
                </c:pt>
                <c:pt idx="2254">
                  <c:v>0.92500000000000004</c:v>
                </c:pt>
                <c:pt idx="2255">
                  <c:v>0.874</c:v>
                </c:pt>
                <c:pt idx="2256">
                  <c:v>0.54900000000000004</c:v>
                </c:pt>
                <c:pt idx="2257">
                  <c:v>0.72899999999999998</c:v>
                </c:pt>
                <c:pt idx="2258">
                  <c:v>0.497</c:v>
                </c:pt>
                <c:pt idx="2259">
                  <c:v>0.82399999999999995</c:v>
                </c:pt>
                <c:pt idx="2260">
                  <c:v>0.89800000000000002</c:v>
                </c:pt>
                <c:pt idx="2261">
                  <c:v>0.432</c:v>
                </c:pt>
                <c:pt idx="2262">
                  <c:v>0.78200000000000003</c:v>
                </c:pt>
                <c:pt idx="2263">
                  <c:v>0.75600000000000001</c:v>
                </c:pt>
                <c:pt idx="2264">
                  <c:v>0.84799999999999998</c:v>
                </c:pt>
                <c:pt idx="2265">
                  <c:v>0.93400000000000005</c:v>
                </c:pt>
                <c:pt idx="2266">
                  <c:v>0.75800000000000001</c:v>
                </c:pt>
                <c:pt idx="2267">
                  <c:v>0.36499999999999999</c:v>
                </c:pt>
                <c:pt idx="2268">
                  <c:v>0.74</c:v>
                </c:pt>
                <c:pt idx="2269">
                  <c:v>0.92200000000000004</c:v>
                </c:pt>
                <c:pt idx="2270">
                  <c:v>0.63300000000000001</c:v>
                </c:pt>
                <c:pt idx="2271">
                  <c:v>0.81100000000000005</c:v>
                </c:pt>
                <c:pt idx="2272">
                  <c:v>0.91100000000000003</c:v>
                </c:pt>
                <c:pt idx="2273">
                  <c:v>0.83499999999999996</c:v>
                </c:pt>
                <c:pt idx="2274">
                  <c:v>0.873</c:v>
                </c:pt>
                <c:pt idx="2275">
                  <c:v>0.66100000000000003</c:v>
                </c:pt>
                <c:pt idx="2276">
                  <c:v>0.88600000000000001</c:v>
                </c:pt>
                <c:pt idx="2277">
                  <c:v>0.81699999999999995</c:v>
                </c:pt>
                <c:pt idx="2278">
                  <c:v>0.76800000000000002</c:v>
                </c:pt>
                <c:pt idx="2279">
                  <c:v>0.88400000000000001</c:v>
                </c:pt>
                <c:pt idx="2280">
                  <c:v>0.70599999999999996</c:v>
                </c:pt>
                <c:pt idx="2281">
                  <c:v>0.67800000000000005</c:v>
                </c:pt>
                <c:pt idx="2282">
                  <c:v>0.435</c:v>
                </c:pt>
                <c:pt idx="2283">
                  <c:v>0.69399999999999995</c:v>
                </c:pt>
                <c:pt idx="2284">
                  <c:v>0.67700000000000005</c:v>
                </c:pt>
                <c:pt idx="2285">
                  <c:v>0.68200000000000005</c:v>
                </c:pt>
                <c:pt idx="2286">
                  <c:v>0.92300000000000004</c:v>
                </c:pt>
                <c:pt idx="2287">
                  <c:v>0.23599999999999999</c:v>
                </c:pt>
                <c:pt idx="2288">
                  <c:v>0.63800000000000001</c:v>
                </c:pt>
                <c:pt idx="2289">
                  <c:v>0.65800000000000003</c:v>
                </c:pt>
                <c:pt idx="2290">
                  <c:v>0.76300000000000001</c:v>
                </c:pt>
                <c:pt idx="2291">
                  <c:v>0.41599999999999998</c:v>
                </c:pt>
                <c:pt idx="2292">
                  <c:v>0.70599999999999996</c:v>
                </c:pt>
                <c:pt idx="2293">
                  <c:v>0.82399999999999995</c:v>
                </c:pt>
                <c:pt idx="2294">
                  <c:v>0.70699999999999996</c:v>
                </c:pt>
                <c:pt idx="2295">
                  <c:v>0.67</c:v>
                </c:pt>
                <c:pt idx="2296">
                  <c:v>0.95199999999999996</c:v>
                </c:pt>
                <c:pt idx="2297">
                  <c:v>0.89600000000000002</c:v>
                </c:pt>
                <c:pt idx="2298">
                  <c:v>0.873</c:v>
                </c:pt>
                <c:pt idx="2299">
                  <c:v>0.66200000000000003</c:v>
                </c:pt>
                <c:pt idx="2300">
                  <c:v>0.48499999999999999</c:v>
                </c:pt>
                <c:pt idx="2301">
                  <c:v>0.46</c:v>
                </c:pt>
                <c:pt idx="2302">
                  <c:v>0.45900000000000002</c:v>
                </c:pt>
                <c:pt idx="2303">
                  <c:v>0.88</c:v>
                </c:pt>
                <c:pt idx="2304">
                  <c:v>0.56299999999999994</c:v>
                </c:pt>
                <c:pt idx="2305">
                  <c:v>0.81100000000000005</c:v>
                </c:pt>
                <c:pt idx="2306">
                  <c:v>0.83</c:v>
                </c:pt>
                <c:pt idx="2307">
                  <c:v>0.53600000000000003</c:v>
                </c:pt>
                <c:pt idx="2308">
                  <c:v>0.85799999999999998</c:v>
                </c:pt>
                <c:pt idx="2309">
                  <c:v>0.95599999999999996</c:v>
                </c:pt>
                <c:pt idx="2310">
                  <c:v>0.752</c:v>
                </c:pt>
                <c:pt idx="2311">
                  <c:v>0.748</c:v>
                </c:pt>
                <c:pt idx="2312">
                  <c:v>0.5</c:v>
                </c:pt>
                <c:pt idx="2313">
                  <c:v>0.90800000000000003</c:v>
                </c:pt>
                <c:pt idx="2314">
                  <c:v>0.77</c:v>
                </c:pt>
                <c:pt idx="2315">
                  <c:v>0.69199999999999995</c:v>
                </c:pt>
                <c:pt idx="2316">
                  <c:v>0.83</c:v>
                </c:pt>
                <c:pt idx="2317">
                  <c:v>0.88600000000000001</c:v>
                </c:pt>
                <c:pt idx="2318">
                  <c:v>0.748</c:v>
                </c:pt>
                <c:pt idx="2319">
                  <c:v>0.86699999999999999</c:v>
                </c:pt>
                <c:pt idx="2320">
                  <c:v>0.45400000000000001</c:v>
                </c:pt>
                <c:pt idx="2321">
                  <c:v>0.45800000000000002</c:v>
                </c:pt>
                <c:pt idx="2322">
                  <c:v>0.83299999999999996</c:v>
                </c:pt>
                <c:pt idx="2323">
                  <c:v>0.32400000000000001</c:v>
                </c:pt>
                <c:pt idx="2324">
                  <c:v>0.28499999999999998</c:v>
                </c:pt>
                <c:pt idx="2325">
                  <c:v>0.59699999999999998</c:v>
                </c:pt>
                <c:pt idx="2326">
                  <c:v>0.52500000000000002</c:v>
                </c:pt>
                <c:pt idx="2327">
                  <c:v>0.90700000000000003</c:v>
                </c:pt>
                <c:pt idx="2328">
                  <c:v>0.71199999999999997</c:v>
                </c:pt>
                <c:pt idx="2329">
                  <c:v>0.71199999999999997</c:v>
                </c:pt>
                <c:pt idx="2330">
                  <c:v>0.28499999999999998</c:v>
                </c:pt>
                <c:pt idx="2331">
                  <c:v>0.55500000000000005</c:v>
                </c:pt>
                <c:pt idx="2332">
                  <c:v>0.55900000000000005</c:v>
                </c:pt>
                <c:pt idx="2333">
                  <c:v>0.91600000000000004</c:v>
                </c:pt>
                <c:pt idx="2334">
                  <c:v>0.60599999999999998</c:v>
                </c:pt>
                <c:pt idx="2335">
                  <c:v>0.81899999999999995</c:v>
                </c:pt>
                <c:pt idx="2336">
                  <c:v>0.872</c:v>
                </c:pt>
                <c:pt idx="2337">
                  <c:v>0.82699999999999996</c:v>
                </c:pt>
                <c:pt idx="2338">
                  <c:v>0.84</c:v>
                </c:pt>
                <c:pt idx="2339">
                  <c:v>0.85199999999999998</c:v>
                </c:pt>
                <c:pt idx="2340">
                  <c:v>0.40500000000000003</c:v>
                </c:pt>
                <c:pt idx="2341">
                  <c:v>0.52200000000000002</c:v>
                </c:pt>
                <c:pt idx="2342">
                  <c:v>0.75900000000000001</c:v>
                </c:pt>
                <c:pt idx="2343">
                  <c:v>0.70799999999999996</c:v>
                </c:pt>
                <c:pt idx="2344">
                  <c:v>0.77200000000000002</c:v>
                </c:pt>
                <c:pt idx="2345">
                  <c:v>0.745</c:v>
                </c:pt>
                <c:pt idx="2346">
                  <c:v>0.217</c:v>
                </c:pt>
                <c:pt idx="2347">
                  <c:v>0.86899999999999999</c:v>
                </c:pt>
                <c:pt idx="2348">
                  <c:v>0.89700000000000002</c:v>
                </c:pt>
                <c:pt idx="2349">
                  <c:v>0.86699999999999999</c:v>
                </c:pt>
                <c:pt idx="2350">
                  <c:v>0.55900000000000005</c:v>
                </c:pt>
                <c:pt idx="2351">
                  <c:v>0.42899999999999999</c:v>
                </c:pt>
                <c:pt idx="2352">
                  <c:v>0.80100000000000005</c:v>
                </c:pt>
                <c:pt idx="2353">
                  <c:v>0.70599999999999996</c:v>
                </c:pt>
                <c:pt idx="2354">
                  <c:v>0.28000000000000003</c:v>
                </c:pt>
                <c:pt idx="2355">
                  <c:v>0.56399999999999995</c:v>
                </c:pt>
                <c:pt idx="2356">
                  <c:v>0.83</c:v>
                </c:pt>
                <c:pt idx="2357">
                  <c:v>0.628</c:v>
                </c:pt>
                <c:pt idx="2358">
                  <c:v>0.78800000000000003</c:v>
                </c:pt>
                <c:pt idx="2359">
                  <c:v>0.78</c:v>
                </c:pt>
                <c:pt idx="2360">
                  <c:v>0.70499999999999996</c:v>
                </c:pt>
                <c:pt idx="2361">
                  <c:v>0.64100000000000001</c:v>
                </c:pt>
                <c:pt idx="2362">
                  <c:v>0.71199999999999997</c:v>
                </c:pt>
                <c:pt idx="2363">
                  <c:v>0.52900000000000003</c:v>
                </c:pt>
                <c:pt idx="2364">
                  <c:v>0.83799999999999997</c:v>
                </c:pt>
                <c:pt idx="2365">
                  <c:v>0.64100000000000001</c:v>
                </c:pt>
                <c:pt idx="2366">
                  <c:v>0.74399999999999999</c:v>
                </c:pt>
                <c:pt idx="2367">
                  <c:v>0.82199999999999995</c:v>
                </c:pt>
                <c:pt idx="2368">
                  <c:v>0.754</c:v>
                </c:pt>
                <c:pt idx="2369">
                  <c:v>0.55700000000000005</c:v>
                </c:pt>
                <c:pt idx="2370">
                  <c:v>0.59399999999999997</c:v>
                </c:pt>
                <c:pt idx="2371">
                  <c:v>0.72399999999999998</c:v>
                </c:pt>
                <c:pt idx="2372">
                  <c:v>0.48</c:v>
                </c:pt>
                <c:pt idx="2373">
                  <c:v>0.875</c:v>
                </c:pt>
                <c:pt idx="2374">
                  <c:v>0.76</c:v>
                </c:pt>
                <c:pt idx="2375">
                  <c:v>0.78200000000000003</c:v>
                </c:pt>
                <c:pt idx="2376">
                  <c:v>0.64100000000000001</c:v>
                </c:pt>
                <c:pt idx="2377">
                  <c:v>0.84599999999999997</c:v>
                </c:pt>
                <c:pt idx="2378">
                  <c:v>0.56999999999999995</c:v>
                </c:pt>
                <c:pt idx="2379">
                  <c:v>0.59499999999999997</c:v>
                </c:pt>
                <c:pt idx="2380">
                  <c:v>0.93500000000000005</c:v>
                </c:pt>
                <c:pt idx="2381">
                  <c:v>0.56999999999999995</c:v>
                </c:pt>
                <c:pt idx="2382">
                  <c:v>0.53300000000000003</c:v>
                </c:pt>
                <c:pt idx="2383">
                  <c:v>0.40100000000000002</c:v>
                </c:pt>
                <c:pt idx="2384">
                  <c:v>0.29699999999999999</c:v>
                </c:pt>
                <c:pt idx="2385">
                  <c:v>0.32</c:v>
                </c:pt>
                <c:pt idx="2386">
                  <c:v>0.66700000000000004</c:v>
                </c:pt>
                <c:pt idx="2387">
                  <c:v>0.83</c:v>
                </c:pt>
                <c:pt idx="2388">
                  <c:v>0.313</c:v>
                </c:pt>
                <c:pt idx="2389">
                  <c:v>0.443</c:v>
                </c:pt>
                <c:pt idx="2390">
                  <c:v>0.47299999999999998</c:v>
                </c:pt>
                <c:pt idx="2391">
                  <c:v>0.80500000000000005</c:v>
                </c:pt>
                <c:pt idx="2392">
                  <c:v>0.82099999999999995</c:v>
                </c:pt>
                <c:pt idx="2393">
                  <c:v>0.71099999999999997</c:v>
                </c:pt>
                <c:pt idx="2394">
                  <c:v>0.91800000000000004</c:v>
                </c:pt>
                <c:pt idx="2395">
                  <c:v>0.54700000000000004</c:v>
                </c:pt>
                <c:pt idx="2396">
                  <c:v>0.74099999999999999</c:v>
                </c:pt>
                <c:pt idx="2397">
                  <c:v>0.28000000000000003</c:v>
                </c:pt>
                <c:pt idx="2398">
                  <c:v>0.185</c:v>
                </c:pt>
                <c:pt idx="2399">
                  <c:v>0.68200000000000005</c:v>
                </c:pt>
                <c:pt idx="2400">
                  <c:v>0.64300000000000002</c:v>
                </c:pt>
                <c:pt idx="2401">
                  <c:v>0.77600000000000002</c:v>
                </c:pt>
                <c:pt idx="2402">
                  <c:v>0.61499999999999999</c:v>
                </c:pt>
                <c:pt idx="2403">
                  <c:v>0.70599999999999996</c:v>
                </c:pt>
                <c:pt idx="2404">
                  <c:v>0.27100000000000002</c:v>
                </c:pt>
                <c:pt idx="2405">
                  <c:v>0.84099999999999997</c:v>
                </c:pt>
                <c:pt idx="2406">
                  <c:v>0.53700000000000003</c:v>
                </c:pt>
                <c:pt idx="2407">
                  <c:v>0.84299999999999997</c:v>
                </c:pt>
                <c:pt idx="2408">
                  <c:v>0.66700000000000004</c:v>
                </c:pt>
                <c:pt idx="2409">
                  <c:v>0.88700000000000001</c:v>
                </c:pt>
                <c:pt idx="2410">
                  <c:v>0.64600000000000002</c:v>
                </c:pt>
                <c:pt idx="2411">
                  <c:v>0.39900000000000002</c:v>
                </c:pt>
                <c:pt idx="2412">
                  <c:v>0.86299999999999999</c:v>
                </c:pt>
                <c:pt idx="2413">
                  <c:v>0.91300000000000003</c:v>
                </c:pt>
                <c:pt idx="2414">
                  <c:v>0.89200000000000002</c:v>
                </c:pt>
                <c:pt idx="2415">
                  <c:v>0.72199999999999998</c:v>
                </c:pt>
                <c:pt idx="2416">
                  <c:v>0.83699999999999997</c:v>
                </c:pt>
                <c:pt idx="2417">
                  <c:v>0.754</c:v>
                </c:pt>
                <c:pt idx="2418">
                  <c:v>0.876</c:v>
                </c:pt>
                <c:pt idx="2419">
                  <c:v>0.61899999999999999</c:v>
                </c:pt>
                <c:pt idx="2420">
                  <c:v>0.73299999999999998</c:v>
                </c:pt>
                <c:pt idx="2421">
                  <c:v>0.58399999999999996</c:v>
                </c:pt>
                <c:pt idx="2422">
                  <c:v>0.504</c:v>
                </c:pt>
                <c:pt idx="2423">
                  <c:v>0.70099999999999996</c:v>
                </c:pt>
                <c:pt idx="2424">
                  <c:v>0.878</c:v>
                </c:pt>
                <c:pt idx="2425">
                  <c:v>0.9</c:v>
                </c:pt>
                <c:pt idx="2426">
                  <c:v>0.82499999999999996</c:v>
                </c:pt>
                <c:pt idx="2427">
                  <c:v>0.70799999999999996</c:v>
                </c:pt>
                <c:pt idx="2428">
                  <c:v>0.89500000000000002</c:v>
                </c:pt>
                <c:pt idx="2429">
                  <c:v>0.47399999999999998</c:v>
                </c:pt>
                <c:pt idx="2430">
                  <c:v>0.64100000000000001</c:v>
                </c:pt>
                <c:pt idx="2431">
                  <c:v>0.59299999999999997</c:v>
                </c:pt>
                <c:pt idx="2432">
                  <c:v>0.45700000000000002</c:v>
                </c:pt>
                <c:pt idx="2433">
                  <c:v>0.32800000000000001</c:v>
                </c:pt>
                <c:pt idx="2434">
                  <c:v>0.83</c:v>
                </c:pt>
                <c:pt idx="2435">
                  <c:v>0.497</c:v>
                </c:pt>
                <c:pt idx="2436">
                  <c:v>0.77600000000000002</c:v>
                </c:pt>
                <c:pt idx="2437">
                  <c:v>0.63</c:v>
                </c:pt>
                <c:pt idx="2438">
                  <c:v>0.87</c:v>
                </c:pt>
                <c:pt idx="2439">
                  <c:v>0.64800000000000002</c:v>
                </c:pt>
                <c:pt idx="2440">
                  <c:v>0.63</c:v>
                </c:pt>
                <c:pt idx="2441">
                  <c:v>0.67</c:v>
                </c:pt>
                <c:pt idx="2442">
                  <c:v>0.76500000000000001</c:v>
                </c:pt>
                <c:pt idx="2443">
                  <c:v>0.755</c:v>
                </c:pt>
                <c:pt idx="2444">
                  <c:v>0.90800000000000003</c:v>
                </c:pt>
                <c:pt idx="2445">
                  <c:v>0.56699999999999995</c:v>
                </c:pt>
                <c:pt idx="2446">
                  <c:v>0.44400000000000001</c:v>
                </c:pt>
                <c:pt idx="2447">
                  <c:v>0.81799999999999995</c:v>
                </c:pt>
                <c:pt idx="2448">
                  <c:v>0.872</c:v>
                </c:pt>
                <c:pt idx="2449">
                  <c:v>0.88900000000000001</c:v>
                </c:pt>
                <c:pt idx="2450">
                  <c:v>0.36799999999999999</c:v>
                </c:pt>
                <c:pt idx="2451">
                  <c:v>0.47299999999999998</c:v>
                </c:pt>
                <c:pt idx="2452">
                  <c:v>0.41099999999999998</c:v>
                </c:pt>
                <c:pt idx="2453">
                  <c:v>0.68200000000000005</c:v>
                </c:pt>
                <c:pt idx="2454">
                  <c:v>0.65600000000000003</c:v>
                </c:pt>
                <c:pt idx="2455">
                  <c:v>0.79700000000000004</c:v>
                </c:pt>
                <c:pt idx="2456">
                  <c:v>0.312</c:v>
                </c:pt>
                <c:pt idx="2457">
                  <c:v>0.54900000000000004</c:v>
                </c:pt>
                <c:pt idx="2458">
                  <c:v>0.57599999999999996</c:v>
                </c:pt>
                <c:pt idx="2459">
                  <c:v>0.69299999999999995</c:v>
                </c:pt>
                <c:pt idx="2460">
                  <c:v>0.41599999999999998</c:v>
                </c:pt>
                <c:pt idx="2461">
                  <c:v>0.5</c:v>
                </c:pt>
                <c:pt idx="2462">
                  <c:v>0.67500000000000004</c:v>
                </c:pt>
                <c:pt idx="2463">
                  <c:v>0.86099999999999999</c:v>
                </c:pt>
                <c:pt idx="2464">
                  <c:v>0.63800000000000001</c:v>
                </c:pt>
                <c:pt idx="2465">
                  <c:v>0.46200000000000002</c:v>
                </c:pt>
                <c:pt idx="2466">
                  <c:v>0.502</c:v>
                </c:pt>
                <c:pt idx="2467">
                  <c:v>0.80800000000000005</c:v>
                </c:pt>
                <c:pt idx="2468">
                  <c:v>0.83299999999999996</c:v>
                </c:pt>
                <c:pt idx="2469">
                  <c:v>0.755</c:v>
                </c:pt>
                <c:pt idx="2470">
                  <c:v>0.86599999999999999</c:v>
                </c:pt>
                <c:pt idx="2471">
                  <c:v>0.72499999999999998</c:v>
                </c:pt>
                <c:pt idx="2472">
                  <c:v>0.45400000000000001</c:v>
                </c:pt>
                <c:pt idx="2473">
                  <c:v>0.86699999999999999</c:v>
                </c:pt>
                <c:pt idx="2474">
                  <c:v>0.64400000000000002</c:v>
                </c:pt>
                <c:pt idx="2475">
                  <c:v>0.55800000000000005</c:v>
                </c:pt>
                <c:pt idx="2476">
                  <c:v>0.86099999999999999</c:v>
                </c:pt>
                <c:pt idx="2477">
                  <c:v>0.89400000000000002</c:v>
                </c:pt>
                <c:pt idx="2478">
                  <c:v>0.92500000000000004</c:v>
                </c:pt>
                <c:pt idx="2479">
                  <c:v>0.60199999999999998</c:v>
                </c:pt>
                <c:pt idx="2480">
                  <c:v>0.433</c:v>
                </c:pt>
                <c:pt idx="2481">
                  <c:v>0.75700000000000001</c:v>
                </c:pt>
                <c:pt idx="2482">
                  <c:v>0.78400000000000003</c:v>
                </c:pt>
                <c:pt idx="2483">
                  <c:v>0.46899999999999997</c:v>
                </c:pt>
                <c:pt idx="2484">
                  <c:v>0.307</c:v>
                </c:pt>
                <c:pt idx="2485">
                  <c:v>0.89100000000000001</c:v>
                </c:pt>
                <c:pt idx="2486">
                  <c:v>0.81499999999999995</c:v>
                </c:pt>
                <c:pt idx="2487">
                  <c:v>0.89</c:v>
                </c:pt>
                <c:pt idx="2488">
                  <c:v>0.61799999999999999</c:v>
                </c:pt>
                <c:pt idx="2489">
                  <c:v>0.50600000000000001</c:v>
                </c:pt>
                <c:pt idx="2490">
                  <c:v>0.51900000000000002</c:v>
                </c:pt>
                <c:pt idx="2491">
                  <c:v>0.73899999999999999</c:v>
                </c:pt>
                <c:pt idx="2492">
                  <c:v>0.91300000000000003</c:v>
                </c:pt>
                <c:pt idx="2493">
                  <c:v>0.9</c:v>
                </c:pt>
                <c:pt idx="2494">
                  <c:v>0.68799999999999994</c:v>
                </c:pt>
                <c:pt idx="2495">
                  <c:v>0.84299999999999997</c:v>
                </c:pt>
                <c:pt idx="2496">
                  <c:v>0.58499999999999996</c:v>
                </c:pt>
                <c:pt idx="2497">
                  <c:v>0.83699999999999997</c:v>
                </c:pt>
                <c:pt idx="2498">
                  <c:v>0.61899999999999999</c:v>
                </c:pt>
                <c:pt idx="2499">
                  <c:v>0.56200000000000006</c:v>
                </c:pt>
                <c:pt idx="2500">
                  <c:v>0.84499999999999997</c:v>
                </c:pt>
                <c:pt idx="2501">
                  <c:v>0.72899999999999998</c:v>
                </c:pt>
                <c:pt idx="2502">
                  <c:v>0.77900000000000003</c:v>
                </c:pt>
                <c:pt idx="2503">
                  <c:v>0.89600000000000002</c:v>
                </c:pt>
                <c:pt idx="2504">
                  <c:v>0.75</c:v>
                </c:pt>
                <c:pt idx="2505">
                  <c:v>0.45200000000000001</c:v>
                </c:pt>
                <c:pt idx="2506">
                  <c:v>0.86799999999999999</c:v>
                </c:pt>
                <c:pt idx="2507">
                  <c:v>0.64200000000000002</c:v>
                </c:pt>
                <c:pt idx="2508">
                  <c:v>0.71499999999999997</c:v>
                </c:pt>
                <c:pt idx="2509">
                  <c:v>0.70099999999999996</c:v>
                </c:pt>
                <c:pt idx="2510">
                  <c:v>0.70899999999999996</c:v>
                </c:pt>
                <c:pt idx="2511">
                  <c:v>0.65700000000000003</c:v>
                </c:pt>
                <c:pt idx="2512">
                  <c:v>0.57299999999999995</c:v>
                </c:pt>
                <c:pt idx="2513">
                  <c:v>0.66800000000000004</c:v>
                </c:pt>
                <c:pt idx="2514">
                  <c:v>0.89500000000000002</c:v>
                </c:pt>
                <c:pt idx="2515">
                  <c:v>0.31900000000000001</c:v>
                </c:pt>
                <c:pt idx="2516">
                  <c:v>0.64100000000000001</c:v>
                </c:pt>
                <c:pt idx="2517">
                  <c:v>0.82899999999999996</c:v>
                </c:pt>
                <c:pt idx="2518">
                  <c:v>0.72299999999999998</c:v>
                </c:pt>
                <c:pt idx="2519">
                  <c:v>0.91900000000000004</c:v>
                </c:pt>
                <c:pt idx="2520">
                  <c:v>0.65900000000000003</c:v>
                </c:pt>
                <c:pt idx="2521">
                  <c:v>0.871</c:v>
                </c:pt>
                <c:pt idx="2522">
                  <c:v>0.61199999999999999</c:v>
                </c:pt>
                <c:pt idx="2523">
                  <c:v>0.38500000000000001</c:v>
                </c:pt>
                <c:pt idx="2524">
                  <c:v>0.46400000000000002</c:v>
                </c:pt>
                <c:pt idx="2525">
                  <c:v>0.68899999999999995</c:v>
                </c:pt>
                <c:pt idx="2526">
                  <c:v>0.77600000000000002</c:v>
                </c:pt>
                <c:pt idx="2527">
                  <c:v>0.84099999999999997</c:v>
                </c:pt>
                <c:pt idx="2528">
                  <c:v>0.59799999999999998</c:v>
                </c:pt>
                <c:pt idx="2529">
                  <c:v>0.85799999999999998</c:v>
                </c:pt>
                <c:pt idx="2530">
                  <c:v>0.626</c:v>
                </c:pt>
                <c:pt idx="2531">
                  <c:v>0.84799999999999998</c:v>
                </c:pt>
                <c:pt idx="2532">
                  <c:v>0.878</c:v>
                </c:pt>
                <c:pt idx="2533">
                  <c:v>0.91100000000000003</c:v>
                </c:pt>
                <c:pt idx="2534">
                  <c:v>0.876</c:v>
                </c:pt>
                <c:pt idx="2535">
                  <c:v>0.503</c:v>
                </c:pt>
                <c:pt idx="2536">
                  <c:v>0.64100000000000001</c:v>
                </c:pt>
                <c:pt idx="2537">
                  <c:v>0.38</c:v>
                </c:pt>
                <c:pt idx="2538">
                  <c:v>0.64700000000000002</c:v>
                </c:pt>
                <c:pt idx="2539">
                  <c:v>0.51</c:v>
                </c:pt>
                <c:pt idx="2540">
                  <c:v>0.55500000000000005</c:v>
                </c:pt>
                <c:pt idx="2541">
                  <c:v>0.8</c:v>
                </c:pt>
                <c:pt idx="2542">
                  <c:v>0.74299999999999999</c:v>
                </c:pt>
                <c:pt idx="2543">
                  <c:v>0.55400000000000005</c:v>
                </c:pt>
                <c:pt idx="2544">
                  <c:v>0.59799999999999998</c:v>
                </c:pt>
                <c:pt idx="2545">
                  <c:v>0.44400000000000001</c:v>
                </c:pt>
                <c:pt idx="2546">
                  <c:v>0.55100000000000005</c:v>
                </c:pt>
                <c:pt idx="2547">
                  <c:v>0.216</c:v>
                </c:pt>
                <c:pt idx="2548">
                  <c:v>0.39100000000000001</c:v>
                </c:pt>
                <c:pt idx="2549">
                  <c:v>0.90900000000000003</c:v>
                </c:pt>
                <c:pt idx="2550">
                  <c:v>0.57699999999999996</c:v>
                </c:pt>
                <c:pt idx="2551">
                  <c:v>0.79100000000000004</c:v>
                </c:pt>
                <c:pt idx="2552">
                  <c:v>0.95299999999999996</c:v>
                </c:pt>
                <c:pt idx="2553">
                  <c:v>0.55600000000000005</c:v>
                </c:pt>
                <c:pt idx="2554">
                  <c:v>0.76100000000000001</c:v>
                </c:pt>
                <c:pt idx="2555">
                  <c:v>0.50600000000000001</c:v>
                </c:pt>
                <c:pt idx="2556">
                  <c:v>0.626</c:v>
                </c:pt>
                <c:pt idx="2557">
                  <c:v>0.89</c:v>
                </c:pt>
                <c:pt idx="2558">
                  <c:v>0.90800000000000003</c:v>
                </c:pt>
                <c:pt idx="2559">
                  <c:v>0.84</c:v>
                </c:pt>
                <c:pt idx="2560">
                  <c:v>0.72799999999999998</c:v>
                </c:pt>
                <c:pt idx="2561">
                  <c:v>0.83699999999999997</c:v>
                </c:pt>
                <c:pt idx="2562">
                  <c:v>0.82</c:v>
                </c:pt>
                <c:pt idx="2563">
                  <c:v>0.82399999999999995</c:v>
                </c:pt>
                <c:pt idx="2564">
                  <c:v>0.83299999999999996</c:v>
                </c:pt>
                <c:pt idx="2565">
                  <c:v>0.84799999999999998</c:v>
                </c:pt>
                <c:pt idx="2566">
                  <c:v>0.61599999999999999</c:v>
                </c:pt>
                <c:pt idx="2567">
                  <c:v>0.80900000000000005</c:v>
                </c:pt>
                <c:pt idx="2568">
                  <c:v>0.63300000000000001</c:v>
                </c:pt>
                <c:pt idx="2569">
                  <c:v>0.68300000000000005</c:v>
                </c:pt>
                <c:pt idx="2570">
                  <c:v>0.68400000000000005</c:v>
                </c:pt>
                <c:pt idx="2571">
                  <c:v>0.55800000000000005</c:v>
                </c:pt>
                <c:pt idx="2572">
                  <c:v>0.83</c:v>
                </c:pt>
                <c:pt idx="2573">
                  <c:v>0.95</c:v>
                </c:pt>
                <c:pt idx="2574">
                  <c:v>0.86299999999999999</c:v>
                </c:pt>
                <c:pt idx="2575">
                  <c:v>0.91900000000000004</c:v>
                </c:pt>
                <c:pt idx="2576">
                  <c:v>0.76</c:v>
                </c:pt>
                <c:pt idx="2577">
                  <c:v>0.66300000000000003</c:v>
                </c:pt>
                <c:pt idx="2578">
                  <c:v>0.84199999999999997</c:v>
                </c:pt>
                <c:pt idx="2579">
                  <c:v>0.442</c:v>
                </c:pt>
                <c:pt idx="2580">
                  <c:v>0.79100000000000004</c:v>
                </c:pt>
                <c:pt idx="2581">
                  <c:v>0.33500000000000002</c:v>
                </c:pt>
                <c:pt idx="2582">
                  <c:v>0.314</c:v>
                </c:pt>
                <c:pt idx="2583">
                  <c:v>0.376</c:v>
                </c:pt>
                <c:pt idx="2584">
                  <c:v>0.66700000000000004</c:v>
                </c:pt>
                <c:pt idx="2585">
                  <c:v>0.74199999999999999</c:v>
                </c:pt>
                <c:pt idx="2586">
                  <c:v>0.84499999999999997</c:v>
                </c:pt>
                <c:pt idx="2587">
                  <c:v>0.84599999999999997</c:v>
                </c:pt>
                <c:pt idx="2588">
                  <c:v>0.88500000000000001</c:v>
                </c:pt>
                <c:pt idx="2589">
                  <c:v>0.66600000000000004</c:v>
                </c:pt>
                <c:pt idx="2590">
                  <c:v>0.49099999999999999</c:v>
                </c:pt>
                <c:pt idx="2591">
                  <c:v>0.878</c:v>
                </c:pt>
                <c:pt idx="2592">
                  <c:v>0.50700000000000001</c:v>
                </c:pt>
                <c:pt idx="2593">
                  <c:v>0.60699999999999998</c:v>
                </c:pt>
                <c:pt idx="2594">
                  <c:v>0.44900000000000001</c:v>
                </c:pt>
                <c:pt idx="2595">
                  <c:v>0.91800000000000004</c:v>
                </c:pt>
                <c:pt idx="2596">
                  <c:v>0.86399999999999999</c:v>
                </c:pt>
                <c:pt idx="2597">
                  <c:v>0.39900000000000002</c:v>
                </c:pt>
                <c:pt idx="2598">
                  <c:v>0.78100000000000003</c:v>
                </c:pt>
                <c:pt idx="2599">
                  <c:v>0.629</c:v>
                </c:pt>
                <c:pt idx="2600">
                  <c:v>0.91300000000000003</c:v>
                </c:pt>
                <c:pt idx="2601">
                  <c:v>0.754</c:v>
                </c:pt>
                <c:pt idx="2602">
                  <c:v>0.20799999999999999</c:v>
                </c:pt>
                <c:pt idx="2603">
                  <c:v>0.05</c:v>
                </c:pt>
                <c:pt idx="2604">
                  <c:v>0.55200000000000005</c:v>
                </c:pt>
                <c:pt idx="2605">
                  <c:v>0.79200000000000004</c:v>
                </c:pt>
                <c:pt idx="2606">
                  <c:v>0.57399999999999995</c:v>
                </c:pt>
                <c:pt idx="2607">
                  <c:v>0.44800000000000001</c:v>
                </c:pt>
                <c:pt idx="2608">
                  <c:v>0.83</c:v>
                </c:pt>
                <c:pt idx="2609">
                  <c:v>0.64100000000000001</c:v>
                </c:pt>
                <c:pt idx="2610">
                  <c:v>0.59599999999999997</c:v>
                </c:pt>
                <c:pt idx="2611">
                  <c:v>0.77200000000000002</c:v>
                </c:pt>
                <c:pt idx="2612">
                  <c:v>0.67500000000000004</c:v>
                </c:pt>
                <c:pt idx="2613">
                  <c:v>0.72299999999999998</c:v>
                </c:pt>
                <c:pt idx="2614">
                  <c:v>0.88700000000000001</c:v>
                </c:pt>
                <c:pt idx="2615">
                  <c:v>0.81399999999999995</c:v>
                </c:pt>
                <c:pt idx="2616">
                  <c:v>0.71</c:v>
                </c:pt>
                <c:pt idx="2617">
                  <c:v>0.64800000000000002</c:v>
                </c:pt>
                <c:pt idx="2618">
                  <c:v>0.72</c:v>
                </c:pt>
                <c:pt idx="2619">
                  <c:v>0.94499999999999995</c:v>
                </c:pt>
                <c:pt idx="2620">
                  <c:v>0.38800000000000001</c:v>
                </c:pt>
                <c:pt idx="2621">
                  <c:v>0.89400000000000002</c:v>
                </c:pt>
                <c:pt idx="2622">
                  <c:v>0.78400000000000003</c:v>
                </c:pt>
                <c:pt idx="2623">
                  <c:v>0.52900000000000003</c:v>
                </c:pt>
                <c:pt idx="2624">
                  <c:v>0.52900000000000003</c:v>
                </c:pt>
                <c:pt idx="2625">
                  <c:v>0.51300000000000001</c:v>
                </c:pt>
                <c:pt idx="2626">
                  <c:v>0.63400000000000001</c:v>
                </c:pt>
                <c:pt idx="2627">
                  <c:v>0.79300000000000004</c:v>
                </c:pt>
                <c:pt idx="2628">
                  <c:v>0.94399999999999995</c:v>
                </c:pt>
                <c:pt idx="2629">
                  <c:v>0.82399999999999995</c:v>
                </c:pt>
                <c:pt idx="2630">
                  <c:v>0.63500000000000001</c:v>
                </c:pt>
                <c:pt idx="2631">
                  <c:v>0.71699999999999997</c:v>
                </c:pt>
                <c:pt idx="2632">
                  <c:v>0.752</c:v>
                </c:pt>
                <c:pt idx="2633">
                  <c:v>0.83699999999999997</c:v>
                </c:pt>
                <c:pt idx="2634">
                  <c:v>0.69</c:v>
                </c:pt>
                <c:pt idx="2635">
                  <c:v>0.72099999999999997</c:v>
                </c:pt>
                <c:pt idx="2636">
                  <c:v>0.7</c:v>
                </c:pt>
                <c:pt idx="2637">
                  <c:v>0.69599999999999995</c:v>
                </c:pt>
                <c:pt idx="2638">
                  <c:v>0.60499999999999998</c:v>
                </c:pt>
                <c:pt idx="2639">
                  <c:v>0.67600000000000005</c:v>
                </c:pt>
                <c:pt idx="2640">
                  <c:v>0.5</c:v>
                </c:pt>
                <c:pt idx="2641">
                  <c:v>0.8</c:v>
                </c:pt>
                <c:pt idx="2642">
                  <c:v>0.63800000000000001</c:v>
                </c:pt>
                <c:pt idx="2643">
                  <c:v>0.65400000000000003</c:v>
                </c:pt>
                <c:pt idx="2644">
                  <c:v>0.752</c:v>
                </c:pt>
                <c:pt idx="2645">
                  <c:v>0.88700000000000001</c:v>
                </c:pt>
                <c:pt idx="2646">
                  <c:v>0.73799999999999999</c:v>
                </c:pt>
                <c:pt idx="2647">
                  <c:v>0.65400000000000003</c:v>
                </c:pt>
                <c:pt idx="2648">
                  <c:v>0.72</c:v>
                </c:pt>
                <c:pt idx="2649">
                  <c:v>0.48899999999999999</c:v>
                </c:pt>
                <c:pt idx="2650">
                  <c:v>0.86699999999999999</c:v>
                </c:pt>
                <c:pt idx="2651">
                  <c:v>0.67800000000000005</c:v>
                </c:pt>
                <c:pt idx="2652">
                  <c:v>0.92900000000000005</c:v>
                </c:pt>
                <c:pt idx="2653">
                  <c:v>0.45500000000000002</c:v>
                </c:pt>
                <c:pt idx="2654">
                  <c:v>0.79500000000000004</c:v>
                </c:pt>
                <c:pt idx="2655">
                  <c:v>0.9</c:v>
                </c:pt>
                <c:pt idx="2656">
                  <c:v>0.91300000000000003</c:v>
                </c:pt>
                <c:pt idx="2657">
                  <c:v>0.79800000000000004</c:v>
                </c:pt>
                <c:pt idx="2658">
                  <c:v>0.752</c:v>
                </c:pt>
                <c:pt idx="2659">
                  <c:v>0.48799999999999999</c:v>
                </c:pt>
                <c:pt idx="2660">
                  <c:v>0.441</c:v>
                </c:pt>
                <c:pt idx="2661">
                  <c:v>0.52200000000000002</c:v>
                </c:pt>
                <c:pt idx="2662">
                  <c:v>0.48599999999999999</c:v>
                </c:pt>
                <c:pt idx="2663">
                  <c:v>0.76</c:v>
                </c:pt>
                <c:pt idx="2664">
                  <c:v>0.497</c:v>
                </c:pt>
                <c:pt idx="2665">
                  <c:v>0.49399999999999999</c:v>
                </c:pt>
                <c:pt idx="2666">
                  <c:v>0.54400000000000004</c:v>
                </c:pt>
                <c:pt idx="2667">
                  <c:v>0.496</c:v>
                </c:pt>
                <c:pt idx="2668">
                  <c:v>0.45400000000000001</c:v>
                </c:pt>
                <c:pt idx="2669">
                  <c:v>0.68400000000000005</c:v>
                </c:pt>
                <c:pt idx="2670">
                  <c:v>0.61499999999999999</c:v>
                </c:pt>
                <c:pt idx="2671">
                  <c:v>0.91800000000000004</c:v>
                </c:pt>
                <c:pt idx="2672">
                  <c:v>0.41299999999999998</c:v>
                </c:pt>
                <c:pt idx="2673">
                  <c:v>0.82099999999999995</c:v>
                </c:pt>
                <c:pt idx="2674">
                  <c:v>0.72199999999999998</c:v>
                </c:pt>
                <c:pt idx="2675">
                  <c:v>0.75900000000000001</c:v>
                </c:pt>
                <c:pt idx="2676">
                  <c:v>0.71499999999999997</c:v>
                </c:pt>
                <c:pt idx="2677">
                  <c:v>0.7</c:v>
                </c:pt>
                <c:pt idx="2678">
                  <c:v>0.439</c:v>
                </c:pt>
                <c:pt idx="2679">
                  <c:v>0.59799999999999998</c:v>
                </c:pt>
                <c:pt idx="2680">
                  <c:v>0.54600000000000004</c:v>
                </c:pt>
                <c:pt idx="2681">
                  <c:v>0.68799999999999994</c:v>
                </c:pt>
                <c:pt idx="2682">
                  <c:v>0.88100000000000001</c:v>
                </c:pt>
                <c:pt idx="2683">
                  <c:v>0.94</c:v>
                </c:pt>
                <c:pt idx="2684">
                  <c:v>0.22500000000000001</c:v>
                </c:pt>
                <c:pt idx="2685">
                  <c:v>0.41899999999999998</c:v>
                </c:pt>
                <c:pt idx="2686">
                  <c:v>0.48499999999999999</c:v>
                </c:pt>
                <c:pt idx="2687">
                  <c:v>0.28000000000000003</c:v>
                </c:pt>
                <c:pt idx="2688">
                  <c:v>0.224</c:v>
                </c:pt>
                <c:pt idx="2689">
                  <c:v>0.45500000000000002</c:v>
                </c:pt>
                <c:pt idx="2690">
                  <c:v>0.84199999999999997</c:v>
                </c:pt>
                <c:pt idx="2691">
                  <c:v>0.73299999999999998</c:v>
                </c:pt>
                <c:pt idx="2692">
                  <c:v>0.54600000000000004</c:v>
                </c:pt>
                <c:pt idx="2693">
                  <c:v>0.58299999999999996</c:v>
                </c:pt>
                <c:pt idx="2694">
                  <c:v>0.623</c:v>
                </c:pt>
                <c:pt idx="2695">
                  <c:v>0.75900000000000001</c:v>
                </c:pt>
                <c:pt idx="2696">
                  <c:v>0.83499999999999996</c:v>
                </c:pt>
                <c:pt idx="2697">
                  <c:v>0.68600000000000005</c:v>
                </c:pt>
                <c:pt idx="2698">
                  <c:v>0.52300000000000002</c:v>
                </c:pt>
                <c:pt idx="2699">
                  <c:v>0.70599999999999996</c:v>
                </c:pt>
                <c:pt idx="2700">
                  <c:v>0.81799999999999995</c:v>
                </c:pt>
                <c:pt idx="2701">
                  <c:v>0.65400000000000003</c:v>
                </c:pt>
                <c:pt idx="2702">
                  <c:v>0.76900000000000002</c:v>
                </c:pt>
                <c:pt idx="2703">
                  <c:v>0.86899999999999999</c:v>
                </c:pt>
                <c:pt idx="2704">
                  <c:v>0.86599999999999999</c:v>
                </c:pt>
                <c:pt idx="2705">
                  <c:v>0.89500000000000002</c:v>
                </c:pt>
                <c:pt idx="2706">
                  <c:v>0.749</c:v>
                </c:pt>
                <c:pt idx="2707">
                  <c:v>0.59599999999999997</c:v>
                </c:pt>
                <c:pt idx="2708">
                  <c:v>0.88</c:v>
                </c:pt>
                <c:pt idx="2709">
                  <c:v>0.78</c:v>
                </c:pt>
                <c:pt idx="2710">
                  <c:v>0.70699999999999996</c:v>
                </c:pt>
                <c:pt idx="2711">
                  <c:v>0.88300000000000001</c:v>
                </c:pt>
                <c:pt idx="2712">
                  <c:v>0.34499999999999997</c:v>
                </c:pt>
                <c:pt idx="2713">
                  <c:v>0.93100000000000005</c:v>
                </c:pt>
                <c:pt idx="2714">
                  <c:v>0.56999999999999995</c:v>
                </c:pt>
                <c:pt idx="2715">
                  <c:v>0.873</c:v>
                </c:pt>
                <c:pt idx="2716">
                  <c:v>0.84599999999999997</c:v>
                </c:pt>
                <c:pt idx="2717">
                  <c:v>0.72599999999999998</c:v>
                </c:pt>
                <c:pt idx="2718">
                  <c:v>0.73399999999999999</c:v>
                </c:pt>
                <c:pt idx="2719">
                  <c:v>0.59</c:v>
                </c:pt>
                <c:pt idx="2720">
                  <c:v>0.62</c:v>
                </c:pt>
                <c:pt idx="2721">
                  <c:v>0.51500000000000001</c:v>
                </c:pt>
                <c:pt idx="2722">
                  <c:v>0.78500000000000003</c:v>
                </c:pt>
                <c:pt idx="2723">
                  <c:v>0.24199999999999999</c:v>
                </c:pt>
                <c:pt idx="2724">
                  <c:v>0.85899999999999999</c:v>
                </c:pt>
                <c:pt idx="2725">
                  <c:v>0.67400000000000004</c:v>
                </c:pt>
                <c:pt idx="2726">
                  <c:v>0.76200000000000001</c:v>
                </c:pt>
                <c:pt idx="2727">
                  <c:v>0.73499999999999999</c:v>
                </c:pt>
                <c:pt idx="2728">
                  <c:v>0.35899999999999999</c:v>
                </c:pt>
                <c:pt idx="2729">
                  <c:v>0.63100000000000001</c:v>
                </c:pt>
                <c:pt idx="2730">
                  <c:v>0.67500000000000004</c:v>
                </c:pt>
                <c:pt idx="2731">
                  <c:v>0.89100000000000001</c:v>
                </c:pt>
                <c:pt idx="2732">
                  <c:v>0.39</c:v>
                </c:pt>
                <c:pt idx="2733">
                  <c:v>0.56999999999999995</c:v>
                </c:pt>
                <c:pt idx="2734">
                  <c:v>0.76500000000000001</c:v>
                </c:pt>
                <c:pt idx="2735">
                  <c:v>0.88600000000000001</c:v>
                </c:pt>
                <c:pt idx="2736">
                  <c:v>0.41499999999999998</c:v>
                </c:pt>
                <c:pt idx="2737">
                  <c:v>0.50700000000000001</c:v>
                </c:pt>
                <c:pt idx="2738">
                  <c:v>0.59299999999999997</c:v>
                </c:pt>
                <c:pt idx="2739">
                  <c:v>0.77900000000000003</c:v>
                </c:pt>
                <c:pt idx="2740">
                  <c:v>0.747</c:v>
                </c:pt>
                <c:pt idx="2741">
                  <c:v>0.71799999999999997</c:v>
                </c:pt>
                <c:pt idx="2742">
                  <c:v>0.36599999999999999</c:v>
                </c:pt>
                <c:pt idx="2743">
                  <c:v>0.85599999999999998</c:v>
                </c:pt>
                <c:pt idx="2744">
                  <c:v>0.81699999999999995</c:v>
                </c:pt>
                <c:pt idx="2745">
                  <c:v>0.76900000000000002</c:v>
                </c:pt>
                <c:pt idx="2746">
                  <c:v>0.57699999999999996</c:v>
                </c:pt>
                <c:pt idx="2747">
                  <c:v>0.35299999999999998</c:v>
                </c:pt>
                <c:pt idx="2748">
                  <c:v>0.91100000000000003</c:v>
                </c:pt>
                <c:pt idx="2749">
                  <c:v>0.76700000000000002</c:v>
                </c:pt>
                <c:pt idx="2750">
                  <c:v>0.45400000000000001</c:v>
                </c:pt>
                <c:pt idx="2751">
                  <c:v>0.88300000000000001</c:v>
                </c:pt>
                <c:pt idx="2752">
                  <c:v>0.66</c:v>
                </c:pt>
                <c:pt idx="2753">
                  <c:v>0.93400000000000005</c:v>
                </c:pt>
                <c:pt idx="2754">
                  <c:v>0.78900000000000003</c:v>
                </c:pt>
                <c:pt idx="2755">
                  <c:v>0.34599999999999997</c:v>
                </c:pt>
                <c:pt idx="2756">
                  <c:v>0.85199999999999998</c:v>
                </c:pt>
                <c:pt idx="2757">
                  <c:v>0.71599999999999997</c:v>
                </c:pt>
                <c:pt idx="2758">
                  <c:v>0.90900000000000003</c:v>
                </c:pt>
                <c:pt idx="2759">
                  <c:v>0.75900000000000001</c:v>
                </c:pt>
                <c:pt idx="2760">
                  <c:v>0.51500000000000001</c:v>
                </c:pt>
                <c:pt idx="2761">
                  <c:v>0.79200000000000004</c:v>
                </c:pt>
                <c:pt idx="2762">
                  <c:v>0.71899999999999997</c:v>
                </c:pt>
                <c:pt idx="2763">
                  <c:v>0.9</c:v>
                </c:pt>
                <c:pt idx="2764">
                  <c:v>0.754</c:v>
                </c:pt>
                <c:pt idx="2765">
                  <c:v>0.62</c:v>
                </c:pt>
                <c:pt idx="2766">
                  <c:v>0.66</c:v>
                </c:pt>
                <c:pt idx="2767">
                  <c:v>0.84799999999999998</c:v>
                </c:pt>
                <c:pt idx="2768">
                  <c:v>0.72899999999999998</c:v>
                </c:pt>
                <c:pt idx="2769">
                  <c:v>0.50700000000000001</c:v>
                </c:pt>
                <c:pt idx="2770">
                  <c:v>0.84699999999999998</c:v>
                </c:pt>
                <c:pt idx="2771">
                  <c:v>0.61799999999999999</c:v>
                </c:pt>
                <c:pt idx="2772">
                  <c:v>0.56999999999999995</c:v>
                </c:pt>
                <c:pt idx="2773">
                  <c:v>0.94</c:v>
                </c:pt>
                <c:pt idx="2774">
                  <c:v>0.90600000000000003</c:v>
                </c:pt>
                <c:pt idx="2775">
                  <c:v>0.56499999999999995</c:v>
                </c:pt>
                <c:pt idx="2776">
                  <c:v>0.66200000000000003</c:v>
                </c:pt>
                <c:pt idx="2777">
                  <c:v>0.52200000000000002</c:v>
                </c:pt>
                <c:pt idx="2778">
                  <c:v>0.432</c:v>
                </c:pt>
                <c:pt idx="2779">
                  <c:v>0.66800000000000004</c:v>
                </c:pt>
                <c:pt idx="2780">
                  <c:v>0.52300000000000002</c:v>
                </c:pt>
                <c:pt idx="2781">
                  <c:v>0.90300000000000002</c:v>
                </c:pt>
                <c:pt idx="2782">
                  <c:v>0.55200000000000005</c:v>
                </c:pt>
                <c:pt idx="2783">
                  <c:v>0.89300000000000002</c:v>
                </c:pt>
                <c:pt idx="2784">
                  <c:v>0.89500000000000002</c:v>
                </c:pt>
                <c:pt idx="2785">
                  <c:v>0.42199999999999999</c:v>
                </c:pt>
                <c:pt idx="2786">
                  <c:v>0.72599999999999998</c:v>
                </c:pt>
                <c:pt idx="2787">
                  <c:v>0.63800000000000001</c:v>
                </c:pt>
                <c:pt idx="2788">
                  <c:v>0.54400000000000004</c:v>
                </c:pt>
                <c:pt idx="2789">
                  <c:v>0.92</c:v>
                </c:pt>
                <c:pt idx="2790">
                  <c:v>0.64100000000000001</c:v>
                </c:pt>
                <c:pt idx="2791">
                  <c:v>0.63</c:v>
                </c:pt>
                <c:pt idx="2792">
                  <c:v>0.36199999999999999</c:v>
                </c:pt>
                <c:pt idx="2793">
                  <c:v>0.82099999999999995</c:v>
                </c:pt>
                <c:pt idx="2794">
                  <c:v>0.90600000000000003</c:v>
                </c:pt>
                <c:pt idx="2795">
                  <c:v>0.74099999999999999</c:v>
                </c:pt>
                <c:pt idx="2796">
                  <c:v>0.82099999999999995</c:v>
                </c:pt>
                <c:pt idx="2797">
                  <c:v>0.69099999999999995</c:v>
                </c:pt>
                <c:pt idx="2798">
                  <c:v>0.498</c:v>
                </c:pt>
                <c:pt idx="2799">
                  <c:v>0.80300000000000005</c:v>
                </c:pt>
                <c:pt idx="2800">
                  <c:v>0.61899999999999999</c:v>
                </c:pt>
                <c:pt idx="2801">
                  <c:v>0.625</c:v>
                </c:pt>
                <c:pt idx="2802">
                  <c:v>0.65900000000000003</c:v>
                </c:pt>
                <c:pt idx="2803">
                  <c:v>0.83</c:v>
                </c:pt>
                <c:pt idx="2804">
                  <c:v>0.53400000000000003</c:v>
                </c:pt>
                <c:pt idx="2805">
                  <c:v>0.65500000000000003</c:v>
                </c:pt>
                <c:pt idx="2806">
                  <c:v>0.94699999999999995</c:v>
                </c:pt>
                <c:pt idx="2807">
                  <c:v>0.89100000000000001</c:v>
                </c:pt>
                <c:pt idx="2808">
                  <c:v>0.60699999999999998</c:v>
                </c:pt>
                <c:pt idx="2809">
                  <c:v>0.59099999999999997</c:v>
                </c:pt>
                <c:pt idx="2810">
                  <c:v>0.70299999999999996</c:v>
                </c:pt>
                <c:pt idx="2811">
                  <c:v>0.92800000000000005</c:v>
                </c:pt>
                <c:pt idx="2812">
                  <c:v>0.38600000000000001</c:v>
                </c:pt>
                <c:pt idx="2813">
                  <c:v>0.65100000000000002</c:v>
                </c:pt>
                <c:pt idx="2814">
                  <c:v>0.73099999999999998</c:v>
                </c:pt>
                <c:pt idx="2815">
                  <c:v>0.745</c:v>
                </c:pt>
                <c:pt idx="2816">
                  <c:v>0.81599999999999995</c:v>
                </c:pt>
                <c:pt idx="2817">
                  <c:v>0.56999999999999995</c:v>
                </c:pt>
                <c:pt idx="2818">
                  <c:v>0.81299999999999994</c:v>
                </c:pt>
                <c:pt idx="2819">
                  <c:v>0.25900000000000001</c:v>
                </c:pt>
                <c:pt idx="2820">
                  <c:v>0.78900000000000003</c:v>
                </c:pt>
                <c:pt idx="2821">
                  <c:v>0.52500000000000002</c:v>
                </c:pt>
                <c:pt idx="2822">
                  <c:v>0.627</c:v>
                </c:pt>
                <c:pt idx="2823">
                  <c:v>0.34300000000000003</c:v>
                </c:pt>
                <c:pt idx="2824">
                  <c:v>0.55700000000000005</c:v>
                </c:pt>
                <c:pt idx="2825">
                  <c:v>0.31900000000000001</c:v>
                </c:pt>
                <c:pt idx="2826">
                  <c:v>0.316</c:v>
                </c:pt>
                <c:pt idx="2827">
                  <c:v>0.58899999999999997</c:v>
                </c:pt>
                <c:pt idx="2828">
                  <c:v>0.625</c:v>
                </c:pt>
                <c:pt idx="2829">
                  <c:v>0.752</c:v>
                </c:pt>
                <c:pt idx="2830">
                  <c:v>0.60899999999999999</c:v>
                </c:pt>
                <c:pt idx="2831">
                  <c:v>0.35099999999999998</c:v>
                </c:pt>
                <c:pt idx="2832">
                  <c:v>0.53900000000000003</c:v>
                </c:pt>
                <c:pt idx="2833">
                  <c:v>0.65100000000000002</c:v>
                </c:pt>
                <c:pt idx="2834">
                  <c:v>0.73299999999999998</c:v>
                </c:pt>
                <c:pt idx="2835">
                  <c:v>0.53200000000000003</c:v>
                </c:pt>
                <c:pt idx="2836">
                  <c:v>0.78</c:v>
                </c:pt>
                <c:pt idx="2837">
                  <c:v>0.89400000000000002</c:v>
                </c:pt>
                <c:pt idx="2838">
                  <c:v>0.41799999999999998</c:v>
                </c:pt>
                <c:pt idx="2839">
                  <c:v>0.96599999999999997</c:v>
                </c:pt>
                <c:pt idx="2840">
                  <c:v>0.48399999999999999</c:v>
                </c:pt>
                <c:pt idx="2841">
                  <c:v>0.92600000000000005</c:v>
                </c:pt>
                <c:pt idx="2842">
                  <c:v>0.82699999999999996</c:v>
                </c:pt>
                <c:pt idx="2843">
                  <c:v>0.25700000000000001</c:v>
                </c:pt>
                <c:pt idx="2844">
                  <c:v>0.89500000000000002</c:v>
                </c:pt>
                <c:pt idx="2845">
                  <c:v>0.86699999999999999</c:v>
                </c:pt>
                <c:pt idx="2846">
                  <c:v>0.79900000000000004</c:v>
                </c:pt>
                <c:pt idx="2847">
                  <c:v>0.80700000000000005</c:v>
                </c:pt>
                <c:pt idx="2848">
                  <c:v>0.76200000000000001</c:v>
                </c:pt>
                <c:pt idx="2849">
                  <c:v>0.35299999999999998</c:v>
                </c:pt>
                <c:pt idx="2850">
                  <c:v>0.48</c:v>
                </c:pt>
                <c:pt idx="2851">
                  <c:v>0.59499999999999997</c:v>
                </c:pt>
                <c:pt idx="2852">
                  <c:v>0.84599999999999997</c:v>
                </c:pt>
                <c:pt idx="2853">
                  <c:v>0.77500000000000002</c:v>
                </c:pt>
                <c:pt idx="2854">
                  <c:v>0.65700000000000003</c:v>
                </c:pt>
                <c:pt idx="2855">
                  <c:v>0.49399999999999999</c:v>
                </c:pt>
                <c:pt idx="2856">
                  <c:v>0.51100000000000001</c:v>
                </c:pt>
                <c:pt idx="2857">
                  <c:v>0.73699999999999999</c:v>
                </c:pt>
                <c:pt idx="2858">
                  <c:v>0.52600000000000002</c:v>
                </c:pt>
                <c:pt idx="2859">
                  <c:v>0.629</c:v>
                </c:pt>
                <c:pt idx="2860">
                  <c:v>0.74199999999999999</c:v>
                </c:pt>
                <c:pt idx="2861">
                  <c:v>0.47199999999999998</c:v>
                </c:pt>
                <c:pt idx="2862">
                  <c:v>0.747</c:v>
                </c:pt>
                <c:pt idx="2863">
                  <c:v>0.57099999999999995</c:v>
                </c:pt>
                <c:pt idx="2864">
                  <c:v>0.66</c:v>
                </c:pt>
                <c:pt idx="2865">
                  <c:v>0.68300000000000005</c:v>
                </c:pt>
                <c:pt idx="2866">
                  <c:v>0.97699999999999998</c:v>
                </c:pt>
                <c:pt idx="2867">
                  <c:v>0.79100000000000004</c:v>
                </c:pt>
                <c:pt idx="2868">
                  <c:v>0.58299999999999996</c:v>
                </c:pt>
                <c:pt idx="2869">
                  <c:v>0.90700000000000003</c:v>
                </c:pt>
                <c:pt idx="2870">
                  <c:v>0.56699999999999995</c:v>
                </c:pt>
                <c:pt idx="2871">
                  <c:v>0.39600000000000002</c:v>
                </c:pt>
                <c:pt idx="2872">
                  <c:v>0.52500000000000002</c:v>
                </c:pt>
                <c:pt idx="2873">
                  <c:v>0.72799999999999998</c:v>
                </c:pt>
                <c:pt idx="2874">
                  <c:v>0.53300000000000003</c:v>
                </c:pt>
                <c:pt idx="2875">
                  <c:v>0.79300000000000004</c:v>
                </c:pt>
                <c:pt idx="2876">
                  <c:v>0.66700000000000004</c:v>
                </c:pt>
                <c:pt idx="2877">
                  <c:v>0.86499999999999999</c:v>
                </c:pt>
                <c:pt idx="2878">
                  <c:v>0.84899999999999998</c:v>
                </c:pt>
                <c:pt idx="2879">
                  <c:v>0.39400000000000002</c:v>
                </c:pt>
                <c:pt idx="2880">
                  <c:v>0.49099999999999999</c:v>
                </c:pt>
                <c:pt idx="2881">
                  <c:v>0.34</c:v>
                </c:pt>
                <c:pt idx="2882">
                  <c:v>0.72699999999999998</c:v>
                </c:pt>
                <c:pt idx="2883">
                  <c:v>0.42299999999999999</c:v>
                </c:pt>
                <c:pt idx="2884">
                  <c:v>0.55200000000000005</c:v>
                </c:pt>
                <c:pt idx="2885">
                  <c:v>0.69499999999999995</c:v>
                </c:pt>
                <c:pt idx="2886">
                  <c:v>0.65100000000000002</c:v>
                </c:pt>
                <c:pt idx="2887">
                  <c:v>0.56200000000000006</c:v>
                </c:pt>
                <c:pt idx="2888">
                  <c:v>0.76900000000000002</c:v>
                </c:pt>
                <c:pt idx="2889">
                  <c:v>0.88800000000000001</c:v>
                </c:pt>
                <c:pt idx="2890">
                  <c:v>0.49</c:v>
                </c:pt>
                <c:pt idx="2891">
                  <c:v>0.76900000000000002</c:v>
                </c:pt>
                <c:pt idx="2892">
                  <c:v>0.80500000000000005</c:v>
                </c:pt>
                <c:pt idx="2893">
                  <c:v>0.84199999999999997</c:v>
                </c:pt>
                <c:pt idx="2894">
                  <c:v>0.54800000000000004</c:v>
                </c:pt>
                <c:pt idx="2895">
                  <c:v>0.45500000000000002</c:v>
                </c:pt>
                <c:pt idx="2896">
                  <c:v>0.33800000000000002</c:v>
                </c:pt>
                <c:pt idx="2897">
                  <c:v>0.67800000000000005</c:v>
                </c:pt>
                <c:pt idx="2898">
                  <c:v>0.79200000000000004</c:v>
                </c:pt>
                <c:pt idx="2899">
                  <c:v>0.90300000000000002</c:v>
                </c:pt>
                <c:pt idx="2900">
                  <c:v>0.86199999999999999</c:v>
                </c:pt>
                <c:pt idx="2901">
                  <c:v>0.78700000000000003</c:v>
                </c:pt>
                <c:pt idx="2902">
                  <c:v>0.61799999999999999</c:v>
                </c:pt>
                <c:pt idx="2903">
                  <c:v>0.72</c:v>
                </c:pt>
                <c:pt idx="2904">
                  <c:v>0.47199999999999998</c:v>
                </c:pt>
                <c:pt idx="2905">
                  <c:v>0.56999999999999995</c:v>
                </c:pt>
                <c:pt idx="2906">
                  <c:v>0.57099999999999995</c:v>
                </c:pt>
                <c:pt idx="2907">
                  <c:v>0.73499999999999999</c:v>
                </c:pt>
                <c:pt idx="2908">
                  <c:v>0.89800000000000002</c:v>
                </c:pt>
                <c:pt idx="2909">
                  <c:v>0.54</c:v>
                </c:pt>
                <c:pt idx="2910">
                  <c:v>0.79700000000000004</c:v>
                </c:pt>
                <c:pt idx="2911">
                  <c:v>0.63900000000000001</c:v>
                </c:pt>
                <c:pt idx="2912">
                  <c:v>0.76100000000000001</c:v>
                </c:pt>
                <c:pt idx="2913">
                  <c:v>0.63600000000000001</c:v>
                </c:pt>
                <c:pt idx="2914">
                  <c:v>0.40500000000000003</c:v>
                </c:pt>
                <c:pt idx="2915">
                  <c:v>0.503</c:v>
                </c:pt>
                <c:pt idx="2916">
                  <c:v>0.48</c:v>
                </c:pt>
                <c:pt idx="2917">
                  <c:v>0.52200000000000002</c:v>
                </c:pt>
                <c:pt idx="2918">
                  <c:v>0.78700000000000003</c:v>
                </c:pt>
                <c:pt idx="2919">
                  <c:v>0.53700000000000003</c:v>
                </c:pt>
                <c:pt idx="2920">
                  <c:v>0.68</c:v>
                </c:pt>
                <c:pt idx="2921">
                  <c:v>0.84599999999999997</c:v>
                </c:pt>
                <c:pt idx="2922">
                  <c:v>0.56000000000000005</c:v>
                </c:pt>
                <c:pt idx="2923">
                  <c:v>0.52700000000000002</c:v>
                </c:pt>
                <c:pt idx="2924">
                  <c:v>0.57099999999999995</c:v>
                </c:pt>
                <c:pt idx="2925">
                  <c:v>0.69399999999999995</c:v>
                </c:pt>
                <c:pt idx="2926">
                  <c:v>0.61299999999999999</c:v>
                </c:pt>
                <c:pt idx="2927">
                  <c:v>0.59599999999999997</c:v>
                </c:pt>
                <c:pt idx="2928">
                  <c:v>0.754</c:v>
                </c:pt>
                <c:pt idx="2929">
                  <c:v>0.41</c:v>
                </c:pt>
                <c:pt idx="2930">
                  <c:v>0.69</c:v>
                </c:pt>
                <c:pt idx="2931">
                  <c:v>0.29799999999999999</c:v>
                </c:pt>
                <c:pt idx="2932">
                  <c:v>0.86899999999999999</c:v>
                </c:pt>
                <c:pt idx="2933">
                  <c:v>0.65600000000000003</c:v>
                </c:pt>
                <c:pt idx="2934">
                  <c:v>0.51800000000000002</c:v>
                </c:pt>
                <c:pt idx="2935">
                  <c:v>0.68799999999999994</c:v>
                </c:pt>
                <c:pt idx="2936">
                  <c:v>0.94199999999999995</c:v>
                </c:pt>
                <c:pt idx="2937">
                  <c:v>0.46800000000000003</c:v>
                </c:pt>
                <c:pt idx="2938">
                  <c:v>0.72</c:v>
                </c:pt>
                <c:pt idx="2939">
                  <c:v>0.48399999999999999</c:v>
                </c:pt>
                <c:pt idx="2940">
                  <c:v>0.71699999999999997</c:v>
                </c:pt>
                <c:pt idx="2941">
                  <c:v>0.60599999999999998</c:v>
                </c:pt>
                <c:pt idx="2942">
                  <c:v>0.75900000000000001</c:v>
                </c:pt>
                <c:pt idx="2943">
                  <c:v>0.7</c:v>
                </c:pt>
                <c:pt idx="2944">
                  <c:v>0.81499999999999995</c:v>
                </c:pt>
                <c:pt idx="2945">
                  <c:v>0.76400000000000001</c:v>
                </c:pt>
                <c:pt idx="2946">
                  <c:v>0.20899999999999999</c:v>
                </c:pt>
                <c:pt idx="2947">
                  <c:v>0.78200000000000003</c:v>
                </c:pt>
                <c:pt idx="2948">
                  <c:v>0.90900000000000003</c:v>
                </c:pt>
                <c:pt idx="2949">
                  <c:v>0.36299999999999999</c:v>
                </c:pt>
                <c:pt idx="2950">
                  <c:v>0.66400000000000003</c:v>
                </c:pt>
                <c:pt idx="2951">
                  <c:v>0.68600000000000005</c:v>
                </c:pt>
                <c:pt idx="2952">
                  <c:v>0.77300000000000002</c:v>
                </c:pt>
                <c:pt idx="2953">
                  <c:v>0.55200000000000005</c:v>
                </c:pt>
                <c:pt idx="2954">
                  <c:v>0.71699999999999997</c:v>
                </c:pt>
                <c:pt idx="2955">
                  <c:v>0.83699999999999997</c:v>
                </c:pt>
                <c:pt idx="2956">
                  <c:v>0.57799999999999996</c:v>
                </c:pt>
                <c:pt idx="2957">
                  <c:v>0.86399999999999999</c:v>
                </c:pt>
                <c:pt idx="2958">
                  <c:v>0.97</c:v>
                </c:pt>
                <c:pt idx="2959">
                  <c:v>0.65900000000000003</c:v>
                </c:pt>
                <c:pt idx="2960">
                  <c:v>0.94099999999999995</c:v>
                </c:pt>
                <c:pt idx="2961">
                  <c:v>0.63600000000000001</c:v>
                </c:pt>
                <c:pt idx="2962">
                  <c:v>0.81399999999999995</c:v>
                </c:pt>
                <c:pt idx="2963">
                  <c:v>0.81200000000000006</c:v>
                </c:pt>
                <c:pt idx="2964">
                  <c:v>0.73599999999999999</c:v>
                </c:pt>
                <c:pt idx="2965">
                  <c:v>0.89300000000000002</c:v>
                </c:pt>
                <c:pt idx="2966">
                  <c:v>0.97899999999999998</c:v>
                </c:pt>
                <c:pt idx="2967">
                  <c:v>0.82399999999999995</c:v>
                </c:pt>
                <c:pt idx="2968">
                  <c:v>0.86499999999999999</c:v>
                </c:pt>
                <c:pt idx="2969">
                  <c:v>0.44900000000000001</c:v>
                </c:pt>
                <c:pt idx="2970">
                  <c:v>0.78</c:v>
                </c:pt>
                <c:pt idx="2971">
                  <c:v>0.57999999999999996</c:v>
                </c:pt>
                <c:pt idx="2972">
                  <c:v>0.755</c:v>
                </c:pt>
                <c:pt idx="2973">
                  <c:v>0.82</c:v>
                </c:pt>
                <c:pt idx="2974">
                  <c:v>0.61599999999999999</c:v>
                </c:pt>
                <c:pt idx="2975">
                  <c:v>0.69199999999999995</c:v>
                </c:pt>
                <c:pt idx="2976">
                  <c:v>0.51500000000000001</c:v>
                </c:pt>
                <c:pt idx="2977">
                  <c:v>0.504</c:v>
                </c:pt>
                <c:pt idx="2978">
                  <c:v>0.94799999999999995</c:v>
                </c:pt>
                <c:pt idx="2979">
                  <c:v>0.374</c:v>
                </c:pt>
                <c:pt idx="2980">
                  <c:v>0.73199999999999998</c:v>
                </c:pt>
                <c:pt idx="2981">
                  <c:v>0.63700000000000001</c:v>
                </c:pt>
                <c:pt idx="2982">
                  <c:v>0.68500000000000005</c:v>
                </c:pt>
                <c:pt idx="2983">
                  <c:v>0.59599999999999997</c:v>
                </c:pt>
                <c:pt idx="2984">
                  <c:v>0.95599999999999996</c:v>
                </c:pt>
                <c:pt idx="2985">
                  <c:v>0.75700000000000001</c:v>
                </c:pt>
                <c:pt idx="2986">
                  <c:v>0.50800000000000001</c:v>
                </c:pt>
                <c:pt idx="2987">
                  <c:v>0.83199999999999996</c:v>
                </c:pt>
                <c:pt idx="2988">
                  <c:v>0.61099999999999999</c:v>
                </c:pt>
                <c:pt idx="2989">
                  <c:v>0.71</c:v>
                </c:pt>
                <c:pt idx="2990">
                  <c:v>0.47399999999999998</c:v>
                </c:pt>
                <c:pt idx="2991">
                  <c:v>0.65800000000000003</c:v>
                </c:pt>
                <c:pt idx="2992">
                  <c:v>0.56299999999999994</c:v>
                </c:pt>
                <c:pt idx="2993">
                  <c:v>0.60299999999999998</c:v>
                </c:pt>
                <c:pt idx="2994">
                  <c:v>0.40200000000000002</c:v>
                </c:pt>
                <c:pt idx="2995">
                  <c:v>0.36499999999999999</c:v>
                </c:pt>
                <c:pt idx="2996">
                  <c:v>0.77</c:v>
                </c:pt>
                <c:pt idx="2997">
                  <c:v>0.64200000000000002</c:v>
                </c:pt>
                <c:pt idx="2998">
                  <c:v>0.59699999999999998</c:v>
                </c:pt>
                <c:pt idx="2999">
                  <c:v>0.42099999999999999</c:v>
                </c:pt>
                <c:pt idx="3000">
                  <c:v>0.47699999999999998</c:v>
                </c:pt>
                <c:pt idx="3001">
                  <c:v>0.35</c:v>
                </c:pt>
                <c:pt idx="3002">
                  <c:v>0.70799999999999996</c:v>
                </c:pt>
                <c:pt idx="3003">
                  <c:v>0.81899999999999995</c:v>
                </c:pt>
                <c:pt idx="3004">
                  <c:v>0.81100000000000005</c:v>
                </c:pt>
                <c:pt idx="3005">
                  <c:v>0.68100000000000005</c:v>
                </c:pt>
                <c:pt idx="3006">
                  <c:v>0.60699999999999998</c:v>
                </c:pt>
                <c:pt idx="3007">
                  <c:v>0.47699999999999998</c:v>
                </c:pt>
                <c:pt idx="3008">
                  <c:v>0.88500000000000001</c:v>
                </c:pt>
                <c:pt idx="3009">
                  <c:v>0.32300000000000001</c:v>
                </c:pt>
                <c:pt idx="3010">
                  <c:v>0.90900000000000003</c:v>
                </c:pt>
                <c:pt idx="3011">
                  <c:v>0.79200000000000004</c:v>
                </c:pt>
                <c:pt idx="3012">
                  <c:v>0.69899999999999995</c:v>
                </c:pt>
                <c:pt idx="3013">
                  <c:v>0.65</c:v>
                </c:pt>
                <c:pt idx="3014">
                  <c:v>0.49199999999999999</c:v>
                </c:pt>
                <c:pt idx="3015">
                  <c:v>0.15</c:v>
                </c:pt>
                <c:pt idx="3016">
                  <c:v>0.59599999999999997</c:v>
                </c:pt>
                <c:pt idx="3017">
                  <c:v>0.34599999999999997</c:v>
                </c:pt>
                <c:pt idx="3018">
                  <c:v>0.22800000000000001</c:v>
                </c:pt>
                <c:pt idx="3019">
                  <c:v>0.497</c:v>
                </c:pt>
                <c:pt idx="3020">
                  <c:v>0.48699999999999999</c:v>
                </c:pt>
                <c:pt idx="3021">
                  <c:v>0.71199999999999997</c:v>
                </c:pt>
                <c:pt idx="3022">
                  <c:v>0.56100000000000005</c:v>
                </c:pt>
                <c:pt idx="3023">
                  <c:v>0.57699999999999996</c:v>
                </c:pt>
                <c:pt idx="3024">
                  <c:v>0.65600000000000003</c:v>
                </c:pt>
                <c:pt idx="3025">
                  <c:v>0.89500000000000002</c:v>
                </c:pt>
                <c:pt idx="3026">
                  <c:v>0.68400000000000005</c:v>
                </c:pt>
                <c:pt idx="3027">
                  <c:v>0.627</c:v>
                </c:pt>
                <c:pt idx="3028">
                  <c:v>0.86399999999999999</c:v>
                </c:pt>
                <c:pt idx="3029">
                  <c:v>0.69899999999999995</c:v>
                </c:pt>
                <c:pt idx="3030">
                  <c:v>0.55100000000000005</c:v>
                </c:pt>
                <c:pt idx="3031">
                  <c:v>0.72899999999999998</c:v>
                </c:pt>
                <c:pt idx="3032">
                  <c:v>0.54200000000000004</c:v>
                </c:pt>
                <c:pt idx="3033">
                  <c:v>0.68300000000000005</c:v>
                </c:pt>
                <c:pt idx="3034">
                  <c:v>0.96699999999999997</c:v>
                </c:pt>
                <c:pt idx="3035">
                  <c:v>0.79600000000000004</c:v>
                </c:pt>
                <c:pt idx="3036">
                  <c:v>0.67400000000000004</c:v>
                </c:pt>
                <c:pt idx="3037">
                  <c:v>0.309</c:v>
                </c:pt>
                <c:pt idx="3038">
                  <c:v>0.73</c:v>
                </c:pt>
                <c:pt idx="3039">
                  <c:v>0.64</c:v>
                </c:pt>
                <c:pt idx="3040">
                  <c:v>0.68700000000000006</c:v>
                </c:pt>
                <c:pt idx="3041">
                  <c:v>0.51600000000000001</c:v>
                </c:pt>
                <c:pt idx="3042">
                  <c:v>0.63900000000000001</c:v>
                </c:pt>
                <c:pt idx="3043">
                  <c:v>0.621</c:v>
                </c:pt>
                <c:pt idx="3044">
                  <c:v>0.53200000000000003</c:v>
                </c:pt>
                <c:pt idx="3045">
                  <c:v>0.81200000000000006</c:v>
                </c:pt>
                <c:pt idx="3046">
                  <c:v>0.629</c:v>
                </c:pt>
                <c:pt idx="3047">
                  <c:v>0.32700000000000001</c:v>
                </c:pt>
                <c:pt idx="3048">
                  <c:v>0.47499999999999998</c:v>
                </c:pt>
                <c:pt idx="3049">
                  <c:v>0.435</c:v>
                </c:pt>
                <c:pt idx="3050">
                  <c:v>0.40500000000000003</c:v>
                </c:pt>
                <c:pt idx="3051">
                  <c:v>0.53500000000000003</c:v>
                </c:pt>
                <c:pt idx="3052">
                  <c:v>0.93899999999999995</c:v>
                </c:pt>
                <c:pt idx="3053">
                  <c:v>0.67500000000000004</c:v>
                </c:pt>
                <c:pt idx="3054">
                  <c:v>0.38</c:v>
                </c:pt>
                <c:pt idx="3055">
                  <c:v>0.66600000000000004</c:v>
                </c:pt>
                <c:pt idx="3056">
                  <c:v>0.59399999999999997</c:v>
                </c:pt>
                <c:pt idx="3057">
                  <c:v>0.311</c:v>
                </c:pt>
                <c:pt idx="3058">
                  <c:v>0.77300000000000002</c:v>
                </c:pt>
                <c:pt idx="3059">
                  <c:v>0.56399999999999995</c:v>
                </c:pt>
                <c:pt idx="3060">
                  <c:v>0.65200000000000002</c:v>
                </c:pt>
                <c:pt idx="3061">
                  <c:v>0.65600000000000003</c:v>
                </c:pt>
                <c:pt idx="3062">
                  <c:v>0.57699999999999996</c:v>
                </c:pt>
                <c:pt idx="3063">
                  <c:v>0.86399999999999999</c:v>
                </c:pt>
                <c:pt idx="3064">
                  <c:v>0.36599999999999999</c:v>
                </c:pt>
                <c:pt idx="3065">
                  <c:v>0.31900000000000001</c:v>
                </c:pt>
                <c:pt idx="3066">
                  <c:v>0.71099999999999997</c:v>
                </c:pt>
                <c:pt idx="3067">
                  <c:v>0.85099999999999998</c:v>
                </c:pt>
                <c:pt idx="3068">
                  <c:v>0.88400000000000001</c:v>
                </c:pt>
                <c:pt idx="3069">
                  <c:v>0.54800000000000004</c:v>
                </c:pt>
                <c:pt idx="3070">
                  <c:v>0.76400000000000001</c:v>
                </c:pt>
                <c:pt idx="3071">
                  <c:v>0.34100000000000003</c:v>
                </c:pt>
                <c:pt idx="3072">
                  <c:v>0.65900000000000003</c:v>
                </c:pt>
                <c:pt idx="3073">
                  <c:v>0.66800000000000004</c:v>
                </c:pt>
                <c:pt idx="3074">
                  <c:v>0.46300000000000002</c:v>
                </c:pt>
                <c:pt idx="3075">
                  <c:v>0.624</c:v>
                </c:pt>
                <c:pt idx="3076">
                  <c:v>0.57299999999999995</c:v>
                </c:pt>
                <c:pt idx="3077">
                  <c:v>0.61099999999999999</c:v>
                </c:pt>
                <c:pt idx="3078">
                  <c:v>0.54800000000000004</c:v>
                </c:pt>
                <c:pt idx="3079">
                  <c:v>0.89800000000000002</c:v>
                </c:pt>
                <c:pt idx="3080">
                  <c:v>0.53800000000000003</c:v>
                </c:pt>
                <c:pt idx="3081">
                  <c:v>0.83599999999999997</c:v>
                </c:pt>
                <c:pt idx="3082">
                  <c:v>9.6000000000000002E-2</c:v>
                </c:pt>
                <c:pt idx="3083">
                  <c:v>0.498</c:v>
                </c:pt>
                <c:pt idx="3084">
                  <c:v>0.60299999999999998</c:v>
                </c:pt>
                <c:pt idx="3085">
                  <c:v>0.53500000000000003</c:v>
                </c:pt>
                <c:pt idx="3086">
                  <c:v>0.58599999999999997</c:v>
                </c:pt>
                <c:pt idx="3087">
                  <c:v>0.83899999999999997</c:v>
                </c:pt>
                <c:pt idx="3088">
                  <c:v>0.68</c:v>
                </c:pt>
                <c:pt idx="3089">
                  <c:v>0.628</c:v>
                </c:pt>
                <c:pt idx="3090">
                  <c:v>0.96799999999999997</c:v>
                </c:pt>
                <c:pt idx="3091">
                  <c:v>0.72199999999999998</c:v>
                </c:pt>
                <c:pt idx="3092">
                  <c:v>0.71599999999999997</c:v>
                </c:pt>
                <c:pt idx="3093">
                  <c:v>0.80700000000000005</c:v>
                </c:pt>
                <c:pt idx="3094">
                  <c:v>0.51700000000000002</c:v>
                </c:pt>
                <c:pt idx="3095">
                  <c:v>0.54100000000000004</c:v>
                </c:pt>
                <c:pt idx="3096">
                  <c:v>0.81699999999999995</c:v>
                </c:pt>
                <c:pt idx="3097">
                  <c:v>0.623</c:v>
                </c:pt>
                <c:pt idx="3098">
                  <c:v>0.69</c:v>
                </c:pt>
                <c:pt idx="3099">
                  <c:v>0.61</c:v>
                </c:pt>
                <c:pt idx="3100">
                  <c:v>0.78200000000000003</c:v>
                </c:pt>
                <c:pt idx="3101">
                  <c:v>0.77900000000000003</c:v>
                </c:pt>
                <c:pt idx="3102">
                  <c:v>0.40600000000000003</c:v>
                </c:pt>
                <c:pt idx="3103">
                  <c:v>0.59899999999999998</c:v>
                </c:pt>
                <c:pt idx="3104">
                  <c:v>0.68300000000000005</c:v>
                </c:pt>
                <c:pt idx="3105">
                  <c:v>0.83699999999999997</c:v>
                </c:pt>
                <c:pt idx="3106">
                  <c:v>0.52100000000000002</c:v>
                </c:pt>
                <c:pt idx="3107">
                  <c:v>0.82399999999999995</c:v>
                </c:pt>
                <c:pt idx="3108">
                  <c:v>0.60399999999999998</c:v>
                </c:pt>
                <c:pt idx="3109">
                  <c:v>0.53300000000000003</c:v>
                </c:pt>
                <c:pt idx="3110">
                  <c:v>0.70099999999999996</c:v>
                </c:pt>
                <c:pt idx="3111">
                  <c:v>0.80900000000000005</c:v>
                </c:pt>
                <c:pt idx="3112">
                  <c:v>0.50600000000000001</c:v>
                </c:pt>
                <c:pt idx="3113">
                  <c:v>0.42</c:v>
                </c:pt>
                <c:pt idx="3114">
                  <c:v>0.72499999999999998</c:v>
                </c:pt>
                <c:pt idx="3115">
                  <c:v>0.34300000000000003</c:v>
                </c:pt>
                <c:pt idx="3116">
                  <c:v>0.56200000000000006</c:v>
                </c:pt>
                <c:pt idx="3117">
                  <c:v>0.40400000000000003</c:v>
                </c:pt>
                <c:pt idx="3118">
                  <c:v>0.52300000000000002</c:v>
                </c:pt>
                <c:pt idx="3119">
                  <c:v>0.65700000000000003</c:v>
                </c:pt>
                <c:pt idx="3120">
                  <c:v>0.52500000000000002</c:v>
                </c:pt>
                <c:pt idx="3121">
                  <c:v>0.92100000000000004</c:v>
                </c:pt>
                <c:pt idx="3122">
                  <c:v>0.54700000000000004</c:v>
                </c:pt>
                <c:pt idx="3123">
                  <c:v>0.69799999999999995</c:v>
                </c:pt>
                <c:pt idx="3124">
                  <c:v>0.70099999999999996</c:v>
                </c:pt>
                <c:pt idx="3125">
                  <c:v>0.88400000000000001</c:v>
                </c:pt>
                <c:pt idx="3126">
                  <c:v>0.55000000000000004</c:v>
                </c:pt>
                <c:pt idx="3127">
                  <c:v>0.65300000000000002</c:v>
                </c:pt>
                <c:pt idx="3128">
                  <c:v>0.58499999999999996</c:v>
                </c:pt>
                <c:pt idx="3129">
                  <c:v>0.75</c:v>
                </c:pt>
                <c:pt idx="3130">
                  <c:v>0.34899999999999998</c:v>
                </c:pt>
                <c:pt idx="3131">
                  <c:v>0.57599999999999996</c:v>
                </c:pt>
                <c:pt idx="3132">
                  <c:v>0.56100000000000005</c:v>
                </c:pt>
                <c:pt idx="3133">
                  <c:v>0.499</c:v>
                </c:pt>
                <c:pt idx="3134">
                  <c:v>0.48499999999999999</c:v>
                </c:pt>
                <c:pt idx="3135">
                  <c:v>0.27700000000000002</c:v>
                </c:pt>
                <c:pt idx="3136">
                  <c:v>0.58099999999999996</c:v>
                </c:pt>
                <c:pt idx="3137">
                  <c:v>0.64100000000000001</c:v>
                </c:pt>
                <c:pt idx="3138">
                  <c:v>0.76100000000000001</c:v>
                </c:pt>
                <c:pt idx="3139">
                  <c:v>0.83399999999999996</c:v>
                </c:pt>
                <c:pt idx="3140">
                  <c:v>0.80600000000000005</c:v>
                </c:pt>
                <c:pt idx="3141">
                  <c:v>0.627</c:v>
                </c:pt>
                <c:pt idx="3142">
                  <c:v>0.34699999999999998</c:v>
                </c:pt>
                <c:pt idx="3143">
                  <c:v>0.34599999999999997</c:v>
                </c:pt>
                <c:pt idx="3144">
                  <c:v>0.54700000000000004</c:v>
                </c:pt>
                <c:pt idx="3145">
                  <c:v>0.55400000000000005</c:v>
                </c:pt>
                <c:pt idx="3146">
                  <c:v>0.73499999999999999</c:v>
                </c:pt>
                <c:pt idx="3147">
                  <c:v>0.38900000000000001</c:v>
                </c:pt>
                <c:pt idx="3148">
                  <c:v>0.496</c:v>
                </c:pt>
                <c:pt idx="3149">
                  <c:v>0.73099999999999998</c:v>
                </c:pt>
                <c:pt idx="3150">
                  <c:v>0.8</c:v>
                </c:pt>
                <c:pt idx="3151">
                  <c:v>0.57399999999999995</c:v>
                </c:pt>
                <c:pt idx="3152">
                  <c:v>0.85399999999999998</c:v>
                </c:pt>
                <c:pt idx="3153">
                  <c:v>0.78400000000000003</c:v>
                </c:pt>
                <c:pt idx="3154">
                  <c:v>0.89600000000000002</c:v>
                </c:pt>
                <c:pt idx="3155">
                  <c:v>0.12</c:v>
                </c:pt>
                <c:pt idx="3156">
                  <c:v>0.64200000000000002</c:v>
                </c:pt>
                <c:pt idx="3157">
                  <c:v>0.63</c:v>
                </c:pt>
                <c:pt idx="3158">
                  <c:v>0.61499999999999999</c:v>
                </c:pt>
                <c:pt idx="3159">
                  <c:v>0.42</c:v>
                </c:pt>
                <c:pt idx="3160">
                  <c:v>0.79500000000000004</c:v>
                </c:pt>
                <c:pt idx="3161">
                  <c:v>0.82899999999999996</c:v>
                </c:pt>
                <c:pt idx="3162">
                  <c:v>0.60599999999999998</c:v>
                </c:pt>
                <c:pt idx="3163">
                  <c:v>0.877</c:v>
                </c:pt>
                <c:pt idx="3164">
                  <c:v>0.49399999999999999</c:v>
                </c:pt>
                <c:pt idx="3165">
                  <c:v>0.877</c:v>
                </c:pt>
                <c:pt idx="3166">
                  <c:v>0.54100000000000004</c:v>
                </c:pt>
                <c:pt idx="3167">
                  <c:v>0.90900000000000003</c:v>
                </c:pt>
                <c:pt idx="3168">
                  <c:v>0.56799999999999995</c:v>
                </c:pt>
                <c:pt idx="3169">
                  <c:v>0.747</c:v>
                </c:pt>
                <c:pt idx="3170">
                  <c:v>0.53</c:v>
                </c:pt>
                <c:pt idx="3171">
                  <c:v>0.72599999999999998</c:v>
                </c:pt>
                <c:pt idx="3172">
                  <c:v>0.46300000000000002</c:v>
                </c:pt>
                <c:pt idx="3173">
                  <c:v>0.46700000000000003</c:v>
                </c:pt>
                <c:pt idx="3174">
                  <c:v>0.78400000000000003</c:v>
                </c:pt>
                <c:pt idx="3175">
                  <c:v>0.77300000000000002</c:v>
                </c:pt>
                <c:pt idx="3176">
                  <c:v>0.78400000000000003</c:v>
                </c:pt>
                <c:pt idx="3177">
                  <c:v>0.82499999999999996</c:v>
                </c:pt>
                <c:pt idx="3178">
                  <c:v>0.438</c:v>
                </c:pt>
                <c:pt idx="3179">
                  <c:v>0.73599999999999999</c:v>
                </c:pt>
                <c:pt idx="3180">
                  <c:v>0.54400000000000004</c:v>
                </c:pt>
                <c:pt idx="3181">
                  <c:v>0.93300000000000005</c:v>
                </c:pt>
                <c:pt idx="3182">
                  <c:v>0.84</c:v>
                </c:pt>
                <c:pt idx="3183">
                  <c:v>0.86699999999999999</c:v>
                </c:pt>
                <c:pt idx="3184">
                  <c:v>0.88800000000000001</c:v>
                </c:pt>
                <c:pt idx="3185">
                  <c:v>0.875</c:v>
                </c:pt>
                <c:pt idx="3186">
                  <c:v>0.56299999999999994</c:v>
                </c:pt>
                <c:pt idx="3187">
                  <c:v>0.57699999999999996</c:v>
                </c:pt>
                <c:pt idx="3188">
                  <c:v>0.71099999999999997</c:v>
                </c:pt>
                <c:pt idx="3189">
                  <c:v>0.80300000000000005</c:v>
                </c:pt>
                <c:pt idx="3190">
                  <c:v>0.6</c:v>
                </c:pt>
                <c:pt idx="3191">
                  <c:v>0.66500000000000004</c:v>
                </c:pt>
                <c:pt idx="3192">
                  <c:v>0.62</c:v>
                </c:pt>
                <c:pt idx="3193">
                  <c:v>0.48199999999999998</c:v>
                </c:pt>
                <c:pt idx="3194">
                  <c:v>0.221</c:v>
                </c:pt>
                <c:pt idx="3195">
                  <c:v>0.751</c:v>
                </c:pt>
                <c:pt idx="3196">
                  <c:v>0.78500000000000003</c:v>
                </c:pt>
                <c:pt idx="3197">
                  <c:v>0.89200000000000002</c:v>
                </c:pt>
                <c:pt idx="3198">
                  <c:v>0.9</c:v>
                </c:pt>
                <c:pt idx="3199">
                  <c:v>0.89600000000000002</c:v>
                </c:pt>
                <c:pt idx="3200">
                  <c:v>0.114</c:v>
                </c:pt>
                <c:pt idx="3201">
                  <c:v>0.746</c:v>
                </c:pt>
                <c:pt idx="3202">
                  <c:v>0.38600000000000001</c:v>
                </c:pt>
                <c:pt idx="3203">
                  <c:v>0.57999999999999996</c:v>
                </c:pt>
                <c:pt idx="3204">
                  <c:v>0.76200000000000001</c:v>
                </c:pt>
                <c:pt idx="3205">
                  <c:v>0.84899999999999998</c:v>
                </c:pt>
                <c:pt idx="3206">
                  <c:v>0.49299999999999999</c:v>
                </c:pt>
                <c:pt idx="3207">
                  <c:v>0.58599999999999997</c:v>
                </c:pt>
                <c:pt idx="3208">
                  <c:v>0.90100000000000002</c:v>
                </c:pt>
                <c:pt idx="3209">
                  <c:v>0.81599999999999995</c:v>
                </c:pt>
                <c:pt idx="3210">
                  <c:v>0.80100000000000005</c:v>
                </c:pt>
                <c:pt idx="3211">
                  <c:v>0.63300000000000001</c:v>
                </c:pt>
                <c:pt idx="3212">
                  <c:v>0.186</c:v>
                </c:pt>
                <c:pt idx="3213">
                  <c:v>0.81399999999999995</c:v>
                </c:pt>
                <c:pt idx="3214">
                  <c:v>0.79700000000000004</c:v>
                </c:pt>
                <c:pt idx="3215">
                  <c:v>0.93700000000000006</c:v>
                </c:pt>
                <c:pt idx="3216">
                  <c:v>0.90400000000000003</c:v>
                </c:pt>
                <c:pt idx="3217">
                  <c:v>0.624</c:v>
                </c:pt>
                <c:pt idx="3218">
                  <c:v>0.36299999999999999</c:v>
                </c:pt>
                <c:pt idx="3219">
                  <c:v>0.69799999999999995</c:v>
                </c:pt>
                <c:pt idx="3220">
                  <c:v>0.36599999999999999</c:v>
                </c:pt>
                <c:pt idx="3221">
                  <c:v>0.19900000000000001</c:v>
                </c:pt>
                <c:pt idx="3222">
                  <c:v>0.23400000000000001</c:v>
                </c:pt>
                <c:pt idx="3223">
                  <c:v>0.54200000000000004</c:v>
                </c:pt>
                <c:pt idx="3224">
                  <c:v>0.60199999999999998</c:v>
                </c:pt>
                <c:pt idx="3225">
                  <c:v>0.85899999999999999</c:v>
                </c:pt>
                <c:pt idx="3226">
                  <c:v>0.38500000000000001</c:v>
                </c:pt>
                <c:pt idx="3227">
                  <c:v>0.71499999999999997</c:v>
                </c:pt>
                <c:pt idx="3228">
                  <c:v>0.755</c:v>
                </c:pt>
                <c:pt idx="3229">
                  <c:v>0.57399999999999995</c:v>
                </c:pt>
                <c:pt idx="3230">
                  <c:v>0.66400000000000003</c:v>
                </c:pt>
                <c:pt idx="3231">
                  <c:v>0.52400000000000002</c:v>
                </c:pt>
                <c:pt idx="3232">
                  <c:v>0.57999999999999996</c:v>
                </c:pt>
                <c:pt idx="3233">
                  <c:v>0.84699999999999998</c:v>
                </c:pt>
                <c:pt idx="3234">
                  <c:v>0.50900000000000001</c:v>
                </c:pt>
                <c:pt idx="3235">
                  <c:v>0.56200000000000006</c:v>
                </c:pt>
                <c:pt idx="3236">
                  <c:v>0.81799999999999995</c:v>
                </c:pt>
                <c:pt idx="3237">
                  <c:v>0.80800000000000005</c:v>
                </c:pt>
                <c:pt idx="3238">
                  <c:v>0.27500000000000002</c:v>
                </c:pt>
                <c:pt idx="3239">
                  <c:v>0.78200000000000003</c:v>
                </c:pt>
                <c:pt idx="3240">
                  <c:v>0.64400000000000002</c:v>
                </c:pt>
                <c:pt idx="3241">
                  <c:v>0.58599999999999997</c:v>
                </c:pt>
                <c:pt idx="3242">
                  <c:v>0.71799999999999997</c:v>
                </c:pt>
                <c:pt idx="3243">
                  <c:v>0.82899999999999996</c:v>
                </c:pt>
                <c:pt idx="3244">
                  <c:v>0.34799999999999998</c:v>
                </c:pt>
                <c:pt idx="3245">
                  <c:v>0.70099999999999996</c:v>
                </c:pt>
                <c:pt idx="3246">
                  <c:v>0.80700000000000005</c:v>
                </c:pt>
                <c:pt idx="3247">
                  <c:v>0.85599999999999998</c:v>
                </c:pt>
                <c:pt idx="3248">
                  <c:v>0.59799999999999998</c:v>
                </c:pt>
                <c:pt idx="3249">
                  <c:v>9.6000000000000002E-2</c:v>
                </c:pt>
                <c:pt idx="3250">
                  <c:v>0.29199999999999998</c:v>
                </c:pt>
                <c:pt idx="3251">
                  <c:v>0.81</c:v>
                </c:pt>
                <c:pt idx="3252">
                  <c:v>0.71</c:v>
                </c:pt>
                <c:pt idx="3253">
                  <c:v>0.63200000000000001</c:v>
                </c:pt>
                <c:pt idx="3254">
                  <c:v>0.58499999999999996</c:v>
                </c:pt>
                <c:pt idx="3255">
                  <c:v>0.95399999999999996</c:v>
                </c:pt>
                <c:pt idx="3256">
                  <c:v>0.65500000000000003</c:v>
                </c:pt>
                <c:pt idx="3257">
                  <c:v>0.52200000000000002</c:v>
                </c:pt>
                <c:pt idx="3258">
                  <c:v>0.28599999999999998</c:v>
                </c:pt>
                <c:pt idx="3259">
                  <c:v>0.88400000000000001</c:v>
                </c:pt>
                <c:pt idx="3260">
                  <c:v>0.83899999999999997</c:v>
                </c:pt>
                <c:pt idx="3261">
                  <c:v>0.56899999999999995</c:v>
                </c:pt>
                <c:pt idx="3262">
                  <c:v>0.499</c:v>
                </c:pt>
                <c:pt idx="3263">
                  <c:v>0.61399999999999999</c:v>
                </c:pt>
                <c:pt idx="3264">
                  <c:v>0.83099999999999996</c:v>
                </c:pt>
                <c:pt idx="3265">
                  <c:v>0.60699999999999998</c:v>
                </c:pt>
                <c:pt idx="3266">
                  <c:v>0.73199999999999998</c:v>
                </c:pt>
                <c:pt idx="3267">
                  <c:v>0.74299999999999999</c:v>
                </c:pt>
                <c:pt idx="3268">
                  <c:v>0.877</c:v>
                </c:pt>
                <c:pt idx="3269">
                  <c:v>0.505</c:v>
                </c:pt>
                <c:pt idx="3270">
                  <c:v>0.57899999999999996</c:v>
                </c:pt>
                <c:pt idx="3271">
                  <c:v>0.54</c:v>
                </c:pt>
                <c:pt idx="3272">
                  <c:v>0.7</c:v>
                </c:pt>
                <c:pt idx="3273">
                  <c:v>0.42299999999999999</c:v>
                </c:pt>
                <c:pt idx="3274">
                  <c:v>0.42399999999999999</c:v>
                </c:pt>
                <c:pt idx="3275">
                  <c:v>0.73099999999999998</c:v>
                </c:pt>
                <c:pt idx="3276">
                  <c:v>0.503</c:v>
                </c:pt>
                <c:pt idx="3277">
                  <c:v>0.85199999999999998</c:v>
                </c:pt>
                <c:pt idx="3278">
                  <c:v>0.751</c:v>
                </c:pt>
                <c:pt idx="3279">
                  <c:v>0.77600000000000002</c:v>
                </c:pt>
                <c:pt idx="3280">
                  <c:v>0.58699999999999997</c:v>
                </c:pt>
                <c:pt idx="3281">
                  <c:v>0.84199999999999997</c:v>
                </c:pt>
                <c:pt idx="3282">
                  <c:v>0.65900000000000003</c:v>
                </c:pt>
                <c:pt idx="3283">
                  <c:v>0.373</c:v>
                </c:pt>
                <c:pt idx="3284">
                  <c:v>0.74</c:v>
                </c:pt>
                <c:pt idx="3285">
                  <c:v>0.59099999999999997</c:v>
                </c:pt>
                <c:pt idx="3286">
                  <c:v>0.48199999999999998</c:v>
                </c:pt>
                <c:pt idx="3287">
                  <c:v>0.72499999999999998</c:v>
                </c:pt>
                <c:pt idx="3288">
                  <c:v>0.52700000000000002</c:v>
                </c:pt>
                <c:pt idx="3289">
                  <c:v>0.77200000000000002</c:v>
                </c:pt>
                <c:pt idx="3290">
                  <c:v>0.55800000000000005</c:v>
                </c:pt>
                <c:pt idx="3291">
                  <c:v>0.69599999999999995</c:v>
                </c:pt>
                <c:pt idx="3292">
                  <c:v>0.73199999999999998</c:v>
                </c:pt>
                <c:pt idx="3293">
                  <c:v>0.67800000000000005</c:v>
                </c:pt>
                <c:pt idx="3294">
                  <c:v>0.86499999999999999</c:v>
                </c:pt>
                <c:pt idx="3295">
                  <c:v>0.55900000000000005</c:v>
                </c:pt>
                <c:pt idx="3296">
                  <c:v>0.72699999999999998</c:v>
                </c:pt>
                <c:pt idx="3297">
                  <c:v>0.70199999999999996</c:v>
                </c:pt>
                <c:pt idx="3298">
                  <c:v>0.94499999999999995</c:v>
                </c:pt>
                <c:pt idx="3299">
                  <c:v>0.73899999999999999</c:v>
                </c:pt>
                <c:pt idx="3300">
                  <c:v>0.65500000000000003</c:v>
                </c:pt>
                <c:pt idx="3301">
                  <c:v>0.72399999999999998</c:v>
                </c:pt>
                <c:pt idx="3302">
                  <c:v>0.65700000000000003</c:v>
                </c:pt>
                <c:pt idx="3303">
                  <c:v>0.71399999999999997</c:v>
                </c:pt>
                <c:pt idx="3304">
                  <c:v>0.51400000000000001</c:v>
                </c:pt>
                <c:pt idx="3305">
                  <c:v>0.81399999999999995</c:v>
                </c:pt>
                <c:pt idx="3306">
                  <c:v>0.57199999999999995</c:v>
                </c:pt>
                <c:pt idx="3307">
                  <c:v>0.60499999999999998</c:v>
                </c:pt>
                <c:pt idx="3308">
                  <c:v>0.69399999999999995</c:v>
                </c:pt>
                <c:pt idx="3309">
                  <c:v>0.60399999999999998</c:v>
                </c:pt>
                <c:pt idx="3310">
                  <c:v>0.35699999999999998</c:v>
                </c:pt>
                <c:pt idx="3311">
                  <c:v>0.754</c:v>
                </c:pt>
                <c:pt idx="3312">
                  <c:v>0.433</c:v>
                </c:pt>
                <c:pt idx="3313">
                  <c:v>0.55700000000000005</c:v>
                </c:pt>
                <c:pt idx="3314">
                  <c:v>0.76100000000000001</c:v>
                </c:pt>
                <c:pt idx="3315">
                  <c:v>0.65</c:v>
                </c:pt>
                <c:pt idx="3316">
                  <c:v>0.94299999999999995</c:v>
                </c:pt>
                <c:pt idx="3317">
                  <c:v>0.754</c:v>
                </c:pt>
                <c:pt idx="3318">
                  <c:v>0.64900000000000002</c:v>
                </c:pt>
                <c:pt idx="3319">
                  <c:v>0.57999999999999996</c:v>
                </c:pt>
                <c:pt idx="3320">
                  <c:v>0.82399999999999995</c:v>
                </c:pt>
                <c:pt idx="3321">
                  <c:v>0.65400000000000003</c:v>
                </c:pt>
                <c:pt idx="3322">
                  <c:v>0.314</c:v>
                </c:pt>
                <c:pt idx="3323">
                  <c:v>0.76800000000000002</c:v>
                </c:pt>
                <c:pt idx="3324">
                  <c:v>0.30299999999999999</c:v>
                </c:pt>
                <c:pt idx="3325">
                  <c:v>0.77900000000000003</c:v>
                </c:pt>
                <c:pt idx="3326">
                  <c:v>0.57199999999999995</c:v>
                </c:pt>
                <c:pt idx="3327">
                  <c:v>0.35699999999999998</c:v>
                </c:pt>
                <c:pt idx="3328">
                  <c:v>0.58699999999999997</c:v>
                </c:pt>
                <c:pt idx="3329">
                  <c:v>0.42499999999999999</c:v>
                </c:pt>
                <c:pt idx="3330">
                  <c:v>0.32700000000000001</c:v>
                </c:pt>
                <c:pt idx="3331">
                  <c:v>0.746</c:v>
                </c:pt>
                <c:pt idx="3332">
                  <c:v>0.71899999999999997</c:v>
                </c:pt>
                <c:pt idx="3333">
                  <c:v>0.73799999999999999</c:v>
                </c:pt>
                <c:pt idx="3334">
                  <c:v>0.62</c:v>
                </c:pt>
                <c:pt idx="3335">
                  <c:v>0.89300000000000002</c:v>
                </c:pt>
                <c:pt idx="3336">
                  <c:v>0.19700000000000001</c:v>
                </c:pt>
                <c:pt idx="3337">
                  <c:v>0.60899999999999999</c:v>
                </c:pt>
                <c:pt idx="3338">
                  <c:v>0.47099999999999997</c:v>
                </c:pt>
                <c:pt idx="3339">
                  <c:v>0.69799999999999995</c:v>
                </c:pt>
                <c:pt idx="3340">
                  <c:v>0.84</c:v>
                </c:pt>
                <c:pt idx="3341">
                  <c:v>0.52300000000000002</c:v>
                </c:pt>
                <c:pt idx="3342">
                  <c:v>0.88</c:v>
                </c:pt>
                <c:pt idx="3343">
                  <c:v>0.52500000000000002</c:v>
                </c:pt>
                <c:pt idx="3344">
                  <c:v>0.45300000000000001</c:v>
                </c:pt>
                <c:pt idx="3345">
                  <c:v>0.51500000000000001</c:v>
                </c:pt>
                <c:pt idx="3346">
                  <c:v>0.72599999999999998</c:v>
                </c:pt>
                <c:pt idx="3347">
                  <c:v>0.92500000000000004</c:v>
                </c:pt>
                <c:pt idx="3348">
                  <c:v>0.56599999999999995</c:v>
                </c:pt>
                <c:pt idx="3349">
                  <c:v>0.70599999999999996</c:v>
                </c:pt>
                <c:pt idx="3350">
                  <c:v>0.443</c:v>
                </c:pt>
                <c:pt idx="3351">
                  <c:v>0.68</c:v>
                </c:pt>
                <c:pt idx="3352">
                  <c:v>0.76300000000000001</c:v>
                </c:pt>
                <c:pt idx="3353">
                  <c:v>0.70699999999999996</c:v>
                </c:pt>
                <c:pt idx="3354">
                  <c:v>0.45600000000000002</c:v>
                </c:pt>
                <c:pt idx="3355">
                  <c:v>0.871</c:v>
                </c:pt>
                <c:pt idx="3356">
                  <c:v>0.73099999999999998</c:v>
                </c:pt>
                <c:pt idx="3357">
                  <c:v>0.495</c:v>
                </c:pt>
                <c:pt idx="3358">
                  <c:v>0.80300000000000005</c:v>
                </c:pt>
                <c:pt idx="3359">
                  <c:v>0.53100000000000003</c:v>
                </c:pt>
                <c:pt idx="3360">
                  <c:v>0.72799999999999998</c:v>
                </c:pt>
                <c:pt idx="3361">
                  <c:v>0.495</c:v>
                </c:pt>
                <c:pt idx="3362">
                  <c:v>0.41499999999999998</c:v>
                </c:pt>
                <c:pt idx="3363">
                  <c:v>0.44500000000000001</c:v>
                </c:pt>
                <c:pt idx="3364">
                  <c:v>0.47799999999999998</c:v>
                </c:pt>
                <c:pt idx="3365">
                  <c:v>0.372</c:v>
                </c:pt>
                <c:pt idx="3366">
                  <c:v>0.184</c:v>
                </c:pt>
                <c:pt idx="3367">
                  <c:v>0.61899999999999999</c:v>
                </c:pt>
                <c:pt idx="3368">
                  <c:v>0.85299999999999998</c:v>
                </c:pt>
                <c:pt idx="3369">
                  <c:v>0.875</c:v>
                </c:pt>
                <c:pt idx="3370">
                  <c:v>0.88600000000000001</c:v>
                </c:pt>
                <c:pt idx="3371">
                  <c:v>0.47799999999999998</c:v>
                </c:pt>
                <c:pt idx="3372">
                  <c:v>0.80300000000000005</c:v>
                </c:pt>
                <c:pt idx="3373">
                  <c:v>0.91300000000000003</c:v>
                </c:pt>
                <c:pt idx="3374">
                  <c:v>0.58899999999999997</c:v>
                </c:pt>
                <c:pt idx="3375">
                  <c:v>0.61299999999999999</c:v>
                </c:pt>
                <c:pt idx="3376">
                  <c:v>0.59</c:v>
                </c:pt>
                <c:pt idx="3377">
                  <c:v>0.62</c:v>
                </c:pt>
                <c:pt idx="3378">
                  <c:v>0.57899999999999996</c:v>
                </c:pt>
                <c:pt idx="3379">
                  <c:v>0.76400000000000001</c:v>
                </c:pt>
                <c:pt idx="3380">
                  <c:v>0.60399999999999998</c:v>
                </c:pt>
                <c:pt idx="3381">
                  <c:v>0.67500000000000004</c:v>
                </c:pt>
                <c:pt idx="3382">
                  <c:v>0.51</c:v>
                </c:pt>
                <c:pt idx="3383">
                  <c:v>0.85</c:v>
                </c:pt>
                <c:pt idx="3384">
                  <c:v>0.51300000000000001</c:v>
                </c:pt>
                <c:pt idx="3385">
                  <c:v>0.85599999999999998</c:v>
                </c:pt>
                <c:pt idx="3386">
                  <c:v>0.55200000000000005</c:v>
                </c:pt>
                <c:pt idx="3387">
                  <c:v>0.65600000000000003</c:v>
                </c:pt>
                <c:pt idx="3388">
                  <c:v>0.81499999999999995</c:v>
                </c:pt>
                <c:pt idx="3389">
                  <c:v>0.57299999999999995</c:v>
                </c:pt>
                <c:pt idx="3390">
                  <c:v>0.92600000000000005</c:v>
                </c:pt>
                <c:pt idx="3391">
                  <c:v>0.63200000000000001</c:v>
                </c:pt>
                <c:pt idx="3392">
                  <c:v>0.41499999999999998</c:v>
                </c:pt>
                <c:pt idx="3393">
                  <c:v>0.38700000000000001</c:v>
                </c:pt>
                <c:pt idx="3394">
                  <c:v>0.312</c:v>
                </c:pt>
                <c:pt idx="3395">
                  <c:v>0.34899999999999998</c:v>
                </c:pt>
                <c:pt idx="3396">
                  <c:v>0.66500000000000004</c:v>
                </c:pt>
                <c:pt idx="3397">
                  <c:v>0.46600000000000003</c:v>
                </c:pt>
                <c:pt idx="3398">
                  <c:v>0.70099999999999996</c:v>
                </c:pt>
                <c:pt idx="3399">
                  <c:v>0.90400000000000003</c:v>
                </c:pt>
                <c:pt idx="3400">
                  <c:v>0.70499999999999996</c:v>
                </c:pt>
                <c:pt idx="3401">
                  <c:v>0.59299999999999997</c:v>
                </c:pt>
                <c:pt idx="3402">
                  <c:v>0.70299999999999996</c:v>
                </c:pt>
                <c:pt idx="3403">
                  <c:v>0.55000000000000004</c:v>
                </c:pt>
                <c:pt idx="3404">
                  <c:v>0.75</c:v>
                </c:pt>
                <c:pt idx="3405">
                  <c:v>0.38400000000000001</c:v>
                </c:pt>
                <c:pt idx="3406">
                  <c:v>0.503</c:v>
                </c:pt>
                <c:pt idx="3407">
                  <c:v>0.752</c:v>
                </c:pt>
                <c:pt idx="3408">
                  <c:v>0.65800000000000003</c:v>
                </c:pt>
                <c:pt idx="3409">
                  <c:v>0.54500000000000004</c:v>
                </c:pt>
                <c:pt idx="3410">
                  <c:v>0.92300000000000004</c:v>
                </c:pt>
                <c:pt idx="3411">
                  <c:v>0.68100000000000005</c:v>
                </c:pt>
                <c:pt idx="3412">
                  <c:v>0.80900000000000005</c:v>
                </c:pt>
                <c:pt idx="3413">
                  <c:v>0.83499999999999996</c:v>
                </c:pt>
                <c:pt idx="3414">
                  <c:v>0.114</c:v>
                </c:pt>
                <c:pt idx="3415">
                  <c:v>0.621</c:v>
                </c:pt>
                <c:pt idx="3416">
                  <c:v>0.19</c:v>
                </c:pt>
                <c:pt idx="3417">
                  <c:v>0.91200000000000003</c:v>
                </c:pt>
                <c:pt idx="3418">
                  <c:v>0.497</c:v>
                </c:pt>
                <c:pt idx="3419">
                  <c:v>0.48099999999999998</c:v>
                </c:pt>
                <c:pt idx="3420">
                  <c:v>0.85499999999999998</c:v>
                </c:pt>
                <c:pt idx="3421">
                  <c:v>0.67300000000000004</c:v>
                </c:pt>
                <c:pt idx="3422">
                  <c:v>0.52400000000000002</c:v>
                </c:pt>
                <c:pt idx="3423">
                  <c:v>0.70499999999999996</c:v>
                </c:pt>
                <c:pt idx="3424">
                  <c:v>0.437</c:v>
                </c:pt>
                <c:pt idx="3425">
                  <c:v>0.42199999999999999</c:v>
                </c:pt>
                <c:pt idx="3426">
                  <c:v>0.67400000000000004</c:v>
                </c:pt>
                <c:pt idx="3427">
                  <c:v>0.4</c:v>
                </c:pt>
                <c:pt idx="3428">
                  <c:v>0.191</c:v>
                </c:pt>
                <c:pt idx="3429">
                  <c:v>0.71699999999999997</c:v>
                </c:pt>
                <c:pt idx="3430">
                  <c:v>0.40699999999999997</c:v>
                </c:pt>
                <c:pt idx="3431">
                  <c:v>0.91400000000000003</c:v>
                </c:pt>
                <c:pt idx="3432">
                  <c:v>0.92800000000000005</c:v>
                </c:pt>
                <c:pt idx="3433">
                  <c:v>0.46100000000000002</c:v>
                </c:pt>
                <c:pt idx="3434">
                  <c:v>0.55600000000000005</c:v>
                </c:pt>
                <c:pt idx="3435">
                  <c:v>0.64200000000000002</c:v>
                </c:pt>
                <c:pt idx="3436">
                  <c:v>0.79100000000000004</c:v>
                </c:pt>
                <c:pt idx="3437">
                  <c:v>0.79</c:v>
                </c:pt>
                <c:pt idx="3438">
                  <c:v>0.499</c:v>
                </c:pt>
                <c:pt idx="3439">
                  <c:v>0.76500000000000001</c:v>
                </c:pt>
                <c:pt idx="3440">
                  <c:v>0.69899999999999995</c:v>
                </c:pt>
                <c:pt idx="3441">
                  <c:v>0.81100000000000005</c:v>
                </c:pt>
                <c:pt idx="3442">
                  <c:v>0.72799999999999998</c:v>
                </c:pt>
                <c:pt idx="3443">
                  <c:v>0.79900000000000004</c:v>
                </c:pt>
                <c:pt idx="3444">
                  <c:v>0.40899999999999997</c:v>
                </c:pt>
                <c:pt idx="3445">
                  <c:v>0.48699999999999999</c:v>
                </c:pt>
                <c:pt idx="3446">
                  <c:v>0.56200000000000006</c:v>
                </c:pt>
                <c:pt idx="3447">
                  <c:v>0.8</c:v>
                </c:pt>
                <c:pt idx="3448">
                  <c:v>0.83799999999999997</c:v>
                </c:pt>
                <c:pt idx="3449">
                  <c:v>0.86499999999999999</c:v>
                </c:pt>
                <c:pt idx="3450">
                  <c:v>0.88200000000000001</c:v>
                </c:pt>
                <c:pt idx="3451">
                  <c:v>0.57599999999999996</c:v>
                </c:pt>
                <c:pt idx="3452">
                  <c:v>0.53700000000000003</c:v>
                </c:pt>
                <c:pt idx="3453">
                  <c:v>0.435</c:v>
                </c:pt>
                <c:pt idx="3454">
                  <c:v>0.52200000000000002</c:v>
                </c:pt>
                <c:pt idx="3455">
                  <c:v>0.879</c:v>
                </c:pt>
                <c:pt idx="3456">
                  <c:v>0.29899999999999999</c:v>
                </c:pt>
                <c:pt idx="3457">
                  <c:v>0.46500000000000002</c:v>
                </c:pt>
                <c:pt idx="3458">
                  <c:v>0.35599999999999998</c:v>
                </c:pt>
                <c:pt idx="3459">
                  <c:v>0.58899999999999997</c:v>
                </c:pt>
                <c:pt idx="3460">
                  <c:v>0.57899999999999996</c:v>
                </c:pt>
                <c:pt idx="3461">
                  <c:v>0.44400000000000001</c:v>
                </c:pt>
                <c:pt idx="3462">
                  <c:v>0.36199999999999999</c:v>
                </c:pt>
                <c:pt idx="3463">
                  <c:v>0.755</c:v>
                </c:pt>
                <c:pt idx="3464">
                  <c:v>0.73399999999999999</c:v>
                </c:pt>
                <c:pt idx="3465">
                  <c:v>0.34599999999999997</c:v>
                </c:pt>
                <c:pt idx="3466">
                  <c:v>0.22600000000000001</c:v>
                </c:pt>
                <c:pt idx="3467">
                  <c:v>0.36699999999999999</c:v>
                </c:pt>
                <c:pt idx="3468">
                  <c:v>0.48199999999999998</c:v>
                </c:pt>
                <c:pt idx="3469">
                  <c:v>0.85299999999999998</c:v>
                </c:pt>
                <c:pt idx="3470">
                  <c:v>0.55300000000000005</c:v>
                </c:pt>
                <c:pt idx="3471">
                  <c:v>0.63600000000000001</c:v>
                </c:pt>
                <c:pt idx="3472">
                  <c:v>0.441</c:v>
                </c:pt>
                <c:pt idx="3473">
                  <c:v>0.56299999999999994</c:v>
                </c:pt>
                <c:pt idx="3474">
                  <c:v>0.51300000000000001</c:v>
                </c:pt>
                <c:pt idx="3475">
                  <c:v>0.69699999999999995</c:v>
                </c:pt>
                <c:pt idx="3476">
                  <c:v>0.57999999999999996</c:v>
                </c:pt>
                <c:pt idx="3477">
                  <c:v>0.60599999999999998</c:v>
                </c:pt>
                <c:pt idx="3478">
                  <c:v>0.28399999999999997</c:v>
                </c:pt>
                <c:pt idx="3479">
                  <c:v>0.54500000000000004</c:v>
                </c:pt>
                <c:pt idx="3480">
                  <c:v>0.77900000000000003</c:v>
                </c:pt>
                <c:pt idx="3481">
                  <c:v>0.48699999999999999</c:v>
                </c:pt>
                <c:pt idx="3482">
                  <c:v>0.87</c:v>
                </c:pt>
                <c:pt idx="3483">
                  <c:v>0.37</c:v>
                </c:pt>
                <c:pt idx="3484">
                  <c:v>0.5</c:v>
                </c:pt>
                <c:pt idx="3485">
                  <c:v>0.79900000000000004</c:v>
                </c:pt>
                <c:pt idx="3486">
                  <c:v>0.37</c:v>
                </c:pt>
                <c:pt idx="3487">
                  <c:v>0.89400000000000002</c:v>
                </c:pt>
                <c:pt idx="3488">
                  <c:v>0.88300000000000001</c:v>
                </c:pt>
                <c:pt idx="3489">
                  <c:v>0.49399999999999999</c:v>
                </c:pt>
                <c:pt idx="3490">
                  <c:v>0.496</c:v>
                </c:pt>
                <c:pt idx="3491">
                  <c:v>0.92600000000000005</c:v>
                </c:pt>
                <c:pt idx="3492">
                  <c:v>0.66700000000000004</c:v>
                </c:pt>
                <c:pt idx="3493">
                  <c:v>0.63</c:v>
                </c:pt>
                <c:pt idx="3494">
                  <c:v>0.40799999999999997</c:v>
                </c:pt>
                <c:pt idx="3495">
                  <c:v>0.87</c:v>
                </c:pt>
                <c:pt idx="3496">
                  <c:v>0.745</c:v>
                </c:pt>
                <c:pt idx="3497">
                  <c:v>0.53</c:v>
                </c:pt>
                <c:pt idx="3498">
                  <c:v>0.47399999999999998</c:v>
                </c:pt>
                <c:pt idx="3499">
                  <c:v>0.78</c:v>
                </c:pt>
                <c:pt idx="3500">
                  <c:v>0.77500000000000002</c:v>
                </c:pt>
                <c:pt idx="3501">
                  <c:v>0.88900000000000001</c:v>
                </c:pt>
                <c:pt idx="3502">
                  <c:v>0.55900000000000005</c:v>
                </c:pt>
                <c:pt idx="3503">
                  <c:v>0.59099999999999997</c:v>
                </c:pt>
                <c:pt idx="3504">
                  <c:v>0.93200000000000005</c:v>
                </c:pt>
                <c:pt idx="3505">
                  <c:v>0.54800000000000004</c:v>
                </c:pt>
                <c:pt idx="3506">
                  <c:v>0.16</c:v>
                </c:pt>
                <c:pt idx="3507">
                  <c:v>0.82099999999999995</c:v>
                </c:pt>
                <c:pt idx="3508">
                  <c:v>0.39900000000000002</c:v>
                </c:pt>
                <c:pt idx="3509">
                  <c:v>0.504</c:v>
                </c:pt>
                <c:pt idx="3510">
                  <c:v>0.45400000000000001</c:v>
                </c:pt>
                <c:pt idx="3511">
                  <c:v>7.4999999999999997E-2</c:v>
                </c:pt>
                <c:pt idx="3512">
                  <c:v>0.43099999999999999</c:v>
                </c:pt>
                <c:pt idx="3513">
                  <c:v>0.60299999999999998</c:v>
                </c:pt>
                <c:pt idx="3514">
                  <c:v>0.66700000000000004</c:v>
                </c:pt>
                <c:pt idx="3515">
                  <c:v>0.54400000000000004</c:v>
                </c:pt>
                <c:pt idx="3516">
                  <c:v>0.51200000000000001</c:v>
                </c:pt>
                <c:pt idx="3517">
                  <c:v>0.59699999999999998</c:v>
                </c:pt>
                <c:pt idx="3518">
                  <c:v>0.77300000000000002</c:v>
                </c:pt>
                <c:pt idx="3519">
                  <c:v>0.24199999999999999</c:v>
                </c:pt>
                <c:pt idx="3520">
                  <c:v>0.50700000000000001</c:v>
                </c:pt>
                <c:pt idx="3521">
                  <c:v>0.92600000000000005</c:v>
                </c:pt>
                <c:pt idx="3522">
                  <c:v>0.66900000000000004</c:v>
                </c:pt>
                <c:pt idx="3523">
                  <c:v>0.59199999999999997</c:v>
                </c:pt>
                <c:pt idx="3524">
                  <c:v>0.79200000000000004</c:v>
                </c:pt>
                <c:pt idx="3525">
                  <c:v>0.68700000000000006</c:v>
                </c:pt>
                <c:pt idx="3526">
                  <c:v>0.38600000000000001</c:v>
                </c:pt>
                <c:pt idx="3527">
                  <c:v>0.55400000000000005</c:v>
                </c:pt>
                <c:pt idx="3528">
                  <c:v>0.74399999999999999</c:v>
                </c:pt>
                <c:pt idx="3529">
                  <c:v>0.78200000000000003</c:v>
                </c:pt>
                <c:pt idx="3530">
                  <c:v>0.54300000000000004</c:v>
                </c:pt>
                <c:pt idx="3531">
                  <c:v>0.57199999999999995</c:v>
                </c:pt>
                <c:pt idx="3532">
                  <c:v>0.54600000000000004</c:v>
                </c:pt>
                <c:pt idx="3533">
                  <c:v>0.75800000000000001</c:v>
                </c:pt>
                <c:pt idx="3534">
                  <c:v>0.59399999999999997</c:v>
                </c:pt>
                <c:pt idx="3535">
                  <c:v>0.52</c:v>
                </c:pt>
                <c:pt idx="3536">
                  <c:v>0.72</c:v>
                </c:pt>
                <c:pt idx="3537">
                  <c:v>0.55000000000000004</c:v>
                </c:pt>
                <c:pt idx="3538">
                  <c:v>0.35499999999999998</c:v>
                </c:pt>
                <c:pt idx="3539">
                  <c:v>0.94099999999999995</c:v>
                </c:pt>
                <c:pt idx="3540">
                  <c:v>0.80300000000000005</c:v>
                </c:pt>
                <c:pt idx="3541">
                  <c:v>0.90900000000000003</c:v>
                </c:pt>
                <c:pt idx="3542">
                  <c:v>0.81799999999999995</c:v>
                </c:pt>
                <c:pt idx="3543">
                  <c:v>0.68500000000000005</c:v>
                </c:pt>
                <c:pt idx="3544">
                  <c:v>0.83699999999999997</c:v>
                </c:pt>
                <c:pt idx="3545">
                  <c:v>0.42399999999999999</c:v>
                </c:pt>
                <c:pt idx="3546">
                  <c:v>0.80300000000000005</c:v>
                </c:pt>
                <c:pt idx="3547">
                  <c:v>0.871</c:v>
                </c:pt>
                <c:pt idx="3548">
                  <c:v>2.5999999999999999E-2</c:v>
                </c:pt>
                <c:pt idx="3549">
                  <c:v>0.71399999999999997</c:v>
                </c:pt>
                <c:pt idx="3550">
                  <c:v>0.61899999999999999</c:v>
                </c:pt>
                <c:pt idx="3551">
                  <c:v>0.57899999999999996</c:v>
                </c:pt>
                <c:pt idx="3552">
                  <c:v>0.34699999999999998</c:v>
                </c:pt>
                <c:pt idx="3553">
                  <c:v>0.39600000000000002</c:v>
                </c:pt>
                <c:pt idx="3554">
                  <c:v>0.70599999999999996</c:v>
                </c:pt>
                <c:pt idx="3555">
                  <c:v>0.45500000000000002</c:v>
                </c:pt>
                <c:pt idx="3556">
                  <c:v>0.64500000000000002</c:v>
                </c:pt>
                <c:pt idx="3557">
                  <c:v>0.63200000000000001</c:v>
                </c:pt>
                <c:pt idx="3558">
                  <c:v>0.72499999999999998</c:v>
                </c:pt>
                <c:pt idx="3559">
                  <c:v>0.54300000000000004</c:v>
                </c:pt>
                <c:pt idx="3560">
                  <c:v>0.22500000000000001</c:v>
                </c:pt>
                <c:pt idx="3561">
                  <c:v>0.66900000000000004</c:v>
                </c:pt>
                <c:pt idx="3562">
                  <c:v>0.84099999999999997</c:v>
                </c:pt>
                <c:pt idx="3563">
                  <c:v>0.61199999999999999</c:v>
                </c:pt>
                <c:pt idx="3564">
                  <c:v>0.433</c:v>
                </c:pt>
                <c:pt idx="3565">
                  <c:v>0.70399999999999996</c:v>
                </c:pt>
                <c:pt idx="3566">
                  <c:v>0.88800000000000001</c:v>
                </c:pt>
                <c:pt idx="3567">
                  <c:v>0.59199999999999997</c:v>
                </c:pt>
                <c:pt idx="3568">
                  <c:v>0.68799999999999994</c:v>
                </c:pt>
                <c:pt idx="3569">
                  <c:v>0.55800000000000005</c:v>
                </c:pt>
                <c:pt idx="3570">
                  <c:v>0.78300000000000003</c:v>
                </c:pt>
                <c:pt idx="3571">
                  <c:v>0.53100000000000003</c:v>
                </c:pt>
                <c:pt idx="3572">
                  <c:v>0.54500000000000004</c:v>
                </c:pt>
                <c:pt idx="3573">
                  <c:v>0.11600000000000001</c:v>
                </c:pt>
                <c:pt idx="3574">
                  <c:v>0.88800000000000001</c:v>
                </c:pt>
                <c:pt idx="3575">
                  <c:v>0.438</c:v>
                </c:pt>
                <c:pt idx="3576">
                  <c:v>0.31</c:v>
                </c:pt>
                <c:pt idx="3577">
                  <c:v>0.71199999999999997</c:v>
                </c:pt>
                <c:pt idx="3578">
                  <c:v>0.47399999999999998</c:v>
                </c:pt>
                <c:pt idx="3579">
                  <c:v>0.71</c:v>
                </c:pt>
                <c:pt idx="3580">
                  <c:v>0.61</c:v>
                </c:pt>
                <c:pt idx="3581">
                  <c:v>0.68100000000000005</c:v>
                </c:pt>
                <c:pt idx="3582">
                  <c:v>0.72099999999999997</c:v>
                </c:pt>
                <c:pt idx="3583">
                  <c:v>0.73</c:v>
                </c:pt>
                <c:pt idx="3584">
                  <c:v>0.88200000000000001</c:v>
                </c:pt>
                <c:pt idx="3585">
                  <c:v>0.69</c:v>
                </c:pt>
                <c:pt idx="3586">
                  <c:v>0.49299999999999999</c:v>
                </c:pt>
                <c:pt idx="3587">
                  <c:v>0.93500000000000005</c:v>
                </c:pt>
                <c:pt idx="3588">
                  <c:v>0.26300000000000001</c:v>
                </c:pt>
                <c:pt idx="3589">
                  <c:v>0.38600000000000001</c:v>
                </c:pt>
                <c:pt idx="3590">
                  <c:v>0.48699999999999999</c:v>
                </c:pt>
                <c:pt idx="3591">
                  <c:v>0.76300000000000001</c:v>
                </c:pt>
                <c:pt idx="3592">
                  <c:v>0.56999999999999995</c:v>
                </c:pt>
                <c:pt idx="3593">
                  <c:v>0.80700000000000005</c:v>
                </c:pt>
                <c:pt idx="3594">
                  <c:v>0.51500000000000001</c:v>
                </c:pt>
                <c:pt idx="3595">
                  <c:v>0.57799999999999996</c:v>
                </c:pt>
                <c:pt idx="3596">
                  <c:v>0.81599999999999995</c:v>
                </c:pt>
                <c:pt idx="3597">
                  <c:v>0.45100000000000001</c:v>
                </c:pt>
                <c:pt idx="3598">
                  <c:v>0.33500000000000002</c:v>
                </c:pt>
                <c:pt idx="3599">
                  <c:v>0.42399999999999999</c:v>
                </c:pt>
                <c:pt idx="3600">
                  <c:v>0.63700000000000001</c:v>
                </c:pt>
                <c:pt idx="3601">
                  <c:v>0.69899999999999995</c:v>
                </c:pt>
                <c:pt idx="3602">
                  <c:v>0.58199999999999996</c:v>
                </c:pt>
                <c:pt idx="3603">
                  <c:v>0.89200000000000002</c:v>
                </c:pt>
                <c:pt idx="3604">
                  <c:v>0.79900000000000004</c:v>
                </c:pt>
                <c:pt idx="3605">
                  <c:v>0.70099999999999996</c:v>
                </c:pt>
                <c:pt idx="3606">
                  <c:v>0.248</c:v>
                </c:pt>
                <c:pt idx="3607">
                  <c:v>0.59599999999999997</c:v>
                </c:pt>
                <c:pt idx="3608">
                  <c:v>0.90500000000000003</c:v>
                </c:pt>
                <c:pt idx="3609">
                  <c:v>0.42599999999999999</c:v>
                </c:pt>
                <c:pt idx="3610">
                  <c:v>0.81499999999999995</c:v>
                </c:pt>
                <c:pt idx="3611">
                  <c:v>0.50700000000000001</c:v>
                </c:pt>
                <c:pt idx="3612">
                  <c:v>0.64500000000000002</c:v>
                </c:pt>
                <c:pt idx="3613">
                  <c:v>0.90800000000000003</c:v>
                </c:pt>
                <c:pt idx="3614">
                  <c:v>0.69899999999999995</c:v>
                </c:pt>
                <c:pt idx="3615">
                  <c:v>0.35699999999999998</c:v>
                </c:pt>
                <c:pt idx="3616">
                  <c:v>0.89</c:v>
                </c:pt>
                <c:pt idx="3617">
                  <c:v>0.34599999999999997</c:v>
                </c:pt>
                <c:pt idx="3618">
                  <c:v>0.91300000000000003</c:v>
                </c:pt>
                <c:pt idx="3619">
                  <c:v>0.58399999999999996</c:v>
                </c:pt>
                <c:pt idx="3620">
                  <c:v>0.71499999999999997</c:v>
                </c:pt>
                <c:pt idx="3621">
                  <c:v>0.54100000000000004</c:v>
                </c:pt>
                <c:pt idx="3622">
                  <c:v>0.46700000000000003</c:v>
                </c:pt>
                <c:pt idx="3623">
                  <c:v>0.67</c:v>
                </c:pt>
                <c:pt idx="3624">
                  <c:v>0.44900000000000001</c:v>
                </c:pt>
                <c:pt idx="3625">
                  <c:v>0.32900000000000001</c:v>
                </c:pt>
                <c:pt idx="3626">
                  <c:v>0.78600000000000003</c:v>
                </c:pt>
                <c:pt idx="3627">
                  <c:v>0.438</c:v>
                </c:pt>
                <c:pt idx="3628">
                  <c:v>0.41899999999999998</c:v>
                </c:pt>
                <c:pt idx="3629">
                  <c:v>0.79600000000000004</c:v>
                </c:pt>
                <c:pt idx="3630">
                  <c:v>0.65200000000000002</c:v>
                </c:pt>
                <c:pt idx="3631">
                  <c:v>0.41499999999999998</c:v>
                </c:pt>
                <c:pt idx="3632">
                  <c:v>0.52500000000000002</c:v>
                </c:pt>
                <c:pt idx="3633">
                  <c:v>0.23100000000000001</c:v>
                </c:pt>
                <c:pt idx="3634">
                  <c:v>0.503</c:v>
                </c:pt>
                <c:pt idx="3635">
                  <c:v>0.73099999999999998</c:v>
                </c:pt>
                <c:pt idx="3636">
                  <c:v>0.89</c:v>
                </c:pt>
                <c:pt idx="3637">
                  <c:v>0.93300000000000005</c:v>
                </c:pt>
                <c:pt idx="3638">
                  <c:v>0.84499999999999997</c:v>
                </c:pt>
                <c:pt idx="3639">
                  <c:v>0.433</c:v>
                </c:pt>
                <c:pt idx="3640">
                  <c:v>0.78600000000000003</c:v>
                </c:pt>
                <c:pt idx="3641">
                  <c:v>0.39700000000000002</c:v>
                </c:pt>
                <c:pt idx="3642">
                  <c:v>0.73199999999999998</c:v>
                </c:pt>
                <c:pt idx="3643">
                  <c:v>0.58299999999999996</c:v>
                </c:pt>
                <c:pt idx="3644">
                  <c:v>0.59699999999999998</c:v>
                </c:pt>
                <c:pt idx="3645">
                  <c:v>0.78900000000000003</c:v>
                </c:pt>
                <c:pt idx="3646">
                  <c:v>0.64900000000000002</c:v>
                </c:pt>
                <c:pt idx="3647">
                  <c:v>0.58699999999999997</c:v>
                </c:pt>
                <c:pt idx="3648">
                  <c:v>0.61499999999999999</c:v>
                </c:pt>
                <c:pt idx="3649">
                  <c:v>0.82599999999999996</c:v>
                </c:pt>
                <c:pt idx="3650">
                  <c:v>0.82399999999999995</c:v>
                </c:pt>
                <c:pt idx="3651">
                  <c:v>0.45800000000000002</c:v>
                </c:pt>
                <c:pt idx="3652">
                  <c:v>0.48399999999999999</c:v>
                </c:pt>
                <c:pt idx="3653">
                  <c:v>0.90200000000000002</c:v>
                </c:pt>
                <c:pt idx="3654">
                  <c:v>0.27400000000000002</c:v>
                </c:pt>
                <c:pt idx="3655">
                  <c:v>0.86099999999999999</c:v>
                </c:pt>
                <c:pt idx="3656">
                  <c:v>0.39</c:v>
                </c:pt>
                <c:pt idx="3657">
                  <c:v>0.41899999999999998</c:v>
                </c:pt>
                <c:pt idx="3658">
                  <c:v>0.88600000000000001</c:v>
                </c:pt>
                <c:pt idx="3659">
                  <c:v>0.32500000000000001</c:v>
                </c:pt>
                <c:pt idx="3660">
                  <c:v>0.51500000000000001</c:v>
                </c:pt>
                <c:pt idx="3661">
                  <c:v>0.67600000000000005</c:v>
                </c:pt>
                <c:pt idx="3662">
                  <c:v>0.40600000000000003</c:v>
                </c:pt>
                <c:pt idx="3663">
                  <c:v>0.871</c:v>
                </c:pt>
                <c:pt idx="3664">
                  <c:v>0.66400000000000003</c:v>
                </c:pt>
                <c:pt idx="3665">
                  <c:v>0.86</c:v>
                </c:pt>
                <c:pt idx="3666">
                  <c:v>0.48</c:v>
                </c:pt>
                <c:pt idx="3667">
                  <c:v>0.55500000000000005</c:v>
                </c:pt>
                <c:pt idx="3668">
                  <c:v>0.65300000000000002</c:v>
                </c:pt>
                <c:pt idx="3669">
                  <c:v>0.91600000000000004</c:v>
                </c:pt>
                <c:pt idx="3670">
                  <c:v>0.435</c:v>
                </c:pt>
                <c:pt idx="3671">
                  <c:v>0.78100000000000003</c:v>
                </c:pt>
                <c:pt idx="3672">
                  <c:v>0.69499999999999995</c:v>
                </c:pt>
                <c:pt idx="3673">
                  <c:v>0.56299999999999994</c:v>
                </c:pt>
                <c:pt idx="3674">
                  <c:v>0.47399999999999998</c:v>
                </c:pt>
                <c:pt idx="3675">
                  <c:v>0.878</c:v>
                </c:pt>
                <c:pt idx="3676">
                  <c:v>0.83699999999999997</c:v>
                </c:pt>
                <c:pt idx="3677">
                  <c:v>0.85199999999999998</c:v>
                </c:pt>
                <c:pt idx="3678">
                  <c:v>0.73</c:v>
                </c:pt>
                <c:pt idx="3679">
                  <c:v>0.71</c:v>
                </c:pt>
                <c:pt idx="3680">
                  <c:v>0.46899999999999997</c:v>
                </c:pt>
                <c:pt idx="3681">
                  <c:v>0.34300000000000003</c:v>
                </c:pt>
                <c:pt idx="3682">
                  <c:v>0.25900000000000001</c:v>
                </c:pt>
                <c:pt idx="3683">
                  <c:v>0.505</c:v>
                </c:pt>
                <c:pt idx="3684">
                  <c:v>0.35099999999999998</c:v>
                </c:pt>
                <c:pt idx="3685">
                  <c:v>0.52900000000000003</c:v>
                </c:pt>
                <c:pt idx="3686">
                  <c:v>0.75900000000000001</c:v>
                </c:pt>
                <c:pt idx="3687">
                  <c:v>0.69899999999999995</c:v>
                </c:pt>
                <c:pt idx="3688">
                  <c:v>0.19</c:v>
                </c:pt>
                <c:pt idx="3689">
                  <c:v>0.505</c:v>
                </c:pt>
                <c:pt idx="3690">
                  <c:v>0.71499999999999997</c:v>
                </c:pt>
                <c:pt idx="3691">
                  <c:v>0.91300000000000003</c:v>
                </c:pt>
                <c:pt idx="3692">
                  <c:v>0.58499999999999996</c:v>
                </c:pt>
                <c:pt idx="3693">
                  <c:v>0.48299999999999998</c:v>
                </c:pt>
                <c:pt idx="3694">
                  <c:v>0.45700000000000002</c:v>
                </c:pt>
                <c:pt idx="3695">
                  <c:v>0.67700000000000005</c:v>
                </c:pt>
                <c:pt idx="3696">
                  <c:v>0.72299999999999998</c:v>
                </c:pt>
                <c:pt idx="3697">
                  <c:v>0.41</c:v>
                </c:pt>
                <c:pt idx="3698">
                  <c:v>0.46899999999999997</c:v>
                </c:pt>
                <c:pt idx="3699">
                  <c:v>0.66</c:v>
                </c:pt>
                <c:pt idx="3700">
                  <c:v>0.37</c:v>
                </c:pt>
                <c:pt idx="3701">
                  <c:v>0.157</c:v>
                </c:pt>
                <c:pt idx="3702">
                  <c:v>0.877</c:v>
                </c:pt>
                <c:pt idx="3703">
                  <c:v>0.89400000000000002</c:v>
                </c:pt>
                <c:pt idx="3704">
                  <c:v>0.45800000000000002</c:v>
                </c:pt>
                <c:pt idx="3705">
                  <c:v>0.67300000000000004</c:v>
                </c:pt>
                <c:pt idx="3706">
                  <c:v>0.81399999999999995</c:v>
                </c:pt>
                <c:pt idx="3707">
                  <c:v>0.42699999999999999</c:v>
                </c:pt>
                <c:pt idx="3708">
                  <c:v>0.58799999999999997</c:v>
                </c:pt>
                <c:pt idx="3709">
                  <c:v>0.48399999999999999</c:v>
                </c:pt>
                <c:pt idx="3710">
                  <c:v>0.71199999999999997</c:v>
                </c:pt>
                <c:pt idx="3711">
                  <c:v>0.84</c:v>
                </c:pt>
                <c:pt idx="3712">
                  <c:v>0.81399999999999995</c:v>
                </c:pt>
                <c:pt idx="3713">
                  <c:v>0.81399999999999995</c:v>
                </c:pt>
                <c:pt idx="3714">
                  <c:v>0.77</c:v>
                </c:pt>
                <c:pt idx="3715">
                  <c:v>0.26700000000000002</c:v>
                </c:pt>
                <c:pt idx="3716">
                  <c:v>0.65900000000000003</c:v>
                </c:pt>
                <c:pt idx="3717">
                  <c:v>0.54</c:v>
                </c:pt>
                <c:pt idx="3718">
                  <c:v>0.59399999999999997</c:v>
                </c:pt>
                <c:pt idx="3719">
                  <c:v>0.72799999999999998</c:v>
                </c:pt>
                <c:pt idx="3720">
                  <c:v>0.83099999999999996</c:v>
                </c:pt>
                <c:pt idx="3721">
                  <c:v>0.46700000000000003</c:v>
                </c:pt>
                <c:pt idx="3722">
                  <c:v>0.56299999999999994</c:v>
                </c:pt>
                <c:pt idx="3723">
                  <c:v>0.58899999999999997</c:v>
                </c:pt>
                <c:pt idx="3724">
                  <c:v>0.874</c:v>
                </c:pt>
                <c:pt idx="3725">
                  <c:v>0.56200000000000006</c:v>
                </c:pt>
                <c:pt idx="3726">
                  <c:v>0.58399999999999996</c:v>
                </c:pt>
                <c:pt idx="3727">
                  <c:v>0.66500000000000004</c:v>
                </c:pt>
                <c:pt idx="3728">
                  <c:v>0.48799999999999999</c:v>
                </c:pt>
                <c:pt idx="3729">
                  <c:v>0.57499999999999996</c:v>
                </c:pt>
                <c:pt idx="3730">
                  <c:v>0.41799999999999998</c:v>
                </c:pt>
                <c:pt idx="3731">
                  <c:v>0.61499999999999999</c:v>
                </c:pt>
                <c:pt idx="3732">
                  <c:v>0.73799999999999999</c:v>
                </c:pt>
                <c:pt idx="3733">
                  <c:v>0.70799999999999996</c:v>
                </c:pt>
                <c:pt idx="3734">
                  <c:v>0.63400000000000001</c:v>
                </c:pt>
                <c:pt idx="3735">
                  <c:v>0.61199999999999999</c:v>
                </c:pt>
                <c:pt idx="3736">
                  <c:v>0.59199999999999997</c:v>
                </c:pt>
                <c:pt idx="3737">
                  <c:v>0.995</c:v>
                </c:pt>
                <c:pt idx="3738">
                  <c:v>0.38200000000000001</c:v>
                </c:pt>
                <c:pt idx="3739">
                  <c:v>0.77400000000000002</c:v>
                </c:pt>
                <c:pt idx="3740">
                  <c:v>0.61799999999999999</c:v>
                </c:pt>
                <c:pt idx="3741">
                  <c:v>0.41699999999999998</c:v>
                </c:pt>
                <c:pt idx="3742">
                  <c:v>0.64900000000000002</c:v>
                </c:pt>
                <c:pt idx="3743">
                  <c:v>0.78100000000000003</c:v>
                </c:pt>
                <c:pt idx="3744">
                  <c:v>0.78100000000000003</c:v>
                </c:pt>
                <c:pt idx="3745">
                  <c:v>0.63700000000000001</c:v>
                </c:pt>
                <c:pt idx="3746">
                  <c:v>0.60299999999999998</c:v>
                </c:pt>
                <c:pt idx="3747">
                  <c:v>0.60299999999999998</c:v>
                </c:pt>
                <c:pt idx="3748">
                  <c:v>0.312</c:v>
                </c:pt>
                <c:pt idx="3749">
                  <c:v>0.83</c:v>
                </c:pt>
                <c:pt idx="3750">
                  <c:v>0.51100000000000001</c:v>
                </c:pt>
                <c:pt idx="3751">
                  <c:v>0.33</c:v>
                </c:pt>
                <c:pt idx="3752">
                  <c:v>0.755</c:v>
                </c:pt>
                <c:pt idx="3753">
                  <c:v>0.70799999999999996</c:v>
                </c:pt>
                <c:pt idx="3754">
                  <c:v>0.51400000000000001</c:v>
                </c:pt>
                <c:pt idx="3755">
                  <c:v>0.46100000000000002</c:v>
                </c:pt>
                <c:pt idx="3756">
                  <c:v>0.84499999999999997</c:v>
                </c:pt>
                <c:pt idx="3757">
                  <c:v>0.48099999999999998</c:v>
                </c:pt>
                <c:pt idx="3758">
                  <c:v>0.499</c:v>
                </c:pt>
                <c:pt idx="3759">
                  <c:v>0.81399999999999995</c:v>
                </c:pt>
                <c:pt idx="3760">
                  <c:v>0.61299999999999999</c:v>
                </c:pt>
                <c:pt idx="3761">
                  <c:v>0.70899999999999996</c:v>
                </c:pt>
                <c:pt idx="3762">
                  <c:v>0.52400000000000002</c:v>
                </c:pt>
                <c:pt idx="3763">
                  <c:v>0.40799999999999997</c:v>
                </c:pt>
                <c:pt idx="3764">
                  <c:v>0.69399999999999995</c:v>
                </c:pt>
                <c:pt idx="3765">
                  <c:v>0.71599999999999997</c:v>
                </c:pt>
                <c:pt idx="3766">
                  <c:v>0.51900000000000002</c:v>
                </c:pt>
                <c:pt idx="3767">
                  <c:v>0.70399999999999996</c:v>
                </c:pt>
                <c:pt idx="3768">
                  <c:v>0.497</c:v>
                </c:pt>
                <c:pt idx="3769">
                  <c:v>0.78500000000000003</c:v>
                </c:pt>
                <c:pt idx="3770">
                  <c:v>0.60199999999999998</c:v>
                </c:pt>
                <c:pt idx="3771">
                  <c:v>0.41599999999999998</c:v>
                </c:pt>
                <c:pt idx="3772">
                  <c:v>0.4</c:v>
                </c:pt>
                <c:pt idx="3773">
                  <c:v>0.57099999999999995</c:v>
                </c:pt>
                <c:pt idx="3774">
                  <c:v>0.76900000000000002</c:v>
                </c:pt>
                <c:pt idx="3775">
                  <c:v>0.68799999999999994</c:v>
                </c:pt>
                <c:pt idx="3776">
                  <c:v>0.49</c:v>
                </c:pt>
                <c:pt idx="3777">
                  <c:v>0.51600000000000001</c:v>
                </c:pt>
                <c:pt idx="3778">
                  <c:v>0.40300000000000002</c:v>
                </c:pt>
                <c:pt idx="3779">
                  <c:v>0.23</c:v>
                </c:pt>
                <c:pt idx="3780">
                  <c:v>0.77200000000000002</c:v>
                </c:pt>
                <c:pt idx="3781">
                  <c:v>0.79300000000000004</c:v>
                </c:pt>
                <c:pt idx="3782">
                  <c:v>0.57399999999999995</c:v>
                </c:pt>
                <c:pt idx="3783">
                  <c:v>0.77600000000000002</c:v>
                </c:pt>
                <c:pt idx="3784">
                  <c:v>0.42</c:v>
                </c:pt>
                <c:pt idx="3785">
                  <c:v>0.68600000000000005</c:v>
                </c:pt>
                <c:pt idx="3786">
                  <c:v>0.78400000000000003</c:v>
                </c:pt>
                <c:pt idx="3787">
                  <c:v>0.47</c:v>
                </c:pt>
                <c:pt idx="3788">
                  <c:v>0.52300000000000002</c:v>
                </c:pt>
                <c:pt idx="3789">
                  <c:v>0.72199999999999998</c:v>
                </c:pt>
                <c:pt idx="3790">
                  <c:v>0.80500000000000005</c:v>
                </c:pt>
                <c:pt idx="3791">
                  <c:v>0.65300000000000002</c:v>
                </c:pt>
                <c:pt idx="3792">
                  <c:v>0.374</c:v>
                </c:pt>
                <c:pt idx="3793">
                  <c:v>0.90500000000000003</c:v>
                </c:pt>
                <c:pt idx="3794">
                  <c:v>0.36499999999999999</c:v>
                </c:pt>
                <c:pt idx="3795">
                  <c:v>0.67400000000000004</c:v>
                </c:pt>
                <c:pt idx="3796">
                  <c:v>0.53100000000000003</c:v>
                </c:pt>
                <c:pt idx="3797">
                  <c:v>0.44900000000000001</c:v>
                </c:pt>
                <c:pt idx="3798">
                  <c:v>0.53300000000000003</c:v>
                </c:pt>
                <c:pt idx="3799">
                  <c:v>0.36899999999999999</c:v>
                </c:pt>
                <c:pt idx="3800">
                  <c:v>0.53100000000000003</c:v>
                </c:pt>
                <c:pt idx="3801">
                  <c:v>0.78200000000000003</c:v>
                </c:pt>
                <c:pt idx="3802">
                  <c:v>0.623</c:v>
                </c:pt>
                <c:pt idx="3803">
                  <c:v>0.69499999999999995</c:v>
                </c:pt>
                <c:pt idx="3804">
                  <c:v>0.83699999999999997</c:v>
                </c:pt>
                <c:pt idx="3805">
                  <c:v>0.61699999999999999</c:v>
                </c:pt>
                <c:pt idx="3806">
                  <c:v>0.36</c:v>
                </c:pt>
                <c:pt idx="3807">
                  <c:v>0.439</c:v>
                </c:pt>
                <c:pt idx="3808">
                  <c:v>0.36399999999999999</c:v>
                </c:pt>
                <c:pt idx="3809">
                  <c:v>0.217</c:v>
                </c:pt>
                <c:pt idx="3810">
                  <c:v>0.60099999999999998</c:v>
                </c:pt>
                <c:pt idx="3811">
                  <c:v>0.627</c:v>
                </c:pt>
                <c:pt idx="3812">
                  <c:v>0.59199999999999997</c:v>
                </c:pt>
                <c:pt idx="3813">
                  <c:v>0.35899999999999999</c:v>
                </c:pt>
                <c:pt idx="3814">
                  <c:v>0.90100000000000002</c:v>
                </c:pt>
                <c:pt idx="3815">
                  <c:v>0.58499999999999996</c:v>
                </c:pt>
                <c:pt idx="3816">
                  <c:v>0.72399999999999998</c:v>
                </c:pt>
                <c:pt idx="3817">
                  <c:v>0.64900000000000002</c:v>
                </c:pt>
                <c:pt idx="3818">
                  <c:v>0.64600000000000002</c:v>
                </c:pt>
                <c:pt idx="3819">
                  <c:v>0.65700000000000003</c:v>
                </c:pt>
                <c:pt idx="3820">
                  <c:v>0.245</c:v>
                </c:pt>
                <c:pt idx="3821">
                  <c:v>0.49</c:v>
                </c:pt>
                <c:pt idx="3822">
                  <c:v>0.64500000000000002</c:v>
                </c:pt>
                <c:pt idx="3823">
                  <c:v>0.69399999999999995</c:v>
                </c:pt>
                <c:pt idx="3824">
                  <c:v>0.45600000000000002</c:v>
                </c:pt>
                <c:pt idx="3825">
                  <c:v>0.629</c:v>
                </c:pt>
                <c:pt idx="3826">
                  <c:v>0.63600000000000001</c:v>
                </c:pt>
                <c:pt idx="3827">
                  <c:v>0.32800000000000001</c:v>
                </c:pt>
                <c:pt idx="3828">
                  <c:v>0.38400000000000001</c:v>
                </c:pt>
                <c:pt idx="3829">
                  <c:v>0.72099999999999997</c:v>
                </c:pt>
                <c:pt idx="3830">
                  <c:v>0.61699999999999999</c:v>
                </c:pt>
                <c:pt idx="3831">
                  <c:v>0.85699999999999998</c:v>
                </c:pt>
                <c:pt idx="3832">
                  <c:v>0.89300000000000002</c:v>
                </c:pt>
                <c:pt idx="3833">
                  <c:v>0.57299999999999995</c:v>
                </c:pt>
                <c:pt idx="3834">
                  <c:v>0.628</c:v>
                </c:pt>
                <c:pt idx="3835">
                  <c:v>0.54300000000000004</c:v>
                </c:pt>
                <c:pt idx="3836">
                  <c:v>0.35399999999999998</c:v>
                </c:pt>
                <c:pt idx="3837">
                  <c:v>0.57299999999999995</c:v>
                </c:pt>
                <c:pt idx="3838">
                  <c:v>0.32500000000000001</c:v>
                </c:pt>
                <c:pt idx="3839">
                  <c:v>0.55900000000000005</c:v>
                </c:pt>
                <c:pt idx="3840">
                  <c:v>0.85099999999999998</c:v>
                </c:pt>
                <c:pt idx="3841">
                  <c:v>0.89</c:v>
                </c:pt>
                <c:pt idx="3842">
                  <c:v>0.42599999999999999</c:v>
                </c:pt>
                <c:pt idx="3843">
                  <c:v>0.58699999999999997</c:v>
                </c:pt>
                <c:pt idx="3844">
                  <c:v>0.64400000000000002</c:v>
                </c:pt>
                <c:pt idx="3845">
                  <c:v>0.498</c:v>
                </c:pt>
                <c:pt idx="3846">
                  <c:v>0.56200000000000006</c:v>
                </c:pt>
                <c:pt idx="3847">
                  <c:v>0.85499999999999998</c:v>
                </c:pt>
                <c:pt idx="3848">
                  <c:v>0.72399999999999998</c:v>
                </c:pt>
                <c:pt idx="3849">
                  <c:v>0.86799999999999999</c:v>
                </c:pt>
                <c:pt idx="3850">
                  <c:v>0.94799999999999995</c:v>
                </c:pt>
                <c:pt idx="3851">
                  <c:v>0.74399999999999999</c:v>
                </c:pt>
                <c:pt idx="3852">
                  <c:v>0.53600000000000003</c:v>
                </c:pt>
                <c:pt idx="3853">
                  <c:v>0.4</c:v>
                </c:pt>
                <c:pt idx="3854">
                  <c:v>0.627</c:v>
                </c:pt>
                <c:pt idx="3855">
                  <c:v>0.56999999999999995</c:v>
                </c:pt>
                <c:pt idx="3856">
                  <c:v>0.32900000000000001</c:v>
                </c:pt>
                <c:pt idx="3857">
                  <c:v>0.48399999999999999</c:v>
                </c:pt>
                <c:pt idx="3858">
                  <c:v>0.48099999999999998</c:v>
                </c:pt>
                <c:pt idx="3859">
                  <c:v>0.36199999999999999</c:v>
                </c:pt>
                <c:pt idx="3860">
                  <c:v>0.65200000000000002</c:v>
                </c:pt>
                <c:pt idx="3861">
                  <c:v>0.32600000000000001</c:v>
                </c:pt>
                <c:pt idx="3862">
                  <c:v>0.60699999999999998</c:v>
                </c:pt>
                <c:pt idx="3863">
                  <c:v>0.93500000000000005</c:v>
                </c:pt>
                <c:pt idx="3864">
                  <c:v>0.93</c:v>
                </c:pt>
                <c:pt idx="3865">
                  <c:v>0.92400000000000004</c:v>
                </c:pt>
                <c:pt idx="3866">
                  <c:v>0.79300000000000004</c:v>
                </c:pt>
                <c:pt idx="3867">
                  <c:v>0.64</c:v>
                </c:pt>
                <c:pt idx="3868">
                  <c:v>0.55300000000000005</c:v>
                </c:pt>
                <c:pt idx="3869">
                  <c:v>0.89900000000000002</c:v>
                </c:pt>
                <c:pt idx="3870">
                  <c:v>0.61399999999999999</c:v>
                </c:pt>
                <c:pt idx="3871">
                  <c:v>0.36099999999999999</c:v>
                </c:pt>
                <c:pt idx="3872">
                  <c:v>0.84699999999999998</c:v>
                </c:pt>
                <c:pt idx="3873">
                  <c:v>0.70299999999999996</c:v>
                </c:pt>
                <c:pt idx="3874">
                  <c:v>0.33600000000000002</c:v>
                </c:pt>
                <c:pt idx="3875">
                  <c:v>0.70399999999999996</c:v>
                </c:pt>
                <c:pt idx="3876">
                  <c:v>0.71799999999999997</c:v>
                </c:pt>
                <c:pt idx="3877">
                  <c:v>0.63800000000000001</c:v>
                </c:pt>
                <c:pt idx="3878">
                  <c:v>0.42799999999999999</c:v>
                </c:pt>
                <c:pt idx="3879">
                  <c:v>0.54600000000000004</c:v>
                </c:pt>
                <c:pt idx="3880">
                  <c:v>0.69699999999999995</c:v>
                </c:pt>
                <c:pt idx="3881">
                  <c:v>0.69</c:v>
                </c:pt>
                <c:pt idx="3882">
                  <c:v>0.46899999999999997</c:v>
                </c:pt>
                <c:pt idx="3883">
                  <c:v>0.55000000000000004</c:v>
                </c:pt>
                <c:pt idx="3884">
                  <c:v>0.67</c:v>
                </c:pt>
                <c:pt idx="3885">
                  <c:v>0.42499999999999999</c:v>
                </c:pt>
                <c:pt idx="3886">
                  <c:v>0.45300000000000001</c:v>
                </c:pt>
                <c:pt idx="3887">
                  <c:v>0.78100000000000003</c:v>
                </c:pt>
                <c:pt idx="3888">
                  <c:v>0.76200000000000001</c:v>
                </c:pt>
                <c:pt idx="3889">
                  <c:v>0.62</c:v>
                </c:pt>
                <c:pt idx="3890">
                  <c:v>0.87</c:v>
                </c:pt>
                <c:pt idx="3891">
                  <c:v>0.78800000000000003</c:v>
                </c:pt>
                <c:pt idx="3892">
                  <c:v>0.69599999999999995</c:v>
                </c:pt>
                <c:pt idx="3893">
                  <c:v>0.35799999999999998</c:v>
                </c:pt>
                <c:pt idx="3894">
                  <c:v>0.51</c:v>
                </c:pt>
                <c:pt idx="3895">
                  <c:v>0.60399999999999998</c:v>
                </c:pt>
                <c:pt idx="3896">
                  <c:v>0.72899999999999998</c:v>
                </c:pt>
                <c:pt idx="3897">
                  <c:v>0.52200000000000002</c:v>
                </c:pt>
                <c:pt idx="3898">
                  <c:v>0.94299999999999995</c:v>
                </c:pt>
                <c:pt idx="3899">
                  <c:v>0.78500000000000003</c:v>
                </c:pt>
                <c:pt idx="3900">
                  <c:v>0.49199999999999999</c:v>
                </c:pt>
                <c:pt idx="3901">
                  <c:v>0.41899999999999998</c:v>
                </c:pt>
                <c:pt idx="3902">
                  <c:v>0.69499999999999995</c:v>
                </c:pt>
                <c:pt idx="3903">
                  <c:v>0.53500000000000003</c:v>
                </c:pt>
                <c:pt idx="3904">
                  <c:v>0.752</c:v>
                </c:pt>
                <c:pt idx="3905">
                  <c:v>0.60799999999999998</c:v>
                </c:pt>
                <c:pt idx="3906">
                  <c:v>0.57299999999999995</c:v>
                </c:pt>
                <c:pt idx="3907">
                  <c:v>0.64500000000000002</c:v>
                </c:pt>
                <c:pt idx="3908">
                  <c:v>0.438</c:v>
                </c:pt>
                <c:pt idx="3909">
                  <c:v>0.42499999999999999</c:v>
                </c:pt>
                <c:pt idx="3910">
                  <c:v>0.42699999999999999</c:v>
                </c:pt>
                <c:pt idx="3911">
                  <c:v>0.69</c:v>
                </c:pt>
                <c:pt idx="3912">
                  <c:v>0.499</c:v>
                </c:pt>
                <c:pt idx="3913">
                  <c:v>0.78300000000000003</c:v>
                </c:pt>
                <c:pt idx="3914">
                  <c:v>0.82</c:v>
                </c:pt>
                <c:pt idx="3915">
                  <c:v>0.85699999999999998</c:v>
                </c:pt>
                <c:pt idx="3916">
                  <c:v>0.48399999999999999</c:v>
                </c:pt>
                <c:pt idx="3917">
                  <c:v>0.627</c:v>
                </c:pt>
                <c:pt idx="3918">
                  <c:v>0.79700000000000004</c:v>
                </c:pt>
                <c:pt idx="3919">
                  <c:v>0.47899999999999998</c:v>
                </c:pt>
                <c:pt idx="3920">
                  <c:v>0.46500000000000002</c:v>
                </c:pt>
                <c:pt idx="3921">
                  <c:v>0.80400000000000005</c:v>
                </c:pt>
                <c:pt idx="3922">
                  <c:v>0.77300000000000002</c:v>
                </c:pt>
                <c:pt idx="3923">
                  <c:v>0.496</c:v>
                </c:pt>
                <c:pt idx="3924">
                  <c:v>0.60099999999999998</c:v>
                </c:pt>
                <c:pt idx="3925">
                  <c:v>0.7</c:v>
                </c:pt>
                <c:pt idx="3926">
                  <c:v>0.59599999999999997</c:v>
                </c:pt>
                <c:pt idx="3927">
                  <c:v>0.36099999999999999</c:v>
                </c:pt>
                <c:pt idx="3928">
                  <c:v>0.217</c:v>
                </c:pt>
                <c:pt idx="3929">
                  <c:v>0.72499999999999998</c:v>
                </c:pt>
                <c:pt idx="3930">
                  <c:v>0.71499999999999997</c:v>
                </c:pt>
                <c:pt idx="3931">
                  <c:v>0.60299999999999998</c:v>
                </c:pt>
                <c:pt idx="3932">
                  <c:v>0.39600000000000002</c:v>
                </c:pt>
                <c:pt idx="3933">
                  <c:v>0.496</c:v>
                </c:pt>
                <c:pt idx="3934">
                  <c:v>0.33900000000000002</c:v>
                </c:pt>
                <c:pt idx="3935">
                  <c:v>0.77400000000000002</c:v>
                </c:pt>
                <c:pt idx="3936">
                  <c:v>0.48499999999999999</c:v>
                </c:pt>
                <c:pt idx="3937">
                  <c:v>0.56499999999999995</c:v>
                </c:pt>
                <c:pt idx="3938">
                  <c:v>0.318</c:v>
                </c:pt>
                <c:pt idx="3939">
                  <c:v>0.57299999999999995</c:v>
                </c:pt>
                <c:pt idx="3940">
                  <c:v>0.749</c:v>
                </c:pt>
                <c:pt idx="3941">
                  <c:v>0.91500000000000004</c:v>
                </c:pt>
                <c:pt idx="3942">
                  <c:v>0.64200000000000002</c:v>
                </c:pt>
                <c:pt idx="3943">
                  <c:v>0.81200000000000006</c:v>
                </c:pt>
                <c:pt idx="3944">
                  <c:v>0.70199999999999996</c:v>
                </c:pt>
                <c:pt idx="3945">
                  <c:v>0.35099999999999998</c:v>
                </c:pt>
                <c:pt idx="3946">
                  <c:v>0.746</c:v>
                </c:pt>
                <c:pt idx="3947">
                  <c:v>0.47899999999999998</c:v>
                </c:pt>
                <c:pt idx="3948">
                  <c:v>0.53700000000000003</c:v>
                </c:pt>
                <c:pt idx="3949">
                  <c:v>0.158</c:v>
                </c:pt>
                <c:pt idx="3950">
                  <c:v>0.48</c:v>
                </c:pt>
                <c:pt idx="3951">
                  <c:v>0.94299999999999995</c:v>
                </c:pt>
                <c:pt idx="3952">
                  <c:v>0.878</c:v>
                </c:pt>
                <c:pt idx="3953">
                  <c:v>0.69099999999999995</c:v>
                </c:pt>
                <c:pt idx="3954">
                  <c:v>0.435</c:v>
                </c:pt>
                <c:pt idx="3955">
                  <c:v>0.81299999999999994</c:v>
                </c:pt>
                <c:pt idx="3956">
                  <c:v>0.66800000000000004</c:v>
                </c:pt>
                <c:pt idx="3957">
                  <c:v>0.58699999999999997</c:v>
                </c:pt>
                <c:pt idx="3958">
                  <c:v>0.61599999999999999</c:v>
                </c:pt>
                <c:pt idx="3959">
                  <c:v>0.59699999999999998</c:v>
                </c:pt>
                <c:pt idx="3960">
                  <c:v>0.745</c:v>
                </c:pt>
                <c:pt idx="3961">
                  <c:v>0.879</c:v>
                </c:pt>
                <c:pt idx="3962">
                  <c:v>0.42199999999999999</c:v>
                </c:pt>
                <c:pt idx="3963">
                  <c:v>0.47499999999999998</c:v>
                </c:pt>
                <c:pt idx="3964">
                  <c:v>0.80800000000000005</c:v>
                </c:pt>
                <c:pt idx="3965">
                  <c:v>0.66</c:v>
                </c:pt>
                <c:pt idx="3966">
                  <c:v>0.42399999999999999</c:v>
                </c:pt>
                <c:pt idx="3967">
                  <c:v>0.66300000000000003</c:v>
                </c:pt>
                <c:pt idx="3968">
                  <c:v>0.51600000000000001</c:v>
                </c:pt>
                <c:pt idx="3969">
                  <c:v>0.40200000000000002</c:v>
                </c:pt>
                <c:pt idx="3970">
                  <c:v>0.63700000000000001</c:v>
                </c:pt>
                <c:pt idx="3971">
                  <c:v>0.376</c:v>
                </c:pt>
                <c:pt idx="3972">
                  <c:v>0.23200000000000001</c:v>
                </c:pt>
                <c:pt idx="3973">
                  <c:v>0.65500000000000003</c:v>
                </c:pt>
                <c:pt idx="3974">
                  <c:v>0.65800000000000003</c:v>
                </c:pt>
                <c:pt idx="3975">
                  <c:v>0.67100000000000004</c:v>
                </c:pt>
                <c:pt idx="3976">
                  <c:v>0.13</c:v>
                </c:pt>
                <c:pt idx="3977">
                  <c:v>0.625</c:v>
                </c:pt>
                <c:pt idx="3978">
                  <c:v>0.44500000000000001</c:v>
                </c:pt>
                <c:pt idx="3979">
                  <c:v>0.55400000000000005</c:v>
                </c:pt>
                <c:pt idx="3980">
                  <c:v>0.57699999999999996</c:v>
                </c:pt>
                <c:pt idx="3981">
                  <c:v>0.81799999999999995</c:v>
                </c:pt>
                <c:pt idx="3982">
                  <c:v>0.53800000000000003</c:v>
                </c:pt>
                <c:pt idx="3983">
                  <c:v>0.88100000000000001</c:v>
                </c:pt>
                <c:pt idx="3984">
                  <c:v>0.65500000000000003</c:v>
                </c:pt>
                <c:pt idx="3985">
                  <c:v>0.83299999999999996</c:v>
                </c:pt>
                <c:pt idx="3986">
                  <c:v>0.63400000000000001</c:v>
                </c:pt>
                <c:pt idx="3987">
                  <c:v>0.47099999999999997</c:v>
                </c:pt>
                <c:pt idx="3988">
                  <c:v>0.57899999999999996</c:v>
                </c:pt>
                <c:pt idx="3989">
                  <c:v>0.53100000000000003</c:v>
                </c:pt>
                <c:pt idx="3990">
                  <c:v>0.67</c:v>
                </c:pt>
                <c:pt idx="3991">
                  <c:v>0.95299999999999996</c:v>
                </c:pt>
                <c:pt idx="3992">
                  <c:v>0.83599999999999997</c:v>
                </c:pt>
                <c:pt idx="3993">
                  <c:v>0.56299999999999994</c:v>
                </c:pt>
                <c:pt idx="3994">
                  <c:v>0.45100000000000001</c:v>
                </c:pt>
                <c:pt idx="3995">
                  <c:v>0.47899999999999998</c:v>
                </c:pt>
                <c:pt idx="3996">
                  <c:v>0.41099999999999998</c:v>
                </c:pt>
                <c:pt idx="3997">
                  <c:v>0.59499999999999997</c:v>
                </c:pt>
                <c:pt idx="3998">
                  <c:v>0.66100000000000003</c:v>
                </c:pt>
                <c:pt idx="3999">
                  <c:v>0.40100000000000002</c:v>
                </c:pt>
                <c:pt idx="4000">
                  <c:v>0.84</c:v>
                </c:pt>
                <c:pt idx="4001">
                  <c:v>0.55300000000000005</c:v>
                </c:pt>
                <c:pt idx="4002">
                  <c:v>0.76700000000000002</c:v>
                </c:pt>
                <c:pt idx="4003">
                  <c:v>0.71499999999999997</c:v>
                </c:pt>
                <c:pt idx="4004">
                  <c:v>0.67</c:v>
                </c:pt>
                <c:pt idx="4005">
                  <c:v>0.55400000000000005</c:v>
                </c:pt>
                <c:pt idx="4006">
                  <c:v>0.51100000000000001</c:v>
                </c:pt>
                <c:pt idx="4007">
                  <c:v>0.40300000000000002</c:v>
                </c:pt>
                <c:pt idx="4008">
                  <c:v>0.68400000000000005</c:v>
                </c:pt>
                <c:pt idx="4009">
                  <c:v>0.47899999999999998</c:v>
                </c:pt>
                <c:pt idx="4010">
                  <c:v>0.72199999999999998</c:v>
                </c:pt>
                <c:pt idx="4011">
                  <c:v>0.52300000000000002</c:v>
                </c:pt>
                <c:pt idx="4012">
                  <c:v>0.39200000000000002</c:v>
                </c:pt>
                <c:pt idx="4013">
                  <c:v>0.67100000000000004</c:v>
                </c:pt>
                <c:pt idx="4014">
                  <c:v>0.56999999999999995</c:v>
                </c:pt>
                <c:pt idx="4015">
                  <c:v>0.57399999999999995</c:v>
                </c:pt>
                <c:pt idx="4016">
                  <c:v>0.49199999999999999</c:v>
                </c:pt>
                <c:pt idx="4017">
                  <c:v>0.23100000000000001</c:v>
                </c:pt>
                <c:pt idx="4018">
                  <c:v>0.72399999999999998</c:v>
                </c:pt>
                <c:pt idx="4019">
                  <c:v>0.437</c:v>
                </c:pt>
                <c:pt idx="4020">
                  <c:v>0.67200000000000004</c:v>
                </c:pt>
                <c:pt idx="4021">
                  <c:v>0.57899999999999996</c:v>
                </c:pt>
                <c:pt idx="4022">
                  <c:v>0.67800000000000005</c:v>
                </c:pt>
                <c:pt idx="4023">
                  <c:v>0.28299999999999997</c:v>
                </c:pt>
                <c:pt idx="4024">
                  <c:v>0.76900000000000002</c:v>
                </c:pt>
                <c:pt idx="4025">
                  <c:v>0.47399999999999998</c:v>
                </c:pt>
                <c:pt idx="4026">
                  <c:v>0.86499999999999999</c:v>
                </c:pt>
                <c:pt idx="4027">
                  <c:v>0.66200000000000003</c:v>
                </c:pt>
                <c:pt idx="4028">
                  <c:v>0.442</c:v>
                </c:pt>
                <c:pt idx="4029">
                  <c:v>0.86099999999999999</c:v>
                </c:pt>
                <c:pt idx="4030">
                  <c:v>0.371</c:v>
                </c:pt>
                <c:pt idx="4031">
                  <c:v>0.45800000000000002</c:v>
                </c:pt>
                <c:pt idx="4032">
                  <c:v>0.82599999999999996</c:v>
                </c:pt>
                <c:pt idx="4033">
                  <c:v>0.314</c:v>
                </c:pt>
                <c:pt idx="4034">
                  <c:v>0.75800000000000001</c:v>
                </c:pt>
                <c:pt idx="4035">
                  <c:v>0.48399999999999999</c:v>
                </c:pt>
                <c:pt idx="4036">
                  <c:v>0.63100000000000001</c:v>
                </c:pt>
                <c:pt idx="4037">
                  <c:v>0.91600000000000004</c:v>
                </c:pt>
                <c:pt idx="4038">
                  <c:v>0.43</c:v>
                </c:pt>
                <c:pt idx="4039">
                  <c:v>0.81100000000000005</c:v>
                </c:pt>
                <c:pt idx="4040">
                  <c:v>0.61299999999999999</c:v>
                </c:pt>
                <c:pt idx="4041">
                  <c:v>0.71499999999999997</c:v>
                </c:pt>
                <c:pt idx="4042">
                  <c:v>0.36299999999999999</c:v>
                </c:pt>
                <c:pt idx="4043">
                  <c:v>0.67900000000000005</c:v>
                </c:pt>
                <c:pt idx="4044">
                  <c:v>0.53700000000000003</c:v>
                </c:pt>
                <c:pt idx="4045">
                  <c:v>0.32700000000000001</c:v>
                </c:pt>
                <c:pt idx="4046">
                  <c:v>0.70399999999999996</c:v>
                </c:pt>
                <c:pt idx="4047">
                  <c:v>0.65400000000000003</c:v>
                </c:pt>
                <c:pt idx="4048">
                  <c:v>0.42399999999999999</c:v>
                </c:pt>
                <c:pt idx="4049">
                  <c:v>0.47399999999999998</c:v>
                </c:pt>
                <c:pt idx="4050">
                  <c:v>0.76400000000000001</c:v>
                </c:pt>
                <c:pt idx="4051">
                  <c:v>0.58799999999999997</c:v>
                </c:pt>
                <c:pt idx="4052">
                  <c:v>0.82199999999999995</c:v>
                </c:pt>
                <c:pt idx="4053">
                  <c:v>0.66400000000000003</c:v>
                </c:pt>
                <c:pt idx="4054">
                  <c:v>0.55000000000000004</c:v>
                </c:pt>
                <c:pt idx="4055">
                  <c:v>0.65</c:v>
                </c:pt>
                <c:pt idx="4056">
                  <c:v>0.42399999999999999</c:v>
                </c:pt>
                <c:pt idx="4057">
                  <c:v>0.90300000000000002</c:v>
                </c:pt>
                <c:pt idx="4058">
                  <c:v>0.82899999999999996</c:v>
                </c:pt>
                <c:pt idx="4059">
                  <c:v>0.88500000000000001</c:v>
                </c:pt>
                <c:pt idx="4060">
                  <c:v>0.749</c:v>
                </c:pt>
                <c:pt idx="4061">
                  <c:v>0.84099999999999997</c:v>
                </c:pt>
                <c:pt idx="4062">
                  <c:v>0.50700000000000001</c:v>
                </c:pt>
                <c:pt idx="4063">
                  <c:v>0.81299999999999994</c:v>
                </c:pt>
                <c:pt idx="4064">
                  <c:v>0.73299999999999998</c:v>
                </c:pt>
                <c:pt idx="4065">
                  <c:v>0.44400000000000001</c:v>
                </c:pt>
                <c:pt idx="4066">
                  <c:v>0.51200000000000001</c:v>
                </c:pt>
                <c:pt idx="4067">
                  <c:v>0.90500000000000003</c:v>
                </c:pt>
                <c:pt idx="4068">
                  <c:v>0.58799999999999997</c:v>
                </c:pt>
                <c:pt idx="4069">
                  <c:v>0.35499999999999998</c:v>
                </c:pt>
                <c:pt idx="4070">
                  <c:v>0.63500000000000001</c:v>
                </c:pt>
                <c:pt idx="4071">
                  <c:v>0.52800000000000002</c:v>
                </c:pt>
                <c:pt idx="4072">
                  <c:v>0.439</c:v>
                </c:pt>
                <c:pt idx="4073">
                  <c:v>0.63300000000000001</c:v>
                </c:pt>
                <c:pt idx="4074">
                  <c:v>0.749</c:v>
                </c:pt>
                <c:pt idx="4075">
                  <c:v>0.52900000000000003</c:v>
                </c:pt>
                <c:pt idx="4076">
                  <c:v>0.33600000000000002</c:v>
                </c:pt>
                <c:pt idx="4077">
                  <c:v>0.60599999999999998</c:v>
                </c:pt>
                <c:pt idx="4078">
                  <c:v>0.435</c:v>
                </c:pt>
                <c:pt idx="4079">
                  <c:v>0.59699999999999998</c:v>
                </c:pt>
                <c:pt idx="4080">
                  <c:v>0.78600000000000003</c:v>
                </c:pt>
                <c:pt idx="4081">
                  <c:v>0.872</c:v>
                </c:pt>
                <c:pt idx="4082">
                  <c:v>0.373</c:v>
                </c:pt>
                <c:pt idx="4083">
                  <c:v>0.68700000000000006</c:v>
                </c:pt>
                <c:pt idx="4084">
                  <c:v>0.91900000000000004</c:v>
                </c:pt>
                <c:pt idx="4085">
                  <c:v>0.35799999999999998</c:v>
                </c:pt>
                <c:pt idx="4086">
                  <c:v>0.70099999999999996</c:v>
                </c:pt>
                <c:pt idx="4087">
                  <c:v>0.80900000000000005</c:v>
                </c:pt>
                <c:pt idx="4088">
                  <c:v>0.47</c:v>
                </c:pt>
                <c:pt idx="4089">
                  <c:v>0.52900000000000003</c:v>
                </c:pt>
                <c:pt idx="4090">
                  <c:v>0.81399999999999995</c:v>
                </c:pt>
                <c:pt idx="4091">
                  <c:v>0.80300000000000005</c:v>
                </c:pt>
                <c:pt idx="4092">
                  <c:v>0.66300000000000003</c:v>
                </c:pt>
                <c:pt idx="4093">
                  <c:v>0.92</c:v>
                </c:pt>
                <c:pt idx="4094">
                  <c:v>0.55100000000000005</c:v>
                </c:pt>
                <c:pt idx="4095">
                  <c:v>0.39400000000000002</c:v>
                </c:pt>
                <c:pt idx="4096">
                  <c:v>0.72499999999999998</c:v>
                </c:pt>
                <c:pt idx="4097">
                  <c:v>0.56299999999999994</c:v>
                </c:pt>
                <c:pt idx="4098">
                  <c:v>0.68500000000000005</c:v>
                </c:pt>
                <c:pt idx="4099">
                  <c:v>0.53100000000000003</c:v>
                </c:pt>
                <c:pt idx="4100">
                  <c:v>0.82399999999999995</c:v>
                </c:pt>
                <c:pt idx="4101">
                  <c:v>0.54300000000000004</c:v>
                </c:pt>
                <c:pt idx="4102">
                  <c:v>0.58299999999999996</c:v>
                </c:pt>
                <c:pt idx="4103">
                  <c:v>0.622</c:v>
                </c:pt>
                <c:pt idx="4104">
                  <c:v>0.433</c:v>
                </c:pt>
                <c:pt idx="4105">
                  <c:v>0.69699999999999995</c:v>
                </c:pt>
                <c:pt idx="4106">
                  <c:v>0.95399999999999996</c:v>
                </c:pt>
                <c:pt idx="4107">
                  <c:v>0.73699999999999999</c:v>
                </c:pt>
                <c:pt idx="4108">
                  <c:v>0.72499999999999998</c:v>
                </c:pt>
                <c:pt idx="4109">
                  <c:v>0.52700000000000002</c:v>
                </c:pt>
                <c:pt idx="4110">
                  <c:v>0.34200000000000003</c:v>
                </c:pt>
                <c:pt idx="4111">
                  <c:v>0.49099999999999999</c:v>
                </c:pt>
                <c:pt idx="4112">
                  <c:v>0.69399999999999995</c:v>
                </c:pt>
                <c:pt idx="4113">
                  <c:v>0.36499999999999999</c:v>
                </c:pt>
                <c:pt idx="4114">
                  <c:v>0.91700000000000004</c:v>
                </c:pt>
                <c:pt idx="4115">
                  <c:v>0.84</c:v>
                </c:pt>
                <c:pt idx="4116">
                  <c:v>0.64600000000000002</c:v>
                </c:pt>
                <c:pt idx="4117">
                  <c:v>0.61</c:v>
                </c:pt>
                <c:pt idx="4118">
                  <c:v>0.58799999999999997</c:v>
                </c:pt>
                <c:pt idx="4119">
                  <c:v>0.44600000000000001</c:v>
                </c:pt>
                <c:pt idx="4120">
                  <c:v>0.80900000000000005</c:v>
                </c:pt>
                <c:pt idx="4121">
                  <c:v>0.38</c:v>
                </c:pt>
                <c:pt idx="4122">
                  <c:v>0.84799999999999998</c:v>
                </c:pt>
                <c:pt idx="4123">
                  <c:v>0.52400000000000002</c:v>
                </c:pt>
                <c:pt idx="4124">
                  <c:v>0.51900000000000002</c:v>
                </c:pt>
                <c:pt idx="4125">
                  <c:v>0.68600000000000005</c:v>
                </c:pt>
                <c:pt idx="4126">
                  <c:v>0.66400000000000003</c:v>
                </c:pt>
                <c:pt idx="4127">
                  <c:v>0.34899999999999998</c:v>
                </c:pt>
                <c:pt idx="4128">
                  <c:v>0.33</c:v>
                </c:pt>
                <c:pt idx="4129">
                  <c:v>0.69799999999999995</c:v>
                </c:pt>
                <c:pt idx="4130">
                  <c:v>0.47699999999999998</c:v>
                </c:pt>
                <c:pt idx="4131">
                  <c:v>0.34899999999999998</c:v>
                </c:pt>
                <c:pt idx="4132">
                  <c:v>0.623</c:v>
                </c:pt>
                <c:pt idx="4133">
                  <c:v>0.63400000000000001</c:v>
                </c:pt>
                <c:pt idx="4134">
                  <c:v>0.65400000000000003</c:v>
                </c:pt>
                <c:pt idx="4135">
                  <c:v>0.84499999999999997</c:v>
                </c:pt>
                <c:pt idx="4136">
                  <c:v>0.41199999999999998</c:v>
                </c:pt>
                <c:pt idx="4137">
                  <c:v>0.47799999999999998</c:v>
                </c:pt>
                <c:pt idx="4138">
                  <c:v>0.36399999999999999</c:v>
                </c:pt>
                <c:pt idx="4139">
                  <c:v>0.13700000000000001</c:v>
                </c:pt>
                <c:pt idx="4140">
                  <c:v>0.44800000000000001</c:v>
                </c:pt>
                <c:pt idx="4141">
                  <c:v>0.53</c:v>
                </c:pt>
                <c:pt idx="4142">
                  <c:v>0.46700000000000003</c:v>
                </c:pt>
                <c:pt idx="4143">
                  <c:v>0.23300000000000001</c:v>
                </c:pt>
                <c:pt idx="4144">
                  <c:v>0.38700000000000001</c:v>
                </c:pt>
                <c:pt idx="4145">
                  <c:v>0.89</c:v>
                </c:pt>
                <c:pt idx="4146">
                  <c:v>0.35699999999999998</c:v>
                </c:pt>
                <c:pt idx="4147">
                  <c:v>0.81200000000000006</c:v>
                </c:pt>
                <c:pt idx="4148">
                  <c:v>0.36</c:v>
                </c:pt>
                <c:pt idx="4149">
                  <c:v>0.73699999999999999</c:v>
                </c:pt>
                <c:pt idx="4150">
                  <c:v>0.47199999999999998</c:v>
                </c:pt>
                <c:pt idx="4151">
                  <c:v>0.45400000000000001</c:v>
                </c:pt>
                <c:pt idx="4152">
                  <c:v>0.48</c:v>
                </c:pt>
                <c:pt idx="4153">
                  <c:v>0.82</c:v>
                </c:pt>
                <c:pt idx="4154">
                  <c:v>0.53400000000000003</c:v>
                </c:pt>
                <c:pt idx="4155">
                  <c:v>0.57599999999999996</c:v>
                </c:pt>
                <c:pt idx="4156">
                  <c:v>0.66500000000000004</c:v>
                </c:pt>
                <c:pt idx="4157">
                  <c:v>0.38300000000000001</c:v>
                </c:pt>
                <c:pt idx="4158">
                  <c:v>0.42499999999999999</c:v>
                </c:pt>
                <c:pt idx="4159">
                  <c:v>0.441</c:v>
                </c:pt>
                <c:pt idx="4160">
                  <c:v>0.26300000000000001</c:v>
                </c:pt>
                <c:pt idx="4161">
                  <c:v>0.51</c:v>
                </c:pt>
                <c:pt idx="4162">
                  <c:v>0.68400000000000005</c:v>
                </c:pt>
                <c:pt idx="4163">
                  <c:v>0.224</c:v>
                </c:pt>
                <c:pt idx="4164">
                  <c:v>0.52500000000000002</c:v>
                </c:pt>
                <c:pt idx="4165">
                  <c:v>0.53900000000000003</c:v>
                </c:pt>
                <c:pt idx="4166">
                  <c:v>0.7</c:v>
                </c:pt>
                <c:pt idx="4167">
                  <c:v>0.14599999999999999</c:v>
                </c:pt>
                <c:pt idx="4168">
                  <c:v>0.52700000000000002</c:v>
                </c:pt>
                <c:pt idx="4169">
                  <c:v>0.67600000000000005</c:v>
                </c:pt>
                <c:pt idx="4170">
                  <c:v>0.49199999999999999</c:v>
                </c:pt>
                <c:pt idx="4171">
                  <c:v>0.57799999999999996</c:v>
                </c:pt>
                <c:pt idx="4172">
                  <c:v>0.41299999999999998</c:v>
                </c:pt>
                <c:pt idx="4173">
                  <c:v>0.26900000000000002</c:v>
                </c:pt>
                <c:pt idx="4174">
                  <c:v>0.42899999999999999</c:v>
                </c:pt>
                <c:pt idx="4175">
                  <c:v>0.63500000000000001</c:v>
                </c:pt>
                <c:pt idx="4176">
                  <c:v>0.55600000000000005</c:v>
                </c:pt>
                <c:pt idx="4177">
                  <c:v>0.79300000000000004</c:v>
                </c:pt>
                <c:pt idx="4178">
                  <c:v>0.47099999999999997</c:v>
                </c:pt>
                <c:pt idx="4179">
                  <c:v>0.19600000000000001</c:v>
                </c:pt>
                <c:pt idx="4180">
                  <c:v>0.497</c:v>
                </c:pt>
                <c:pt idx="4181">
                  <c:v>0.39100000000000001</c:v>
                </c:pt>
                <c:pt idx="4182">
                  <c:v>0.42</c:v>
                </c:pt>
                <c:pt idx="4183">
                  <c:v>0.78300000000000003</c:v>
                </c:pt>
                <c:pt idx="4184">
                  <c:v>0.35699999999999998</c:v>
                </c:pt>
                <c:pt idx="4185">
                  <c:v>0.69599999999999995</c:v>
                </c:pt>
                <c:pt idx="4186">
                  <c:v>0.26600000000000001</c:v>
                </c:pt>
                <c:pt idx="4187">
                  <c:v>0.68200000000000005</c:v>
                </c:pt>
                <c:pt idx="4188">
                  <c:v>0.39</c:v>
                </c:pt>
                <c:pt idx="4189">
                  <c:v>0.624</c:v>
                </c:pt>
                <c:pt idx="4190">
                  <c:v>0.51200000000000001</c:v>
                </c:pt>
                <c:pt idx="4191">
                  <c:v>0.53300000000000003</c:v>
                </c:pt>
                <c:pt idx="4192">
                  <c:v>0.67500000000000004</c:v>
                </c:pt>
                <c:pt idx="4193">
                  <c:v>0.79900000000000004</c:v>
                </c:pt>
                <c:pt idx="4194">
                  <c:v>0.76100000000000001</c:v>
                </c:pt>
                <c:pt idx="4195">
                  <c:v>0.34300000000000003</c:v>
                </c:pt>
                <c:pt idx="4196">
                  <c:v>0.438</c:v>
                </c:pt>
                <c:pt idx="4197">
                  <c:v>0.49</c:v>
                </c:pt>
                <c:pt idx="4198">
                  <c:v>0.69699999999999995</c:v>
                </c:pt>
                <c:pt idx="4199">
                  <c:v>0.443</c:v>
                </c:pt>
                <c:pt idx="4200">
                  <c:v>0.59399999999999997</c:v>
                </c:pt>
                <c:pt idx="4201">
                  <c:v>0.38900000000000001</c:v>
                </c:pt>
                <c:pt idx="4202">
                  <c:v>0.41899999999999998</c:v>
                </c:pt>
                <c:pt idx="4203">
                  <c:v>0.49299999999999999</c:v>
                </c:pt>
                <c:pt idx="4204">
                  <c:v>0.64600000000000002</c:v>
                </c:pt>
                <c:pt idx="4205">
                  <c:v>0.57999999999999996</c:v>
                </c:pt>
                <c:pt idx="4206">
                  <c:v>0.72399999999999998</c:v>
                </c:pt>
                <c:pt idx="4207">
                  <c:v>0.68899999999999995</c:v>
                </c:pt>
                <c:pt idx="4208">
                  <c:v>0.54900000000000004</c:v>
                </c:pt>
                <c:pt idx="4209">
                  <c:v>0.72299999999999998</c:v>
                </c:pt>
                <c:pt idx="4210">
                  <c:v>0.55800000000000005</c:v>
                </c:pt>
                <c:pt idx="4211">
                  <c:v>0.38700000000000001</c:v>
                </c:pt>
                <c:pt idx="4212">
                  <c:v>0.45100000000000001</c:v>
                </c:pt>
                <c:pt idx="4213">
                  <c:v>0.42299999999999999</c:v>
                </c:pt>
                <c:pt idx="4214">
                  <c:v>0.32700000000000001</c:v>
                </c:pt>
                <c:pt idx="4215">
                  <c:v>0.754</c:v>
                </c:pt>
                <c:pt idx="4216">
                  <c:v>0.59099999999999997</c:v>
                </c:pt>
                <c:pt idx="4217">
                  <c:v>0.72499999999999998</c:v>
                </c:pt>
                <c:pt idx="4218">
                  <c:v>0.42299999999999999</c:v>
                </c:pt>
                <c:pt idx="4219">
                  <c:v>0.70299999999999996</c:v>
                </c:pt>
                <c:pt idx="4220">
                  <c:v>0.36299999999999999</c:v>
                </c:pt>
                <c:pt idx="4221">
                  <c:v>0.45500000000000002</c:v>
                </c:pt>
                <c:pt idx="4222">
                  <c:v>0.628</c:v>
                </c:pt>
                <c:pt idx="4223">
                  <c:v>0.96699999999999997</c:v>
                </c:pt>
                <c:pt idx="4224">
                  <c:v>0.94799999999999995</c:v>
                </c:pt>
                <c:pt idx="4225">
                  <c:v>0.76900000000000002</c:v>
                </c:pt>
                <c:pt idx="4226">
                  <c:v>0.47399999999999998</c:v>
                </c:pt>
                <c:pt idx="4227">
                  <c:v>0.36499999999999999</c:v>
                </c:pt>
                <c:pt idx="4228">
                  <c:v>0.376</c:v>
                </c:pt>
                <c:pt idx="4229">
                  <c:v>0.42799999999999999</c:v>
                </c:pt>
                <c:pt idx="4230">
                  <c:v>0.77100000000000002</c:v>
                </c:pt>
                <c:pt idx="4231">
                  <c:v>0.53500000000000003</c:v>
                </c:pt>
                <c:pt idx="4232">
                  <c:v>0.65800000000000003</c:v>
                </c:pt>
                <c:pt idx="4233">
                  <c:v>0.65</c:v>
                </c:pt>
                <c:pt idx="4234">
                  <c:v>0.58299999999999996</c:v>
                </c:pt>
                <c:pt idx="4235">
                  <c:v>0.59499999999999997</c:v>
                </c:pt>
                <c:pt idx="4236">
                  <c:v>0.73299999999999998</c:v>
                </c:pt>
                <c:pt idx="4237">
                  <c:v>0.60199999999999998</c:v>
                </c:pt>
                <c:pt idx="4238">
                  <c:v>0.876</c:v>
                </c:pt>
                <c:pt idx="4239">
                  <c:v>0.90700000000000003</c:v>
                </c:pt>
                <c:pt idx="4240">
                  <c:v>0.83499999999999996</c:v>
                </c:pt>
                <c:pt idx="4241">
                  <c:v>0.73299999999999998</c:v>
                </c:pt>
                <c:pt idx="4242">
                  <c:v>0.753</c:v>
                </c:pt>
                <c:pt idx="4243">
                  <c:v>0.60299999999999998</c:v>
                </c:pt>
                <c:pt idx="4244">
                  <c:v>0.68100000000000005</c:v>
                </c:pt>
                <c:pt idx="4245">
                  <c:v>0.65500000000000003</c:v>
                </c:pt>
                <c:pt idx="4246">
                  <c:v>0.67700000000000005</c:v>
                </c:pt>
                <c:pt idx="4247">
                  <c:v>0.86099999999999999</c:v>
                </c:pt>
                <c:pt idx="4248">
                  <c:v>0.39</c:v>
                </c:pt>
                <c:pt idx="4249">
                  <c:v>0.44</c:v>
                </c:pt>
                <c:pt idx="4250">
                  <c:v>0.496</c:v>
                </c:pt>
                <c:pt idx="4251">
                  <c:v>0.155</c:v>
                </c:pt>
                <c:pt idx="4252">
                  <c:v>0.49099999999999999</c:v>
                </c:pt>
                <c:pt idx="4253">
                  <c:v>0.02</c:v>
                </c:pt>
                <c:pt idx="4254">
                  <c:v>0.56999999999999995</c:v>
                </c:pt>
                <c:pt idx="4255">
                  <c:v>0.91700000000000004</c:v>
                </c:pt>
                <c:pt idx="4256">
                  <c:v>0.45400000000000001</c:v>
                </c:pt>
                <c:pt idx="4257">
                  <c:v>0.79300000000000004</c:v>
                </c:pt>
                <c:pt idx="4258">
                  <c:v>0.95699999999999996</c:v>
                </c:pt>
                <c:pt idx="4259">
                  <c:v>0.45700000000000002</c:v>
                </c:pt>
                <c:pt idx="4260">
                  <c:v>0.13300000000000001</c:v>
                </c:pt>
                <c:pt idx="4261">
                  <c:v>0.374</c:v>
                </c:pt>
                <c:pt idx="4262">
                  <c:v>0.33400000000000002</c:v>
                </c:pt>
                <c:pt idx="4263">
                  <c:v>0.74199999999999999</c:v>
                </c:pt>
                <c:pt idx="4264">
                  <c:v>0.436</c:v>
                </c:pt>
                <c:pt idx="4265">
                  <c:v>0.45300000000000001</c:v>
                </c:pt>
                <c:pt idx="4266">
                  <c:v>0.53</c:v>
                </c:pt>
                <c:pt idx="4267">
                  <c:v>0.70199999999999996</c:v>
                </c:pt>
                <c:pt idx="4268">
                  <c:v>0.51400000000000001</c:v>
                </c:pt>
                <c:pt idx="4269">
                  <c:v>0.42099999999999999</c:v>
                </c:pt>
                <c:pt idx="4270">
                  <c:v>0.628</c:v>
                </c:pt>
                <c:pt idx="4271">
                  <c:v>0.41699999999999998</c:v>
                </c:pt>
                <c:pt idx="4272">
                  <c:v>0.32900000000000001</c:v>
                </c:pt>
                <c:pt idx="4273">
                  <c:v>0.72199999999999998</c:v>
                </c:pt>
                <c:pt idx="4274">
                  <c:v>0.66800000000000004</c:v>
                </c:pt>
                <c:pt idx="4275">
                  <c:v>0.46500000000000002</c:v>
                </c:pt>
                <c:pt idx="4276">
                  <c:v>0.52600000000000002</c:v>
                </c:pt>
                <c:pt idx="4277">
                  <c:v>0.33600000000000002</c:v>
                </c:pt>
                <c:pt idx="4278">
                  <c:v>0.38400000000000001</c:v>
                </c:pt>
                <c:pt idx="4279">
                  <c:v>0.63100000000000001</c:v>
                </c:pt>
                <c:pt idx="4280">
                  <c:v>0.55400000000000005</c:v>
                </c:pt>
                <c:pt idx="4281">
                  <c:v>0.52200000000000002</c:v>
                </c:pt>
                <c:pt idx="4282">
                  <c:v>0.64100000000000001</c:v>
                </c:pt>
                <c:pt idx="4283">
                  <c:v>0.626</c:v>
                </c:pt>
                <c:pt idx="4284">
                  <c:v>0.442</c:v>
                </c:pt>
                <c:pt idx="4285">
                  <c:v>0.76900000000000002</c:v>
                </c:pt>
                <c:pt idx="4286">
                  <c:v>0.58599999999999997</c:v>
                </c:pt>
                <c:pt idx="4287">
                  <c:v>0.78100000000000003</c:v>
                </c:pt>
                <c:pt idx="4288">
                  <c:v>0.68500000000000005</c:v>
                </c:pt>
                <c:pt idx="4289">
                  <c:v>0.505</c:v>
                </c:pt>
                <c:pt idx="4290">
                  <c:v>0.36899999999999999</c:v>
                </c:pt>
                <c:pt idx="4291">
                  <c:v>0.67600000000000005</c:v>
                </c:pt>
                <c:pt idx="4292">
                  <c:v>0.107</c:v>
                </c:pt>
                <c:pt idx="4293">
                  <c:v>0.67300000000000004</c:v>
                </c:pt>
                <c:pt idx="4294">
                  <c:v>0.437</c:v>
                </c:pt>
                <c:pt idx="4295">
                  <c:v>0.249</c:v>
                </c:pt>
                <c:pt idx="4296">
                  <c:v>0.21299999999999999</c:v>
                </c:pt>
                <c:pt idx="4297">
                  <c:v>0.51200000000000001</c:v>
                </c:pt>
                <c:pt idx="4298">
                  <c:v>0.876</c:v>
                </c:pt>
                <c:pt idx="4299">
                  <c:v>0.69799999999999995</c:v>
                </c:pt>
                <c:pt idx="4300">
                  <c:v>0.29699999999999999</c:v>
                </c:pt>
                <c:pt idx="4301">
                  <c:v>0.89100000000000001</c:v>
                </c:pt>
                <c:pt idx="4302">
                  <c:v>0.86799999999999999</c:v>
                </c:pt>
                <c:pt idx="4303">
                  <c:v>0.80500000000000005</c:v>
                </c:pt>
                <c:pt idx="4304">
                  <c:v>0.623</c:v>
                </c:pt>
                <c:pt idx="4305">
                  <c:v>0.35</c:v>
                </c:pt>
                <c:pt idx="4306">
                  <c:v>0.30199999999999999</c:v>
                </c:pt>
                <c:pt idx="4307">
                  <c:v>0.60899999999999999</c:v>
                </c:pt>
                <c:pt idx="4308">
                  <c:v>0.36699999999999999</c:v>
                </c:pt>
                <c:pt idx="4309">
                  <c:v>0.222</c:v>
                </c:pt>
                <c:pt idx="4310">
                  <c:v>0.44800000000000001</c:v>
                </c:pt>
                <c:pt idx="4311">
                  <c:v>0.40799999999999997</c:v>
                </c:pt>
                <c:pt idx="4312">
                  <c:v>0.81399999999999995</c:v>
                </c:pt>
                <c:pt idx="4313">
                  <c:v>0.58699999999999997</c:v>
                </c:pt>
                <c:pt idx="4314">
                  <c:v>0.80400000000000005</c:v>
                </c:pt>
                <c:pt idx="4315">
                  <c:v>0.71599999999999997</c:v>
                </c:pt>
                <c:pt idx="4316">
                  <c:v>0.60599999999999998</c:v>
                </c:pt>
                <c:pt idx="4317">
                  <c:v>0.40300000000000002</c:v>
                </c:pt>
                <c:pt idx="4318">
                  <c:v>0.17799999999999999</c:v>
                </c:pt>
                <c:pt idx="4319">
                  <c:v>0.64900000000000002</c:v>
                </c:pt>
                <c:pt idx="4320">
                  <c:v>0.69</c:v>
                </c:pt>
                <c:pt idx="4321">
                  <c:v>0.81699999999999995</c:v>
                </c:pt>
                <c:pt idx="4322">
                  <c:v>0.317</c:v>
                </c:pt>
                <c:pt idx="4323">
                  <c:v>0.60699999999999998</c:v>
                </c:pt>
                <c:pt idx="4324">
                  <c:v>0.442</c:v>
                </c:pt>
                <c:pt idx="4325">
                  <c:v>0.50900000000000001</c:v>
                </c:pt>
                <c:pt idx="4326">
                  <c:v>0.35899999999999999</c:v>
                </c:pt>
                <c:pt idx="4327">
                  <c:v>0.46899999999999997</c:v>
                </c:pt>
                <c:pt idx="4328">
                  <c:v>0.55900000000000005</c:v>
                </c:pt>
                <c:pt idx="4329">
                  <c:v>0.56299999999999994</c:v>
                </c:pt>
                <c:pt idx="4330">
                  <c:v>0.84699999999999998</c:v>
                </c:pt>
                <c:pt idx="4331">
                  <c:v>0.32600000000000001</c:v>
                </c:pt>
                <c:pt idx="4332">
                  <c:v>0.93799999999999994</c:v>
                </c:pt>
                <c:pt idx="4333">
                  <c:v>0.45100000000000001</c:v>
                </c:pt>
                <c:pt idx="4334">
                  <c:v>0.53600000000000003</c:v>
                </c:pt>
                <c:pt idx="4335">
                  <c:v>0.188</c:v>
                </c:pt>
                <c:pt idx="4336">
                  <c:v>0.41399999999999998</c:v>
                </c:pt>
                <c:pt idx="4337">
                  <c:v>0.71399999999999997</c:v>
                </c:pt>
                <c:pt idx="4338">
                  <c:v>0.44700000000000001</c:v>
                </c:pt>
                <c:pt idx="4339">
                  <c:v>0.56499999999999995</c:v>
                </c:pt>
                <c:pt idx="4340">
                  <c:v>0.17100000000000001</c:v>
                </c:pt>
                <c:pt idx="4341">
                  <c:v>0.68100000000000005</c:v>
                </c:pt>
                <c:pt idx="4342">
                  <c:v>0.97099999999999997</c:v>
                </c:pt>
                <c:pt idx="4343">
                  <c:v>0.50900000000000001</c:v>
                </c:pt>
                <c:pt idx="4344">
                  <c:v>0.76300000000000001</c:v>
                </c:pt>
                <c:pt idx="4345">
                  <c:v>0.73299999999999998</c:v>
                </c:pt>
                <c:pt idx="4346">
                  <c:v>0.63400000000000001</c:v>
                </c:pt>
                <c:pt idx="4347">
                  <c:v>0.54700000000000004</c:v>
                </c:pt>
                <c:pt idx="4348">
                  <c:v>0.84599999999999997</c:v>
                </c:pt>
                <c:pt idx="4349">
                  <c:v>0.52600000000000002</c:v>
                </c:pt>
                <c:pt idx="4350">
                  <c:v>0.91100000000000003</c:v>
                </c:pt>
                <c:pt idx="4351">
                  <c:v>0.436</c:v>
                </c:pt>
                <c:pt idx="4352">
                  <c:v>0.82699999999999996</c:v>
                </c:pt>
                <c:pt idx="4353">
                  <c:v>0.77700000000000002</c:v>
                </c:pt>
                <c:pt idx="4354">
                  <c:v>0</c:v>
                </c:pt>
                <c:pt idx="4355">
                  <c:v>0.66400000000000003</c:v>
                </c:pt>
                <c:pt idx="4356">
                  <c:v>0.90600000000000003</c:v>
                </c:pt>
                <c:pt idx="4357">
                  <c:v>0.65600000000000003</c:v>
                </c:pt>
                <c:pt idx="4358">
                  <c:v>0.72</c:v>
                </c:pt>
                <c:pt idx="4359">
                  <c:v>0.29499999999999998</c:v>
                </c:pt>
                <c:pt idx="4360">
                  <c:v>0.40600000000000003</c:v>
                </c:pt>
                <c:pt idx="4361">
                  <c:v>0.73499999999999999</c:v>
                </c:pt>
                <c:pt idx="4362">
                  <c:v>0.192</c:v>
                </c:pt>
                <c:pt idx="4363">
                  <c:v>0.20399999999999999</c:v>
                </c:pt>
                <c:pt idx="4364">
                  <c:v>0.502</c:v>
                </c:pt>
                <c:pt idx="4365">
                  <c:v>0.41299999999999998</c:v>
                </c:pt>
                <c:pt idx="4366">
                  <c:v>0.36399999999999999</c:v>
                </c:pt>
                <c:pt idx="4367">
                  <c:v>0.72399999999999998</c:v>
                </c:pt>
                <c:pt idx="4368">
                  <c:v>0.83899999999999997</c:v>
                </c:pt>
                <c:pt idx="4369">
                  <c:v>0.54</c:v>
                </c:pt>
                <c:pt idx="4370">
                  <c:v>0.16200000000000001</c:v>
                </c:pt>
                <c:pt idx="4371">
                  <c:v>0.55700000000000005</c:v>
                </c:pt>
                <c:pt idx="4372">
                  <c:v>0.14599999999999999</c:v>
                </c:pt>
                <c:pt idx="4373">
                  <c:v>0.19800000000000001</c:v>
                </c:pt>
                <c:pt idx="4374">
                  <c:v>0.373</c:v>
                </c:pt>
                <c:pt idx="4375">
                  <c:v>0.52200000000000002</c:v>
                </c:pt>
                <c:pt idx="4376">
                  <c:v>0.72499999999999998</c:v>
                </c:pt>
                <c:pt idx="4377">
                  <c:v>0.379</c:v>
                </c:pt>
                <c:pt idx="4378">
                  <c:v>0.79500000000000004</c:v>
                </c:pt>
                <c:pt idx="4379">
                  <c:v>0.67100000000000004</c:v>
                </c:pt>
                <c:pt idx="4380">
                  <c:v>0.51300000000000001</c:v>
                </c:pt>
                <c:pt idx="4381">
                  <c:v>0.85099999999999998</c:v>
                </c:pt>
                <c:pt idx="4382">
                  <c:v>0.51300000000000001</c:v>
                </c:pt>
                <c:pt idx="4383">
                  <c:v>0.56399999999999995</c:v>
                </c:pt>
                <c:pt idx="4384">
                  <c:v>0.28599999999999998</c:v>
                </c:pt>
                <c:pt idx="4385">
                  <c:v>0.57499999999999996</c:v>
                </c:pt>
                <c:pt idx="4386">
                  <c:v>0.49</c:v>
                </c:pt>
                <c:pt idx="4387">
                  <c:v>0.63500000000000001</c:v>
                </c:pt>
                <c:pt idx="4388">
                  <c:v>0.39</c:v>
                </c:pt>
                <c:pt idx="4389">
                  <c:v>0.85899999999999999</c:v>
                </c:pt>
                <c:pt idx="4390">
                  <c:v>0.505</c:v>
                </c:pt>
                <c:pt idx="4391">
                  <c:v>0.621</c:v>
                </c:pt>
                <c:pt idx="4392">
                  <c:v>0.65100000000000002</c:v>
                </c:pt>
                <c:pt idx="4393">
                  <c:v>0.73199999999999998</c:v>
                </c:pt>
                <c:pt idx="4394">
                  <c:v>0.86599999999999999</c:v>
                </c:pt>
                <c:pt idx="4395">
                  <c:v>0.217</c:v>
                </c:pt>
                <c:pt idx="4396">
                  <c:v>0.81299999999999994</c:v>
                </c:pt>
                <c:pt idx="4397">
                  <c:v>0.436</c:v>
                </c:pt>
                <c:pt idx="4398">
                  <c:v>0.79600000000000004</c:v>
                </c:pt>
                <c:pt idx="4399">
                  <c:v>0.56200000000000006</c:v>
                </c:pt>
                <c:pt idx="4400">
                  <c:v>0.61199999999999999</c:v>
                </c:pt>
                <c:pt idx="4401">
                  <c:v>0.78100000000000003</c:v>
                </c:pt>
                <c:pt idx="4402">
                  <c:v>0.36799999999999999</c:v>
                </c:pt>
                <c:pt idx="4403">
                  <c:v>0.57599999999999996</c:v>
                </c:pt>
                <c:pt idx="4404">
                  <c:v>0.39300000000000002</c:v>
                </c:pt>
                <c:pt idx="4405">
                  <c:v>6.9000000000000006E-2</c:v>
                </c:pt>
                <c:pt idx="4406">
                  <c:v>0.69799999999999995</c:v>
                </c:pt>
                <c:pt idx="4407">
                  <c:v>0.68200000000000005</c:v>
                </c:pt>
                <c:pt idx="4408">
                  <c:v>0.75800000000000001</c:v>
                </c:pt>
                <c:pt idx="4409">
                  <c:v>0.78900000000000003</c:v>
                </c:pt>
                <c:pt idx="4410">
                  <c:v>0.19600000000000001</c:v>
                </c:pt>
                <c:pt idx="4411">
                  <c:v>0.73799999999999999</c:v>
                </c:pt>
                <c:pt idx="4412">
                  <c:v>0.53300000000000003</c:v>
                </c:pt>
                <c:pt idx="4413">
                  <c:v>0.65200000000000002</c:v>
                </c:pt>
                <c:pt idx="4414">
                  <c:v>0.48699999999999999</c:v>
                </c:pt>
                <c:pt idx="4415">
                  <c:v>0.189</c:v>
                </c:pt>
                <c:pt idx="4416">
                  <c:v>0.52200000000000002</c:v>
                </c:pt>
                <c:pt idx="4417">
                  <c:v>0.44700000000000001</c:v>
                </c:pt>
                <c:pt idx="4418">
                  <c:v>0.24199999999999999</c:v>
                </c:pt>
                <c:pt idx="4419">
                  <c:v>0.41299999999999998</c:v>
                </c:pt>
                <c:pt idx="4420">
                  <c:v>0.92100000000000004</c:v>
                </c:pt>
                <c:pt idx="4421">
                  <c:v>0.44800000000000001</c:v>
                </c:pt>
                <c:pt idx="4422">
                  <c:v>0.52100000000000002</c:v>
                </c:pt>
                <c:pt idx="4423">
                  <c:v>0.45400000000000001</c:v>
                </c:pt>
                <c:pt idx="4424">
                  <c:v>0.52600000000000002</c:v>
                </c:pt>
                <c:pt idx="4425">
                  <c:v>0.503</c:v>
                </c:pt>
                <c:pt idx="4426">
                  <c:v>0.55500000000000005</c:v>
                </c:pt>
                <c:pt idx="4427">
                  <c:v>0.50900000000000001</c:v>
                </c:pt>
                <c:pt idx="4428">
                  <c:v>0.72</c:v>
                </c:pt>
                <c:pt idx="4429">
                  <c:v>0.71499999999999997</c:v>
                </c:pt>
                <c:pt idx="4430">
                  <c:v>0.83499999999999996</c:v>
                </c:pt>
                <c:pt idx="4431">
                  <c:v>0.60699999999999998</c:v>
                </c:pt>
                <c:pt idx="4432">
                  <c:v>0.72</c:v>
                </c:pt>
                <c:pt idx="4433">
                  <c:v>0.627</c:v>
                </c:pt>
                <c:pt idx="4434">
                  <c:v>0.26100000000000001</c:v>
                </c:pt>
                <c:pt idx="4435">
                  <c:v>0.68500000000000005</c:v>
                </c:pt>
                <c:pt idx="4436">
                  <c:v>0.58599999999999997</c:v>
                </c:pt>
                <c:pt idx="4437">
                  <c:v>0.42199999999999999</c:v>
                </c:pt>
                <c:pt idx="4438">
                  <c:v>0.35499999999999998</c:v>
                </c:pt>
                <c:pt idx="4439">
                  <c:v>0.64800000000000002</c:v>
                </c:pt>
                <c:pt idx="4440">
                  <c:v>0.54500000000000004</c:v>
                </c:pt>
                <c:pt idx="4441">
                  <c:v>0.26400000000000001</c:v>
                </c:pt>
                <c:pt idx="4442">
                  <c:v>0.52300000000000002</c:v>
                </c:pt>
                <c:pt idx="4443">
                  <c:v>0.67400000000000004</c:v>
                </c:pt>
                <c:pt idx="4444">
                  <c:v>0.23100000000000001</c:v>
                </c:pt>
                <c:pt idx="4445">
                  <c:v>0.57999999999999996</c:v>
                </c:pt>
                <c:pt idx="4446">
                  <c:v>0.69499999999999995</c:v>
                </c:pt>
                <c:pt idx="4447">
                  <c:v>0.67400000000000004</c:v>
                </c:pt>
                <c:pt idx="4448">
                  <c:v>0.60799999999999998</c:v>
                </c:pt>
                <c:pt idx="4449">
                  <c:v>0.38700000000000001</c:v>
                </c:pt>
                <c:pt idx="4450">
                  <c:v>0.75</c:v>
                </c:pt>
                <c:pt idx="4451">
                  <c:v>0.81399999999999995</c:v>
                </c:pt>
                <c:pt idx="4452">
                  <c:v>0.38600000000000001</c:v>
                </c:pt>
                <c:pt idx="4453">
                  <c:v>0.439</c:v>
                </c:pt>
                <c:pt idx="4454">
                  <c:v>0.57999999999999996</c:v>
                </c:pt>
                <c:pt idx="4455">
                  <c:v>0.182</c:v>
                </c:pt>
                <c:pt idx="4456">
                  <c:v>0.42599999999999999</c:v>
                </c:pt>
                <c:pt idx="4457">
                  <c:v>0.69199999999999995</c:v>
                </c:pt>
                <c:pt idx="4458">
                  <c:v>0.34300000000000003</c:v>
                </c:pt>
                <c:pt idx="4459">
                  <c:v>0.32800000000000001</c:v>
                </c:pt>
                <c:pt idx="4460">
                  <c:v>0.41899999999999998</c:v>
                </c:pt>
                <c:pt idx="4461">
                  <c:v>0.74</c:v>
                </c:pt>
                <c:pt idx="4462">
                  <c:v>0.84899999999999998</c:v>
                </c:pt>
                <c:pt idx="4463">
                  <c:v>0.66400000000000003</c:v>
                </c:pt>
                <c:pt idx="4464">
                  <c:v>0.22900000000000001</c:v>
                </c:pt>
                <c:pt idx="4465">
                  <c:v>0.53400000000000003</c:v>
                </c:pt>
                <c:pt idx="4466">
                  <c:v>0.55500000000000005</c:v>
                </c:pt>
                <c:pt idx="4467">
                  <c:v>0.67500000000000004</c:v>
                </c:pt>
                <c:pt idx="4468">
                  <c:v>0.82399999999999995</c:v>
                </c:pt>
                <c:pt idx="4469">
                  <c:v>0.59099999999999997</c:v>
                </c:pt>
                <c:pt idx="4470">
                  <c:v>0.88</c:v>
                </c:pt>
                <c:pt idx="4471">
                  <c:v>0.46200000000000002</c:v>
                </c:pt>
                <c:pt idx="4472">
                  <c:v>0.67100000000000004</c:v>
                </c:pt>
                <c:pt idx="4473">
                  <c:v>0.75600000000000001</c:v>
                </c:pt>
                <c:pt idx="4474">
                  <c:v>0.20799999999999999</c:v>
                </c:pt>
                <c:pt idx="4475">
                  <c:v>0.76500000000000001</c:v>
                </c:pt>
                <c:pt idx="4476">
                  <c:v>0.52700000000000002</c:v>
                </c:pt>
                <c:pt idx="4477">
                  <c:v>0.64500000000000002</c:v>
                </c:pt>
                <c:pt idx="4478">
                  <c:v>0.44600000000000001</c:v>
                </c:pt>
                <c:pt idx="4479">
                  <c:v>0.54100000000000004</c:v>
                </c:pt>
                <c:pt idx="4480">
                  <c:v>0.88800000000000001</c:v>
                </c:pt>
                <c:pt idx="4481">
                  <c:v>0.32200000000000001</c:v>
                </c:pt>
                <c:pt idx="4482">
                  <c:v>0.505</c:v>
                </c:pt>
                <c:pt idx="4483">
                  <c:v>0.50700000000000001</c:v>
                </c:pt>
                <c:pt idx="4484">
                  <c:v>0.69599999999999995</c:v>
                </c:pt>
                <c:pt idx="4485">
                  <c:v>0.32800000000000001</c:v>
                </c:pt>
                <c:pt idx="4486">
                  <c:v>0.45900000000000002</c:v>
                </c:pt>
                <c:pt idx="4487">
                  <c:v>0.60499999999999998</c:v>
                </c:pt>
                <c:pt idx="4488">
                  <c:v>0.42899999999999999</c:v>
                </c:pt>
                <c:pt idx="4489">
                  <c:v>0.75600000000000001</c:v>
                </c:pt>
                <c:pt idx="4490">
                  <c:v>0.20399999999999999</c:v>
                </c:pt>
                <c:pt idx="4491">
                  <c:v>0.67400000000000004</c:v>
                </c:pt>
                <c:pt idx="4492">
                  <c:v>0.54700000000000004</c:v>
                </c:pt>
                <c:pt idx="4493">
                  <c:v>0.23100000000000001</c:v>
                </c:pt>
                <c:pt idx="4494">
                  <c:v>0.61099999999999999</c:v>
                </c:pt>
                <c:pt idx="4495">
                  <c:v>0.308</c:v>
                </c:pt>
                <c:pt idx="4496">
                  <c:v>0.80100000000000005</c:v>
                </c:pt>
                <c:pt idx="4497">
                  <c:v>0.57699999999999996</c:v>
                </c:pt>
                <c:pt idx="4498">
                  <c:v>0.47499999999999998</c:v>
                </c:pt>
                <c:pt idx="4499">
                  <c:v>0.47</c:v>
                </c:pt>
                <c:pt idx="4500">
                  <c:v>0.501</c:v>
                </c:pt>
                <c:pt idx="4501">
                  <c:v>0.59599999999999997</c:v>
                </c:pt>
                <c:pt idx="4502">
                  <c:v>0.58699999999999997</c:v>
                </c:pt>
                <c:pt idx="4503">
                  <c:v>0.75</c:v>
                </c:pt>
                <c:pt idx="4504">
                  <c:v>0.308</c:v>
                </c:pt>
                <c:pt idx="4505">
                  <c:v>0.71299999999999997</c:v>
                </c:pt>
                <c:pt idx="4506">
                  <c:v>0.48199999999999998</c:v>
                </c:pt>
                <c:pt idx="4507">
                  <c:v>0.53100000000000003</c:v>
                </c:pt>
                <c:pt idx="4508">
                  <c:v>0.434</c:v>
                </c:pt>
                <c:pt idx="4509">
                  <c:v>0.27200000000000002</c:v>
                </c:pt>
                <c:pt idx="4510">
                  <c:v>0.42799999999999999</c:v>
                </c:pt>
                <c:pt idx="4511">
                  <c:v>0.64500000000000002</c:v>
                </c:pt>
                <c:pt idx="4512">
                  <c:v>0.60799999999999998</c:v>
                </c:pt>
                <c:pt idx="4513">
                  <c:v>0.376</c:v>
                </c:pt>
                <c:pt idx="4514">
                  <c:v>0.47899999999999998</c:v>
                </c:pt>
                <c:pt idx="4515">
                  <c:v>0.63700000000000001</c:v>
                </c:pt>
                <c:pt idx="4516">
                  <c:v>0.26800000000000002</c:v>
                </c:pt>
                <c:pt idx="4517">
                  <c:v>0.44500000000000001</c:v>
                </c:pt>
                <c:pt idx="4518">
                  <c:v>0.873</c:v>
                </c:pt>
                <c:pt idx="4519">
                  <c:v>0.34899999999999998</c:v>
                </c:pt>
                <c:pt idx="4520">
                  <c:v>0.31900000000000001</c:v>
                </c:pt>
                <c:pt idx="4521">
                  <c:v>0.495</c:v>
                </c:pt>
                <c:pt idx="4522">
                  <c:v>0.36199999999999999</c:v>
                </c:pt>
                <c:pt idx="4523">
                  <c:v>0.38500000000000001</c:v>
                </c:pt>
                <c:pt idx="4524">
                  <c:v>0.378</c:v>
                </c:pt>
                <c:pt idx="4525">
                  <c:v>0.67500000000000004</c:v>
                </c:pt>
                <c:pt idx="4526">
                  <c:v>0.42699999999999999</c:v>
                </c:pt>
                <c:pt idx="4527">
                  <c:v>0.55300000000000005</c:v>
                </c:pt>
                <c:pt idx="4528">
                  <c:v>0.84599999999999997</c:v>
                </c:pt>
                <c:pt idx="4529">
                  <c:v>0.39600000000000002</c:v>
                </c:pt>
                <c:pt idx="4530">
                  <c:v>0.623</c:v>
                </c:pt>
                <c:pt idx="4531">
                  <c:v>0.313</c:v>
                </c:pt>
                <c:pt idx="4532">
                  <c:v>0.84799999999999998</c:v>
                </c:pt>
                <c:pt idx="4533">
                  <c:v>0.30299999999999999</c:v>
                </c:pt>
                <c:pt idx="4534">
                  <c:v>0.60399999999999998</c:v>
                </c:pt>
                <c:pt idx="4535">
                  <c:v>0.54100000000000004</c:v>
                </c:pt>
                <c:pt idx="4536">
                  <c:v>0.77500000000000002</c:v>
                </c:pt>
                <c:pt idx="4537">
                  <c:v>0.45800000000000002</c:v>
                </c:pt>
                <c:pt idx="4538">
                  <c:v>0.623</c:v>
                </c:pt>
                <c:pt idx="4539">
                  <c:v>0.184</c:v>
                </c:pt>
                <c:pt idx="4540">
                  <c:v>0.88300000000000001</c:v>
                </c:pt>
                <c:pt idx="4541">
                  <c:v>0.67700000000000005</c:v>
                </c:pt>
                <c:pt idx="4542">
                  <c:v>0.24399999999999999</c:v>
                </c:pt>
                <c:pt idx="4543">
                  <c:v>0.92200000000000004</c:v>
                </c:pt>
                <c:pt idx="4544">
                  <c:v>0.85499999999999998</c:v>
                </c:pt>
                <c:pt idx="4545">
                  <c:v>0.72199999999999998</c:v>
                </c:pt>
                <c:pt idx="4546">
                  <c:v>0.84199999999999997</c:v>
                </c:pt>
                <c:pt idx="4547">
                  <c:v>0.70899999999999996</c:v>
                </c:pt>
                <c:pt idx="4548">
                  <c:v>0.66600000000000004</c:v>
                </c:pt>
                <c:pt idx="4549">
                  <c:v>0.54</c:v>
                </c:pt>
                <c:pt idx="4550">
                  <c:v>0.67800000000000005</c:v>
                </c:pt>
                <c:pt idx="4551">
                  <c:v>0.41399999999999998</c:v>
                </c:pt>
                <c:pt idx="4552">
                  <c:v>0.311</c:v>
                </c:pt>
                <c:pt idx="4553">
                  <c:v>0.68</c:v>
                </c:pt>
                <c:pt idx="4554">
                  <c:v>0.23400000000000001</c:v>
                </c:pt>
                <c:pt idx="4555">
                  <c:v>0.82699999999999996</c:v>
                </c:pt>
                <c:pt idx="4556">
                  <c:v>0.58699999999999997</c:v>
                </c:pt>
                <c:pt idx="4557">
                  <c:v>0.80600000000000005</c:v>
                </c:pt>
                <c:pt idx="4558">
                  <c:v>0.88</c:v>
                </c:pt>
                <c:pt idx="4559">
                  <c:v>0.57999999999999996</c:v>
                </c:pt>
                <c:pt idx="4560">
                  <c:v>0.46300000000000002</c:v>
                </c:pt>
                <c:pt idx="4561">
                  <c:v>0.72</c:v>
                </c:pt>
                <c:pt idx="4562">
                  <c:v>0.39200000000000002</c:v>
                </c:pt>
                <c:pt idx="4563">
                  <c:v>0.52900000000000003</c:v>
                </c:pt>
                <c:pt idx="4564">
                  <c:v>0.748</c:v>
                </c:pt>
                <c:pt idx="4565">
                  <c:v>0.52500000000000002</c:v>
                </c:pt>
                <c:pt idx="4566">
                  <c:v>0.48499999999999999</c:v>
                </c:pt>
                <c:pt idx="4567">
                  <c:v>0.46100000000000002</c:v>
                </c:pt>
                <c:pt idx="4568">
                  <c:v>0.54300000000000004</c:v>
                </c:pt>
                <c:pt idx="4569">
                  <c:v>0.436</c:v>
                </c:pt>
                <c:pt idx="4570">
                  <c:v>0.96599999999999997</c:v>
                </c:pt>
                <c:pt idx="4571">
                  <c:v>0.46500000000000002</c:v>
                </c:pt>
                <c:pt idx="4572">
                  <c:v>0.42599999999999999</c:v>
                </c:pt>
                <c:pt idx="4573">
                  <c:v>0.26700000000000002</c:v>
                </c:pt>
                <c:pt idx="4574">
                  <c:v>0.47399999999999998</c:v>
                </c:pt>
                <c:pt idx="4575">
                  <c:v>0.34300000000000003</c:v>
                </c:pt>
                <c:pt idx="4576">
                  <c:v>0.65200000000000002</c:v>
                </c:pt>
                <c:pt idx="4577">
                  <c:v>0.58099999999999996</c:v>
                </c:pt>
                <c:pt idx="4578">
                  <c:v>0.57399999999999995</c:v>
                </c:pt>
                <c:pt idx="4579">
                  <c:v>0.54300000000000004</c:v>
                </c:pt>
                <c:pt idx="4580">
                  <c:v>0.47399999999999998</c:v>
                </c:pt>
                <c:pt idx="4581">
                  <c:v>0.35099999999999998</c:v>
                </c:pt>
                <c:pt idx="4582">
                  <c:v>0.78900000000000003</c:v>
                </c:pt>
                <c:pt idx="4583">
                  <c:v>0.67500000000000004</c:v>
                </c:pt>
                <c:pt idx="4584">
                  <c:v>0.311</c:v>
                </c:pt>
                <c:pt idx="4585">
                  <c:v>0.63</c:v>
                </c:pt>
                <c:pt idx="4586">
                  <c:v>0.71599999999999997</c:v>
                </c:pt>
                <c:pt idx="4587">
                  <c:v>0.44900000000000001</c:v>
                </c:pt>
                <c:pt idx="4588">
                  <c:v>0.35499999999999998</c:v>
                </c:pt>
                <c:pt idx="4589">
                  <c:v>0.25</c:v>
                </c:pt>
                <c:pt idx="4590">
                  <c:v>0.92</c:v>
                </c:pt>
                <c:pt idx="4591">
                  <c:v>0.71299999999999997</c:v>
                </c:pt>
                <c:pt idx="4592">
                  <c:v>0.54800000000000004</c:v>
                </c:pt>
                <c:pt idx="4593">
                  <c:v>0.77800000000000002</c:v>
                </c:pt>
                <c:pt idx="4594">
                  <c:v>0.35799999999999998</c:v>
                </c:pt>
                <c:pt idx="4595">
                  <c:v>0.47399999999999998</c:v>
                </c:pt>
                <c:pt idx="4596">
                  <c:v>0.43</c:v>
                </c:pt>
                <c:pt idx="4597">
                  <c:v>0.65100000000000002</c:v>
                </c:pt>
                <c:pt idx="4598">
                  <c:v>0.5</c:v>
                </c:pt>
                <c:pt idx="4599">
                  <c:v>0.59899999999999998</c:v>
                </c:pt>
                <c:pt idx="4600">
                  <c:v>0.625</c:v>
                </c:pt>
                <c:pt idx="4601">
                  <c:v>0.65100000000000002</c:v>
                </c:pt>
                <c:pt idx="4602">
                  <c:v>0.126</c:v>
                </c:pt>
                <c:pt idx="4603">
                  <c:v>0.56100000000000005</c:v>
                </c:pt>
                <c:pt idx="4604">
                  <c:v>0.78</c:v>
                </c:pt>
                <c:pt idx="4605">
                  <c:v>0.55900000000000005</c:v>
                </c:pt>
                <c:pt idx="4606">
                  <c:v>0.60899999999999999</c:v>
                </c:pt>
                <c:pt idx="4607">
                  <c:v>0.66900000000000004</c:v>
                </c:pt>
                <c:pt idx="4608">
                  <c:v>0.46800000000000003</c:v>
                </c:pt>
                <c:pt idx="4609">
                  <c:v>0.60599999999999998</c:v>
                </c:pt>
                <c:pt idx="4610">
                  <c:v>0.60099999999999998</c:v>
                </c:pt>
                <c:pt idx="4611">
                  <c:v>0.63700000000000001</c:v>
                </c:pt>
                <c:pt idx="4612">
                  <c:v>0.57299999999999995</c:v>
                </c:pt>
                <c:pt idx="4613">
                  <c:v>0.52200000000000002</c:v>
                </c:pt>
                <c:pt idx="4614">
                  <c:v>0.17799999999999999</c:v>
                </c:pt>
                <c:pt idx="4615">
                  <c:v>0.05</c:v>
                </c:pt>
                <c:pt idx="4616">
                  <c:v>0.26900000000000002</c:v>
                </c:pt>
                <c:pt idx="4617">
                  <c:v>0.54700000000000004</c:v>
                </c:pt>
                <c:pt idx="4618">
                  <c:v>0.42699999999999999</c:v>
                </c:pt>
                <c:pt idx="4619">
                  <c:v>0.64800000000000002</c:v>
                </c:pt>
                <c:pt idx="4620">
                  <c:v>0.79800000000000004</c:v>
                </c:pt>
                <c:pt idx="4621">
                  <c:v>0.192</c:v>
                </c:pt>
                <c:pt idx="4622">
                  <c:v>0.71499999999999997</c:v>
                </c:pt>
                <c:pt idx="4623">
                  <c:v>0.54600000000000004</c:v>
                </c:pt>
                <c:pt idx="4624">
                  <c:v>0.91500000000000004</c:v>
                </c:pt>
                <c:pt idx="4625">
                  <c:v>0.627</c:v>
                </c:pt>
                <c:pt idx="4626">
                  <c:v>0.71199999999999997</c:v>
                </c:pt>
                <c:pt idx="4627">
                  <c:v>0.35299999999999998</c:v>
                </c:pt>
                <c:pt idx="4628">
                  <c:v>0.55500000000000005</c:v>
                </c:pt>
                <c:pt idx="4629">
                  <c:v>0.67400000000000004</c:v>
                </c:pt>
                <c:pt idx="4630">
                  <c:v>0.68</c:v>
                </c:pt>
                <c:pt idx="4631">
                  <c:v>0.216</c:v>
                </c:pt>
                <c:pt idx="4632">
                  <c:v>0.69399999999999995</c:v>
                </c:pt>
                <c:pt idx="4633">
                  <c:v>0.85299999999999998</c:v>
                </c:pt>
                <c:pt idx="4634">
                  <c:v>0.437</c:v>
                </c:pt>
                <c:pt idx="4635">
                  <c:v>0.7</c:v>
                </c:pt>
                <c:pt idx="4636">
                  <c:v>0.875</c:v>
                </c:pt>
                <c:pt idx="4637">
                  <c:v>0.52200000000000002</c:v>
                </c:pt>
                <c:pt idx="4638">
                  <c:v>0.45900000000000002</c:v>
                </c:pt>
                <c:pt idx="4639">
                  <c:v>7.2999999999999995E-2</c:v>
                </c:pt>
                <c:pt idx="4640">
                  <c:v>0.58299999999999996</c:v>
                </c:pt>
                <c:pt idx="4641">
                  <c:v>0.51400000000000001</c:v>
                </c:pt>
                <c:pt idx="4642">
                  <c:v>0.50800000000000001</c:v>
                </c:pt>
                <c:pt idx="4643">
                  <c:v>0.45300000000000001</c:v>
                </c:pt>
                <c:pt idx="4644">
                  <c:v>0.45100000000000001</c:v>
                </c:pt>
                <c:pt idx="4645">
                  <c:v>0.34200000000000003</c:v>
                </c:pt>
                <c:pt idx="4646">
                  <c:v>0.41799999999999998</c:v>
                </c:pt>
                <c:pt idx="4647">
                  <c:v>0.68799999999999994</c:v>
                </c:pt>
                <c:pt idx="4648">
                  <c:v>0.80100000000000005</c:v>
                </c:pt>
                <c:pt idx="4649">
                  <c:v>0.36899999999999999</c:v>
                </c:pt>
                <c:pt idx="4650">
                  <c:v>0.371</c:v>
                </c:pt>
                <c:pt idx="4651">
                  <c:v>0.29699999999999999</c:v>
                </c:pt>
                <c:pt idx="4652">
                  <c:v>0.32700000000000001</c:v>
                </c:pt>
                <c:pt idx="4653">
                  <c:v>0.254</c:v>
                </c:pt>
                <c:pt idx="4654">
                  <c:v>0.88600000000000001</c:v>
                </c:pt>
                <c:pt idx="4655">
                  <c:v>0.57299999999999995</c:v>
                </c:pt>
                <c:pt idx="4656">
                  <c:v>0.73799999999999999</c:v>
                </c:pt>
                <c:pt idx="4657">
                  <c:v>0.63</c:v>
                </c:pt>
                <c:pt idx="4658">
                  <c:v>0.38500000000000001</c:v>
                </c:pt>
                <c:pt idx="4659">
                  <c:v>0.68899999999999995</c:v>
                </c:pt>
                <c:pt idx="4660">
                  <c:v>0.52600000000000002</c:v>
                </c:pt>
                <c:pt idx="4661">
                  <c:v>0.627</c:v>
                </c:pt>
                <c:pt idx="4662">
                  <c:v>0.14599999999999999</c:v>
                </c:pt>
                <c:pt idx="4663">
                  <c:v>0.375</c:v>
                </c:pt>
                <c:pt idx="4664">
                  <c:v>0.44800000000000001</c:v>
                </c:pt>
                <c:pt idx="4665">
                  <c:v>0.52200000000000002</c:v>
                </c:pt>
                <c:pt idx="4666">
                  <c:v>0.748</c:v>
                </c:pt>
                <c:pt idx="4667">
                  <c:v>0.626</c:v>
                </c:pt>
                <c:pt idx="4668">
                  <c:v>0.73</c:v>
                </c:pt>
                <c:pt idx="4669">
                  <c:v>0.504</c:v>
                </c:pt>
                <c:pt idx="4670">
                  <c:v>0.48899999999999999</c:v>
                </c:pt>
                <c:pt idx="4671">
                  <c:v>0.28299999999999997</c:v>
                </c:pt>
                <c:pt idx="4672">
                  <c:v>0.67300000000000004</c:v>
                </c:pt>
                <c:pt idx="4673">
                  <c:v>0.45200000000000001</c:v>
                </c:pt>
                <c:pt idx="4674">
                  <c:v>0.70599999999999996</c:v>
                </c:pt>
                <c:pt idx="4675">
                  <c:v>0.80900000000000005</c:v>
                </c:pt>
                <c:pt idx="4676">
                  <c:v>0.89700000000000002</c:v>
                </c:pt>
                <c:pt idx="4677">
                  <c:v>0.28599999999999998</c:v>
                </c:pt>
                <c:pt idx="4678">
                  <c:v>0.57799999999999996</c:v>
                </c:pt>
                <c:pt idx="4679">
                  <c:v>0.59599999999999997</c:v>
                </c:pt>
                <c:pt idx="4680">
                  <c:v>0.47799999999999998</c:v>
                </c:pt>
                <c:pt idx="4681">
                  <c:v>0.36699999999999999</c:v>
                </c:pt>
                <c:pt idx="4682">
                  <c:v>0.38700000000000001</c:v>
                </c:pt>
                <c:pt idx="4683">
                  <c:v>0.46500000000000002</c:v>
                </c:pt>
                <c:pt idx="4684">
                  <c:v>0.16800000000000001</c:v>
                </c:pt>
                <c:pt idx="4685">
                  <c:v>0.89300000000000002</c:v>
                </c:pt>
                <c:pt idx="4686">
                  <c:v>0.96299999999999997</c:v>
                </c:pt>
                <c:pt idx="4687">
                  <c:v>0.105</c:v>
                </c:pt>
                <c:pt idx="4688">
                  <c:v>0.68500000000000005</c:v>
                </c:pt>
                <c:pt idx="4689">
                  <c:v>0.68200000000000005</c:v>
                </c:pt>
                <c:pt idx="4690">
                  <c:v>0.20300000000000001</c:v>
                </c:pt>
                <c:pt idx="4691">
                  <c:v>0.72399999999999998</c:v>
                </c:pt>
                <c:pt idx="4692">
                  <c:v>0.72199999999999998</c:v>
                </c:pt>
                <c:pt idx="4693">
                  <c:v>0.375</c:v>
                </c:pt>
                <c:pt idx="4694">
                  <c:v>0.67500000000000004</c:v>
                </c:pt>
                <c:pt idx="4695">
                  <c:v>0.127</c:v>
                </c:pt>
                <c:pt idx="4696">
                  <c:v>0.57599999999999996</c:v>
                </c:pt>
                <c:pt idx="4697">
                  <c:v>0.47699999999999998</c:v>
                </c:pt>
                <c:pt idx="4698">
                  <c:v>0.65900000000000003</c:v>
                </c:pt>
                <c:pt idx="4699">
                  <c:v>0.63600000000000001</c:v>
                </c:pt>
                <c:pt idx="4700">
                  <c:v>0.46700000000000003</c:v>
                </c:pt>
                <c:pt idx="4701">
                  <c:v>0.23300000000000001</c:v>
                </c:pt>
                <c:pt idx="4702">
                  <c:v>0.73899999999999999</c:v>
                </c:pt>
                <c:pt idx="4703">
                  <c:v>0.54500000000000004</c:v>
                </c:pt>
                <c:pt idx="4704">
                  <c:v>0.46400000000000002</c:v>
                </c:pt>
                <c:pt idx="4705">
                  <c:v>0.47699999999999998</c:v>
                </c:pt>
                <c:pt idx="4706">
                  <c:v>0.64600000000000002</c:v>
                </c:pt>
                <c:pt idx="4707">
                  <c:v>0.50700000000000001</c:v>
                </c:pt>
                <c:pt idx="4708">
                  <c:v>0.41099999999999998</c:v>
                </c:pt>
                <c:pt idx="4709">
                  <c:v>0.53600000000000003</c:v>
                </c:pt>
                <c:pt idx="4710">
                  <c:v>0.371</c:v>
                </c:pt>
                <c:pt idx="4711">
                  <c:v>0.82199999999999995</c:v>
                </c:pt>
                <c:pt idx="4712">
                  <c:v>0.52500000000000002</c:v>
                </c:pt>
                <c:pt idx="4713">
                  <c:v>0.57099999999999995</c:v>
                </c:pt>
                <c:pt idx="4714">
                  <c:v>0.51200000000000001</c:v>
                </c:pt>
                <c:pt idx="4715">
                  <c:v>0.26800000000000002</c:v>
                </c:pt>
                <c:pt idx="4716">
                  <c:v>0.54400000000000004</c:v>
                </c:pt>
                <c:pt idx="4717">
                  <c:v>0.495</c:v>
                </c:pt>
                <c:pt idx="4718">
                  <c:v>0.186</c:v>
                </c:pt>
                <c:pt idx="4719">
                  <c:v>0.19500000000000001</c:v>
                </c:pt>
                <c:pt idx="4720">
                  <c:v>0.47</c:v>
                </c:pt>
                <c:pt idx="4721">
                  <c:v>0.22600000000000001</c:v>
                </c:pt>
                <c:pt idx="4722">
                  <c:v>0.51300000000000001</c:v>
                </c:pt>
                <c:pt idx="4723">
                  <c:v>0.35</c:v>
                </c:pt>
                <c:pt idx="4724">
                  <c:v>0.50800000000000001</c:v>
                </c:pt>
                <c:pt idx="4725">
                  <c:v>0.73899999999999999</c:v>
                </c:pt>
                <c:pt idx="4726">
                  <c:v>0.379</c:v>
                </c:pt>
                <c:pt idx="4727">
                  <c:v>0.71699999999999997</c:v>
                </c:pt>
                <c:pt idx="4728">
                  <c:v>0.84299999999999997</c:v>
                </c:pt>
                <c:pt idx="4729">
                  <c:v>0.57499999999999996</c:v>
                </c:pt>
                <c:pt idx="4730">
                  <c:v>0.78600000000000003</c:v>
                </c:pt>
                <c:pt idx="4731">
                  <c:v>0.33100000000000002</c:v>
                </c:pt>
                <c:pt idx="4732">
                  <c:v>0.48799999999999999</c:v>
                </c:pt>
                <c:pt idx="4733">
                  <c:v>0.77600000000000002</c:v>
                </c:pt>
                <c:pt idx="4734">
                  <c:v>0.54</c:v>
                </c:pt>
                <c:pt idx="4735">
                  <c:v>0.755</c:v>
                </c:pt>
                <c:pt idx="4736">
                  <c:v>0.5</c:v>
                </c:pt>
                <c:pt idx="4737">
                  <c:v>0.46800000000000003</c:v>
                </c:pt>
                <c:pt idx="4738">
                  <c:v>0.68600000000000005</c:v>
                </c:pt>
                <c:pt idx="4739">
                  <c:v>0.84</c:v>
                </c:pt>
                <c:pt idx="4740">
                  <c:v>0.44800000000000001</c:v>
                </c:pt>
                <c:pt idx="4741">
                  <c:v>0.52700000000000002</c:v>
                </c:pt>
                <c:pt idx="4742">
                  <c:v>0.59299999999999997</c:v>
                </c:pt>
                <c:pt idx="4743">
                  <c:v>0.83499999999999996</c:v>
                </c:pt>
                <c:pt idx="4744">
                  <c:v>0.52500000000000002</c:v>
                </c:pt>
                <c:pt idx="4745">
                  <c:v>0.51100000000000001</c:v>
                </c:pt>
                <c:pt idx="4746">
                  <c:v>0.45500000000000002</c:v>
                </c:pt>
                <c:pt idx="4747">
                  <c:v>0.36399999999999999</c:v>
                </c:pt>
                <c:pt idx="4748">
                  <c:v>0.28999999999999998</c:v>
                </c:pt>
                <c:pt idx="4749">
                  <c:v>0.71799999999999997</c:v>
                </c:pt>
                <c:pt idx="4750">
                  <c:v>0.91300000000000003</c:v>
                </c:pt>
                <c:pt idx="4751">
                  <c:v>0.67400000000000004</c:v>
                </c:pt>
                <c:pt idx="4752">
                  <c:v>0.44900000000000001</c:v>
                </c:pt>
                <c:pt idx="4753">
                  <c:v>0.27400000000000002</c:v>
                </c:pt>
                <c:pt idx="4754">
                  <c:v>0.35499999999999998</c:v>
                </c:pt>
                <c:pt idx="4755">
                  <c:v>0.25700000000000001</c:v>
                </c:pt>
                <c:pt idx="4756">
                  <c:v>0.22</c:v>
                </c:pt>
                <c:pt idx="4757">
                  <c:v>0.161</c:v>
                </c:pt>
                <c:pt idx="4758">
                  <c:v>0.375</c:v>
                </c:pt>
                <c:pt idx="4759">
                  <c:v>0.52200000000000002</c:v>
                </c:pt>
                <c:pt idx="4760">
                  <c:v>0.60199999999999998</c:v>
                </c:pt>
                <c:pt idx="4761">
                  <c:v>0.60699999999999998</c:v>
                </c:pt>
                <c:pt idx="4762">
                  <c:v>0.498</c:v>
                </c:pt>
                <c:pt idx="4763">
                  <c:v>0.63400000000000001</c:v>
                </c:pt>
                <c:pt idx="4764">
                  <c:v>0.66300000000000003</c:v>
                </c:pt>
                <c:pt idx="4765">
                  <c:v>0.77200000000000002</c:v>
                </c:pt>
                <c:pt idx="4766">
                  <c:v>0.71699999999999997</c:v>
                </c:pt>
                <c:pt idx="4767">
                  <c:v>0.86899999999999999</c:v>
                </c:pt>
                <c:pt idx="4768">
                  <c:v>0.27</c:v>
                </c:pt>
                <c:pt idx="4769">
                  <c:v>0.50800000000000001</c:v>
                </c:pt>
                <c:pt idx="4770">
                  <c:v>0.61099999999999999</c:v>
                </c:pt>
                <c:pt idx="4771">
                  <c:v>0.52300000000000002</c:v>
                </c:pt>
                <c:pt idx="4772">
                  <c:v>0.85199999999999998</c:v>
                </c:pt>
                <c:pt idx="4773">
                  <c:v>0.49</c:v>
                </c:pt>
                <c:pt idx="4774">
                  <c:v>0.8</c:v>
                </c:pt>
                <c:pt idx="4775">
                  <c:v>0.48899999999999999</c:v>
                </c:pt>
                <c:pt idx="4776">
                  <c:v>0.60799999999999998</c:v>
                </c:pt>
                <c:pt idx="4777">
                  <c:v>0</c:v>
                </c:pt>
                <c:pt idx="4778">
                  <c:v>0.77</c:v>
                </c:pt>
                <c:pt idx="4779">
                  <c:v>0.86199999999999999</c:v>
                </c:pt>
                <c:pt idx="4780">
                  <c:v>0.70899999999999996</c:v>
                </c:pt>
                <c:pt idx="4781">
                  <c:v>0.60699999999999998</c:v>
                </c:pt>
                <c:pt idx="4782">
                  <c:v>0.372</c:v>
                </c:pt>
                <c:pt idx="4783">
                  <c:v>0.504</c:v>
                </c:pt>
                <c:pt idx="4784">
                  <c:v>0.64900000000000002</c:v>
                </c:pt>
                <c:pt idx="4785">
                  <c:v>0.24299999999999999</c:v>
                </c:pt>
                <c:pt idx="4786">
                  <c:v>0.85299999999999998</c:v>
                </c:pt>
                <c:pt idx="4787">
                  <c:v>0.67900000000000005</c:v>
                </c:pt>
                <c:pt idx="4788">
                  <c:v>0.27400000000000002</c:v>
                </c:pt>
                <c:pt idx="4789">
                  <c:v>0.46200000000000002</c:v>
                </c:pt>
                <c:pt idx="4790">
                  <c:v>0.36099999999999999</c:v>
                </c:pt>
                <c:pt idx="4791">
                  <c:v>0.52</c:v>
                </c:pt>
                <c:pt idx="4792">
                  <c:v>0.41599999999999998</c:v>
                </c:pt>
                <c:pt idx="4793">
                  <c:v>0.62</c:v>
                </c:pt>
                <c:pt idx="4794">
                  <c:v>0.47299999999999998</c:v>
                </c:pt>
                <c:pt idx="4795">
                  <c:v>0.111</c:v>
                </c:pt>
                <c:pt idx="4796">
                  <c:v>0.69499999999999995</c:v>
                </c:pt>
                <c:pt idx="4797">
                  <c:v>0.82899999999999996</c:v>
                </c:pt>
                <c:pt idx="4798">
                  <c:v>0.67300000000000004</c:v>
                </c:pt>
                <c:pt idx="4799">
                  <c:v>0.66500000000000004</c:v>
                </c:pt>
                <c:pt idx="4800">
                  <c:v>0.65700000000000003</c:v>
                </c:pt>
                <c:pt idx="4801">
                  <c:v>0.39900000000000002</c:v>
                </c:pt>
                <c:pt idx="4802">
                  <c:v>0.27600000000000002</c:v>
                </c:pt>
                <c:pt idx="4803">
                  <c:v>0.82</c:v>
                </c:pt>
                <c:pt idx="4804">
                  <c:v>0.91400000000000003</c:v>
                </c:pt>
                <c:pt idx="4805">
                  <c:v>0.67900000000000005</c:v>
                </c:pt>
                <c:pt idx="4806">
                  <c:v>0.68500000000000005</c:v>
                </c:pt>
                <c:pt idx="4807">
                  <c:v>0.16700000000000001</c:v>
                </c:pt>
                <c:pt idx="4808">
                  <c:v>0.63</c:v>
                </c:pt>
                <c:pt idx="4809">
                  <c:v>0.59099999999999997</c:v>
                </c:pt>
                <c:pt idx="4810">
                  <c:v>0.41199999999999998</c:v>
                </c:pt>
                <c:pt idx="4811">
                  <c:v>0.49299999999999999</c:v>
                </c:pt>
                <c:pt idx="4812">
                  <c:v>0.93500000000000005</c:v>
                </c:pt>
                <c:pt idx="4813">
                  <c:v>0.41699999999999998</c:v>
                </c:pt>
                <c:pt idx="4814">
                  <c:v>0.374</c:v>
                </c:pt>
                <c:pt idx="4815">
                  <c:v>0.12</c:v>
                </c:pt>
                <c:pt idx="4816">
                  <c:v>0.52600000000000002</c:v>
                </c:pt>
                <c:pt idx="4817">
                  <c:v>0.70099999999999996</c:v>
                </c:pt>
                <c:pt idx="4818">
                  <c:v>0.20200000000000001</c:v>
                </c:pt>
                <c:pt idx="4819">
                  <c:v>0.51200000000000001</c:v>
                </c:pt>
                <c:pt idx="4820">
                  <c:v>0.44900000000000001</c:v>
                </c:pt>
                <c:pt idx="4821">
                  <c:v>0.314</c:v>
                </c:pt>
                <c:pt idx="4822">
                  <c:v>0.216</c:v>
                </c:pt>
                <c:pt idx="4823">
                  <c:v>0.32600000000000001</c:v>
                </c:pt>
                <c:pt idx="4824">
                  <c:v>0.39700000000000002</c:v>
                </c:pt>
                <c:pt idx="4825">
                  <c:v>0.63900000000000001</c:v>
                </c:pt>
                <c:pt idx="4826">
                  <c:v>9.8000000000000004E-2</c:v>
                </c:pt>
                <c:pt idx="4827">
                  <c:v>0.36499999999999999</c:v>
                </c:pt>
                <c:pt idx="4828">
                  <c:v>0.442</c:v>
                </c:pt>
                <c:pt idx="4829">
                  <c:v>0.35199999999999998</c:v>
                </c:pt>
                <c:pt idx="4830">
                  <c:v>0.46200000000000002</c:v>
                </c:pt>
                <c:pt idx="4831">
                  <c:v>0.14899999999999999</c:v>
                </c:pt>
                <c:pt idx="4832">
                  <c:v>0.35899999999999999</c:v>
                </c:pt>
                <c:pt idx="4833">
                  <c:v>0.629</c:v>
                </c:pt>
                <c:pt idx="4834">
                  <c:v>0.159</c:v>
                </c:pt>
                <c:pt idx="4835">
                  <c:v>0.747</c:v>
                </c:pt>
                <c:pt idx="4836">
                  <c:v>0.64800000000000002</c:v>
                </c:pt>
                <c:pt idx="4837">
                  <c:v>0.11600000000000001</c:v>
                </c:pt>
                <c:pt idx="4838">
                  <c:v>0.22600000000000001</c:v>
                </c:pt>
                <c:pt idx="4839">
                  <c:v>0.129</c:v>
                </c:pt>
                <c:pt idx="4840">
                  <c:v>0.57999999999999996</c:v>
                </c:pt>
                <c:pt idx="4841">
                  <c:v>9.2999999999999999E-2</c:v>
                </c:pt>
                <c:pt idx="4842">
                  <c:v>0.161</c:v>
                </c:pt>
                <c:pt idx="4843">
                  <c:v>0.55900000000000005</c:v>
                </c:pt>
                <c:pt idx="4844">
                  <c:v>0.67400000000000004</c:v>
                </c:pt>
                <c:pt idx="4845">
                  <c:v>0.378</c:v>
                </c:pt>
                <c:pt idx="4846">
                  <c:v>0.35899999999999999</c:v>
                </c:pt>
                <c:pt idx="4847">
                  <c:v>0.41</c:v>
                </c:pt>
                <c:pt idx="4848">
                  <c:v>0.39900000000000002</c:v>
                </c:pt>
                <c:pt idx="4849">
                  <c:v>0.48799999999999999</c:v>
                </c:pt>
                <c:pt idx="4850">
                  <c:v>0.51300000000000001</c:v>
                </c:pt>
                <c:pt idx="4851">
                  <c:v>0.41</c:v>
                </c:pt>
                <c:pt idx="4852">
                  <c:v>0.53700000000000003</c:v>
                </c:pt>
                <c:pt idx="4853">
                  <c:v>0.48099999999999998</c:v>
                </c:pt>
                <c:pt idx="4854">
                  <c:v>0.93700000000000006</c:v>
                </c:pt>
                <c:pt idx="4855">
                  <c:v>0.47499999999999998</c:v>
                </c:pt>
                <c:pt idx="4856">
                  <c:v>0.6</c:v>
                </c:pt>
                <c:pt idx="4857">
                  <c:v>0.89900000000000002</c:v>
                </c:pt>
                <c:pt idx="4858">
                  <c:v>0.53500000000000003</c:v>
                </c:pt>
                <c:pt idx="4859">
                  <c:v>0.59599999999999997</c:v>
                </c:pt>
                <c:pt idx="4860">
                  <c:v>0.67400000000000004</c:v>
                </c:pt>
                <c:pt idx="4861">
                  <c:v>0.35899999999999999</c:v>
                </c:pt>
                <c:pt idx="4862">
                  <c:v>0.33100000000000002</c:v>
                </c:pt>
                <c:pt idx="4863">
                  <c:v>0.247</c:v>
                </c:pt>
                <c:pt idx="4864">
                  <c:v>0.30399999999999999</c:v>
                </c:pt>
                <c:pt idx="4865">
                  <c:v>0.16900000000000001</c:v>
                </c:pt>
                <c:pt idx="4866">
                  <c:v>6.3E-2</c:v>
                </c:pt>
                <c:pt idx="4867">
                  <c:v>0.877</c:v>
                </c:pt>
                <c:pt idx="4868">
                  <c:v>0.90900000000000003</c:v>
                </c:pt>
                <c:pt idx="4869">
                  <c:v>0.54900000000000004</c:v>
                </c:pt>
                <c:pt idx="4870">
                  <c:v>0.47799999999999998</c:v>
                </c:pt>
                <c:pt idx="4871">
                  <c:v>0.70599999999999996</c:v>
                </c:pt>
                <c:pt idx="4872">
                  <c:v>0.745</c:v>
                </c:pt>
                <c:pt idx="4873">
                  <c:v>0.46500000000000002</c:v>
                </c:pt>
                <c:pt idx="4874">
                  <c:v>0.61499999999999999</c:v>
                </c:pt>
                <c:pt idx="4875">
                  <c:v>0.35599999999999998</c:v>
                </c:pt>
                <c:pt idx="4876">
                  <c:v>0.76900000000000002</c:v>
                </c:pt>
                <c:pt idx="4877">
                  <c:v>0.35599999999999998</c:v>
                </c:pt>
                <c:pt idx="4878">
                  <c:v>0.76600000000000001</c:v>
                </c:pt>
                <c:pt idx="4879">
                  <c:v>0.93400000000000005</c:v>
                </c:pt>
                <c:pt idx="4880">
                  <c:v>0.34699999999999998</c:v>
                </c:pt>
                <c:pt idx="4881">
                  <c:v>0.247</c:v>
                </c:pt>
                <c:pt idx="4882">
                  <c:v>0.50900000000000001</c:v>
                </c:pt>
                <c:pt idx="4883">
                  <c:v>0.41299999999999998</c:v>
                </c:pt>
                <c:pt idx="4884">
                  <c:v>0.61299999999999999</c:v>
                </c:pt>
                <c:pt idx="4885">
                  <c:v>0.68</c:v>
                </c:pt>
                <c:pt idx="4886">
                  <c:v>0.46700000000000003</c:v>
                </c:pt>
                <c:pt idx="4887">
                  <c:v>0.76900000000000002</c:v>
                </c:pt>
                <c:pt idx="4888">
                  <c:v>0.39500000000000002</c:v>
                </c:pt>
                <c:pt idx="4889">
                  <c:v>0.41199999999999998</c:v>
                </c:pt>
                <c:pt idx="4890">
                  <c:v>0.52900000000000003</c:v>
                </c:pt>
                <c:pt idx="4891">
                  <c:v>0.14699999999999999</c:v>
                </c:pt>
                <c:pt idx="4892">
                  <c:v>0.19700000000000001</c:v>
                </c:pt>
                <c:pt idx="4893">
                  <c:v>0.42499999999999999</c:v>
                </c:pt>
                <c:pt idx="4894">
                  <c:v>0.35599999999999998</c:v>
                </c:pt>
                <c:pt idx="4895">
                  <c:v>0.71399999999999997</c:v>
                </c:pt>
                <c:pt idx="4896">
                  <c:v>0.441</c:v>
                </c:pt>
                <c:pt idx="4897">
                  <c:v>0.872</c:v>
                </c:pt>
                <c:pt idx="4898">
                  <c:v>0.86399999999999999</c:v>
                </c:pt>
                <c:pt idx="4899">
                  <c:v>0.89</c:v>
                </c:pt>
                <c:pt idx="4900">
                  <c:v>0.29299999999999998</c:v>
                </c:pt>
                <c:pt idx="4901">
                  <c:v>0.60899999999999999</c:v>
                </c:pt>
                <c:pt idx="4902">
                  <c:v>0.3</c:v>
                </c:pt>
                <c:pt idx="4903">
                  <c:v>0.45900000000000002</c:v>
                </c:pt>
                <c:pt idx="4904">
                  <c:v>0.378</c:v>
                </c:pt>
                <c:pt idx="4905">
                  <c:v>0.55600000000000005</c:v>
                </c:pt>
                <c:pt idx="4906">
                  <c:v>0.27</c:v>
                </c:pt>
                <c:pt idx="4907">
                  <c:v>0.63600000000000001</c:v>
                </c:pt>
                <c:pt idx="4908">
                  <c:v>0.68500000000000005</c:v>
                </c:pt>
                <c:pt idx="4909">
                  <c:v>0.33800000000000002</c:v>
                </c:pt>
                <c:pt idx="4910">
                  <c:v>0.42899999999999999</c:v>
                </c:pt>
                <c:pt idx="4911">
                  <c:v>0.84799999999999998</c:v>
                </c:pt>
                <c:pt idx="4912">
                  <c:v>0.44900000000000001</c:v>
                </c:pt>
                <c:pt idx="4913">
                  <c:v>0.374</c:v>
                </c:pt>
                <c:pt idx="4914">
                  <c:v>0.63100000000000001</c:v>
                </c:pt>
                <c:pt idx="4915">
                  <c:v>0.47799999999999998</c:v>
                </c:pt>
                <c:pt idx="4916">
                  <c:v>0.76600000000000001</c:v>
                </c:pt>
                <c:pt idx="4917">
                  <c:v>0.442</c:v>
                </c:pt>
                <c:pt idx="4918">
                  <c:v>0.314</c:v>
                </c:pt>
                <c:pt idx="4919">
                  <c:v>0.28100000000000003</c:v>
                </c:pt>
                <c:pt idx="4920">
                  <c:v>0.65900000000000003</c:v>
                </c:pt>
                <c:pt idx="4921">
                  <c:v>0.34699999999999998</c:v>
                </c:pt>
                <c:pt idx="4922">
                  <c:v>0.52600000000000002</c:v>
                </c:pt>
                <c:pt idx="4923">
                  <c:v>0.58199999999999996</c:v>
                </c:pt>
                <c:pt idx="4924">
                  <c:v>0.379</c:v>
                </c:pt>
                <c:pt idx="4925">
                  <c:v>0.61899999999999999</c:v>
                </c:pt>
                <c:pt idx="4926">
                  <c:v>0.13800000000000001</c:v>
                </c:pt>
                <c:pt idx="4927">
                  <c:v>0.51400000000000001</c:v>
                </c:pt>
                <c:pt idx="4928">
                  <c:v>0.49299999999999999</c:v>
                </c:pt>
                <c:pt idx="4929">
                  <c:v>0.61299999999999999</c:v>
                </c:pt>
                <c:pt idx="4930">
                  <c:v>0.33800000000000002</c:v>
                </c:pt>
                <c:pt idx="4931">
                  <c:v>0.63600000000000001</c:v>
                </c:pt>
                <c:pt idx="4932">
                  <c:v>0.57399999999999995</c:v>
                </c:pt>
                <c:pt idx="4933">
                  <c:v>0.33700000000000002</c:v>
                </c:pt>
                <c:pt idx="4934">
                  <c:v>0.71899999999999997</c:v>
                </c:pt>
                <c:pt idx="4935">
                  <c:v>0.47299999999999998</c:v>
                </c:pt>
                <c:pt idx="4936">
                  <c:v>0.39500000000000002</c:v>
                </c:pt>
                <c:pt idx="4937">
                  <c:v>0.25700000000000001</c:v>
                </c:pt>
                <c:pt idx="4938">
                  <c:v>0.438</c:v>
                </c:pt>
                <c:pt idx="4939">
                  <c:v>0.379</c:v>
                </c:pt>
                <c:pt idx="4940">
                  <c:v>0.47599999999999998</c:v>
                </c:pt>
                <c:pt idx="4941">
                  <c:v>0.75800000000000001</c:v>
                </c:pt>
                <c:pt idx="4942">
                  <c:v>0.86</c:v>
                </c:pt>
                <c:pt idx="4943">
                  <c:v>0.74299999999999999</c:v>
                </c:pt>
                <c:pt idx="4944">
                  <c:v>0.32700000000000001</c:v>
                </c:pt>
                <c:pt idx="4945">
                  <c:v>0.48</c:v>
                </c:pt>
                <c:pt idx="4946">
                  <c:v>0.68400000000000005</c:v>
                </c:pt>
                <c:pt idx="4947">
                  <c:v>0.32200000000000001</c:v>
                </c:pt>
                <c:pt idx="4948">
                  <c:v>0.52500000000000002</c:v>
                </c:pt>
                <c:pt idx="4949">
                  <c:v>0.42099999999999999</c:v>
                </c:pt>
                <c:pt idx="4950">
                  <c:v>0.84099999999999997</c:v>
                </c:pt>
                <c:pt idx="4951">
                  <c:v>0.46800000000000003</c:v>
                </c:pt>
                <c:pt idx="4952">
                  <c:v>0.54500000000000004</c:v>
                </c:pt>
                <c:pt idx="4953">
                  <c:v>0.69699999999999995</c:v>
                </c:pt>
                <c:pt idx="4954">
                  <c:v>0.46600000000000003</c:v>
                </c:pt>
                <c:pt idx="4955">
                  <c:v>0.45700000000000002</c:v>
                </c:pt>
                <c:pt idx="4956">
                  <c:v>0.39</c:v>
                </c:pt>
                <c:pt idx="4957">
                  <c:v>0.45300000000000001</c:v>
                </c:pt>
                <c:pt idx="4958">
                  <c:v>0.92300000000000004</c:v>
                </c:pt>
                <c:pt idx="4959">
                  <c:v>0.33700000000000002</c:v>
                </c:pt>
                <c:pt idx="4960">
                  <c:v>0.50900000000000001</c:v>
                </c:pt>
                <c:pt idx="4961">
                  <c:v>0.40100000000000002</c:v>
                </c:pt>
                <c:pt idx="4962">
                  <c:v>0.439</c:v>
                </c:pt>
                <c:pt idx="4963">
                  <c:v>0.159</c:v>
                </c:pt>
                <c:pt idx="4964">
                  <c:v>0.44500000000000001</c:v>
                </c:pt>
                <c:pt idx="4965">
                  <c:v>0.73399999999999999</c:v>
                </c:pt>
                <c:pt idx="4966">
                  <c:v>0.39500000000000002</c:v>
                </c:pt>
                <c:pt idx="4967">
                  <c:v>0.69299999999999995</c:v>
                </c:pt>
                <c:pt idx="4968">
                  <c:v>0.753</c:v>
                </c:pt>
                <c:pt idx="4969">
                  <c:v>0.22700000000000001</c:v>
                </c:pt>
                <c:pt idx="4970">
                  <c:v>0.66500000000000004</c:v>
                </c:pt>
                <c:pt idx="4971">
                  <c:v>0.10199999999999999</c:v>
                </c:pt>
                <c:pt idx="4972">
                  <c:v>0.378</c:v>
                </c:pt>
                <c:pt idx="4973">
                  <c:v>0.621</c:v>
                </c:pt>
                <c:pt idx="4974">
                  <c:v>0.58399999999999996</c:v>
                </c:pt>
                <c:pt idx="4975">
                  <c:v>0.749</c:v>
                </c:pt>
                <c:pt idx="4976">
                  <c:v>7.6999999999999999E-2</c:v>
                </c:pt>
                <c:pt idx="4977">
                  <c:v>0.41699999999999998</c:v>
                </c:pt>
                <c:pt idx="4978">
                  <c:v>0.83199999999999996</c:v>
                </c:pt>
                <c:pt idx="4979">
                  <c:v>0.64400000000000002</c:v>
                </c:pt>
                <c:pt idx="4980">
                  <c:v>0.94099999999999995</c:v>
                </c:pt>
                <c:pt idx="4981">
                  <c:v>0.3</c:v>
                </c:pt>
                <c:pt idx="4982">
                  <c:v>0.82899999999999996</c:v>
                </c:pt>
                <c:pt idx="4983">
                  <c:v>0.66500000000000004</c:v>
                </c:pt>
                <c:pt idx="4984">
                  <c:v>0.36299999999999999</c:v>
                </c:pt>
                <c:pt idx="4985">
                  <c:v>0.59499999999999997</c:v>
                </c:pt>
                <c:pt idx="4986">
                  <c:v>0.217</c:v>
                </c:pt>
                <c:pt idx="4987">
                  <c:v>0.39900000000000002</c:v>
                </c:pt>
                <c:pt idx="4988">
                  <c:v>0.58199999999999996</c:v>
                </c:pt>
                <c:pt idx="4989">
                  <c:v>0.48899999999999999</c:v>
                </c:pt>
                <c:pt idx="4990">
                  <c:v>0.50800000000000001</c:v>
                </c:pt>
                <c:pt idx="4991">
                  <c:v>0.42</c:v>
                </c:pt>
                <c:pt idx="4992">
                  <c:v>0.63900000000000001</c:v>
                </c:pt>
                <c:pt idx="4993">
                  <c:v>0.59599999999999997</c:v>
                </c:pt>
                <c:pt idx="4994">
                  <c:v>0.90100000000000002</c:v>
                </c:pt>
                <c:pt idx="4995">
                  <c:v>0.25800000000000001</c:v>
                </c:pt>
                <c:pt idx="4996">
                  <c:v>0.501</c:v>
                </c:pt>
                <c:pt idx="4997">
                  <c:v>0.34599999999999997</c:v>
                </c:pt>
                <c:pt idx="4998">
                  <c:v>0.13800000000000001</c:v>
                </c:pt>
                <c:pt idx="4999">
                  <c:v>0.60399999999999998</c:v>
                </c:pt>
                <c:pt idx="5000">
                  <c:v>0.45500000000000002</c:v>
                </c:pt>
                <c:pt idx="5001">
                  <c:v>0.76200000000000001</c:v>
                </c:pt>
                <c:pt idx="5002">
                  <c:v>0.40899999999999997</c:v>
                </c:pt>
                <c:pt idx="5003">
                  <c:v>0.52200000000000002</c:v>
                </c:pt>
                <c:pt idx="5004">
                  <c:v>0.48299999999999998</c:v>
                </c:pt>
                <c:pt idx="5005">
                  <c:v>0.77100000000000002</c:v>
                </c:pt>
                <c:pt idx="5006">
                  <c:v>0.32600000000000001</c:v>
                </c:pt>
                <c:pt idx="5007">
                  <c:v>0.54400000000000004</c:v>
                </c:pt>
                <c:pt idx="5008">
                  <c:v>0.223</c:v>
                </c:pt>
                <c:pt idx="5009">
                  <c:v>0.82799999999999996</c:v>
                </c:pt>
                <c:pt idx="5010">
                  <c:v>0.36299999999999999</c:v>
                </c:pt>
                <c:pt idx="5011">
                  <c:v>0.50600000000000001</c:v>
                </c:pt>
                <c:pt idx="5012">
                  <c:v>7.6999999999999999E-2</c:v>
                </c:pt>
                <c:pt idx="5013">
                  <c:v>0.58799999999999997</c:v>
                </c:pt>
                <c:pt idx="5014">
                  <c:v>0.52</c:v>
                </c:pt>
                <c:pt idx="5015">
                  <c:v>0.69499999999999995</c:v>
                </c:pt>
                <c:pt idx="5016">
                  <c:v>0.61099999999999999</c:v>
                </c:pt>
                <c:pt idx="5017">
                  <c:v>0.78</c:v>
                </c:pt>
                <c:pt idx="5018">
                  <c:v>0.32300000000000001</c:v>
                </c:pt>
                <c:pt idx="5019">
                  <c:v>0.161</c:v>
                </c:pt>
                <c:pt idx="5020">
                  <c:v>0.57899999999999996</c:v>
                </c:pt>
                <c:pt idx="5021">
                  <c:v>0.39200000000000002</c:v>
                </c:pt>
                <c:pt idx="5022">
                  <c:v>0.61699999999999999</c:v>
                </c:pt>
                <c:pt idx="5023">
                  <c:v>0.626</c:v>
                </c:pt>
                <c:pt idx="5024">
                  <c:v>0.33900000000000002</c:v>
                </c:pt>
                <c:pt idx="5025">
                  <c:v>0.40799999999999997</c:v>
                </c:pt>
                <c:pt idx="5026">
                  <c:v>0.49199999999999999</c:v>
                </c:pt>
                <c:pt idx="5027">
                  <c:v>0.68</c:v>
                </c:pt>
                <c:pt idx="5028">
                  <c:v>0.32700000000000001</c:v>
                </c:pt>
                <c:pt idx="5029">
                  <c:v>0.28100000000000003</c:v>
                </c:pt>
                <c:pt idx="5030">
                  <c:v>0.34499999999999997</c:v>
                </c:pt>
                <c:pt idx="5031">
                  <c:v>0.72199999999999998</c:v>
                </c:pt>
                <c:pt idx="5032">
                  <c:v>0.35499999999999998</c:v>
                </c:pt>
                <c:pt idx="5033">
                  <c:v>0.55100000000000005</c:v>
                </c:pt>
                <c:pt idx="5034">
                  <c:v>0.41699999999999998</c:v>
                </c:pt>
                <c:pt idx="5035">
                  <c:v>0.36199999999999999</c:v>
                </c:pt>
                <c:pt idx="5036">
                  <c:v>0.64</c:v>
                </c:pt>
                <c:pt idx="5037">
                  <c:v>0.76700000000000002</c:v>
                </c:pt>
                <c:pt idx="5038">
                  <c:v>0.29499999999999998</c:v>
                </c:pt>
                <c:pt idx="5039">
                  <c:v>0.43099999999999999</c:v>
                </c:pt>
                <c:pt idx="5040">
                  <c:v>0.64</c:v>
                </c:pt>
                <c:pt idx="5041">
                  <c:v>0.36899999999999999</c:v>
                </c:pt>
                <c:pt idx="5042">
                  <c:v>0.5</c:v>
                </c:pt>
                <c:pt idx="5043">
                  <c:v>0.64200000000000002</c:v>
                </c:pt>
                <c:pt idx="5044">
                  <c:v>0.56899999999999995</c:v>
                </c:pt>
                <c:pt idx="5045">
                  <c:v>0.14399999999999999</c:v>
                </c:pt>
                <c:pt idx="5046">
                  <c:v>0.56299999999999994</c:v>
                </c:pt>
                <c:pt idx="5047">
                  <c:v>0.39400000000000002</c:v>
                </c:pt>
                <c:pt idx="5048">
                  <c:v>0.48399999999999999</c:v>
                </c:pt>
                <c:pt idx="5049">
                  <c:v>0.66</c:v>
                </c:pt>
                <c:pt idx="5050">
                  <c:v>0.67700000000000005</c:v>
                </c:pt>
                <c:pt idx="5051">
                  <c:v>0.59299999999999997</c:v>
                </c:pt>
                <c:pt idx="5052">
                  <c:v>0.33600000000000002</c:v>
                </c:pt>
                <c:pt idx="5053">
                  <c:v>0.499</c:v>
                </c:pt>
                <c:pt idx="5054">
                  <c:v>0.434</c:v>
                </c:pt>
                <c:pt idx="5055">
                  <c:v>0.42699999999999999</c:v>
                </c:pt>
                <c:pt idx="5056">
                  <c:v>0.79500000000000004</c:v>
                </c:pt>
                <c:pt idx="5057">
                  <c:v>0.26800000000000002</c:v>
                </c:pt>
                <c:pt idx="5058">
                  <c:v>0.5</c:v>
                </c:pt>
                <c:pt idx="5059">
                  <c:v>0.49299999999999999</c:v>
                </c:pt>
                <c:pt idx="5060">
                  <c:v>0.89600000000000002</c:v>
                </c:pt>
                <c:pt idx="5061">
                  <c:v>0.41399999999999998</c:v>
                </c:pt>
                <c:pt idx="5062">
                  <c:v>0.78200000000000003</c:v>
                </c:pt>
                <c:pt idx="5063">
                  <c:v>0.45300000000000001</c:v>
                </c:pt>
                <c:pt idx="5064">
                  <c:v>0.60399999999999998</c:v>
                </c:pt>
                <c:pt idx="5065">
                  <c:v>0.31900000000000001</c:v>
                </c:pt>
                <c:pt idx="5066">
                  <c:v>0.60399999999999998</c:v>
                </c:pt>
                <c:pt idx="5067">
                  <c:v>0.41299999999999998</c:v>
                </c:pt>
                <c:pt idx="5068">
                  <c:v>0.51</c:v>
                </c:pt>
                <c:pt idx="5069">
                  <c:v>0.38200000000000001</c:v>
                </c:pt>
                <c:pt idx="5070">
                  <c:v>0.45500000000000002</c:v>
                </c:pt>
                <c:pt idx="5071">
                  <c:v>0.46100000000000002</c:v>
                </c:pt>
                <c:pt idx="5072">
                  <c:v>0.22800000000000001</c:v>
                </c:pt>
                <c:pt idx="5073">
                  <c:v>0.44900000000000001</c:v>
                </c:pt>
                <c:pt idx="5074">
                  <c:v>0.47299999999999998</c:v>
                </c:pt>
                <c:pt idx="5075">
                  <c:v>0.46800000000000003</c:v>
                </c:pt>
                <c:pt idx="5076">
                  <c:v>0.51800000000000002</c:v>
                </c:pt>
                <c:pt idx="5077">
                  <c:v>0.77400000000000002</c:v>
                </c:pt>
                <c:pt idx="5078">
                  <c:v>0.48499999999999999</c:v>
                </c:pt>
                <c:pt idx="5079">
                  <c:v>0.53300000000000003</c:v>
                </c:pt>
                <c:pt idx="5080">
                  <c:v>0.67200000000000004</c:v>
                </c:pt>
                <c:pt idx="5081">
                  <c:v>0.76100000000000001</c:v>
                </c:pt>
                <c:pt idx="5082">
                  <c:v>0.41499999999999998</c:v>
                </c:pt>
                <c:pt idx="5083">
                  <c:v>0.58599999999999997</c:v>
                </c:pt>
                <c:pt idx="5084">
                  <c:v>0.70399999999999996</c:v>
                </c:pt>
                <c:pt idx="5085">
                  <c:v>0.48199999999999998</c:v>
                </c:pt>
                <c:pt idx="5086">
                  <c:v>0.65400000000000003</c:v>
                </c:pt>
                <c:pt idx="5087">
                  <c:v>0.92200000000000004</c:v>
                </c:pt>
                <c:pt idx="5088">
                  <c:v>0.35799999999999998</c:v>
                </c:pt>
                <c:pt idx="5089">
                  <c:v>0.57199999999999995</c:v>
                </c:pt>
                <c:pt idx="5090">
                  <c:v>0.67200000000000004</c:v>
                </c:pt>
                <c:pt idx="5091">
                  <c:v>0.81899999999999995</c:v>
                </c:pt>
                <c:pt idx="5092">
                  <c:v>0.89100000000000001</c:v>
                </c:pt>
                <c:pt idx="5093">
                  <c:v>0.625</c:v>
                </c:pt>
                <c:pt idx="5094">
                  <c:v>0.496</c:v>
                </c:pt>
                <c:pt idx="5095">
                  <c:v>0.79300000000000004</c:v>
                </c:pt>
                <c:pt idx="5096">
                  <c:v>0.4</c:v>
                </c:pt>
                <c:pt idx="5097">
                  <c:v>0.50600000000000001</c:v>
                </c:pt>
                <c:pt idx="5098">
                  <c:v>0.255</c:v>
                </c:pt>
                <c:pt idx="5099">
                  <c:v>0.46800000000000003</c:v>
                </c:pt>
                <c:pt idx="5100">
                  <c:v>0.53400000000000003</c:v>
                </c:pt>
                <c:pt idx="5101">
                  <c:v>0.82199999999999995</c:v>
                </c:pt>
                <c:pt idx="5102">
                  <c:v>0.22800000000000001</c:v>
                </c:pt>
                <c:pt idx="5103">
                  <c:v>0.23100000000000001</c:v>
                </c:pt>
                <c:pt idx="5104">
                  <c:v>0.61</c:v>
                </c:pt>
                <c:pt idx="5105">
                  <c:v>0.71799999999999997</c:v>
                </c:pt>
                <c:pt idx="5106">
                  <c:v>0.13100000000000001</c:v>
                </c:pt>
                <c:pt idx="5107">
                  <c:v>0.35499999999999998</c:v>
                </c:pt>
                <c:pt idx="5108">
                  <c:v>0.67700000000000005</c:v>
                </c:pt>
                <c:pt idx="5109">
                  <c:v>0.433</c:v>
                </c:pt>
                <c:pt idx="5110">
                  <c:v>0.55900000000000005</c:v>
                </c:pt>
                <c:pt idx="5111">
                  <c:v>0.309</c:v>
                </c:pt>
                <c:pt idx="5112">
                  <c:v>0.38400000000000001</c:v>
                </c:pt>
                <c:pt idx="5113">
                  <c:v>0.71399999999999997</c:v>
                </c:pt>
                <c:pt idx="5114">
                  <c:v>0.56000000000000005</c:v>
                </c:pt>
                <c:pt idx="5115">
                  <c:v>0.43</c:v>
                </c:pt>
                <c:pt idx="5116">
                  <c:v>0.69099999999999995</c:v>
                </c:pt>
                <c:pt idx="5117">
                  <c:v>0.46500000000000002</c:v>
                </c:pt>
                <c:pt idx="5118">
                  <c:v>0.53800000000000003</c:v>
                </c:pt>
                <c:pt idx="5119">
                  <c:v>0.253</c:v>
                </c:pt>
                <c:pt idx="5120">
                  <c:v>0.45300000000000001</c:v>
                </c:pt>
                <c:pt idx="5121">
                  <c:v>0.89200000000000002</c:v>
                </c:pt>
                <c:pt idx="5122">
                  <c:v>0.42</c:v>
                </c:pt>
                <c:pt idx="5123">
                  <c:v>0.51900000000000002</c:v>
                </c:pt>
                <c:pt idx="5124">
                  <c:v>0.52200000000000002</c:v>
                </c:pt>
                <c:pt idx="5125">
                  <c:v>0.67</c:v>
                </c:pt>
                <c:pt idx="5126">
                  <c:v>0.57399999999999995</c:v>
                </c:pt>
                <c:pt idx="5127">
                  <c:v>0.47099999999999997</c:v>
                </c:pt>
                <c:pt idx="5128">
                  <c:v>0.26100000000000001</c:v>
                </c:pt>
                <c:pt idx="5129">
                  <c:v>0.32300000000000001</c:v>
                </c:pt>
                <c:pt idx="5130">
                  <c:v>0.39500000000000002</c:v>
                </c:pt>
                <c:pt idx="5131">
                  <c:v>0.52900000000000003</c:v>
                </c:pt>
                <c:pt idx="5132">
                  <c:v>0.47</c:v>
                </c:pt>
                <c:pt idx="5133">
                  <c:v>0.505</c:v>
                </c:pt>
                <c:pt idx="5134">
                  <c:v>0.45200000000000001</c:v>
                </c:pt>
                <c:pt idx="5135">
                  <c:v>0.04</c:v>
                </c:pt>
                <c:pt idx="5136">
                  <c:v>0.55300000000000005</c:v>
                </c:pt>
                <c:pt idx="5137">
                  <c:v>0.41699999999999998</c:v>
                </c:pt>
                <c:pt idx="5138">
                  <c:v>0.73199999999999998</c:v>
                </c:pt>
                <c:pt idx="5139">
                  <c:v>0.33500000000000002</c:v>
                </c:pt>
                <c:pt idx="5140">
                  <c:v>0.53700000000000003</c:v>
                </c:pt>
                <c:pt idx="5141">
                  <c:v>0.66700000000000004</c:v>
                </c:pt>
                <c:pt idx="5142">
                  <c:v>0.63900000000000001</c:v>
                </c:pt>
                <c:pt idx="5143">
                  <c:v>0.68899999999999995</c:v>
                </c:pt>
                <c:pt idx="5144">
                  <c:v>0.90300000000000002</c:v>
                </c:pt>
                <c:pt idx="5145">
                  <c:v>7.0000000000000007E-2</c:v>
                </c:pt>
                <c:pt idx="5146">
                  <c:v>0.75900000000000001</c:v>
                </c:pt>
                <c:pt idx="5147">
                  <c:v>0.47299999999999998</c:v>
                </c:pt>
                <c:pt idx="5148">
                  <c:v>0.54300000000000004</c:v>
                </c:pt>
                <c:pt idx="5149">
                  <c:v>0.30499999999999999</c:v>
                </c:pt>
                <c:pt idx="5150">
                  <c:v>0.76</c:v>
                </c:pt>
                <c:pt idx="5151">
                  <c:v>0.86799999999999999</c:v>
                </c:pt>
                <c:pt idx="5152">
                  <c:v>0.97799999999999998</c:v>
                </c:pt>
                <c:pt idx="5153">
                  <c:v>0.13700000000000001</c:v>
                </c:pt>
                <c:pt idx="5154">
                  <c:v>0.182</c:v>
                </c:pt>
                <c:pt idx="5155">
                  <c:v>0.114</c:v>
                </c:pt>
                <c:pt idx="5156">
                  <c:v>0.63700000000000001</c:v>
                </c:pt>
                <c:pt idx="5157">
                  <c:v>0.40100000000000002</c:v>
                </c:pt>
                <c:pt idx="5158">
                  <c:v>0.71099999999999997</c:v>
                </c:pt>
                <c:pt idx="5159">
                  <c:v>0.435</c:v>
                </c:pt>
                <c:pt idx="5160">
                  <c:v>0.434</c:v>
                </c:pt>
                <c:pt idx="5161">
                  <c:v>0.69799999999999995</c:v>
                </c:pt>
                <c:pt idx="5162">
                  <c:v>0.151</c:v>
                </c:pt>
                <c:pt idx="5163">
                  <c:v>0.73799999999999999</c:v>
                </c:pt>
                <c:pt idx="5164">
                  <c:v>0.50700000000000001</c:v>
                </c:pt>
                <c:pt idx="5165">
                  <c:v>0.72499999999999998</c:v>
                </c:pt>
                <c:pt idx="5166">
                  <c:v>0.28399999999999997</c:v>
                </c:pt>
                <c:pt idx="5167">
                  <c:v>0.2</c:v>
                </c:pt>
                <c:pt idx="5168">
                  <c:v>0.315</c:v>
                </c:pt>
                <c:pt idx="5169">
                  <c:v>0.53</c:v>
                </c:pt>
                <c:pt idx="5170">
                  <c:v>0.23400000000000001</c:v>
                </c:pt>
                <c:pt idx="5171">
                  <c:v>0.38900000000000001</c:v>
                </c:pt>
                <c:pt idx="5172">
                  <c:v>0.79500000000000004</c:v>
                </c:pt>
                <c:pt idx="5173">
                  <c:v>0.53800000000000003</c:v>
                </c:pt>
                <c:pt idx="5174">
                  <c:v>0.69299999999999995</c:v>
                </c:pt>
                <c:pt idx="5175">
                  <c:v>0.45</c:v>
                </c:pt>
                <c:pt idx="5176">
                  <c:v>0.33300000000000002</c:v>
                </c:pt>
                <c:pt idx="5177">
                  <c:v>0.38900000000000001</c:v>
                </c:pt>
                <c:pt idx="5178">
                  <c:v>0.48899999999999999</c:v>
                </c:pt>
                <c:pt idx="5179">
                  <c:v>0.34899999999999998</c:v>
                </c:pt>
                <c:pt idx="5180">
                  <c:v>0.61699999999999999</c:v>
                </c:pt>
                <c:pt idx="5181">
                  <c:v>0.307</c:v>
                </c:pt>
                <c:pt idx="5182">
                  <c:v>0.64400000000000002</c:v>
                </c:pt>
                <c:pt idx="5183">
                  <c:v>0.41899999999999998</c:v>
                </c:pt>
                <c:pt idx="5184">
                  <c:v>0.54500000000000004</c:v>
                </c:pt>
                <c:pt idx="5185">
                  <c:v>0.52300000000000002</c:v>
                </c:pt>
                <c:pt idx="5186">
                  <c:v>0.77500000000000002</c:v>
                </c:pt>
                <c:pt idx="5187">
                  <c:v>0.55600000000000005</c:v>
                </c:pt>
                <c:pt idx="5188">
                  <c:v>0.375</c:v>
                </c:pt>
                <c:pt idx="5189">
                  <c:v>0.69299999999999995</c:v>
                </c:pt>
                <c:pt idx="5190">
                  <c:v>0.312</c:v>
                </c:pt>
                <c:pt idx="5191">
                  <c:v>0.55600000000000005</c:v>
                </c:pt>
                <c:pt idx="5192">
                  <c:v>0.748</c:v>
                </c:pt>
                <c:pt idx="5193">
                  <c:v>0.29499999999999998</c:v>
                </c:pt>
                <c:pt idx="5194">
                  <c:v>0.64300000000000002</c:v>
                </c:pt>
                <c:pt idx="5195">
                  <c:v>0.39200000000000002</c:v>
                </c:pt>
                <c:pt idx="5196">
                  <c:v>0.67200000000000004</c:v>
                </c:pt>
                <c:pt idx="5197">
                  <c:v>0.40500000000000003</c:v>
                </c:pt>
                <c:pt idx="5198">
                  <c:v>0.39900000000000002</c:v>
                </c:pt>
                <c:pt idx="5199">
                  <c:v>0.71699999999999997</c:v>
                </c:pt>
                <c:pt idx="5200">
                  <c:v>0.55100000000000005</c:v>
                </c:pt>
                <c:pt idx="5201">
                  <c:v>0.877</c:v>
                </c:pt>
                <c:pt idx="5202">
                  <c:v>0.41199999999999998</c:v>
                </c:pt>
                <c:pt idx="5203">
                  <c:v>0.63300000000000001</c:v>
                </c:pt>
                <c:pt idx="5204">
                  <c:v>0.28599999999999998</c:v>
                </c:pt>
                <c:pt idx="5205">
                  <c:v>0.61299999999999999</c:v>
                </c:pt>
                <c:pt idx="5206">
                  <c:v>0.39700000000000002</c:v>
                </c:pt>
                <c:pt idx="5207">
                  <c:v>0.1</c:v>
                </c:pt>
                <c:pt idx="5208">
                  <c:v>0.223</c:v>
                </c:pt>
                <c:pt idx="5209">
                  <c:v>0.20100000000000001</c:v>
                </c:pt>
                <c:pt idx="5210">
                  <c:v>0.41299999999999998</c:v>
                </c:pt>
                <c:pt idx="5211">
                  <c:v>0.71199999999999997</c:v>
                </c:pt>
                <c:pt idx="5212">
                  <c:v>0.38900000000000001</c:v>
                </c:pt>
                <c:pt idx="5213">
                  <c:v>4.9000000000000002E-2</c:v>
                </c:pt>
                <c:pt idx="5214">
                  <c:v>0.27900000000000003</c:v>
                </c:pt>
                <c:pt idx="5215">
                  <c:v>0.39700000000000002</c:v>
                </c:pt>
                <c:pt idx="5216">
                  <c:v>0.33300000000000002</c:v>
                </c:pt>
                <c:pt idx="5217">
                  <c:v>0.53300000000000003</c:v>
                </c:pt>
                <c:pt idx="5218">
                  <c:v>0.32900000000000001</c:v>
                </c:pt>
                <c:pt idx="5219">
                  <c:v>0.40699999999999997</c:v>
                </c:pt>
                <c:pt idx="5220">
                  <c:v>0.69099999999999995</c:v>
                </c:pt>
                <c:pt idx="5221">
                  <c:v>0.51900000000000002</c:v>
                </c:pt>
                <c:pt idx="5222">
                  <c:v>0.53900000000000003</c:v>
                </c:pt>
                <c:pt idx="5223">
                  <c:v>0.45400000000000001</c:v>
                </c:pt>
                <c:pt idx="5224">
                  <c:v>0.57099999999999995</c:v>
                </c:pt>
                <c:pt idx="5225">
                  <c:v>0.63700000000000001</c:v>
                </c:pt>
                <c:pt idx="5226">
                  <c:v>0.69699999999999995</c:v>
                </c:pt>
                <c:pt idx="5227">
                  <c:v>0.39900000000000002</c:v>
                </c:pt>
                <c:pt idx="5228">
                  <c:v>0.60799999999999998</c:v>
                </c:pt>
                <c:pt idx="5229">
                  <c:v>0.45800000000000002</c:v>
                </c:pt>
                <c:pt idx="5230">
                  <c:v>0.441</c:v>
                </c:pt>
                <c:pt idx="5231">
                  <c:v>0.64900000000000002</c:v>
                </c:pt>
                <c:pt idx="5232">
                  <c:v>0.69299999999999995</c:v>
                </c:pt>
                <c:pt idx="5233">
                  <c:v>0.22</c:v>
                </c:pt>
                <c:pt idx="5234">
                  <c:v>0.41299999999999998</c:v>
                </c:pt>
                <c:pt idx="5235">
                  <c:v>0.31</c:v>
                </c:pt>
                <c:pt idx="5236">
                  <c:v>0.36799999999999999</c:v>
                </c:pt>
                <c:pt idx="5237">
                  <c:v>0.74299999999999999</c:v>
                </c:pt>
                <c:pt idx="5238">
                  <c:v>0.61499999999999999</c:v>
                </c:pt>
                <c:pt idx="5239">
                  <c:v>0.61699999999999999</c:v>
                </c:pt>
                <c:pt idx="5240">
                  <c:v>0.71099999999999997</c:v>
                </c:pt>
                <c:pt idx="5241">
                  <c:v>0.42299999999999999</c:v>
                </c:pt>
                <c:pt idx="5242">
                  <c:v>0.17100000000000001</c:v>
                </c:pt>
                <c:pt idx="5243">
                  <c:v>0.34499999999999997</c:v>
                </c:pt>
                <c:pt idx="5244">
                  <c:v>0.15</c:v>
                </c:pt>
                <c:pt idx="5245">
                  <c:v>0.371</c:v>
                </c:pt>
                <c:pt idx="5246">
                  <c:v>0.24099999999999999</c:v>
                </c:pt>
                <c:pt idx="5247">
                  <c:v>0.312</c:v>
                </c:pt>
                <c:pt idx="5248">
                  <c:v>0.50700000000000001</c:v>
                </c:pt>
                <c:pt idx="5249">
                  <c:v>0.42</c:v>
                </c:pt>
                <c:pt idx="5250">
                  <c:v>0.68600000000000005</c:v>
                </c:pt>
                <c:pt idx="5251">
                  <c:v>0.45900000000000002</c:v>
                </c:pt>
                <c:pt idx="5252">
                  <c:v>0.61699999999999999</c:v>
                </c:pt>
                <c:pt idx="5253">
                  <c:v>0.81699999999999995</c:v>
                </c:pt>
                <c:pt idx="5254">
                  <c:v>0.23</c:v>
                </c:pt>
                <c:pt idx="5255">
                  <c:v>0.40400000000000003</c:v>
                </c:pt>
                <c:pt idx="5256">
                  <c:v>0.24399999999999999</c:v>
                </c:pt>
                <c:pt idx="5257">
                  <c:v>0.67700000000000005</c:v>
                </c:pt>
                <c:pt idx="5258">
                  <c:v>0.56699999999999995</c:v>
                </c:pt>
                <c:pt idx="5259">
                  <c:v>0.33500000000000002</c:v>
                </c:pt>
                <c:pt idx="5260">
                  <c:v>0.503</c:v>
                </c:pt>
                <c:pt idx="5261">
                  <c:v>0.75800000000000001</c:v>
                </c:pt>
                <c:pt idx="5262">
                  <c:v>0.50600000000000001</c:v>
                </c:pt>
                <c:pt idx="5263">
                  <c:v>0.87</c:v>
                </c:pt>
                <c:pt idx="5264">
                  <c:v>0.19600000000000001</c:v>
                </c:pt>
                <c:pt idx="5265">
                  <c:v>0.53500000000000003</c:v>
                </c:pt>
                <c:pt idx="5266">
                  <c:v>0.47899999999999998</c:v>
                </c:pt>
                <c:pt idx="5267">
                  <c:v>0.47</c:v>
                </c:pt>
                <c:pt idx="5268">
                  <c:v>0.25700000000000001</c:v>
                </c:pt>
                <c:pt idx="5269">
                  <c:v>0.42099999999999999</c:v>
                </c:pt>
                <c:pt idx="5270">
                  <c:v>0.39700000000000002</c:v>
                </c:pt>
                <c:pt idx="5271">
                  <c:v>0.63500000000000001</c:v>
                </c:pt>
                <c:pt idx="5272">
                  <c:v>0.307</c:v>
                </c:pt>
                <c:pt idx="5273">
                  <c:v>0.94599999999999995</c:v>
                </c:pt>
                <c:pt idx="5274">
                  <c:v>0.46600000000000003</c:v>
                </c:pt>
                <c:pt idx="5275">
                  <c:v>0.45700000000000002</c:v>
                </c:pt>
                <c:pt idx="5276">
                  <c:v>0.49</c:v>
                </c:pt>
                <c:pt idx="5277">
                  <c:v>0.34300000000000003</c:v>
                </c:pt>
                <c:pt idx="5278">
                  <c:v>0.20599999999999999</c:v>
                </c:pt>
                <c:pt idx="5279">
                  <c:v>0.32700000000000001</c:v>
                </c:pt>
                <c:pt idx="5280">
                  <c:v>0.80300000000000005</c:v>
                </c:pt>
                <c:pt idx="5281">
                  <c:v>0.873</c:v>
                </c:pt>
                <c:pt idx="5282">
                  <c:v>0.14399999999999999</c:v>
                </c:pt>
                <c:pt idx="5283">
                  <c:v>0.56000000000000005</c:v>
                </c:pt>
                <c:pt idx="5284">
                  <c:v>0.125</c:v>
                </c:pt>
                <c:pt idx="5285">
                  <c:v>0.90300000000000002</c:v>
                </c:pt>
                <c:pt idx="5286">
                  <c:v>0.52500000000000002</c:v>
                </c:pt>
                <c:pt idx="5287">
                  <c:v>0.46200000000000002</c:v>
                </c:pt>
                <c:pt idx="5288">
                  <c:v>0.879</c:v>
                </c:pt>
                <c:pt idx="5289">
                  <c:v>0.64800000000000002</c:v>
                </c:pt>
                <c:pt idx="5290">
                  <c:v>0.65500000000000003</c:v>
                </c:pt>
                <c:pt idx="5291">
                  <c:v>0.46700000000000003</c:v>
                </c:pt>
                <c:pt idx="5292">
                  <c:v>0.4</c:v>
                </c:pt>
                <c:pt idx="5293">
                  <c:v>0.746</c:v>
                </c:pt>
                <c:pt idx="5294">
                  <c:v>0.57299999999999995</c:v>
                </c:pt>
                <c:pt idx="5295">
                  <c:v>0.52800000000000002</c:v>
                </c:pt>
                <c:pt idx="5296">
                  <c:v>0.54500000000000004</c:v>
                </c:pt>
                <c:pt idx="5297">
                  <c:v>0.52900000000000003</c:v>
                </c:pt>
                <c:pt idx="5298">
                  <c:v>0.67</c:v>
                </c:pt>
                <c:pt idx="5299">
                  <c:v>0.42</c:v>
                </c:pt>
                <c:pt idx="5300">
                  <c:v>0.46100000000000002</c:v>
                </c:pt>
                <c:pt idx="5301">
                  <c:v>0.35099999999999998</c:v>
                </c:pt>
                <c:pt idx="5302">
                  <c:v>0.77100000000000002</c:v>
                </c:pt>
                <c:pt idx="5303">
                  <c:v>0.57099999999999995</c:v>
                </c:pt>
                <c:pt idx="5304">
                  <c:v>0.51300000000000001</c:v>
                </c:pt>
                <c:pt idx="5305">
                  <c:v>0.12</c:v>
                </c:pt>
                <c:pt idx="5306">
                  <c:v>0.114</c:v>
                </c:pt>
                <c:pt idx="5307">
                  <c:v>0.39200000000000002</c:v>
                </c:pt>
                <c:pt idx="5308">
                  <c:v>0.432</c:v>
                </c:pt>
                <c:pt idx="5309">
                  <c:v>0.41099999999999998</c:v>
                </c:pt>
                <c:pt idx="5310">
                  <c:v>0.27800000000000002</c:v>
                </c:pt>
                <c:pt idx="5311">
                  <c:v>0.55900000000000005</c:v>
                </c:pt>
                <c:pt idx="5312">
                  <c:v>0.624</c:v>
                </c:pt>
                <c:pt idx="5313">
                  <c:v>0.56100000000000005</c:v>
                </c:pt>
                <c:pt idx="5314">
                  <c:v>0.65100000000000002</c:v>
                </c:pt>
                <c:pt idx="5315">
                  <c:v>0.82299999999999995</c:v>
                </c:pt>
                <c:pt idx="5316">
                  <c:v>0.59299999999999997</c:v>
                </c:pt>
                <c:pt idx="5317">
                  <c:v>0.69499999999999995</c:v>
                </c:pt>
                <c:pt idx="5318">
                  <c:v>0.877</c:v>
                </c:pt>
                <c:pt idx="5319">
                  <c:v>0.75600000000000001</c:v>
                </c:pt>
                <c:pt idx="5320">
                  <c:v>0.66400000000000003</c:v>
                </c:pt>
                <c:pt idx="5321">
                  <c:v>0.49</c:v>
                </c:pt>
                <c:pt idx="5322">
                  <c:v>0.57799999999999996</c:v>
                </c:pt>
                <c:pt idx="5323">
                  <c:v>0.70899999999999996</c:v>
                </c:pt>
                <c:pt idx="5324">
                  <c:v>0.66100000000000003</c:v>
                </c:pt>
                <c:pt idx="5325">
                  <c:v>0.46899999999999997</c:v>
                </c:pt>
                <c:pt idx="5326">
                  <c:v>0.36</c:v>
                </c:pt>
                <c:pt idx="5327">
                  <c:v>0.34499999999999997</c:v>
                </c:pt>
                <c:pt idx="5328">
                  <c:v>0.106</c:v>
                </c:pt>
                <c:pt idx="5329">
                  <c:v>0.26200000000000001</c:v>
                </c:pt>
                <c:pt idx="5330">
                  <c:v>0.68200000000000005</c:v>
                </c:pt>
                <c:pt idx="5331">
                  <c:v>0.32200000000000001</c:v>
                </c:pt>
                <c:pt idx="5332">
                  <c:v>0.47099999999999997</c:v>
                </c:pt>
                <c:pt idx="5333">
                  <c:v>0.81899999999999995</c:v>
                </c:pt>
                <c:pt idx="5334">
                  <c:v>0.161</c:v>
                </c:pt>
                <c:pt idx="5335">
                  <c:v>0.29599999999999999</c:v>
                </c:pt>
                <c:pt idx="5336">
                  <c:v>0.432</c:v>
                </c:pt>
                <c:pt idx="5337">
                  <c:v>0.27900000000000003</c:v>
                </c:pt>
                <c:pt idx="5338">
                  <c:v>0.752</c:v>
                </c:pt>
                <c:pt idx="5339">
                  <c:v>0.182</c:v>
                </c:pt>
                <c:pt idx="5340">
                  <c:v>0.29899999999999999</c:v>
                </c:pt>
                <c:pt idx="5341">
                  <c:v>0.14199999999999999</c:v>
                </c:pt>
                <c:pt idx="5342">
                  <c:v>0.27</c:v>
                </c:pt>
                <c:pt idx="5343">
                  <c:v>0.497</c:v>
                </c:pt>
                <c:pt idx="5344">
                  <c:v>0.46899999999999997</c:v>
                </c:pt>
                <c:pt idx="5345">
                  <c:v>0.439</c:v>
                </c:pt>
                <c:pt idx="5346">
                  <c:v>0.505</c:v>
                </c:pt>
                <c:pt idx="5347">
                  <c:v>0.73499999999999999</c:v>
                </c:pt>
                <c:pt idx="5348">
                  <c:v>0.31900000000000001</c:v>
                </c:pt>
                <c:pt idx="5349">
                  <c:v>0.83599999999999997</c:v>
                </c:pt>
                <c:pt idx="5350">
                  <c:v>0.4</c:v>
                </c:pt>
                <c:pt idx="5351">
                  <c:v>0.30399999999999999</c:v>
                </c:pt>
                <c:pt idx="5352">
                  <c:v>0.67</c:v>
                </c:pt>
                <c:pt idx="5353">
                  <c:v>0.32100000000000001</c:v>
                </c:pt>
                <c:pt idx="5354">
                  <c:v>0.65100000000000002</c:v>
                </c:pt>
                <c:pt idx="5355">
                  <c:v>0.85699999999999998</c:v>
                </c:pt>
                <c:pt idx="5356">
                  <c:v>0.42699999999999999</c:v>
                </c:pt>
                <c:pt idx="5357">
                  <c:v>0.40799999999999997</c:v>
                </c:pt>
                <c:pt idx="5358">
                  <c:v>0.46800000000000003</c:v>
                </c:pt>
                <c:pt idx="5359">
                  <c:v>0.67</c:v>
                </c:pt>
                <c:pt idx="5360">
                  <c:v>0.59299999999999997</c:v>
                </c:pt>
                <c:pt idx="5361">
                  <c:v>0.38700000000000001</c:v>
                </c:pt>
                <c:pt idx="5362">
                  <c:v>0.48599999999999999</c:v>
                </c:pt>
                <c:pt idx="5363">
                  <c:v>0.622</c:v>
                </c:pt>
                <c:pt idx="5364">
                  <c:v>5.0999999999999997E-2</c:v>
                </c:pt>
                <c:pt idx="5365">
                  <c:v>0.79100000000000004</c:v>
                </c:pt>
                <c:pt idx="5366">
                  <c:v>0.63900000000000001</c:v>
                </c:pt>
                <c:pt idx="5367">
                  <c:v>0.157</c:v>
                </c:pt>
                <c:pt idx="5368">
                  <c:v>0.27900000000000003</c:v>
                </c:pt>
                <c:pt idx="5369">
                  <c:v>0.51400000000000001</c:v>
                </c:pt>
                <c:pt idx="5370">
                  <c:v>0.49399999999999999</c:v>
                </c:pt>
                <c:pt idx="5371">
                  <c:v>0.56100000000000005</c:v>
                </c:pt>
                <c:pt idx="5372">
                  <c:v>0.74299999999999999</c:v>
                </c:pt>
                <c:pt idx="5373">
                  <c:v>0.36699999999999999</c:v>
                </c:pt>
                <c:pt idx="5374">
                  <c:v>0.84899999999999998</c:v>
                </c:pt>
                <c:pt idx="5375">
                  <c:v>0.91500000000000004</c:v>
                </c:pt>
                <c:pt idx="5376">
                  <c:v>0.41</c:v>
                </c:pt>
                <c:pt idx="5377">
                  <c:v>0.56200000000000006</c:v>
                </c:pt>
                <c:pt idx="5378">
                  <c:v>0.16200000000000001</c:v>
                </c:pt>
                <c:pt idx="5379">
                  <c:v>0.23699999999999999</c:v>
                </c:pt>
                <c:pt idx="5380">
                  <c:v>0.217</c:v>
                </c:pt>
                <c:pt idx="5381">
                  <c:v>0.63600000000000001</c:v>
                </c:pt>
                <c:pt idx="5382">
                  <c:v>0.47399999999999998</c:v>
                </c:pt>
                <c:pt idx="5383">
                  <c:v>0.44600000000000001</c:v>
                </c:pt>
                <c:pt idx="5384">
                  <c:v>0.9</c:v>
                </c:pt>
                <c:pt idx="5385">
                  <c:v>0.81399999999999995</c:v>
                </c:pt>
                <c:pt idx="5386">
                  <c:v>0.49</c:v>
                </c:pt>
                <c:pt idx="5387">
                  <c:v>0.72299999999999998</c:v>
                </c:pt>
                <c:pt idx="5388">
                  <c:v>0.72499999999999998</c:v>
                </c:pt>
                <c:pt idx="5389">
                  <c:v>0.64400000000000002</c:v>
                </c:pt>
                <c:pt idx="5390">
                  <c:v>0.32100000000000001</c:v>
                </c:pt>
                <c:pt idx="5391">
                  <c:v>0.249</c:v>
                </c:pt>
                <c:pt idx="5392">
                  <c:v>0.46800000000000003</c:v>
                </c:pt>
                <c:pt idx="5393">
                  <c:v>0.496</c:v>
                </c:pt>
                <c:pt idx="5394">
                  <c:v>0.45800000000000002</c:v>
                </c:pt>
                <c:pt idx="5395">
                  <c:v>0.52200000000000002</c:v>
                </c:pt>
                <c:pt idx="5396">
                  <c:v>0.315</c:v>
                </c:pt>
                <c:pt idx="5397">
                  <c:v>0.63500000000000001</c:v>
                </c:pt>
                <c:pt idx="5398">
                  <c:v>0.81200000000000006</c:v>
                </c:pt>
                <c:pt idx="5399">
                  <c:v>0.34899999999999998</c:v>
                </c:pt>
                <c:pt idx="5400">
                  <c:v>0.14299999999999999</c:v>
                </c:pt>
                <c:pt idx="5401">
                  <c:v>0.219</c:v>
                </c:pt>
                <c:pt idx="5402">
                  <c:v>0.58099999999999996</c:v>
                </c:pt>
                <c:pt idx="5403">
                  <c:v>0.26600000000000001</c:v>
                </c:pt>
                <c:pt idx="5404">
                  <c:v>0.70099999999999996</c:v>
                </c:pt>
                <c:pt idx="5405">
                  <c:v>0.316</c:v>
                </c:pt>
                <c:pt idx="5406">
                  <c:v>5.5E-2</c:v>
                </c:pt>
                <c:pt idx="5407">
                  <c:v>0.27100000000000002</c:v>
                </c:pt>
                <c:pt idx="5408">
                  <c:v>0.58199999999999996</c:v>
                </c:pt>
                <c:pt idx="5409">
                  <c:v>0.38700000000000001</c:v>
                </c:pt>
                <c:pt idx="5410">
                  <c:v>0.73599999999999999</c:v>
                </c:pt>
                <c:pt idx="5411">
                  <c:v>0.14199999999999999</c:v>
                </c:pt>
                <c:pt idx="5412">
                  <c:v>0.59399999999999997</c:v>
                </c:pt>
                <c:pt idx="5413">
                  <c:v>0.29899999999999999</c:v>
                </c:pt>
                <c:pt idx="5414">
                  <c:v>0.48599999999999999</c:v>
                </c:pt>
                <c:pt idx="5415">
                  <c:v>0.33</c:v>
                </c:pt>
                <c:pt idx="5416">
                  <c:v>0.109</c:v>
                </c:pt>
                <c:pt idx="5417">
                  <c:v>0.60399999999999998</c:v>
                </c:pt>
                <c:pt idx="5418">
                  <c:v>7.6999999999999999E-2</c:v>
                </c:pt>
                <c:pt idx="5419">
                  <c:v>0.60399999999999998</c:v>
                </c:pt>
                <c:pt idx="5420">
                  <c:v>0.93500000000000005</c:v>
                </c:pt>
                <c:pt idx="5421">
                  <c:v>0.72</c:v>
                </c:pt>
                <c:pt idx="5422">
                  <c:v>0.82399999999999995</c:v>
                </c:pt>
                <c:pt idx="5423">
                  <c:v>0.879</c:v>
                </c:pt>
                <c:pt idx="5424">
                  <c:v>0.55100000000000005</c:v>
                </c:pt>
                <c:pt idx="5425">
                  <c:v>0.46700000000000003</c:v>
                </c:pt>
                <c:pt idx="5426">
                  <c:v>0.441</c:v>
                </c:pt>
                <c:pt idx="5427">
                  <c:v>0.47599999999999998</c:v>
                </c:pt>
                <c:pt idx="5428">
                  <c:v>0.88700000000000001</c:v>
                </c:pt>
                <c:pt idx="5429">
                  <c:v>0.70399999999999996</c:v>
                </c:pt>
                <c:pt idx="5430">
                  <c:v>0.47699999999999998</c:v>
                </c:pt>
                <c:pt idx="5431">
                  <c:v>0.36299999999999999</c:v>
                </c:pt>
                <c:pt idx="5432">
                  <c:v>0.83099999999999996</c:v>
                </c:pt>
                <c:pt idx="5433">
                  <c:v>0.72</c:v>
                </c:pt>
                <c:pt idx="5434">
                  <c:v>0.43</c:v>
                </c:pt>
                <c:pt idx="5435">
                  <c:v>0.17</c:v>
                </c:pt>
                <c:pt idx="5436">
                  <c:v>0.48699999999999999</c:v>
                </c:pt>
                <c:pt idx="5437">
                  <c:v>0.64100000000000001</c:v>
                </c:pt>
                <c:pt idx="5438">
                  <c:v>0.313</c:v>
                </c:pt>
                <c:pt idx="5439">
                  <c:v>0.23100000000000001</c:v>
                </c:pt>
                <c:pt idx="5440">
                  <c:v>0.58399999999999996</c:v>
                </c:pt>
                <c:pt idx="5441">
                  <c:v>0.11600000000000001</c:v>
                </c:pt>
                <c:pt idx="5442">
                  <c:v>0.375</c:v>
                </c:pt>
                <c:pt idx="5443">
                  <c:v>0.29399999999999998</c:v>
                </c:pt>
                <c:pt idx="5444">
                  <c:v>0.33200000000000002</c:v>
                </c:pt>
                <c:pt idx="5445">
                  <c:v>0.39400000000000002</c:v>
                </c:pt>
                <c:pt idx="5446">
                  <c:v>0.54500000000000004</c:v>
                </c:pt>
                <c:pt idx="5447">
                  <c:v>8.8999999999999996E-2</c:v>
                </c:pt>
                <c:pt idx="5448">
                  <c:v>0.88200000000000001</c:v>
                </c:pt>
                <c:pt idx="5449">
                  <c:v>0.46</c:v>
                </c:pt>
                <c:pt idx="5450">
                  <c:v>0.77100000000000002</c:v>
                </c:pt>
                <c:pt idx="5451">
                  <c:v>0.55400000000000005</c:v>
                </c:pt>
                <c:pt idx="5452">
                  <c:v>0.54300000000000004</c:v>
                </c:pt>
                <c:pt idx="5453">
                  <c:v>0.41</c:v>
                </c:pt>
                <c:pt idx="5454">
                  <c:v>0.55900000000000005</c:v>
                </c:pt>
                <c:pt idx="5455">
                  <c:v>0.68300000000000005</c:v>
                </c:pt>
                <c:pt idx="5456">
                  <c:v>0.48</c:v>
                </c:pt>
                <c:pt idx="5457">
                  <c:v>0.59</c:v>
                </c:pt>
                <c:pt idx="5458">
                  <c:v>0.64200000000000002</c:v>
                </c:pt>
                <c:pt idx="5459">
                  <c:v>0.36599999999999999</c:v>
                </c:pt>
                <c:pt idx="5460">
                  <c:v>0.129</c:v>
                </c:pt>
                <c:pt idx="5461">
                  <c:v>0.56999999999999995</c:v>
                </c:pt>
                <c:pt idx="5462">
                  <c:v>0.13700000000000001</c:v>
                </c:pt>
                <c:pt idx="5463">
                  <c:v>0.23</c:v>
                </c:pt>
                <c:pt idx="5464">
                  <c:v>0.42199999999999999</c:v>
                </c:pt>
                <c:pt idx="5465">
                  <c:v>0.312</c:v>
                </c:pt>
                <c:pt idx="5466">
                  <c:v>0.65500000000000003</c:v>
                </c:pt>
                <c:pt idx="5467">
                  <c:v>0.40100000000000002</c:v>
                </c:pt>
                <c:pt idx="5468">
                  <c:v>0.49399999999999999</c:v>
                </c:pt>
                <c:pt idx="5469">
                  <c:v>0.56399999999999995</c:v>
                </c:pt>
                <c:pt idx="5470">
                  <c:v>0.26600000000000001</c:v>
                </c:pt>
                <c:pt idx="5471">
                  <c:v>0.752</c:v>
                </c:pt>
                <c:pt idx="5472">
                  <c:v>0.55500000000000005</c:v>
                </c:pt>
                <c:pt idx="5473">
                  <c:v>0.35799999999999998</c:v>
                </c:pt>
                <c:pt idx="5474">
                  <c:v>0.45700000000000002</c:v>
                </c:pt>
                <c:pt idx="5475">
                  <c:v>0.63600000000000001</c:v>
                </c:pt>
                <c:pt idx="5476">
                  <c:v>0.39</c:v>
                </c:pt>
                <c:pt idx="5477">
                  <c:v>0.441</c:v>
                </c:pt>
                <c:pt idx="5478">
                  <c:v>0.191</c:v>
                </c:pt>
                <c:pt idx="5479">
                  <c:v>0.39500000000000002</c:v>
                </c:pt>
                <c:pt idx="5480">
                  <c:v>0.104</c:v>
                </c:pt>
                <c:pt idx="5481">
                  <c:v>0.89300000000000002</c:v>
                </c:pt>
                <c:pt idx="5482">
                  <c:v>0.75800000000000001</c:v>
                </c:pt>
                <c:pt idx="5483">
                  <c:v>0.30599999999999999</c:v>
                </c:pt>
                <c:pt idx="5484">
                  <c:v>0.27500000000000002</c:v>
                </c:pt>
                <c:pt idx="5485">
                  <c:v>0.85599999999999998</c:v>
                </c:pt>
                <c:pt idx="5486">
                  <c:v>0.39900000000000002</c:v>
                </c:pt>
                <c:pt idx="5487">
                  <c:v>0.35099999999999998</c:v>
                </c:pt>
                <c:pt idx="5488">
                  <c:v>0.42599999999999999</c:v>
                </c:pt>
                <c:pt idx="5489">
                  <c:v>0.64100000000000001</c:v>
                </c:pt>
                <c:pt idx="5490">
                  <c:v>0.49</c:v>
                </c:pt>
                <c:pt idx="5491">
                  <c:v>0.73899999999999999</c:v>
                </c:pt>
                <c:pt idx="5492">
                  <c:v>0.42699999999999999</c:v>
                </c:pt>
                <c:pt idx="5493">
                  <c:v>0.79900000000000004</c:v>
                </c:pt>
                <c:pt idx="5494">
                  <c:v>0.32700000000000001</c:v>
                </c:pt>
                <c:pt idx="5495">
                  <c:v>0.68300000000000005</c:v>
                </c:pt>
                <c:pt idx="5496">
                  <c:v>0.33600000000000002</c:v>
                </c:pt>
                <c:pt idx="5497">
                  <c:v>0.505</c:v>
                </c:pt>
                <c:pt idx="5498">
                  <c:v>0.56399999999999995</c:v>
                </c:pt>
                <c:pt idx="5499">
                  <c:v>0.38500000000000001</c:v>
                </c:pt>
                <c:pt idx="5500">
                  <c:v>0.34899999999999998</c:v>
                </c:pt>
                <c:pt idx="5501">
                  <c:v>0.318</c:v>
                </c:pt>
                <c:pt idx="5502">
                  <c:v>0.61499999999999999</c:v>
                </c:pt>
                <c:pt idx="5503">
                  <c:v>0.747</c:v>
                </c:pt>
                <c:pt idx="5504">
                  <c:v>0.218</c:v>
                </c:pt>
                <c:pt idx="5505">
                  <c:v>0.54400000000000004</c:v>
                </c:pt>
                <c:pt idx="5506">
                  <c:v>0.55000000000000004</c:v>
                </c:pt>
                <c:pt idx="5507">
                  <c:v>0.59599999999999997</c:v>
                </c:pt>
                <c:pt idx="5508">
                  <c:v>0.32200000000000001</c:v>
                </c:pt>
                <c:pt idx="5509">
                  <c:v>0.34399999999999997</c:v>
                </c:pt>
                <c:pt idx="5510">
                  <c:v>0.46400000000000002</c:v>
                </c:pt>
                <c:pt idx="5511">
                  <c:v>0.61</c:v>
                </c:pt>
                <c:pt idx="5512">
                  <c:v>0.64200000000000002</c:v>
                </c:pt>
                <c:pt idx="5513">
                  <c:v>0.89700000000000002</c:v>
                </c:pt>
                <c:pt idx="5514">
                  <c:v>0.44500000000000001</c:v>
                </c:pt>
                <c:pt idx="5515">
                  <c:v>0.375</c:v>
                </c:pt>
                <c:pt idx="5516">
                  <c:v>0.442</c:v>
                </c:pt>
                <c:pt idx="5517">
                  <c:v>0.67400000000000004</c:v>
                </c:pt>
                <c:pt idx="5518">
                  <c:v>0.85599999999999998</c:v>
                </c:pt>
                <c:pt idx="5519">
                  <c:v>0.34499999999999997</c:v>
                </c:pt>
                <c:pt idx="5520">
                  <c:v>0.25</c:v>
                </c:pt>
                <c:pt idx="5521">
                  <c:v>0.72299999999999998</c:v>
                </c:pt>
                <c:pt idx="5522">
                  <c:v>0.46400000000000002</c:v>
                </c:pt>
                <c:pt idx="5523">
                  <c:v>0.374</c:v>
                </c:pt>
                <c:pt idx="5524">
                  <c:v>0.247</c:v>
                </c:pt>
                <c:pt idx="5525">
                  <c:v>0.35699999999999998</c:v>
                </c:pt>
                <c:pt idx="5526">
                  <c:v>0.09</c:v>
                </c:pt>
                <c:pt idx="5527">
                  <c:v>0.47299999999999998</c:v>
                </c:pt>
                <c:pt idx="5528">
                  <c:v>0.16700000000000001</c:v>
                </c:pt>
                <c:pt idx="5529">
                  <c:v>0.27700000000000002</c:v>
                </c:pt>
                <c:pt idx="5530">
                  <c:v>0.121</c:v>
                </c:pt>
                <c:pt idx="5531">
                  <c:v>0.26200000000000001</c:v>
                </c:pt>
                <c:pt idx="5532">
                  <c:v>0.316</c:v>
                </c:pt>
                <c:pt idx="5533">
                  <c:v>0.7</c:v>
                </c:pt>
                <c:pt idx="5534">
                  <c:v>0.24199999999999999</c:v>
                </c:pt>
                <c:pt idx="5535">
                  <c:v>0.29499999999999998</c:v>
                </c:pt>
                <c:pt idx="5536">
                  <c:v>0.63900000000000001</c:v>
                </c:pt>
                <c:pt idx="5537">
                  <c:v>0.36299999999999999</c:v>
                </c:pt>
                <c:pt idx="5538">
                  <c:v>0.57299999999999995</c:v>
                </c:pt>
                <c:pt idx="5539">
                  <c:v>0.86</c:v>
                </c:pt>
                <c:pt idx="5540">
                  <c:v>0.53800000000000003</c:v>
                </c:pt>
                <c:pt idx="5541">
                  <c:v>0.182</c:v>
                </c:pt>
                <c:pt idx="5542">
                  <c:v>0.51300000000000001</c:v>
                </c:pt>
                <c:pt idx="5543">
                  <c:v>0.77300000000000002</c:v>
                </c:pt>
                <c:pt idx="5544">
                  <c:v>0.52700000000000002</c:v>
                </c:pt>
                <c:pt idx="5545">
                  <c:v>0.30199999999999999</c:v>
                </c:pt>
                <c:pt idx="5546">
                  <c:v>0.16800000000000001</c:v>
                </c:pt>
                <c:pt idx="5547">
                  <c:v>0.53200000000000003</c:v>
                </c:pt>
                <c:pt idx="5548">
                  <c:v>0.36499999999999999</c:v>
                </c:pt>
                <c:pt idx="5549">
                  <c:v>0.91200000000000003</c:v>
                </c:pt>
                <c:pt idx="5550">
                  <c:v>0.83199999999999996</c:v>
                </c:pt>
                <c:pt idx="5551">
                  <c:v>0.71699999999999997</c:v>
                </c:pt>
                <c:pt idx="5552">
                  <c:v>0.433</c:v>
                </c:pt>
                <c:pt idx="5553">
                  <c:v>0.93300000000000005</c:v>
                </c:pt>
                <c:pt idx="5554">
                  <c:v>0.52200000000000002</c:v>
                </c:pt>
                <c:pt idx="5555">
                  <c:v>0.32200000000000001</c:v>
                </c:pt>
                <c:pt idx="5556">
                  <c:v>0.60399999999999998</c:v>
                </c:pt>
                <c:pt idx="5557">
                  <c:v>0.44600000000000001</c:v>
                </c:pt>
                <c:pt idx="5558">
                  <c:v>0.27200000000000002</c:v>
                </c:pt>
                <c:pt idx="5559">
                  <c:v>0.63600000000000001</c:v>
                </c:pt>
                <c:pt idx="5560">
                  <c:v>0.57099999999999995</c:v>
                </c:pt>
                <c:pt idx="5561">
                  <c:v>0.39500000000000002</c:v>
                </c:pt>
                <c:pt idx="5562">
                  <c:v>0.20100000000000001</c:v>
                </c:pt>
                <c:pt idx="5563">
                  <c:v>0.41299999999999998</c:v>
                </c:pt>
                <c:pt idx="5564">
                  <c:v>0.51600000000000001</c:v>
                </c:pt>
                <c:pt idx="5565">
                  <c:v>0.53300000000000003</c:v>
                </c:pt>
                <c:pt idx="5566">
                  <c:v>0.17</c:v>
                </c:pt>
                <c:pt idx="5567">
                  <c:v>0.253</c:v>
                </c:pt>
                <c:pt idx="5568">
                  <c:v>0.51900000000000002</c:v>
                </c:pt>
                <c:pt idx="5569">
                  <c:v>0.219</c:v>
                </c:pt>
                <c:pt idx="5570">
                  <c:v>0.25700000000000001</c:v>
                </c:pt>
                <c:pt idx="5571">
                  <c:v>0.18099999999999999</c:v>
                </c:pt>
                <c:pt idx="5572">
                  <c:v>0.57399999999999995</c:v>
                </c:pt>
                <c:pt idx="5573">
                  <c:v>0.71899999999999997</c:v>
                </c:pt>
                <c:pt idx="5574">
                  <c:v>0.11</c:v>
                </c:pt>
                <c:pt idx="5575">
                  <c:v>0.44400000000000001</c:v>
                </c:pt>
                <c:pt idx="5576">
                  <c:v>0.49199999999999999</c:v>
                </c:pt>
                <c:pt idx="5577">
                  <c:v>0.23599999999999999</c:v>
                </c:pt>
                <c:pt idx="5578">
                  <c:v>0.624</c:v>
                </c:pt>
                <c:pt idx="5579">
                  <c:v>0.23300000000000001</c:v>
                </c:pt>
                <c:pt idx="5580">
                  <c:v>0.57899999999999996</c:v>
                </c:pt>
                <c:pt idx="5581">
                  <c:v>0.35699999999999998</c:v>
                </c:pt>
                <c:pt idx="5582">
                  <c:v>0.217</c:v>
                </c:pt>
                <c:pt idx="5583">
                  <c:v>0.247</c:v>
                </c:pt>
                <c:pt idx="5584">
                  <c:v>0.48199999999999998</c:v>
                </c:pt>
                <c:pt idx="5585">
                  <c:v>0.38400000000000001</c:v>
                </c:pt>
                <c:pt idx="5586">
                  <c:v>0.27400000000000002</c:v>
                </c:pt>
                <c:pt idx="5587">
                  <c:v>0.23200000000000001</c:v>
                </c:pt>
                <c:pt idx="5588">
                  <c:v>9.6000000000000002E-2</c:v>
                </c:pt>
                <c:pt idx="5589">
                  <c:v>0.65</c:v>
                </c:pt>
                <c:pt idx="5590">
                  <c:v>0.23899999999999999</c:v>
                </c:pt>
                <c:pt idx="5591">
                  <c:v>0.33500000000000002</c:v>
                </c:pt>
                <c:pt idx="5592">
                  <c:v>0.48799999999999999</c:v>
                </c:pt>
                <c:pt idx="5593">
                  <c:v>0.40600000000000003</c:v>
                </c:pt>
                <c:pt idx="5594">
                  <c:v>0.186</c:v>
                </c:pt>
                <c:pt idx="5595">
                  <c:v>0.13100000000000001</c:v>
                </c:pt>
                <c:pt idx="5596">
                  <c:v>0.58299999999999996</c:v>
                </c:pt>
                <c:pt idx="5597">
                  <c:v>0.90700000000000003</c:v>
                </c:pt>
                <c:pt idx="5598">
                  <c:v>0.53500000000000003</c:v>
                </c:pt>
                <c:pt idx="5599">
                  <c:v>0.63300000000000001</c:v>
                </c:pt>
                <c:pt idx="5600">
                  <c:v>0.247</c:v>
                </c:pt>
                <c:pt idx="5601">
                  <c:v>0.377</c:v>
                </c:pt>
                <c:pt idx="5602">
                  <c:v>0.61799999999999999</c:v>
                </c:pt>
                <c:pt idx="5603">
                  <c:v>0.63100000000000001</c:v>
                </c:pt>
                <c:pt idx="5604">
                  <c:v>0.28799999999999998</c:v>
                </c:pt>
                <c:pt idx="5605">
                  <c:v>0.59599999999999997</c:v>
                </c:pt>
                <c:pt idx="5606">
                  <c:v>0.38700000000000001</c:v>
                </c:pt>
                <c:pt idx="5607">
                  <c:v>0.56000000000000005</c:v>
                </c:pt>
                <c:pt idx="5608">
                  <c:v>0.83</c:v>
                </c:pt>
                <c:pt idx="5609">
                  <c:v>0.33300000000000002</c:v>
                </c:pt>
                <c:pt idx="5610">
                  <c:v>0.78800000000000003</c:v>
                </c:pt>
                <c:pt idx="5611">
                  <c:v>0.61599999999999999</c:v>
                </c:pt>
                <c:pt idx="5612">
                  <c:v>0.27100000000000002</c:v>
                </c:pt>
                <c:pt idx="5613">
                  <c:v>0.83899999999999997</c:v>
                </c:pt>
                <c:pt idx="5614">
                  <c:v>0.60599999999999998</c:v>
                </c:pt>
                <c:pt idx="5615">
                  <c:v>9.7000000000000003E-2</c:v>
                </c:pt>
                <c:pt idx="5616">
                  <c:v>0.44</c:v>
                </c:pt>
                <c:pt idx="5617">
                  <c:v>0.35699999999999998</c:v>
                </c:pt>
                <c:pt idx="5618">
                  <c:v>0.623</c:v>
                </c:pt>
                <c:pt idx="5619">
                  <c:v>0.57499999999999996</c:v>
                </c:pt>
                <c:pt idx="5620">
                  <c:v>0.433</c:v>
                </c:pt>
                <c:pt idx="5621">
                  <c:v>0.503</c:v>
                </c:pt>
                <c:pt idx="5622">
                  <c:v>0.75900000000000001</c:v>
                </c:pt>
                <c:pt idx="5623">
                  <c:v>0.40400000000000003</c:v>
                </c:pt>
                <c:pt idx="5624">
                  <c:v>0.65600000000000003</c:v>
                </c:pt>
                <c:pt idx="5625">
                  <c:v>0.50800000000000001</c:v>
                </c:pt>
                <c:pt idx="5626">
                  <c:v>0.41299999999999998</c:v>
                </c:pt>
                <c:pt idx="5627">
                  <c:v>0.27200000000000002</c:v>
                </c:pt>
                <c:pt idx="5628">
                  <c:v>0.19800000000000001</c:v>
                </c:pt>
                <c:pt idx="5629">
                  <c:v>0.29099999999999998</c:v>
                </c:pt>
                <c:pt idx="5630">
                  <c:v>0.28799999999999998</c:v>
                </c:pt>
                <c:pt idx="5631">
                  <c:v>0.22</c:v>
                </c:pt>
                <c:pt idx="5632">
                  <c:v>0.63300000000000001</c:v>
                </c:pt>
                <c:pt idx="5633">
                  <c:v>0.27900000000000003</c:v>
                </c:pt>
                <c:pt idx="5634">
                  <c:v>7.1999999999999995E-2</c:v>
                </c:pt>
                <c:pt idx="5635">
                  <c:v>0.55800000000000005</c:v>
                </c:pt>
                <c:pt idx="5636">
                  <c:v>0.14399999999999999</c:v>
                </c:pt>
                <c:pt idx="5637">
                  <c:v>0.32100000000000001</c:v>
                </c:pt>
                <c:pt idx="5638">
                  <c:v>7.6999999999999999E-2</c:v>
                </c:pt>
                <c:pt idx="5639">
                  <c:v>0.56799999999999995</c:v>
                </c:pt>
                <c:pt idx="5640">
                  <c:v>0.61099999999999999</c:v>
                </c:pt>
                <c:pt idx="5641">
                  <c:v>0.623</c:v>
                </c:pt>
                <c:pt idx="5642">
                  <c:v>0.78900000000000003</c:v>
                </c:pt>
                <c:pt idx="5643">
                  <c:v>8.3000000000000004E-2</c:v>
                </c:pt>
                <c:pt idx="5644">
                  <c:v>0.25800000000000001</c:v>
                </c:pt>
                <c:pt idx="5645">
                  <c:v>0.152</c:v>
                </c:pt>
                <c:pt idx="5646">
                  <c:v>0.69</c:v>
                </c:pt>
                <c:pt idx="5647">
                  <c:v>0.45300000000000001</c:v>
                </c:pt>
                <c:pt idx="5648">
                  <c:v>0.47199999999999998</c:v>
                </c:pt>
                <c:pt idx="5649">
                  <c:v>0.66800000000000004</c:v>
                </c:pt>
                <c:pt idx="5650">
                  <c:v>0.875</c:v>
                </c:pt>
                <c:pt idx="5651">
                  <c:v>0.46600000000000003</c:v>
                </c:pt>
                <c:pt idx="5652">
                  <c:v>0.26700000000000002</c:v>
                </c:pt>
                <c:pt idx="5653">
                  <c:v>0.123</c:v>
                </c:pt>
                <c:pt idx="5654">
                  <c:v>0.69599999999999995</c:v>
                </c:pt>
                <c:pt idx="5655">
                  <c:v>0.50700000000000001</c:v>
                </c:pt>
                <c:pt idx="5656">
                  <c:v>0.39500000000000002</c:v>
                </c:pt>
                <c:pt idx="5657">
                  <c:v>0.48699999999999999</c:v>
                </c:pt>
                <c:pt idx="5658">
                  <c:v>0.50700000000000001</c:v>
                </c:pt>
                <c:pt idx="5659">
                  <c:v>0.30199999999999999</c:v>
                </c:pt>
                <c:pt idx="5660">
                  <c:v>0.39300000000000002</c:v>
                </c:pt>
                <c:pt idx="5661">
                  <c:v>0.32400000000000001</c:v>
                </c:pt>
                <c:pt idx="5662">
                  <c:v>0.70099999999999996</c:v>
                </c:pt>
                <c:pt idx="5663">
                  <c:v>0.36299999999999999</c:v>
                </c:pt>
                <c:pt idx="5664">
                  <c:v>0.218</c:v>
                </c:pt>
                <c:pt idx="5665">
                  <c:v>0.19500000000000001</c:v>
                </c:pt>
                <c:pt idx="5666">
                  <c:v>0.39</c:v>
                </c:pt>
                <c:pt idx="5667">
                  <c:v>0.78400000000000003</c:v>
                </c:pt>
                <c:pt idx="5668">
                  <c:v>0.21199999999999999</c:v>
                </c:pt>
                <c:pt idx="5669">
                  <c:v>0.47299999999999998</c:v>
                </c:pt>
                <c:pt idx="5670">
                  <c:v>0.46400000000000002</c:v>
                </c:pt>
                <c:pt idx="5671">
                  <c:v>0.61699999999999999</c:v>
                </c:pt>
                <c:pt idx="5672">
                  <c:v>0.59899999999999998</c:v>
                </c:pt>
                <c:pt idx="5673">
                  <c:v>0.23300000000000001</c:v>
                </c:pt>
                <c:pt idx="5674">
                  <c:v>0.57399999999999995</c:v>
                </c:pt>
                <c:pt idx="5675">
                  <c:v>0.26500000000000001</c:v>
                </c:pt>
                <c:pt idx="5676">
                  <c:v>0.124</c:v>
                </c:pt>
                <c:pt idx="5677">
                  <c:v>0.72599999999999998</c:v>
                </c:pt>
                <c:pt idx="5678">
                  <c:v>9.0999999999999998E-2</c:v>
                </c:pt>
                <c:pt idx="5679">
                  <c:v>0.58599999999999997</c:v>
                </c:pt>
                <c:pt idx="5680">
                  <c:v>0.50700000000000001</c:v>
                </c:pt>
                <c:pt idx="5681">
                  <c:v>0.374</c:v>
                </c:pt>
                <c:pt idx="5682">
                  <c:v>0.76200000000000001</c:v>
                </c:pt>
                <c:pt idx="5683">
                  <c:v>0.39500000000000002</c:v>
                </c:pt>
                <c:pt idx="5684">
                  <c:v>0.84199999999999997</c:v>
                </c:pt>
                <c:pt idx="5685">
                  <c:v>0.65300000000000002</c:v>
                </c:pt>
                <c:pt idx="5686">
                  <c:v>0.374</c:v>
                </c:pt>
                <c:pt idx="5687">
                  <c:v>0.31900000000000001</c:v>
                </c:pt>
                <c:pt idx="5688">
                  <c:v>0.22700000000000001</c:v>
                </c:pt>
                <c:pt idx="5689">
                  <c:v>0.67300000000000004</c:v>
                </c:pt>
                <c:pt idx="5690">
                  <c:v>0.72899999999999998</c:v>
                </c:pt>
                <c:pt idx="5691">
                  <c:v>0.57499999999999996</c:v>
                </c:pt>
                <c:pt idx="5692">
                  <c:v>0.60599999999999998</c:v>
                </c:pt>
                <c:pt idx="5693">
                  <c:v>0.30299999999999999</c:v>
                </c:pt>
                <c:pt idx="5694">
                  <c:v>0.73199999999999998</c:v>
                </c:pt>
                <c:pt idx="5695">
                  <c:v>0.75900000000000001</c:v>
                </c:pt>
                <c:pt idx="5696">
                  <c:v>0.63100000000000001</c:v>
                </c:pt>
                <c:pt idx="5697">
                  <c:v>0.47899999999999998</c:v>
                </c:pt>
                <c:pt idx="5698">
                  <c:v>0.26700000000000002</c:v>
                </c:pt>
                <c:pt idx="5699">
                  <c:v>0.443</c:v>
                </c:pt>
                <c:pt idx="5700">
                  <c:v>0.70799999999999996</c:v>
                </c:pt>
                <c:pt idx="5701">
                  <c:v>0.58699999999999997</c:v>
                </c:pt>
                <c:pt idx="5702">
                  <c:v>0.51900000000000002</c:v>
                </c:pt>
                <c:pt idx="5703">
                  <c:v>0.23499999999999999</c:v>
                </c:pt>
                <c:pt idx="5704">
                  <c:v>0.70099999999999996</c:v>
                </c:pt>
                <c:pt idx="5705">
                  <c:v>0.107</c:v>
                </c:pt>
                <c:pt idx="5706">
                  <c:v>0.25</c:v>
                </c:pt>
                <c:pt idx="5707">
                  <c:v>8.1000000000000003E-2</c:v>
                </c:pt>
                <c:pt idx="5708">
                  <c:v>0.9</c:v>
                </c:pt>
                <c:pt idx="5709">
                  <c:v>0.50600000000000001</c:v>
                </c:pt>
                <c:pt idx="5710">
                  <c:v>0.40400000000000003</c:v>
                </c:pt>
                <c:pt idx="5711">
                  <c:v>0.48799999999999999</c:v>
                </c:pt>
                <c:pt idx="5712">
                  <c:v>0.55800000000000005</c:v>
                </c:pt>
                <c:pt idx="5713">
                  <c:v>0.69699999999999995</c:v>
                </c:pt>
                <c:pt idx="5714">
                  <c:v>0.67600000000000005</c:v>
                </c:pt>
                <c:pt idx="5715">
                  <c:v>0.67300000000000004</c:v>
                </c:pt>
                <c:pt idx="5716">
                  <c:v>0.51400000000000001</c:v>
                </c:pt>
                <c:pt idx="5717">
                  <c:v>0.88700000000000001</c:v>
                </c:pt>
                <c:pt idx="5718">
                  <c:v>0.92600000000000005</c:v>
                </c:pt>
                <c:pt idx="5719">
                  <c:v>0.67600000000000005</c:v>
                </c:pt>
                <c:pt idx="5720">
                  <c:v>0.26500000000000001</c:v>
                </c:pt>
                <c:pt idx="5721">
                  <c:v>0.11700000000000001</c:v>
                </c:pt>
                <c:pt idx="5722">
                  <c:v>0.38900000000000001</c:v>
                </c:pt>
                <c:pt idx="5723">
                  <c:v>0.46700000000000003</c:v>
                </c:pt>
                <c:pt idx="5724">
                  <c:v>0.154</c:v>
                </c:pt>
                <c:pt idx="5725">
                  <c:v>0.53400000000000003</c:v>
                </c:pt>
                <c:pt idx="5726">
                  <c:v>0.56499999999999995</c:v>
                </c:pt>
                <c:pt idx="5727">
                  <c:v>0.20399999999999999</c:v>
                </c:pt>
                <c:pt idx="5728">
                  <c:v>0.17</c:v>
                </c:pt>
                <c:pt idx="5729">
                  <c:v>0.84599999999999997</c:v>
                </c:pt>
                <c:pt idx="5730">
                  <c:v>0.23400000000000001</c:v>
                </c:pt>
                <c:pt idx="5731">
                  <c:v>0.40699999999999997</c:v>
                </c:pt>
                <c:pt idx="5732">
                  <c:v>0.73299999999999998</c:v>
                </c:pt>
                <c:pt idx="5733">
                  <c:v>0.497</c:v>
                </c:pt>
                <c:pt idx="5734">
                  <c:v>0.55500000000000005</c:v>
                </c:pt>
                <c:pt idx="5735">
                  <c:v>0.36199999999999999</c:v>
                </c:pt>
                <c:pt idx="5736">
                  <c:v>0.65600000000000003</c:v>
                </c:pt>
                <c:pt idx="5737">
                  <c:v>0.29599999999999999</c:v>
                </c:pt>
                <c:pt idx="5738">
                  <c:v>0.65600000000000003</c:v>
                </c:pt>
                <c:pt idx="5739">
                  <c:v>0.16800000000000001</c:v>
                </c:pt>
                <c:pt idx="5740">
                  <c:v>0.218</c:v>
                </c:pt>
                <c:pt idx="5741">
                  <c:v>0.84</c:v>
                </c:pt>
                <c:pt idx="5742">
                  <c:v>0.44700000000000001</c:v>
                </c:pt>
                <c:pt idx="5743">
                  <c:v>0.41399999999999998</c:v>
                </c:pt>
                <c:pt idx="5744">
                  <c:v>0.53400000000000003</c:v>
                </c:pt>
                <c:pt idx="5745">
                  <c:v>0.40799999999999997</c:v>
                </c:pt>
                <c:pt idx="5746">
                  <c:v>0.72299999999999998</c:v>
                </c:pt>
                <c:pt idx="5747">
                  <c:v>0.55400000000000005</c:v>
                </c:pt>
                <c:pt idx="5748">
                  <c:v>3.6999999999999998E-2</c:v>
                </c:pt>
                <c:pt idx="5749">
                  <c:v>0.80700000000000005</c:v>
                </c:pt>
                <c:pt idx="5750">
                  <c:v>0.51700000000000002</c:v>
                </c:pt>
                <c:pt idx="5751">
                  <c:v>0.316</c:v>
                </c:pt>
                <c:pt idx="5752">
                  <c:v>0.81799999999999995</c:v>
                </c:pt>
                <c:pt idx="5753">
                  <c:v>0.59399999999999997</c:v>
                </c:pt>
                <c:pt idx="5754">
                  <c:v>0.47499999999999998</c:v>
                </c:pt>
                <c:pt idx="5755">
                  <c:v>0.93300000000000005</c:v>
                </c:pt>
                <c:pt idx="5756">
                  <c:v>0.626</c:v>
                </c:pt>
                <c:pt idx="5757">
                  <c:v>0.23499999999999999</c:v>
                </c:pt>
                <c:pt idx="5758">
                  <c:v>0.32400000000000001</c:v>
                </c:pt>
                <c:pt idx="5759">
                  <c:v>0.51800000000000002</c:v>
                </c:pt>
                <c:pt idx="5760">
                  <c:v>0.40300000000000002</c:v>
                </c:pt>
                <c:pt idx="5761">
                  <c:v>5.6000000000000001E-2</c:v>
                </c:pt>
                <c:pt idx="5762">
                  <c:v>0.34</c:v>
                </c:pt>
                <c:pt idx="5763">
                  <c:v>0.40699999999999997</c:v>
                </c:pt>
                <c:pt idx="5764">
                  <c:v>0.59299999999999997</c:v>
                </c:pt>
                <c:pt idx="5765">
                  <c:v>0.27800000000000002</c:v>
                </c:pt>
                <c:pt idx="5766">
                  <c:v>0.38100000000000001</c:v>
                </c:pt>
                <c:pt idx="5767">
                  <c:v>0.63100000000000001</c:v>
                </c:pt>
                <c:pt idx="5768">
                  <c:v>0.27200000000000002</c:v>
                </c:pt>
                <c:pt idx="5769">
                  <c:v>0.57299999999999995</c:v>
                </c:pt>
                <c:pt idx="5770">
                  <c:v>0.36499999999999999</c:v>
                </c:pt>
                <c:pt idx="5771">
                  <c:v>0.436</c:v>
                </c:pt>
                <c:pt idx="5772">
                  <c:v>0.71499999999999997</c:v>
                </c:pt>
                <c:pt idx="5773">
                  <c:v>0.89400000000000002</c:v>
                </c:pt>
                <c:pt idx="5774">
                  <c:v>0.30199999999999999</c:v>
                </c:pt>
                <c:pt idx="5775">
                  <c:v>0.26400000000000001</c:v>
                </c:pt>
                <c:pt idx="5776">
                  <c:v>0.69299999999999995</c:v>
                </c:pt>
                <c:pt idx="5777">
                  <c:v>0.56999999999999995</c:v>
                </c:pt>
                <c:pt idx="5778">
                  <c:v>0.318</c:v>
                </c:pt>
                <c:pt idx="5779">
                  <c:v>9.8000000000000004E-2</c:v>
                </c:pt>
                <c:pt idx="5780">
                  <c:v>0</c:v>
                </c:pt>
                <c:pt idx="5781">
                  <c:v>0.27400000000000002</c:v>
                </c:pt>
                <c:pt idx="5782">
                  <c:v>0.29399999999999998</c:v>
                </c:pt>
                <c:pt idx="5783">
                  <c:v>0.66700000000000004</c:v>
                </c:pt>
                <c:pt idx="5784">
                  <c:v>0.109</c:v>
                </c:pt>
                <c:pt idx="5785">
                  <c:v>0.29799999999999999</c:v>
                </c:pt>
                <c:pt idx="5786">
                  <c:v>0.28499999999999998</c:v>
                </c:pt>
                <c:pt idx="5787">
                  <c:v>5.6000000000000001E-2</c:v>
                </c:pt>
                <c:pt idx="5788">
                  <c:v>0.16200000000000001</c:v>
                </c:pt>
                <c:pt idx="5789">
                  <c:v>0.435</c:v>
                </c:pt>
                <c:pt idx="5790">
                  <c:v>0.35</c:v>
                </c:pt>
                <c:pt idx="5791">
                  <c:v>0.64800000000000002</c:v>
                </c:pt>
                <c:pt idx="5792">
                  <c:v>0.44</c:v>
                </c:pt>
                <c:pt idx="5793">
                  <c:v>0.20799999999999999</c:v>
                </c:pt>
                <c:pt idx="5794">
                  <c:v>0.58399999999999996</c:v>
                </c:pt>
                <c:pt idx="5795">
                  <c:v>0.113</c:v>
                </c:pt>
                <c:pt idx="5796">
                  <c:v>0.749</c:v>
                </c:pt>
                <c:pt idx="5797">
                  <c:v>0.442</c:v>
                </c:pt>
                <c:pt idx="5798">
                  <c:v>0.46</c:v>
                </c:pt>
                <c:pt idx="5799">
                  <c:v>0.255</c:v>
                </c:pt>
                <c:pt idx="5800">
                  <c:v>0.71399999999999997</c:v>
                </c:pt>
                <c:pt idx="5801">
                  <c:v>0.78900000000000003</c:v>
                </c:pt>
                <c:pt idx="5802">
                  <c:v>0.77</c:v>
                </c:pt>
                <c:pt idx="5803">
                  <c:v>0.28299999999999997</c:v>
                </c:pt>
                <c:pt idx="5804">
                  <c:v>0.27100000000000002</c:v>
                </c:pt>
                <c:pt idx="5805">
                  <c:v>0.78200000000000003</c:v>
                </c:pt>
                <c:pt idx="5806">
                  <c:v>0.54400000000000004</c:v>
                </c:pt>
                <c:pt idx="5807">
                  <c:v>0.58199999999999996</c:v>
                </c:pt>
                <c:pt idx="5808">
                  <c:v>0.11899999999999999</c:v>
                </c:pt>
                <c:pt idx="5809">
                  <c:v>0.32700000000000001</c:v>
                </c:pt>
                <c:pt idx="5810">
                  <c:v>0.56599999999999995</c:v>
                </c:pt>
                <c:pt idx="5811">
                  <c:v>0.17899999999999999</c:v>
                </c:pt>
                <c:pt idx="5812">
                  <c:v>0.94299999999999995</c:v>
                </c:pt>
                <c:pt idx="5813">
                  <c:v>0.48299999999999998</c:v>
                </c:pt>
                <c:pt idx="5814">
                  <c:v>0.254</c:v>
                </c:pt>
                <c:pt idx="5815">
                  <c:v>0.40899999999999997</c:v>
                </c:pt>
                <c:pt idx="5816">
                  <c:v>0.53600000000000003</c:v>
                </c:pt>
                <c:pt idx="5817">
                  <c:v>0.53200000000000003</c:v>
                </c:pt>
                <c:pt idx="5818">
                  <c:v>0.84299999999999997</c:v>
                </c:pt>
                <c:pt idx="5819">
                  <c:v>0.5</c:v>
                </c:pt>
                <c:pt idx="5820">
                  <c:v>0.56100000000000005</c:v>
                </c:pt>
                <c:pt idx="5821">
                  <c:v>0.41</c:v>
                </c:pt>
                <c:pt idx="5822">
                  <c:v>0.57099999999999995</c:v>
                </c:pt>
                <c:pt idx="5823">
                  <c:v>0.216</c:v>
                </c:pt>
                <c:pt idx="5824">
                  <c:v>0.70599999999999996</c:v>
                </c:pt>
                <c:pt idx="5825">
                  <c:v>9.4E-2</c:v>
                </c:pt>
                <c:pt idx="5826">
                  <c:v>0.64600000000000002</c:v>
                </c:pt>
                <c:pt idx="5827">
                  <c:v>0.34799999999999998</c:v>
                </c:pt>
                <c:pt idx="5828">
                  <c:v>0.81100000000000005</c:v>
                </c:pt>
                <c:pt idx="5829">
                  <c:v>0.27900000000000003</c:v>
                </c:pt>
                <c:pt idx="5830">
                  <c:v>0.434</c:v>
                </c:pt>
                <c:pt idx="5831">
                  <c:v>0.5</c:v>
                </c:pt>
                <c:pt idx="5832">
                  <c:v>0.20699999999999999</c:v>
                </c:pt>
                <c:pt idx="5833">
                  <c:v>0.54</c:v>
                </c:pt>
                <c:pt idx="5834">
                  <c:v>0.58399999999999996</c:v>
                </c:pt>
                <c:pt idx="5835">
                  <c:v>0.42099999999999999</c:v>
                </c:pt>
                <c:pt idx="5836">
                  <c:v>0.315</c:v>
                </c:pt>
                <c:pt idx="5837">
                  <c:v>0.623</c:v>
                </c:pt>
                <c:pt idx="5838">
                  <c:v>0.56000000000000005</c:v>
                </c:pt>
                <c:pt idx="5839">
                  <c:v>0.84799999999999998</c:v>
                </c:pt>
                <c:pt idx="5840">
                  <c:v>0.16</c:v>
                </c:pt>
                <c:pt idx="5841">
                  <c:v>0.42899999999999999</c:v>
                </c:pt>
                <c:pt idx="5842">
                  <c:v>0.40600000000000003</c:v>
                </c:pt>
                <c:pt idx="5843">
                  <c:v>0.40200000000000002</c:v>
                </c:pt>
                <c:pt idx="5844">
                  <c:v>0.23400000000000001</c:v>
                </c:pt>
                <c:pt idx="5845">
                  <c:v>0.91500000000000004</c:v>
                </c:pt>
                <c:pt idx="5846">
                  <c:v>0.61799999999999999</c:v>
                </c:pt>
                <c:pt idx="5847">
                  <c:v>0.73799999999999999</c:v>
                </c:pt>
                <c:pt idx="5848">
                  <c:v>0.52800000000000002</c:v>
                </c:pt>
                <c:pt idx="5849">
                  <c:v>0.38100000000000001</c:v>
                </c:pt>
                <c:pt idx="5850">
                  <c:v>0.39400000000000002</c:v>
                </c:pt>
                <c:pt idx="5851">
                  <c:v>0.154</c:v>
                </c:pt>
                <c:pt idx="5852">
                  <c:v>0.51900000000000002</c:v>
                </c:pt>
                <c:pt idx="5853">
                  <c:v>0.34599999999999997</c:v>
                </c:pt>
                <c:pt idx="5854">
                  <c:v>0.58699999999999997</c:v>
                </c:pt>
                <c:pt idx="5855">
                  <c:v>0.55100000000000005</c:v>
                </c:pt>
                <c:pt idx="5856">
                  <c:v>0.56200000000000006</c:v>
                </c:pt>
                <c:pt idx="5857">
                  <c:v>0.24299999999999999</c:v>
                </c:pt>
                <c:pt idx="5858">
                  <c:v>0.40899999999999997</c:v>
                </c:pt>
                <c:pt idx="5859">
                  <c:v>0.88900000000000001</c:v>
                </c:pt>
                <c:pt idx="5860">
                  <c:v>0.71299999999999997</c:v>
                </c:pt>
                <c:pt idx="5861">
                  <c:v>0.192</c:v>
                </c:pt>
                <c:pt idx="5862">
                  <c:v>0.42</c:v>
                </c:pt>
                <c:pt idx="5863">
                  <c:v>0.48</c:v>
                </c:pt>
                <c:pt idx="5864">
                  <c:v>0.436</c:v>
                </c:pt>
                <c:pt idx="5865">
                  <c:v>0.24299999999999999</c:v>
                </c:pt>
                <c:pt idx="5866">
                  <c:v>0.32100000000000001</c:v>
                </c:pt>
                <c:pt idx="5867">
                  <c:v>0.11600000000000001</c:v>
                </c:pt>
                <c:pt idx="5868">
                  <c:v>0.375</c:v>
                </c:pt>
                <c:pt idx="5869">
                  <c:v>0.58399999999999996</c:v>
                </c:pt>
                <c:pt idx="5870">
                  <c:v>0.52200000000000002</c:v>
                </c:pt>
                <c:pt idx="5871">
                  <c:v>0.59</c:v>
                </c:pt>
                <c:pt idx="5872">
                  <c:v>0.14899999999999999</c:v>
                </c:pt>
                <c:pt idx="5873">
                  <c:v>0.23400000000000001</c:v>
                </c:pt>
                <c:pt idx="5874">
                  <c:v>0.497</c:v>
                </c:pt>
                <c:pt idx="5875">
                  <c:v>0.623</c:v>
                </c:pt>
                <c:pt idx="5876">
                  <c:v>0.30499999999999999</c:v>
                </c:pt>
                <c:pt idx="5877">
                  <c:v>0.188</c:v>
                </c:pt>
                <c:pt idx="5878">
                  <c:v>0.03</c:v>
                </c:pt>
                <c:pt idx="5879">
                  <c:v>0.39300000000000002</c:v>
                </c:pt>
                <c:pt idx="5880">
                  <c:v>4.9000000000000002E-2</c:v>
                </c:pt>
                <c:pt idx="5881">
                  <c:v>0.41</c:v>
                </c:pt>
                <c:pt idx="5882">
                  <c:v>0.13900000000000001</c:v>
                </c:pt>
                <c:pt idx="5883">
                  <c:v>0.56100000000000005</c:v>
                </c:pt>
                <c:pt idx="5884">
                  <c:v>0.48299999999999998</c:v>
                </c:pt>
                <c:pt idx="5885">
                  <c:v>0.72199999999999998</c:v>
                </c:pt>
                <c:pt idx="5886">
                  <c:v>0.13700000000000001</c:v>
                </c:pt>
                <c:pt idx="5887">
                  <c:v>0.53500000000000003</c:v>
                </c:pt>
                <c:pt idx="5888">
                  <c:v>0.37</c:v>
                </c:pt>
                <c:pt idx="5889">
                  <c:v>0.55600000000000005</c:v>
                </c:pt>
                <c:pt idx="5890">
                  <c:v>0.36499999999999999</c:v>
                </c:pt>
                <c:pt idx="5891">
                  <c:v>0.36</c:v>
                </c:pt>
                <c:pt idx="5892">
                  <c:v>0.44800000000000001</c:v>
                </c:pt>
                <c:pt idx="5893">
                  <c:v>0.51900000000000002</c:v>
                </c:pt>
                <c:pt idx="5894">
                  <c:v>0.152</c:v>
                </c:pt>
                <c:pt idx="5895">
                  <c:v>0.27500000000000002</c:v>
                </c:pt>
                <c:pt idx="5896">
                  <c:v>0.35599999999999998</c:v>
                </c:pt>
                <c:pt idx="5897">
                  <c:v>0.78800000000000003</c:v>
                </c:pt>
                <c:pt idx="5898">
                  <c:v>0.31</c:v>
                </c:pt>
                <c:pt idx="5899">
                  <c:v>0.68</c:v>
                </c:pt>
                <c:pt idx="5900">
                  <c:v>0.42599999999999999</c:v>
                </c:pt>
                <c:pt idx="5901">
                  <c:v>0.32600000000000001</c:v>
                </c:pt>
                <c:pt idx="5902">
                  <c:v>0.66100000000000003</c:v>
                </c:pt>
                <c:pt idx="5903">
                  <c:v>0.495</c:v>
                </c:pt>
                <c:pt idx="5904">
                  <c:v>0.45500000000000002</c:v>
                </c:pt>
                <c:pt idx="5905">
                  <c:v>0.41199999999999998</c:v>
                </c:pt>
                <c:pt idx="5906">
                  <c:v>0.108</c:v>
                </c:pt>
                <c:pt idx="5907">
                  <c:v>0.315</c:v>
                </c:pt>
                <c:pt idx="5908">
                  <c:v>0.505</c:v>
                </c:pt>
                <c:pt idx="5909">
                  <c:v>0.41099999999999998</c:v>
                </c:pt>
                <c:pt idx="5910">
                  <c:v>0.108</c:v>
                </c:pt>
                <c:pt idx="5911">
                  <c:v>0.32500000000000001</c:v>
                </c:pt>
                <c:pt idx="5912">
                  <c:v>0.73599999999999999</c:v>
                </c:pt>
                <c:pt idx="5913">
                  <c:v>0.495</c:v>
                </c:pt>
                <c:pt idx="5914">
                  <c:v>0.28899999999999998</c:v>
                </c:pt>
                <c:pt idx="5915">
                  <c:v>0.441</c:v>
                </c:pt>
                <c:pt idx="5916">
                  <c:v>0.76100000000000001</c:v>
                </c:pt>
                <c:pt idx="5917">
                  <c:v>0.5</c:v>
                </c:pt>
                <c:pt idx="5918">
                  <c:v>0.21</c:v>
                </c:pt>
                <c:pt idx="5919">
                  <c:v>0.27600000000000002</c:v>
                </c:pt>
                <c:pt idx="5920">
                  <c:v>0.34300000000000003</c:v>
                </c:pt>
                <c:pt idx="5921">
                  <c:v>0.29799999999999999</c:v>
                </c:pt>
                <c:pt idx="5922">
                  <c:v>0.52900000000000003</c:v>
                </c:pt>
                <c:pt idx="5923">
                  <c:v>0.107</c:v>
                </c:pt>
                <c:pt idx="5924">
                  <c:v>0.315</c:v>
                </c:pt>
                <c:pt idx="5925">
                  <c:v>0.216</c:v>
                </c:pt>
                <c:pt idx="5926">
                  <c:v>0.46700000000000003</c:v>
                </c:pt>
                <c:pt idx="5927">
                  <c:v>5.3999999999999999E-2</c:v>
                </c:pt>
                <c:pt idx="5928">
                  <c:v>0.27600000000000002</c:v>
                </c:pt>
                <c:pt idx="5929">
                  <c:v>0.60399999999999998</c:v>
                </c:pt>
                <c:pt idx="5930">
                  <c:v>0.65600000000000003</c:v>
                </c:pt>
                <c:pt idx="5931">
                  <c:v>0.376</c:v>
                </c:pt>
                <c:pt idx="5932">
                  <c:v>0.84799999999999998</c:v>
                </c:pt>
                <c:pt idx="5933">
                  <c:v>0.47699999999999998</c:v>
                </c:pt>
                <c:pt idx="5934">
                  <c:v>0.35</c:v>
                </c:pt>
                <c:pt idx="5935">
                  <c:v>0.36199999999999999</c:v>
                </c:pt>
                <c:pt idx="5936">
                  <c:v>0.53</c:v>
                </c:pt>
                <c:pt idx="5937">
                  <c:v>0.14799999999999999</c:v>
                </c:pt>
                <c:pt idx="5938">
                  <c:v>0.65800000000000003</c:v>
                </c:pt>
                <c:pt idx="5939">
                  <c:v>0.157</c:v>
                </c:pt>
                <c:pt idx="5940">
                  <c:v>0.435</c:v>
                </c:pt>
                <c:pt idx="5941">
                  <c:v>0.29299999999999998</c:v>
                </c:pt>
                <c:pt idx="5942">
                  <c:v>5.3999999999999999E-2</c:v>
                </c:pt>
                <c:pt idx="5943">
                  <c:v>0.158</c:v>
                </c:pt>
                <c:pt idx="5944">
                  <c:v>0.49099999999999999</c:v>
                </c:pt>
                <c:pt idx="5945">
                  <c:v>0.19500000000000001</c:v>
                </c:pt>
                <c:pt idx="5946">
                  <c:v>0.253</c:v>
                </c:pt>
                <c:pt idx="5947">
                  <c:v>0.51200000000000001</c:v>
                </c:pt>
                <c:pt idx="5948">
                  <c:v>0.29899999999999999</c:v>
                </c:pt>
                <c:pt idx="5949">
                  <c:v>0.58899999999999997</c:v>
                </c:pt>
                <c:pt idx="5950">
                  <c:v>0.66</c:v>
                </c:pt>
                <c:pt idx="5951">
                  <c:v>0.27600000000000002</c:v>
                </c:pt>
                <c:pt idx="5952">
                  <c:v>0.69099999999999995</c:v>
                </c:pt>
                <c:pt idx="5953">
                  <c:v>0.184</c:v>
                </c:pt>
                <c:pt idx="5954">
                  <c:v>0.59</c:v>
                </c:pt>
                <c:pt idx="5955">
                  <c:v>0.52900000000000003</c:v>
                </c:pt>
                <c:pt idx="5956">
                  <c:v>0.59199999999999997</c:v>
                </c:pt>
                <c:pt idx="5957">
                  <c:v>0.59299999999999997</c:v>
                </c:pt>
                <c:pt idx="5958">
                  <c:v>0.19</c:v>
                </c:pt>
                <c:pt idx="5959">
                  <c:v>0.436</c:v>
                </c:pt>
                <c:pt idx="5960">
                  <c:v>0.217</c:v>
                </c:pt>
                <c:pt idx="5961">
                  <c:v>0.498</c:v>
                </c:pt>
                <c:pt idx="5962">
                  <c:v>0.11600000000000001</c:v>
                </c:pt>
                <c:pt idx="5963">
                  <c:v>0.53100000000000003</c:v>
                </c:pt>
                <c:pt idx="5964">
                  <c:v>0.27</c:v>
                </c:pt>
                <c:pt idx="5965">
                  <c:v>9.9000000000000005E-2</c:v>
                </c:pt>
                <c:pt idx="5966">
                  <c:v>0.63</c:v>
                </c:pt>
                <c:pt idx="5967">
                  <c:v>0.41899999999999998</c:v>
                </c:pt>
                <c:pt idx="5968">
                  <c:v>0.79</c:v>
                </c:pt>
                <c:pt idx="5969">
                  <c:v>0.57299999999999995</c:v>
                </c:pt>
                <c:pt idx="5970">
                  <c:v>0.78400000000000003</c:v>
                </c:pt>
                <c:pt idx="5971">
                  <c:v>0.25</c:v>
                </c:pt>
                <c:pt idx="5972">
                  <c:v>0.26700000000000002</c:v>
                </c:pt>
                <c:pt idx="5973">
                  <c:v>0.39300000000000002</c:v>
                </c:pt>
                <c:pt idx="5974">
                  <c:v>0.80600000000000005</c:v>
                </c:pt>
                <c:pt idx="5975">
                  <c:v>0.153</c:v>
                </c:pt>
                <c:pt idx="5976">
                  <c:v>0.25900000000000001</c:v>
                </c:pt>
                <c:pt idx="5977">
                  <c:v>0.16900000000000001</c:v>
                </c:pt>
                <c:pt idx="5978">
                  <c:v>0.33100000000000002</c:v>
                </c:pt>
                <c:pt idx="5979">
                  <c:v>0.3</c:v>
                </c:pt>
                <c:pt idx="5980">
                  <c:v>0.10299999999999999</c:v>
                </c:pt>
                <c:pt idx="5981">
                  <c:v>9.5000000000000001E-2</c:v>
                </c:pt>
                <c:pt idx="5982">
                  <c:v>0.74099999999999999</c:v>
                </c:pt>
                <c:pt idx="5983">
                  <c:v>0.48099999999999998</c:v>
                </c:pt>
                <c:pt idx="5984">
                  <c:v>0.873</c:v>
                </c:pt>
                <c:pt idx="5985">
                  <c:v>0.751</c:v>
                </c:pt>
                <c:pt idx="5986">
                  <c:v>0.433</c:v>
                </c:pt>
                <c:pt idx="5987">
                  <c:v>0.21199999999999999</c:v>
                </c:pt>
                <c:pt idx="5988">
                  <c:v>0.23599999999999999</c:v>
                </c:pt>
                <c:pt idx="5989">
                  <c:v>0.61</c:v>
                </c:pt>
                <c:pt idx="5990">
                  <c:v>0.36</c:v>
                </c:pt>
                <c:pt idx="5991">
                  <c:v>0.26200000000000001</c:v>
                </c:pt>
                <c:pt idx="5992">
                  <c:v>0.41599999999999998</c:v>
                </c:pt>
                <c:pt idx="5993">
                  <c:v>0.41199999999999998</c:v>
                </c:pt>
                <c:pt idx="5994">
                  <c:v>0.22700000000000001</c:v>
                </c:pt>
                <c:pt idx="5995">
                  <c:v>0.29199999999999998</c:v>
                </c:pt>
                <c:pt idx="5996">
                  <c:v>0.74199999999999999</c:v>
                </c:pt>
                <c:pt idx="5997">
                  <c:v>6.3E-2</c:v>
                </c:pt>
                <c:pt idx="5998">
                  <c:v>0.436</c:v>
                </c:pt>
                <c:pt idx="5999">
                  <c:v>0.122</c:v>
                </c:pt>
                <c:pt idx="6000">
                  <c:v>0.375</c:v>
                </c:pt>
                <c:pt idx="6001">
                  <c:v>0.26900000000000002</c:v>
                </c:pt>
                <c:pt idx="6002">
                  <c:v>0.28999999999999998</c:v>
                </c:pt>
                <c:pt idx="6003">
                  <c:v>0.81399999999999995</c:v>
                </c:pt>
                <c:pt idx="6004">
                  <c:v>0.56499999999999995</c:v>
                </c:pt>
                <c:pt idx="6005">
                  <c:v>0.60699999999999998</c:v>
                </c:pt>
                <c:pt idx="6006">
                  <c:v>0.42899999999999999</c:v>
                </c:pt>
                <c:pt idx="6007">
                  <c:v>0.44700000000000001</c:v>
                </c:pt>
                <c:pt idx="6008">
                  <c:v>0.29299999999999998</c:v>
                </c:pt>
                <c:pt idx="6009">
                  <c:v>0.48799999999999999</c:v>
                </c:pt>
                <c:pt idx="6010">
                  <c:v>0.57699999999999996</c:v>
                </c:pt>
                <c:pt idx="6011">
                  <c:v>9.6000000000000002E-2</c:v>
                </c:pt>
                <c:pt idx="6012">
                  <c:v>0.29799999999999999</c:v>
                </c:pt>
                <c:pt idx="6013">
                  <c:v>0.63300000000000001</c:v>
                </c:pt>
                <c:pt idx="6014">
                  <c:v>0.441</c:v>
                </c:pt>
                <c:pt idx="6015">
                  <c:v>0.157</c:v>
                </c:pt>
                <c:pt idx="6016">
                  <c:v>0.28499999999999998</c:v>
                </c:pt>
                <c:pt idx="6017">
                  <c:v>0.34799999999999998</c:v>
                </c:pt>
                <c:pt idx="6018">
                  <c:v>0.59899999999999998</c:v>
                </c:pt>
                <c:pt idx="6019">
                  <c:v>0.24199999999999999</c:v>
                </c:pt>
                <c:pt idx="6020">
                  <c:v>0.374</c:v>
                </c:pt>
                <c:pt idx="6021">
                  <c:v>8.5000000000000006E-2</c:v>
                </c:pt>
                <c:pt idx="6022">
                  <c:v>0.68799999999999994</c:v>
                </c:pt>
                <c:pt idx="6023">
                  <c:v>0.59099999999999997</c:v>
                </c:pt>
                <c:pt idx="6024">
                  <c:v>0.79</c:v>
                </c:pt>
                <c:pt idx="6025">
                  <c:v>0.125</c:v>
                </c:pt>
                <c:pt idx="6026">
                  <c:v>0.34300000000000003</c:v>
                </c:pt>
                <c:pt idx="6027">
                  <c:v>0.20499999999999999</c:v>
                </c:pt>
                <c:pt idx="6028">
                  <c:v>0.79500000000000004</c:v>
                </c:pt>
                <c:pt idx="6029">
                  <c:v>0.71299999999999997</c:v>
                </c:pt>
                <c:pt idx="6030">
                  <c:v>0.55700000000000005</c:v>
                </c:pt>
                <c:pt idx="6031">
                  <c:v>0.80800000000000005</c:v>
                </c:pt>
                <c:pt idx="6032">
                  <c:v>0.86199999999999999</c:v>
                </c:pt>
                <c:pt idx="6033">
                  <c:v>0.56399999999999995</c:v>
                </c:pt>
                <c:pt idx="6034">
                  <c:v>0.161</c:v>
                </c:pt>
                <c:pt idx="6035">
                  <c:v>0.41499999999999998</c:v>
                </c:pt>
                <c:pt idx="6036">
                  <c:v>0.84799999999999998</c:v>
                </c:pt>
                <c:pt idx="6037">
                  <c:v>5.8000000000000003E-2</c:v>
                </c:pt>
                <c:pt idx="6038">
                  <c:v>0.221</c:v>
                </c:pt>
                <c:pt idx="6039">
                  <c:v>0.126</c:v>
                </c:pt>
                <c:pt idx="6040">
                  <c:v>0.38500000000000001</c:v>
                </c:pt>
                <c:pt idx="6041">
                  <c:v>0.64</c:v>
                </c:pt>
                <c:pt idx="6042">
                  <c:v>0.68300000000000005</c:v>
                </c:pt>
                <c:pt idx="6043">
                  <c:v>0.627</c:v>
                </c:pt>
                <c:pt idx="6044">
                  <c:v>0.49299999999999999</c:v>
                </c:pt>
                <c:pt idx="6045">
                  <c:v>0.48099999999999998</c:v>
                </c:pt>
                <c:pt idx="6046">
                  <c:v>0.36199999999999999</c:v>
                </c:pt>
                <c:pt idx="6047">
                  <c:v>0.27100000000000002</c:v>
                </c:pt>
                <c:pt idx="6048">
                  <c:v>0.69099999999999995</c:v>
                </c:pt>
                <c:pt idx="6049">
                  <c:v>0.32600000000000001</c:v>
                </c:pt>
                <c:pt idx="6050">
                  <c:v>0.83599999999999997</c:v>
                </c:pt>
                <c:pt idx="6051">
                  <c:v>0.13900000000000001</c:v>
                </c:pt>
                <c:pt idx="6052">
                  <c:v>5.3999999999999999E-2</c:v>
                </c:pt>
                <c:pt idx="6053">
                  <c:v>0.68899999999999995</c:v>
                </c:pt>
                <c:pt idx="6054">
                  <c:v>0.379</c:v>
                </c:pt>
                <c:pt idx="6055">
                  <c:v>0.64600000000000002</c:v>
                </c:pt>
                <c:pt idx="6056">
                  <c:v>0.47799999999999998</c:v>
                </c:pt>
                <c:pt idx="6057">
                  <c:v>0.29699999999999999</c:v>
                </c:pt>
                <c:pt idx="6058">
                  <c:v>0.47099999999999997</c:v>
                </c:pt>
                <c:pt idx="6059">
                  <c:v>0.26500000000000001</c:v>
                </c:pt>
                <c:pt idx="6060">
                  <c:v>0.46800000000000003</c:v>
                </c:pt>
                <c:pt idx="6061">
                  <c:v>0.12</c:v>
                </c:pt>
                <c:pt idx="6062">
                  <c:v>0.58099999999999996</c:v>
                </c:pt>
                <c:pt idx="6063">
                  <c:v>0.44900000000000001</c:v>
                </c:pt>
                <c:pt idx="6064">
                  <c:v>0.27</c:v>
                </c:pt>
                <c:pt idx="6065">
                  <c:v>0.55300000000000005</c:v>
                </c:pt>
                <c:pt idx="6066">
                  <c:v>0.29499999999999998</c:v>
                </c:pt>
                <c:pt idx="6067">
                  <c:v>0.11</c:v>
                </c:pt>
                <c:pt idx="6068">
                  <c:v>1.9E-2</c:v>
                </c:pt>
                <c:pt idx="6069">
                  <c:v>0.64600000000000002</c:v>
                </c:pt>
                <c:pt idx="6070">
                  <c:v>0.57199999999999995</c:v>
                </c:pt>
                <c:pt idx="6071">
                  <c:v>7.2999999999999995E-2</c:v>
                </c:pt>
                <c:pt idx="6072">
                  <c:v>0.2</c:v>
                </c:pt>
                <c:pt idx="6073">
                  <c:v>0.35699999999999998</c:v>
                </c:pt>
                <c:pt idx="6074">
                  <c:v>0.20599999999999999</c:v>
                </c:pt>
                <c:pt idx="6075">
                  <c:v>0.16</c:v>
                </c:pt>
                <c:pt idx="6076">
                  <c:v>0.315</c:v>
                </c:pt>
                <c:pt idx="6077">
                  <c:v>0.45100000000000001</c:v>
                </c:pt>
                <c:pt idx="6078">
                  <c:v>0.748</c:v>
                </c:pt>
                <c:pt idx="6079">
                  <c:v>0.39100000000000001</c:v>
                </c:pt>
                <c:pt idx="6080">
                  <c:v>0.19400000000000001</c:v>
                </c:pt>
                <c:pt idx="6081">
                  <c:v>0.65400000000000003</c:v>
                </c:pt>
                <c:pt idx="6082">
                  <c:v>0.14099999999999999</c:v>
                </c:pt>
                <c:pt idx="6083">
                  <c:v>0.55800000000000005</c:v>
                </c:pt>
                <c:pt idx="6084">
                  <c:v>0.432</c:v>
                </c:pt>
                <c:pt idx="6085">
                  <c:v>0.315</c:v>
                </c:pt>
                <c:pt idx="6086">
                  <c:v>0.372</c:v>
                </c:pt>
                <c:pt idx="6087">
                  <c:v>0.79700000000000004</c:v>
                </c:pt>
                <c:pt idx="6088">
                  <c:v>0.72699999999999998</c:v>
                </c:pt>
                <c:pt idx="6089">
                  <c:v>0.34100000000000003</c:v>
                </c:pt>
                <c:pt idx="6090">
                  <c:v>0.13600000000000001</c:v>
                </c:pt>
                <c:pt idx="6091">
                  <c:v>0.64700000000000002</c:v>
                </c:pt>
                <c:pt idx="6092">
                  <c:v>0.56000000000000005</c:v>
                </c:pt>
                <c:pt idx="6093">
                  <c:v>0.23799999999999999</c:v>
                </c:pt>
                <c:pt idx="6094">
                  <c:v>0.69099999999999995</c:v>
                </c:pt>
                <c:pt idx="6095">
                  <c:v>0.14099999999999999</c:v>
                </c:pt>
                <c:pt idx="6096">
                  <c:v>0.112</c:v>
                </c:pt>
                <c:pt idx="6097">
                  <c:v>0.72899999999999998</c:v>
                </c:pt>
                <c:pt idx="6098">
                  <c:v>0.248</c:v>
                </c:pt>
                <c:pt idx="6099">
                  <c:v>0.36699999999999999</c:v>
                </c:pt>
                <c:pt idx="6100">
                  <c:v>0.251</c:v>
                </c:pt>
                <c:pt idx="6101">
                  <c:v>0.64300000000000002</c:v>
                </c:pt>
                <c:pt idx="6102">
                  <c:v>0.44900000000000001</c:v>
                </c:pt>
                <c:pt idx="6103">
                  <c:v>0.31900000000000001</c:v>
                </c:pt>
                <c:pt idx="6104">
                  <c:v>0.23699999999999999</c:v>
                </c:pt>
                <c:pt idx="6105">
                  <c:v>0.40699999999999997</c:v>
                </c:pt>
                <c:pt idx="6106">
                  <c:v>0.45800000000000002</c:v>
                </c:pt>
                <c:pt idx="6107">
                  <c:v>6.3E-2</c:v>
                </c:pt>
                <c:pt idx="6108">
                  <c:v>0.27700000000000002</c:v>
                </c:pt>
                <c:pt idx="6109">
                  <c:v>0.50600000000000001</c:v>
                </c:pt>
                <c:pt idx="6110">
                  <c:v>0.74299999999999999</c:v>
                </c:pt>
                <c:pt idx="6111">
                  <c:v>0.42899999999999999</c:v>
                </c:pt>
                <c:pt idx="6112">
                  <c:v>0.28599999999999998</c:v>
                </c:pt>
                <c:pt idx="6113">
                  <c:v>0.28100000000000003</c:v>
                </c:pt>
                <c:pt idx="6114">
                  <c:v>0.67400000000000004</c:v>
                </c:pt>
                <c:pt idx="6115">
                  <c:v>0.28000000000000003</c:v>
                </c:pt>
                <c:pt idx="6116">
                  <c:v>0.311</c:v>
                </c:pt>
                <c:pt idx="6117">
                  <c:v>0.78700000000000003</c:v>
                </c:pt>
                <c:pt idx="6118">
                  <c:v>0.16</c:v>
                </c:pt>
                <c:pt idx="6119">
                  <c:v>0.52100000000000002</c:v>
                </c:pt>
                <c:pt idx="6120">
                  <c:v>3.6999999999999998E-2</c:v>
                </c:pt>
                <c:pt idx="6121">
                  <c:v>0.4</c:v>
                </c:pt>
                <c:pt idx="6122">
                  <c:v>0.45400000000000001</c:v>
                </c:pt>
                <c:pt idx="6123">
                  <c:v>0.35099999999999998</c:v>
                </c:pt>
                <c:pt idx="6124">
                  <c:v>0.224</c:v>
                </c:pt>
                <c:pt idx="6125">
                  <c:v>6.0999999999999999E-2</c:v>
                </c:pt>
                <c:pt idx="6126">
                  <c:v>0.57899999999999996</c:v>
                </c:pt>
                <c:pt idx="6127">
                  <c:v>0.52700000000000002</c:v>
                </c:pt>
                <c:pt idx="6128">
                  <c:v>3.5999999999999997E-2</c:v>
                </c:pt>
                <c:pt idx="6129">
                  <c:v>0.152</c:v>
                </c:pt>
                <c:pt idx="6130">
                  <c:v>0.57599999999999996</c:v>
                </c:pt>
                <c:pt idx="6131">
                  <c:v>0.441</c:v>
                </c:pt>
                <c:pt idx="6132">
                  <c:v>0.42</c:v>
                </c:pt>
                <c:pt idx="6133">
                  <c:v>4.4999999999999998E-2</c:v>
                </c:pt>
                <c:pt idx="6134">
                  <c:v>0.70499999999999996</c:v>
                </c:pt>
                <c:pt idx="6135">
                  <c:v>0.26200000000000001</c:v>
                </c:pt>
                <c:pt idx="6136">
                  <c:v>2.9000000000000001E-2</c:v>
                </c:pt>
                <c:pt idx="6137">
                  <c:v>0.66900000000000004</c:v>
                </c:pt>
                <c:pt idx="6138">
                  <c:v>0.14099999999999999</c:v>
                </c:pt>
                <c:pt idx="6139">
                  <c:v>0.193</c:v>
                </c:pt>
                <c:pt idx="6140">
                  <c:v>0.32</c:v>
                </c:pt>
                <c:pt idx="6141">
                  <c:v>0.115</c:v>
                </c:pt>
                <c:pt idx="6142">
                  <c:v>0.85499999999999998</c:v>
                </c:pt>
                <c:pt idx="6143">
                  <c:v>0.5</c:v>
                </c:pt>
                <c:pt idx="6144">
                  <c:v>0.26900000000000002</c:v>
                </c:pt>
                <c:pt idx="6145">
                  <c:v>0.54800000000000004</c:v>
                </c:pt>
                <c:pt idx="6146">
                  <c:v>0.92600000000000005</c:v>
                </c:pt>
                <c:pt idx="6147">
                  <c:v>0.30599999999999999</c:v>
                </c:pt>
                <c:pt idx="6148">
                  <c:v>0.31900000000000001</c:v>
                </c:pt>
                <c:pt idx="6149">
                  <c:v>0.75700000000000001</c:v>
                </c:pt>
                <c:pt idx="6150">
                  <c:v>0.46700000000000003</c:v>
                </c:pt>
                <c:pt idx="6151">
                  <c:v>0.192</c:v>
                </c:pt>
                <c:pt idx="6152">
                  <c:v>0.11600000000000001</c:v>
                </c:pt>
                <c:pt idx="6153">
                  <c:v>0.42099999999999999</c:v>
                </c:pt>
                <c:pt idx="6154">
                  <c:v>0.29499999999999998</c:v>
                </c:pt>
                <c:pt idx="6155">
                  <c:v>0.55000000000000004</c:v>
                </c:pt>
                <c:pt idx="6156">
                  <c:v>0.19600000000000001</c:v>
                </c:pt>
                <c:pt idx="6157">
                  <c:v>0.18099999999999999</c:v>
                </c:pt>
                <c:pt idx="6158">
                  <c:v>0.218</c:v>
                </c:pt>
                <c:pt idx="6159">
                  <c:v>0.27800000000000002</c:v>
                </c:pt>
                <c:pt idx="6160">
                  <c:v>0.51700000000000002</c:v>
                </c:pt>
                <c:pt idx="6161">
                  <c:v>0.50800000000000001</c:v>
                </c:pt>
                <c:pt idx="6162">
                  <c:v>0.03</c:v>
                </c:pt>
                <c:pt idx="6163">
                  <c:v>6.3E-2</c:v>
                </c:pt>
                <c:pt idx="6164">
                  <c:v>9.6000000000000002E-2</c:v>
                </c:pt>
                <c:pt idx="6165">
                  <c:v>0.49299999999999999</c:v>
                </c:pt>
                <c:pt idx="6166">
                  <c:v>0.57599999999999996</c:v>
                </c:pt>
                <c:pt idx="6167">
                  <c:v>0.505</c:v>
                </c:pt>
                <c:pt idx="6168">
                  <c:v>4.7E-2</c:v>
                </c:pt>
                <c:pt idx="6169">
                  <c:v>0.60199999999999998</c:v>
                </c:pt>
                <c:pt idx="6170">
                  <c:v>0.106</c:v>
                </c:pt>
                <c:pt idx="6171">
                  <c:v>0.17899999999999999</c:v>
                </c:pt>
                <c:pt idx="6172">
                  <c:v>0.67800000000000005</c:v>
                </c:pt>
                <c:pt idx="6173">
                  <c:v>0.35299999999999998</c:v>
                </c:pt>
                <c:pt idx="6174">
                  <c:v>0.36199999999999999</c:v>
                </c:pt>
                <c:pt idx="6175">
                  <c:v>0.77200000000000002</c:v>
                </c:pt>
                <c:pt idx="6176">
                  <c:v>0.223</c:v>
                </c:pt>
                <c:pt idx="6177">
                  <c:v>0.65300000000000002</c:v>
                </c:pt>
                <c:pt idx="6178">
                  <c:v>0.70599999999999996</c:v>
                </c:pt>
                <c:pt idx="6179">
                  <c:v>0.87</c:v>
                </c:pt>
                <c:pt idx="6180">
                  <c:v>0.40100000000000002</c:v>
                </c:pt>
                <c:pt idx="6181">
                  <c:v>0.83399999999999996</c:v>
                </c:pt>
                <c:pt idx="6182">
                  <c:v>0.19600000000000001</c:v>
                </c:pt>
                <c:pt idx="6183">
                  <c:v>0.151</c:v>
                </c:pt>
                <c:pt idx="6184">
                  <c:v>0.25800000000000001</c:v>
                </c:pt>
                <c:pt idx="6185">
                  <c:v>0.126</c:v>
                </c:pt>
                <c:pt idx="6186">
                  <c:v>0.46899999999999997</c:v>
                </c:pt>
                <c:pt idx="6187">
                  <c:v>0.20399999999999999</c:v>
                </c:pt>
                <c:pt idx="6188">
                  <c:v>0.76300000000000001</c:v>
                </c:pt>
                <c:pt idx="6189">
                  <c:v>0.35199999999999998</c:v>
                </c:pt>
                <c:pt idx="6190">
                  <c:v>0.66300000000000003</c:v>
                </c:pt>
                <c:pt idx="6191">
                  <c:v>0.55700000000000005</c:v>
                </c:pt>
                <c:pt idx="6192">
                  <c:v>6.4000000000000001E-2</c:v>
                </c:pt>
                <c:pt idx="6193">
                  <c:v>0.247</c:v>
                </c:pt>
                <c:pt idx="6194">
                  <c:v>0.69599999999999995</c:v>
                </c:pt>
                <c:pt idx="6195">
                  <c:v>0.22</c:v>
                </c:pt>
                <c:pt idx="6196">
                  <c:v>0.499</c:v>
                </c:pt>
                <c:pt idx="6197">
                  <c:v>0.125</c:v>
                </c:pt>
                <c:pt idx="6198">
                  <c:v>7.0999999999999994E-2</c:v>
                </c:pt>
                <c:pt idx="6199">
                  <c:v>0.72499999999999998</c:v>
                </c:pt>
                <c:pt idx="6200">
                  <c:v>0.46200000000000002</c:v>
                </c:pt>
                <c:pt idx="6201">
                  <c:v>0.46</c:v>
                </c:pt>
                <c:pt idx="6202">
                  <c:v>0.39900000000000002</c:v>
                </c:pt>
                <c:pt idx="6203">
                  <c:v>0.41599999999999998</c:v>
                </c:pt>
                <c:pt idx="6204">
                  <c:v>0.15</c:v>
                </c:pt>
                <c:pt idx="6205">
                  <c:v>0.04</c:v>
                </c:pt>
                <c:pt idx="6206">
                  <c:v>0.42699999999999999</c:v>
                </c:pt>
                <c:pt idx="6207">
                  <c:v>0.36</c:v>
                </c:pt>
                <c:pt idx="6208">
                  <c:v>0.26100000000000001</c:v>
                </c:pt>
                <c:pt idx="6209">
                  <c:v>0.24</c:v>
                </c:pt>
                <c:pt idx="6210">
                  <c:v>0.23899999999999999</c:v>
                </c:pt>
                <c:pt idx="6211">
                  <c:v>0.23499999999999999</c:v>
                </c:pt>
                <c:pt idx="6212">
                  <c:v>0.433</c:v>
                </c:pt>
                <c:pt idx="6213">
                  <c:v>0.22800000000000001</c:v>
                </c:pt>
                <c:pt idx="6214">
                  <c:v>0.52100000000000002</c:v>
                </c:pt>
                <c:pt idx="6215">
                  <c:v>0.51800000000000002</c:v>
                </c:pt>
                <c:pt idx="6216">
                  <c:v>0.77800000000000002</c:v>
                </c:pt>
                <c:pt idx="6217">
                  <c:v>0.193</c:v>
                </c:pt>
                <c:pt idx="6218">
                  <c:v>0.24099999999999999</c:v>
                </c:pt>
                <c:pt idx="6219">
                  <c:v>0.77600000000000002</c:v>
                </c:pt>
                <c:pt idx="6220">
                  <c:v>0.159</c:v>
                </c:pt>
                <c:pt idx="6221">
                  <c:v>0.246</c:v>
                </c:pt>
                <c:pt idx="6222">
                  <c:v>0.87</c:v>
                </c:pt>
                <c:pt idx="6223">
                  <c:v>0.92900000000000005</c:v>
                </c:pt>
                <c:pt idx="6224">
                  <c:v>0.64</c:v>
                </c:pt>
                <c:pt idx="6225">
                  <c:v>0.246</c:v>
                </c:pt>
                <c:pt idx="6226">
                  <c:v>0.14299999999999999</c:v>
                </c:pt>
                <c:pt idx="6227">
                  <c:v>0.216</c:v>
                </c:pt>
                <c:pt idx="6228">
                  <c:v>0.34699999999999998</c:v>
                </c:pt>
                <c:pt idx="6229">
                  <c:v>0.33800000000000002</c:v>
                </c:pt>
                <c:pt idx="6230">
                  <c:v>9.1999999999999998E-2</c:v>
                </c:pt>
                <c:pt idx="6231">
                  <c:v>0.182</c:v>
                </c:pt>
                <c:pt idx="6232">
                  <c:v>0.53100000000000003</c:v>
                </c:pt>
                <c:pt idx="6233">
                  <c:v>0.44500000000000001</c:v>
                </c:pt>
                <c:pt idx="6234">
                  <c:v>0.51900000000000002</c:v>
                </c:pt>
                <c:pt idx="6235">
                  <c:v>3.5000000000000003E-2</c:v>
                </c:pt>
                <c:pt idx="6236">
                  <c:v>9.6000000000000002E-2</c:v>
                </c:pt>
                <c:pt idx="6237">
                  <c:v>0.89200000000000002</c:v>
                </c:pt>
                <c:pt idx="6238">
                  <c:v>0.36899999999999999</c:v>
                </c:pt>
                <c:pt idx="6239">
                  <c:v>6.9000000000000006E-2</c:v>
                </c:pt>
                <c:pt idx="6240">
                  <c:v>0.55100000000000005</c:v>
                </c:pt>
                <c:pt idx="6241">
                  <c:v>0.317</c:v>
                </c:pt>
                <c:pt idx="6242">
                  <c:v>0.51300000000000001</c:v>
                </c:pt>
                <c:pt idx="6243">
                  <c:v>0.69099999999999995</c:v>
                </c:pt>
                <c:pt idx="6244">
                  <c:v>0.20599999999999999</c:v>
                </c:pt>
                <c:pt idx="6245">
                  <c:v>0.374</c:v>
                </c:pt>
                <c:pt idx="6246">
                  <c:v>7.2999999999999995E-2</c:v>
                </c:pt>
                <c:pt idx="6247">
                  <c:v>0.66800000000000004</c:v>
                </c:pt>
                <c:pt idx="6248">
                  <c:v>0.5</c:v>
                </c:pt>
                <c:pt idx="6249">
                  <c:v>0.17</c:v>
                </c:pt>
                <c:pt idx="6250">
                  <c:v>0.22600000000000001</c:v>
                </c:pt>
                <c:pt idx="6251">
                  <c:v>0.438</c:v>
                </c:pt>
                <c:pt idx="6252">
                  <c:v>0.439</c:v>
                </c:pt>
                <c:pt idx="6253">
                  <c:v>0.65700000000000003</c:v>
                </c:pt>
                <c:pt idx="6254">
                  <c:v>0.193</c:v>
                </c:pt>
                <c:pt idx="6255">
                  <c:v>0.188</c:v>
                </c:pt>
                <c:pt idx="6256">
                  <c:v>0.29699999999999999</c:v>
                </c:pt>
                <c:pt idx="6257">
                  <c:v>0.54200000000000004</c:v>
                </c:pt>
                <c:pt idx="6258">
                  <c:v>0.39800000000000002</c:v>
                </c:pt>
                <c:pt idx="6259">
                  <c:v>0.752</c:v>
                </c:pt>
                <c:pt idx="6260">
                  <c:v>0.56399999999999995</c:v>
                </c:pt>
                <c:pt idx="6261">
                  <c:v>0.32400000000000001</c:v>
                </c:pt>
                <c:pt idx="6262">
                  <c:v>9.5000000000000001E-2</c:v>
                </c:pt>
                <c:pt idx="6263">
                  <c:v>0.46400000000000002</c:v>
                </c:pt>
                <c:pt idx="6264">
                  <c:v>0.30499999999999999</c:v>
                </c:pt>
                <c:pt idx="6265">
                  <c:v>0.155</c:v>
                </c:pt>
                <c:pt idx="6266">
                  <c:v>0.47599999999999998</c:v>
                </c:pt>
                <c:pt idx="6267">
                  <c:v>0.77100000000000002</c:v>
                </c:pt>
                <c:pt idx="6268">
                  <c:v>9.9000000000000005E-2</c:v>
                </c:pt>
                <c:pt idx="6269">
                  <c:v>0.26800000000000002</c:v>
                </c:pt>
                <c:pt idx="6270">
                  <c:v>0.14099999999999999</c:v>
                </c:pt>
                <c:pt idx="6271">
                  <c:v>0.64</c:v>
                </c:pt>
                <c:pt idx="6272">
                  <c:v>2.1999999999999999E-2</c:v>
                </c:pt>
                <c:pt idx="6273">
                  <c:v>0.65900000000000003</c:v>
                </c:pt>
                <c:pt idx="6274">
                  <c:v>0.185</c:v>
                </c:pt>
                <c:pt idx="6275">
                  <c:v>0.17699999999999999</c:v>
                </c:pt>
                <c:pt idx="6276">
                  <c:v>9.4E-2</c:v>
                </c:pt>
                <c:pt idx="6277">
                  <c:v>5.8000000000000003E-2</c:v>
                </c:pt>
                <c:pt idx="6278">
                  <c:v>0.40200000000000002</c:v>
                </c:pt>
                <c:pt idx="6279">
                  <c:v>0.36399999999999999</c:v>
                </c:pt>
                <c:pt idx="6280">
                  <c:v>0.27400000000000002</c:v>
                </c:pt>
                <c:pt idx="6281">
                  <c:v>0.18099999999999999</c:v>
                </c:pt>
                <c:pt idx="6282">
                  <c:v>0.107</c:v>
                </c:pt>
                <c:pt idx="6283">
                  <c:v>0.63600000000000001</c:v>
                </c:pt>
                <c:pt idx="6284">
                  <c:v>0.65700000000000003</c:v>
                </c:pt>
                <c:pt idx="6285">
                  <c:v>0.71499999999999997</c:v>
                </c:pt>
                <c:pt idx="6286">
                  <c:v>0.76300000000000001</c:v>
                </c:pt>
                <c:pt idx="6287">
                  <c:v>0.104</c:v>
                </c:pt>
                <c:pt idx="6288">
                  <c:v>7.1999999999999995E-2</c:v>
                </c:pt>
                <c:pt idx="6289">
                  <c:v>0.65100000000000002</c:v>
                </c:pt>
                <c:pt idx="6290">
                  <c:v>0.25600000000000001</c:v>
                </c:pt>
                <c:pt idx="6291">
                  <c:v>0.57799999999999996</c:v>
                </c:pt>
                <c:pt idx="6292">
                  <c:v>0.71899999999999997</c:v>
                </c:pt>
                <c:pt idx="6293">
                  <c:v>0.60199999999999998</c:v>
                </c:pt>
                <c:pt idx="6294">
                  <c:v>0.59199999999999997</c:v>
                </c:pt>
                <c:pt idx="6295">
                  <c:v>0.80500000000000005</c:v>
                </c:pt>
                <c:pt idx="6296">
                  <c:v>0.751</c:v>
                </c:pt>
                <c:pt idx="6297">
                  <c:v>0.30199999999999999</c:v>
                </c:pt>
                <c:pt idx="6298">
                  <c:v>0.76900000000000002</c:v>
                </c:pt>
                <c:pt idx="6299">
                  <c:v>0.45800000000000002</c:v>
                </c:pt>
                <c:pt idx="6300">
                  <c:v>0.32800000000000001</c:v>
                </c:pt>
                <c:pt idx="6301">
                  <c:v>0.36199999999999999</c:v>
                </c:pt>
                <c:pt idx="6302">
                  <c:v>3.5999999999999997E-2</c:v>
                </c:pt>
                <c:pt idx="6303">
                  <c:v>0.17699999999999999</c:v>
                </c:pt>
                <c:pt idx="6304">
                  <c:v>0.11899999999999999</c:v>
                </c:pt>
                <c:pt idx="6305">
                  <c:v>5.1999999999999998E-2</c:v>
                </c:pt>
                <c:pt idx="6306">
                  <c:v>0.67800000000000005</c:v>
                </c:pt>
                <c:pt idx="6307">
                  <c:v>0.56899999999999995</c:v>
                </c:pt>
                <c:pt idx="6308">
                  <c:v>0.48199999999999998</c:v>
                </c:pt>
                <c:pt idx="6309">
                  <c:v>0.51600000000000001</c:v>
                </c:pt>
                <c:pt idx="6310">
                  <c:v>1.2999999999999999E-2</c:v>
                </c:pt>
                <c:pt idx="6311">
                  <c:v>0.437</c:v>
                </c:pt>
                <c:pt idx="6312">
                  <c:v>0.2</c:v>
                </c:pt>
                <c:pt idx="6313">
                  <c:v>0.26900000000000002</c:v>
                </c:pt>
                <c:pt idx="6314">
                  <c:v>0.11600000000000001</c:v>
                </c:pt>
                <c:pt idx="6315">
                  <c:v>0.32400000000000001</c:v>
                </c:pt>
                <c:pt idx="6316">
                  <c:v>0.42199999999999999</c:v>
                </c:pt>
                <c:pt idx="6317">
                  <c:v>0.47199999999999998</c:v>
                </c:pt>
                <c:pt idx="6318">
                  <c:v>0.45600000000000002</c:v>
                </c:pt>
                <c:pt idx="6319">
                  <c:v>0.246</c:v>
                </c:pt>
                <c:pt idx="6320">
                  <c:v>0.20699999999999999</c:v>
                </c:pt>
                <c:pt idx="6321">
                  <c:v>0.34399999999999997</c:v>
                </c:pt>
                <c:pt idx="6322">
                  <c:v>0.504</c:v>
                </c:pt>
                <c:pt idx="6323">
                  <c:v>0.44900000000000001</c:v>
                </c:pt>
                <c:pt idx="6324">
                  <c:v>0.191</c:v>
                </c:pt>
                <c:pt idx="6325">
                  <c:v>0.54900000000000004</c:v>
                </c:pt>
                <c:pt idx="6326">
                  <c:v>0.499</c:v>
                </c:pt>
                <c:pt idx="6327">
                  <c:v>0.67900000000000005</c:v>
                </c:pt>
                <c:pt idx="6328">
                  <c:v>0.70699999999999996</c:v>
                </c:pt>
                <c:pt idx="6329">
                  <c:v>0.36599999999999999</c:v>
                </c:pt>
                <c:pt idx="6330">
                  <c:v>0.27300000000000002</c:v>
                </c:pt>
                <c:pt idx="6331">
                  <c:v>0.41499999999999998</c:v>
                </c:pt>
                <c:pt idx="6332">
                  <c:v>0.61799999999999999</c:v>
                </c:pt>
                <c:pt idx="6333">
                  <c:v>0.36799999999999999</c:v>
                </c:pt>
                <c:pt idx="6334">
                  <c:v>0.75700000000000001</c:v>
                </c:pt>
                <c:pt idx="6335">
                  <c:v>0.56799999999999995</c:v>
                </c:pt>
                <c:pt idx="6336">
                  <c:v>0.63200000000000001</c:v>
                </c:pt>
                <c:pt idx="6337">
                  <c:v>5.8000000000000003E-2</c:v>
                </c:pt>
                <c:pt idx="6338">
                  <c:v>0.252</c:v>
                </c:pt>
                <c:pt idx="6339">
                  <c:v>0.56899999999999995</c:v>
                </c:pt>
                <c:pt idx="6340">
                  <c:v>0.41799999999999998</c:v>
                </c:pt>
                <c:pt idx="6341">
                  <c:v>0.35899999999999999</c:v>
                </c:pt>
                <c:pt idx="6342">
                  <c:v>0.25700000000000001</c:v>
                </c:pt>
                <c:pt idx="6343">
                  <c:v>0.503</c:v>
                </c:pt>
                <c:pt idx="6344">
                  <c:v>0.22900000000000001</c:v>
                </c:pt>
                <c:pt idx="6345">
                  <c:v>0.81699999999999995</c:v>
                </c:pt>
                <c:pt idx="6346">
                  <c:v>0.39900000000000002</c:v>
                </c:pt>
                <c:pt idx="6347">
                  <c:v>0.13200000000000001</c:v>
                </c:pt>
                <c:pt idx="6348">
                  <c:v>3.9E-2</c:v>
                </c:pt>
                <c:pt idx="6349">
                  <c:v>0.63600000000000001</c:v>
                </c:pt>
                <c:pt idx="6350">
                  <c:v>0.79600000000000004</c:v>
                </c:pt>
                <c:pt idx="6351">
                  <c:v>0.52900000000000003</c:v>
                </c:pt>
                <c:pt idx="6352">
                  <c:v>0.50900000000000001</c:v>
                </c:pt>
                <c:pt idx="6353">
                  <c:v>0.152</c:v>
                </c:pt>
                <c:pt idx="6354">
                  <c:v>0.16400000000000001</c:v>
                </c:pt>
                <c:pt idx="6355">
                  <c:v>0.59699999999999998</c:v>
                </c:pt>
                <c:pt idx="6356">
                  <c:v>0.39100000000000001</c:v>
                </c:pt>
                <c:pt idx="6357">
                  <c:v>0.53900000000000003</c:v>
                </c:pt>
                <c:pt idx="6358">
                  <c:v>0.39700000000000002</c:v>
                </c:pt>
                <c:pt idx="6359">
                  <c:v>0.115</c:v>
                </c:pt>
                <c:pt idx="6360">
                  <c:v>0.40200000000000002</c:v>
                </c:pt>
                <c:pt idx="6361">
                  <c:v>0.44</c:v>
                </c:pt>
                <c:pt idx="6362">
                  <c:v>0.52300000000000002</c:v>
                </c:pt>
                <c:pt idx="6363">
                  <c:v>0.30599999999999999</c:v>
                </c:pt>
                <c:pt idx="6364">
                  <c:v>0.222</c:v>
                </c:pt>
                <c:pt idx="6365">
                  <c:v>0.13600000000000001</c:v>
                </c:pt>
                <c:pt idx="6366">
                  <c:v>0.189</c:v>
                </c:pt>
                <c:pt idx="6367">
                  <c:v>0.41399999999999998</c:v>
                </c:pt>
                <c:pt idx="6368">
                  <c:v>0.41699999999999998</c:v>
                </c:pt>
                <c:pt idx="6369">
                  <c:v>0.61099999999999999</c:v>
                </c:pt>
                <c:pt idx="6370">
                  <c:v>0.66800000000000004</c:v>
                </c:pt>
                <c:pt idx="6371">
                  <c:v>0.307</c:v>
                </c:pt>
                <c:pt idx="6372">
                  <c:v>0.74099999999999999</c:v>
                </c:pt>
                <c:pt idx="6373">
                  <c:v>0.54600000000000004</c:v>
                </c:pt>
                <c:pt idx="6374">
                  <c:v>5.3999999999999999E-2</c:v>
                </c:pt>
                <c:pt idx="6375">
                  <c:v>0.58099999999999996</c:v>
                </c:pt>
                <c:pt idx="6376">
                  <c:v>0.16</c:v>
                </c:pt>
                <c:pt idx="6377">
                  <c:v>0.4</c:v>
                </c:pt>
                <c:pt idx="6378">
                  <c:v>0.379</c:v>
                </c:pt>
                <c:pt idx="6379">
                  <c:v>0</c:v>
                </c:pt>
                <c:pt idx="6380">
                  <c:v>9.7000000000000003E-2</c:v>
                </c:pt>
                <c:pt idx="6381">
                  <c:v>0.155</c:v>
                </c:pt>
                <c:pt idx="6382">
                  <c:v>0.57399999999999995</c:v>
                </c:pt>
                <c:pt idx="6383">
                  <c:v>8.5999999999999993E-2</c:v>
                </c:pt>
                <c:pt idx="6384">
                  <c:v>0.28799999999999998</c:v>
                </c:pt>
                <c:pt idx="6385">
                  <c:v>0.39600000000000002</c:v>
                </c:pt>
                <c:pt idx="6386">
                  <c:v>0.61799999999999999</c:v>
                </c:pt>
                <c:pt idx="6387">
                  <c:v>0.45200000000000001</c:v>
                </c:pt>
                <c:pt idx="6388">
                  <c:v>0.27100000000000002</c:v>
                </c:pt>
                <c:pt idx="6389">
                  <c:v>0.497</c:v>
                </c:pt>
                <c:pt idx="6390">
                  <c:v>0.89700000000000002</c:v>
                </c:pt>
                <c:pt idx="6391">
                  <c:v>0.63100000000000001</c:v>
                </c:pt>
                <c:pt idx="6392">
                  <c:v>0.55100000000000005</c:v>
                </c:pt>
                <c:pt idx="6393">
                  <c:v>0.623</c:v>
                </c:pt>
                <c:pt idx="6394">
                  <c:v>0.52700000000000002</c:v>
                </c:pt>
                <c:pt idx="6395">
                  <c:v>0.55900000000000005</c:v>
                </c:pt>
                <c:pt idx="6396">
                  <c:v>0.46600000000000003</c:v>
                </c:pt>
                <c:pt idx="6397">
                  <c:v>0.42</c:v>
                </c:pt>
                <c:pt idx="6398">
                  <c:v>0.16400000000000001</c:v>
                </c:pt>
                <c:pt idx="6399">
                  <c:v>0.32700000000000001</c:v>
                </c:pt>
                <c:pt idx="6400">
                  <c:v>0.55000000000000004</c:v>
                </c:pt>
                <c:pt idx="6401">
                  <c:v>0.06</c:v>
                </c:pt>
                <c:pt idx="6402">
                  <c:v>0.24299999999999999</c:v>
                </c:pt>
                <c:pt idx="6403">
                  <c:v>0.54300000000000004</c:v>
                </c:pt>
                <c:pt idx="6404">
                  <c:v>9.4E-2</c:v>
                </c:pt>
                <c:pt idx="6405">
                  <c:v>0.36099999999999999</c:v>
                </c:pt>
                <c:pt idx="6406">
                  <c:v>0.10299999999999999</c:v>
                </c:pt>
                <c:pt idx="6407">
                  <c:v>0.18099999999999999</c:v>
                </c:pt>
                <c:pt idx="6408">
                  <c:v>0.59799999999999998</c:v>
                </c:pt>
                <c:pt idx="6409">
                  <c:v>0.38700000000000001</c:v>
                </c:pt>
                <c:pt idx="6410">
                  <c:v>0.17</c:v>
                </c:pt>
                <c:pt idx="6411">
                  <c:v>0.36899999999999999</c:v>
                </c:pt>
                <c:pt idx="6412">
                  <c:v>0.152</c:v>
                </c:pt>
                <c:pt idx="6413">
                  <c:v>0.11</c:v>
                </c:pt>
                <c:pt idx="6414">
                  <c:v>0.32100000000000001</c:v>
                </c:pt>
                <c:pt idx="6415">
                  <c:v>0.34499999999999997</c:v>
                </c:pt>
                <c:pt idx="6416">
                  <c:v>0.42399999999999999</c:v>
                </c:pt>
                <c:pt idx="6417">
                  <c:v>0.41399999999999998</c:v>
                </c:pt>
                <c:pt idx="6418">
                  <c:v>0.16700000000000001</c:v>
                </c:pt>
                <c:pt idx="6419">
                  <c:v>0.50900000000000001</c:v>
                </c:pt>
                <c:pt idx="6420">
                  <c:v>0.155</c:v>
                </c:pt>
                <c:pt idx="6421">
                  <c:v>0.43099999999999999</c:v>
                </c:pt>
                <c:pt idx="6422">
                  <c:v>0.35</c:v>
                </c:pt>
                <c:pt idx="6423">
                  <c:v>0.59</c:v>
                </c:pt>
                <c:pt idx="6424">
                  <c:v>0.622</c:v>
                </c:pt>
                <c:pt idx="6425">
                  <c:v>3.1E-2</c:v>
                </c:pt>
                <c:pt idx="6426">
                  <c:v>0.49099999999999999</c:v>
                </c:pt>
                <c:pt idx="6427">
                  <c:v>6.7000000000000004E-2</c:v>
                </c:pt>
                <c:pt idx="6428">
                  <c:v>0.218</c:v>
                </c:pt>
                <c:pt idx="6429">
                  <c:v>0.38100000000000001</c:v>
                </c:pt>
                <c:pt idx="6430">
                  <c:v>0.52700000000000002</c:v>
                </c:pt>
                <c:pt idx="6431">
                  <c:v>0.51700000000000002</c:v>
                </c:pt>
                <c:pt idx="6432">
                  <c:v>0.64300000000000002</c:v>
                </c:pt>
                <c:pt idx="6433">
                  <c:v>0.52800000000000002</c:v>
                </c:pt>
                <c:pt idx="6434">
                  <c:v>0.13200000000000001</c:v>
                </c:pt>
                <c:pt idx="6435">
                  <c:v>0.16800000000000001</c:v>
                </c:pt>
                <c:pt idx="6436">
                  <c:v>0.80500000000000005</c:v>
                </c:pt>
                <c:pt idx="6437">
                  <c:v>0.14199999999999999</c:v>
                </c:pt>
                <c:pt idx="6438">
                  <c:v>5.1999999999999998E-2</c:v>
                </c:pt>
                <c:pt idx="6439">
                  <c:v>9.2999999999999999E-2</c:v>
                </c:pt>
                <c:pt idx="6440">
                  <c:v>0.45200000000000001</c:v>
                </c:pt>
                <c:pt idx="6441">
                  <c:v>0.36699999999999999</c:v>
                </c:pt>
                <c:pt idx="6442">
                  <c:v>0.153</c:v>
                </c:pt>
                <c:pt idx="6443">
                  <c:v>0.216</c:v>
                </c:pt>
                <c:pt idx="6444">
                  <c:v>0.28000000000000003</c:v>
                </c:pt>
                <c:pt idx="6445">
                  <c:v>0.35399999999999998</c:v>
                </c:pt>
                <c:pt idx="6446">
                  <c:v>0.308</c:v>
                </c:pt>
                <c:pt idx="6447">
                  <c:v>0.35599999999999998</c:v>
                </c:pt>
                <c:pt idx="6448">
                  <c:v>0.82799999999999996</c:v>
                </c:pt>
                <c:pt idx="6449">
                  <c:v>0.29899999999999999</c:v>
                </c:pt>
                <c:pt idx="6450">
                  <c:v>0.157</c:v>
                </c:pt>
                <c:pt idx="6451">
                  <c:v>0.80300000000000005</c:v>
                </c:pt>
                <c:pt idx="6452">
                  <c:v>0.59499999999999997</c:v>
                </c:pt>
                <c:pt idx="6453">
                  <c:v>0.38800000000000001</c:v>
                </c:pt>
                <c:pt idx="6454">
                  <c:v>0.16500000000000001</c:v>
                </c:pt>
                <c:pt idx="6455">
                  <c:v>0.35299999999999998</c:v>
                </c:pt>
                <c:pt idx="6456">
                  <c:v>5.5E-2</c:v>
                </c:pt>
                <c:pt idx="6457">
                  <c:v>0.11600000000000001</c:v>
                </c:pt>
                <c:pt idx="6458">
                  <c:v>0.45500000000000002</c:v>
                </c:pt>
                <c:pt idx="6459">
                  <c:v>0.21299999999999999</c:v>
                </c:pt>
                <c:pt idx="6460">
                  <c:v>0.54900000000000004</c:v>
                </c:pt>
                <c:pt idx="6461">
                  <c:v>5.8000000000000003E-2</c:v>
                </c:pt>
                <c:pt idx="6462">
                  <c:v>0.16</c:v>
                </c:pt>
                <c:pt idx="6463">
                  <c:v>5.2999999999999999E-2</c:v>
                </c:pt>
                <c:pt idx="6464">
                  <c:v>0.52200000000000002</c:v>
                </c:pt>
                <c:pt idx="6465">
                  <c:v>0.61099999999999999</c:v>
                </c:pt>
                <c:pt idx="6466">
                  <c:v>0.50600000000000001</c:v>
                </c:pt>
                <c:pt idx="6467">
                  <c:v>0.46</c:v>
                </c:pt>
                <c:pt idx="6468">
                  <c:v>0.58099999999999996</c:v>
                </c:pt>
                <c:pt idx="6469">
                  <c:v>0.8</c:v>
                </c:pt>
                <c:pt idx="6470">
                  <c:v>0.495</c:v>
                </c:pt>
                <c:pt idx="6471">
                  <c:v>0.74299999999999999</c:v>
                </c:pt>
                <c:pt idx="6472">
                  <c:v>0.28599999999999998</c:v>
                </c:pt>
                <c:pt idx="6473">
                  <c:v>0.49299999999999999</c:v>
                </c:pt>
                <c:pt idx="6474">
                  <c:v>0.46800000000000003</c:v>
                </c:pt>
                <c:pt idx="6475">
                  <c:v>0.32</c:v>
                </c:pt>
                <c:pt idx="6476">
                  <c:v>0.60299999999999998</c:v>
                </c:pt>
                <c:pt idx="6477">
                  <c:v>0.499</c:v>
                </c:pt>
                <c:pt idx="6478">
                  <c:v>0.70499999999999996</c:v>
                </c:pt>
                <c:pt idx="6479">
                  <c:v>0.64200000000000002</c:v>
                </c:pt>
                <c:pt idx="6480">
                  <c:v>0.33500000000000002</c:v>
                </c:pt>
                <c:pt idx="6481">
                  <c:v>0.54400000000000004</c:v>
                </c:pt>
                <c:pt idx="6482">
                  <c:v>2.1000000000000001E-2</c:v>
                </c:pt>
                <c:pt idx="6483">
                  <c:v>0.109</c:v>
                </c:pt>
                <c:pt idx="6484">
                  <c:v>0.20200000000000001</c:v>
                </c:pt>
                <c:pt idx="6485">
                  <c:v>0.53700000000000003</c:v>
                </c:pt>
                <c:pt idx="6486">
                  <c:v>0.113</c:v>
                </c:pt>
                <c:pt idx="6487">
                  <c:v>0.64700000000000002</c:v>
                </c:pt>
                <c:pt idx="6488">
                  <c:v>9.6000000000000002E-2</c:v>
                </c:pt>
                <c:pt idx="6489">
                  <c:v>0.20499999999999999</c:v>
                </c:pt>
                <c:pt idx="6490">
                  <c:v>0.23899999999999999</c:v>
                </c:pt>
                <c:pt idx="6491">
                  <c:v>0.81599999999999995</c:v>
                </c:pt>
                <c:pt idx="6492">
                  <c:v>0.68400000000000005</c:v>
                </c:pt>
                <c:pt idx="6493">
                  <c:v>0.376</c:v>
                </c:pt>
                <c:pt idx="6494">
                  <c:v>6.0999999999999999E-2</c:v>
                </c:pt>
                <c:pt idx="6495">
                  <c:v>2.1000000000000001E-2</c:v>
                </c:pt>
                <c:pt idx="6496">
                  <c:v>0.29899999999999999</c:v>
                </c:pt>
                <c:pt idx="6497">
                  <c:v>0.45</c:v>
                </c:pt>
                <c:pt idx="6498">
                  <c:v>0.374</c:v>
                </c:pt>
                <c:pt idx="6499">
                  <c:v>0.09</c:v>
                </c:pt>
                <c:pt idx="6500">
                  <c:v>0.127</c:v>
                </c:pt>
                <c:pt idx="6501">
                  <c:v>0.42</c:v>
                </c:pt>
                <c:pt idx="6502">
                  <c:v>0.95799999999999996</c:v>
                </c:pt>
                <c:pt idx="6503">
                  <c:v>0.23200000000000001</c:v>
                </c:pt>
                <c:pt idx="6504">
                  <c:v>0.32600000000000001</c:v>
                </c:pt>
                <c:pt idx="6505">
                  <c:v>0.29799999999999999</c:v>
                </c:pt>
                <c:pt idx="6506">
                  <c:v>0.36299999999999999</c:v>
                </c:pt>
                <c:pt idx="6507">
                  <c:v>0.40600000000000003</c:v>
                </c:pt>
                <c:pt idx="6508">
                  <c:v>0.46600000000000003</c:v>
                </c:pt>
                <c:pt idx="6509">
                  <c:v>0.42399999999999999</c:v>
                </c:pt>
                <c:pt idx="6510">
                  <c:v>0.76600000000000001</c:v>
                </c:pt>
                <c:pt idx="6511">
                  <c:v>0.14599999999999999</c:v>
                </c:pt>
                <c:pt idx="6512">
                  <c:v>0.4</c:v>
                </c:pt>
                <c:pt idx="6513">
                  <c:v>0.106</c:v>
                </c:pt>
                <c:pt idx="6514">
                  <c:v>0.14299999999999999</c:v>
                </c:pt>
                <c:pt idx="6515">
                  <c:v>0.23300000000000001</c:v>
                </c:pt>
                <c:pt idx="6516">
                  <c:v>3.6999999999999998E-2</c:v>
                </c:pt>
                <c:pt idx="6517">
                  <c:v>0.248</c:v>
                </c:pt>
                <c:pt idx="6518">
                  <c:v>0.14299999999999999</c:v>
                </c:pt>
                <c:pt idx="6519">
                  <c:v>0.186</c:v>
                </c:pt>
                <c:pt idx="6520">
                  <c:v>0.46800000000000003</c:v>
                </c:pt>
                <c:pt idx="6521">
                  <c:v>0.27200000000000002</c:v>
                </c:pt>
                <c:pt idx="6522">
                  <c:v>0.41</c:v>
                </c:pt>
                <c:pt idx="6523">
                  <c:v>0.36099999999999999</c:v>
                </c:pt>
                <c:pt idx="6524">
                  <c:v>0.30099999999999999</c:v>
                </c:pt>
                <c:pt idx="6525">
                  <c:v>0.83199999999999996</c:v>
                </c:pt>
                <c:pt idx="6526">
                  <c:v>0.28299999999999997</c:v>
                </c:pt>
                <c:pt idx="6527">
                  <c:v>0.79300000000000004</c:v>
                </c:pt>
                <c:pt idx="6528">
                  <c:v>0.24099999999999999</c:v>
                </c:pt>
                <c:pt idx="6529">
                  <c:v>0.42899999999999999</c:v>
                </c:pt>
                <c:pt idx="6530">
                  <c:v>5.0999999999999997E-2</c:v>
                </c:pt>
                <c:pt idx="6531">
                  <c:v>0.22800000000000001</c:v>
                </c:pt>
                <c:pt idx="6532">
                  <c:v>0.109</c:v>
                </c:pt>
                <c:pt idx="6533">
                  <c:v>0.39400000000000002</c:v>
                </c:pt>
                <c:pt idx="6534">
                  <c:v>0.36499999999999999</c:v>
                </c:pt>
                <c:pt idx="6535">
                  <c:v>0.42899999999999999</c:v>
                </c:pt>
                <c:pt idx="6536">
                  <c:v>7.0999999999999994E-2</c:v>
                </c:pt>
                <c:pt idx="6537">
                  <c:v>0.16500000000000001</c:v>
                </c:pt>
                <c:pt idx="6538">
                  <c:v>1.6E-2</c:v>
                </c:pt>
                <c:pt idx="6539">
                  <c:v>0.51</c:v>
                </c:pt>
                <c:pt idx="6540">
                  <c:v>0.224</c:v>
                </c:pt>
                <c:pt idx="6541">
                  <c:v>0.622</c:v>
                </c:pt>
                <c:pt idx="6542">
                  <c:v>0.123</c:v>
                </c:pt>
                <c:pt idx="6543">
                  <c:v>0.88300000000000001</c:v>
                </c:pt>
                <c:pt idx="6544">
                  <c:v>0.153</c:v>
                </c:pt>
                <c:pt idx="6545">
                  <c:v>0.28299999999999997</c:v>
                </c:pt>
                <c:pt idx="6546">
                  <c:v>0.35799999999999998</c:v>
                </c:pt>
                <c:pt idx="6547">
                  <c:v>0.36699999999999999</c:v>
                </c:pt>
                <c:pt idx="6548">
                  <c:v>0.13900000000000001</c:v>
                </c:pt>
                <c:pt idx="6549">
                  <c:v>0.43</c:v>
                </c:pt>
                <c:pt idx="6550">
                  <c:v>0.13300000000000001</c:v>
                </c:pt>
                <c:pt idx="6551">
                  <c:v>0.188</c:v>
                </c:pt>
                <c:pt idx="6552">
                  <c:v>7.3999999999999996E-2</c:v>
                </c:pt>
                <c:pt idx="6553">
                  <c:v>0.14299999999999999</c:v>
                </c:pt>
                <c:pt idx="6554">
                  <c:v>0.48599999999999999</c:v>
                </c:pt>
                <c:pt idx="6555">
                  <c:v>0.16400000000000001</c:v>
                </c:pt>
                <c:pt idx="6556">
                  <c:v>0.84399999999999997</c:v>
                </c:pt>
                <c:pt idx="6557">
                  <c:v>0.755</c:v>
                </c:pt>
                <c:pt idx="6558">
                  <c:v>6.0999999999999999E-2</c:v>
                </c:pt>
                <c:pt idx="6559">
                  <c:v>0.432</c:v>
                </c:pt>
                <c:pt idx="6560">
                  <c:v>0.108</c:v>
                </c:pt>
                <c:pt idx="6561">
                  <c:v>0.45800000000000002</c:v>
                </c:pt>
                <c:pt idx="6562">
                  <c:v>0.30599999999999999</c:v>
                </c:pt>
                <c:pt idx="6563">
                  <c:v>0.23300000000000001</c:v>
                </c:pt>
                <c:pt idx="6564">
                  <c:v>0.255</c:v>
                </c:pt>
                <c:pt idx="6565">
                  <c:v>0.25900000000000001</c:v>
                </c:pt>
                <c:pt idx="6566">
                  <c:v>7.2999999999999995E-2</c:v>
                </c:pt>
                <c:pt idx="6567">
                  <c:v>0.221</c:v>
                </c:pt>
                <c:pt idx="6568">
                  <c:v>0.42</c:v>
                </c:pt>
                <c:pt idx="6569">
                  <c:v>6.6000000000000003E-2</c:v>
                </c:pt>
                <c:pt idx="6570">
                  <c:v>0.72799999999999998</c:v>
                </c:pt>
                <c:pt idx="6571">
                  <c:v>0.622</c:v>
                </c:pt>
                <c:pt idx="6572">
                  <c:v>0.51100000000000001</c:v>
                </c:pt>
                <c:pt idx="6573">
                  <c:v>0.27100000000000002</c:v>
                </c:pt>
                <c:pt idx="6574">
                  <c:v>0.16500000000000001</c:v>
                </c:pt>
                <c:pt idx="6575">
                  <c:v>0.109</c:v>
                </c:pt>
                <c:pt idx="6576">
                  <c:v>0.14099999999999999</c:v>
                </c:pt>
                <c:pt idx="6577">
                  <c:v>0.36699999999999999</c:v>
                </c:pt>
                <c:pt idx="6578">
                  <c:v>0.83899999999999997</c:v>
                </c:pt>
                <c:pt idx="6579">
                  <c:v>0.42899999999999999</c:v>
                </c:pt>
                <c:pt idx="6580">
                  <c:v>0.11799999999999999</c:v>
                </c:pt>
                <c:pt idx="6581">
                  <c:v>0.113</c:v>
                </c:pt>
                <c:pt idx="6582">
                  <c:v>0.56599999999999995</c:v>
                </c:pt>
                <c:pt idx="6583">
                  <c:v>9.5000000000000001E-2</c:v>
                </c:pt>
                <c:pt idx="6584">
                  <c:v>0.66200000000000003</c:v>
                </c:pt>
                <c:pt idx="6585">
                  <c:v>0.63100000000000001</c:v>
                </c:pt>
                <c:pt idx="6586">
                  <c:v>0.70099999999999996</c:v>
                </c:pt>
                <c:pt idx="6587">
                  <c:v>7.6999999999999999E-2</c:v>
                </c:pt>
                <c:pt idx="6588">
                  <c:v>0.14699999999999999</c:v>
                </c:pt>
                <c:pt idx="6589">
                  <c:v>0.246</c:v>
                </c:pt>
                <c:pt idx="6590">
                  <c:v>0.25900000000000001</c:v>
                </c:pt>
                <c:pt idx="6591">
                  <c:v>8.8999999999999996E-2</c:v>
                </c:pt>
                <c:pt idx="6592">
                  <c:v>6.8000000000000005E-2</c:v>
                </c:pt>
                <c:pt idx="6593">
                  <c:v>0.27500000000000002</c:v>
                </c:pt>
                <c:pt idx="6594">
                  <c:v>2.8000000000000001E-2</c:v>
                </c:pt>
                <c:pt idx="6595">
                  <c:v>0.161</c:v>
                </c:pt>
                <c:pt idx="6596">
                  <c:v>0.21</c:v>
                </c:pt>
                <c:pt idx="6597">
                  <c:v>0.32100000000000001</c:v>
                </c:pt>
                <c:pt idx="6598">
                  <c:v>0.2</c:v>
                </c:pt>
                <c:pt idx="6599">
                  <c:v>0.32200000000000001</c:v>
                </c:pt>
                <c:pt idx="6600">
                  <c:v>7.5999999999999998E-2</c:v>
                </c:pt>
                <c:pt idx="6601">
                  <c:v>0.78500000000000003</c:v>
                </c:pt>
                <c:pt idx="6602">
                  <c:v>0.70199999999999996</c:v>
                </c:pt>
                <c:pt idx="6603">
                  <c:v>0.51900000000000002</c:v>
                </c:pt>
                <c:pt idx="6604">
                  <c:v>8.9999999999999993E-3</c:v>
                </c:pt>
                <c:pt idx="6605">
                  <c:v>0.40600000000000003</c:v>
                </c:pt>
                <c:pt idx="6606">
                  <c:v>0.23100000000000001</c:v>
                </c:pt>
                <c:pt idx="6607">
                  <c:v>0.39900000000000002</c:v>
                </c:pt>
                <c:pt idx="6608">
                  <c:v>0.17499999999999999</c:v>
                </c:pt>
                <c:pt idx="6609">
                  <c:v>2.5999999999999999E-2</c:v>
                </c:pt>
                <c:pt idx="6610">
                  <c:v>0.34699999999999998</c:v>
                </c:pt>
                <c:pt idx="6611">
                  <c:v>0.26100000000000001</c:v>
                </c:pt>
                <c:pt idx="6612">
                  <c:v>0.51400000000000001</c:v>
                </c:pt>
                <c:pt idx="6613">
                  <c:v>0.26300000000000001</c:v>
                </c:pt>
                <c:pt idx="6614">
                  <c:v>0.71</c:v>
                </c:pt>
                <c:pt idx="6615">
                  <c:v>0.30099999999999999</c:v>
                </c:pt>
                <c:pt idx="6616">
                  <c:v>0.18</c:v>
                </c:pt>
                <c:pt idx="6617">
                  <c:v>0.55200000000000005</c:v>
                </c:pt>
                <c:pt idx="6618">
                  <c:v>7.2999999999999995E-2</c:v>
                </c:pt>
                <c:pt idx="6619">
                  <c:v>0.72</c:v>
                </c:pt>
                <c:pt idx="6620">
                  <c:v>0.40899999999999997</c:v>
                </c:pt>
                <c:pt idx="6621">
                  <c:v>0.216</c:v>
                </c:pt>
                <c:pt idx="6622">
                  <c:v>0.52300000000000002</c:v>
                </c:pt>
                <c:pt idx="6623">
                  <c:v>0.127</c:v>
                </c:pt>
                <c:pt idx="6624">
                  <c:v>0.17699999999999999</c:v>
                </c:pt>
                <c:pt idx="6625">
                  <c:v>0.2</c:v>
                </c:pt>
                <c:pt idx="6626">
                  <c:v>0.35199999999999998</c:v>
                </c:pt>
                <c:pt idx="6627">
                  <c:v>0.17499999999999999</c:v>
                </c:pt>
                <c:pt idx="6628">
                  <c:v>7.6999999999999999E-2</c:v>
                </c:pt>
                <c:pt idx="6629">
                  <c:v>0.318</c:v>
                </c:pt>
                <c:pt idx="6630">
                  <c:v>0.217</c:v>
                </c:pt>
                <c:pt idx="6631">
                  <c:v>7.3999999999999996E-2</c:v>
                </c:pt>
                <c:pt idx="6632">
                  <c:v>0.53800000000000003</c:v>
                </c:pt>
                <c:pt idx="6633">
                  <c:v>0.35299999999999998</c:v>
                </c:pt>
                <c:pt idx="6634">
                  <c:v>0.113</c:v>
                </c:pt>
                <c:pt idx="6635">
                  <c:v>0.27900000000000003</c:v>
                </c:pt>
                <c:pt idx="6636">
                  <c:v>0.33300000000000002</c:v>
                </c:pt>
                <c:pt idx="6637">
                  <c:v>0.127</c:v>
                </c:pt>
                <c:pt idx="6638">
                  <c:v>0.24199999999999999</c:v>
                </c:pt>
                <c:pt idx="6639">
                  <c:v>0.71899999999999997</c:v>
                </c:pt>
                <c:pt idx="6640">
                  <c:v>0.60099999999999998</c:v>
                </c:pt>
                <c:pt idx="6641">
                  <c:v>0.47699999999999998</c:v>
                </c:pt>
                <c:pt idx="6642">
                  <c:v>1.4E-2</c:v>
                </c:pt>
                <c:pt idx="6643">
                  <c:v>0.74</c:v>
                </c:pt>
                <c:pt idx="6644">
                  <c:v>9.5000000000000001E-2</c:v>
                </c:pt>
                <c:pt idx="6645">
                  <c:v>0.90200000000000002</c:v>
                </c:pt>
                <c:pt idx="6646">
                  <c:v>0.34699999999999998</c:v>
                </c:pt>
                <c:pt idx="6647">
                  <c:v>0.77200000000000002</c:v>
                </c:pt>
                <c:pt idx="6648">
                  <c:v>0.373</c:v>
                </c:pt>
                <c:pt idx="6649">
                  <c:v>0.106</c:v>
                </c:pt>
                <c:pt idx="6650">
                  <c:v>0.24399999999999999</c:v>
                </c:pt>
                <c:pt idx="6651">
                  <c:v>0.14299999999999999</c:v>
                </c:pt>
                <c:pt idx="6652">
                  <c:v>0.158</c:v>
                </c:pt>
                <c:pt idx="6653">
                  <c:v>0.224</c:v>
                </c:pt>
                <c:pt idx="6654">
                  <c:v>0.23699999999999999</c:v>
                </c:pt>
                <c:pt idx="6655">
                  <c:v>0.30099999999999999</c:v>
                </c:pt>
                <c:pt idx="6656">
                  <c:v>0.23599999999999999</c:v>
                </c:pt>
                <c:pt idx="6657">
                  <c:v>0.45500000000000002</c:v>
                </c:pt>
                <c:pt idx="6658">
                  <c:v>0.29199999999999998</c:v>
                </c:pt>
                <c:pt idx="6659">
                  <c:v>7.5999999999999998E-2</c:v>
                </c:pt>
                <c:pt idx="6660">
                  <c:v>0</c:v>
                </c:pt>
                <c:pt idx="6661">
                  <c:v>7.0999999999999994E-2</c:v>
                </c:pt>
                <c:pt idx="6662">
                  <c:v>0.22700000000000001</c:v>
                </c:pt>
                <c:pt idx="6663">
                  <c:v>9.6000000000000002E-2</c:v>
                </c:pt>
                <c:pt idx="6664">
                  <c:v>8.1000000000000003E-2</c:v>
                </c:pt>
                <c:pt idx="6665">
                  <c:v>0.58299999999999996</c:v>
                </c:pt>
                <c:pt idx="6666">
                  <c:v>0</c:v>
                </c:pt>
                <c:pt idx="6667">
                  <c:v>0.107</c:v>
                </c:pt>
                <c:pt idx="6668">
                  <c:v>0.30499999999999999</c:v>
                </c:pt>
                <c:pt idx="6669">
                  <c:v>0.308</c:v>
                </c:pt>
                <c:pt idx="6670">
                  <c:v>0.47299999999999998</c:v>
                </c:pt>
                <c:pt idx="6671">
                  <c:v>0.60599999999999998</c:v>
                </c:pt>
                <c:pt idx="6672">
                  <c:v>0.17899999999999999</c:v>
                </c:pt>
                <c:pt idx="6673">
                  <c:v>0.34699999999999998</c:v>
                </c:pt>
                <c:pt idx="6674">
                  <c:v>0.23400000000000001</c:v>
                </c:pt>
                <c:pt idx="6675">
                  <c:v>0.14499999999999999</c:v>
                </c:pt>
                <c:pt idx="6676">
                  <c:v>0.88</c:v>
                </c:pt>
                <c:pt idx="6677">
                  <c:v>0.252</c:v>
                </c:pt>
                <c:pt idx="6678">
                  <c:v>2.4E-2</c:v>
                </c:pt>
                <c:pt idx="6679">
                  <c:v>0.88500000000000001</c:v>
                </c:pt>
                <c:pt idx="6680">
                  <c:v>1.0999999999999999E-2</c:v>
                </c:pt>
                <c:pt idx="6681">
                  <c:v>0.40699999999999997</c:v>
                </c:pt>
                <c:pt idx="6682">
                  <c:v>0.27900000000000003</c:v>
                </c:pt>
                <c:pt idx="6683">
                  <c:v>0.33800000000000002</c:v>
                </c:pt>
                <c:pt idx="6684">
                  <c:v>0.66400000000000003</c:v>
                </c:pt>
                <c:pt idx="6685">
                  <c:v>0.48899999999999999</c:v>
                </c:pt>
                <c:pt idx="6686">
                  <c:v>0.55300000000000005</c:v>
                </c:pt>
                <c:pt idx="6687">
                  <c:v>0.28199999999999997</c:v>
                </c:pt>
                <c:pt idx="6688">
                  <c:v>0.85699999999999998</c:v>
                </c:pt>
                <c:pt idx="6689">
                  <c:v>0.31900000000000001</c:v>
                </c:pt>
                <c:pt idx="6690">
                  <c:v>0.14399999999999999</c:v>
                </c:pt>
                <c:pt idx="6691">
                  <c:v>0.39</c:v>
                </c:pt>
                <c:pt idx="6692">
                  <c:v>0.317</c:v>
                </c:pt>
                <c:pt idx="6693">
                  <c:v>0.755</c:v>
                </c:pt>
                <c:pt idx="6694">
                  <c:v>6.8000000000000005E-2</c:v>
                </c:pt>
                <c:pt idx="6695">
                  <c:v>0.42099999999999999</c:v>
                </c:pt>
                <c:pt idx="6696">
                  <c:v>8.6999999999999994E-2</c:v>
                </c:pt>
                <c:pt idx="6697">
                  <c:v>0.32200000000000001</c:v>
                </c:pt>
                <c:pt idx="6698">
                  <c:v>0.33800000000000002</c:v>
                </c:pt>
                <c:pt idx="6699">
                  <c:v>0.45300000000000001</c:v>
                </c:pt>
                <c:pt idx="6700">
                  <c:v>0.34</c:v>
                </c:pt>
                <c:pt idx="6701">
                  <c:v>0.34200000000000003</c:v>
                </c:pt>
                <c:pt idx="6702">
                  <c:v>0.11799999999999999</c:v>
                </c:pt>
                <c:pt idx="6703">
                  <c:v>0.20499999999999999</c:v>
                </c:pt>
                <c:pt idx="6704">
                  <c:v>0.32700000000000001</c:v>
                </c:pt>
                <c:pt idx="6705">
                  <c:v>0.26600000000000001</c:v>
                </c:pt>
                <c:pt idx="6706">
                  <c:v>0.27500000000000002</c:v>
                </c:pt>
                <c:pt idx="6707">
                  <c:v>0.35399999999999998</c:v>
                </c:pt>
                <c:pt idx="6708">
                  <c:v>0.27200000000000002</c:v>
                </c:pt>
                <c:pt idx="6709">
                  <c:v>0.79100000000000004</c:v>
                </c:pt>
                <c:pt idx="6710">
                  <c:v>0.54600000000000004</c:v>
                </c:pt>
                <c:pt idx="6711">
                  <c:v>0.16600000000000001</c:v>
                </c:pt>
                <c:pt idx="6712">
                  <c:v>0.16800000000000001</c:v>
                </c:pt>
                <c:pt idx="6713">
                  <c:v>6.0999999999999999E-2</c:v>
                </c:pt>
                <c:pt idx="6714">
                  <c:v>0.39500000000000002</c:v>
                </c:pt>
                <c:pt idx="6715">
                  <c:v>0.79400000000000004</c:v>
                </c:pt>
                <c:pt idx="6716">
                  <c:v>8.4000000000000005E-2</c:v>
                </c:pt>
                <c:pt idx="6717">
                  <c:v>0.52200000000000002</c:v>
                </c:pt>
                <c:pt idx="6718">
                  <c:v>0.13800000000000001</c:v>
                </c:pt>
                <c:pt idx="6719">
                  <c:v>0.45200000000000001</c:v>
                </c:pt>
                <c:pt idx="6720">
                  <c:v>0.23699999999999999</c:v>
                </c:pt>
                <c:pt idx="6721">
                  <c:v>0.48499999999999999</c:v>
                </c:pt>
                <c:pt idx="6722">
                  <c:v>0.45700000000000002</c:v>
                </c:pt>
                <c:pt idx="6723">
                  <c:v>0.45300000000000001</c:v>
                </c:pt>
                <c:pt idx="6724">
                  <c:v>0.35199999999999998</c:v>
                </c:pt>
                <c:pt idx="6725">
                  <c:v>0.124</c:v>
                </c:pt>
                <c:pt idx="6726">
                  <c:v>0.53700000000000003</c:v>
                </c:pt>
                <c:pt idx="6727">
                  <c:v>0.123</c:v>
                </c:pt>
                <c:pt idx="6728">
                  <c:v>0.28299999999999997</c:v>
                </c:pt>
                <c:pt idx="6729">
                  <c:v>5.0999999999999997E-2</c:v>
                </c:pt>
                <c:pt idx="6730">
                  <c:v>0.25900000000000001</c:v>
                </c:pt>
                <c:pt idx="6731">
                  <c:v>0.17899999999999999</c:v>
                </c:pt>
                <c:pt idx="6732">
                  <c:v>0.94599999999999995</c:v>
                </c:pt>
                <c:pt idx="6733">
                  <c:v>0.52200000000000002</c:v>
                </c:pt>
                <c:pt idx="6734">
                  <c:v>0.41</c:v>
                </c:pt>
                <c:pt idx="6735">
                  <c:v>0.39300000000000002</c:v>
                </c:pt>
                <c:pt idx="6736">
                  <c:v>0.32500000000000001</c:v>
                </c:pt>
                <c:pt idx="6737">
                  <c:v>0</c:v>
                </c:pt>
                <c:pt idx="6738">
                  <c:v>0.216</c:v>
                </c:pt>
                <c:pt idx="6739">
                  <c:v>0.13400000000000001</c:v>
                </c:pt>
                <c:pt idx="6740">
                  <c:v>1.7999999999999999E-2</c:v>
                </c:pt>
                <c:pt idx="6741">
                  <c:v>0.02</c:v>
                </c:pt>
                <c:pt idx="6742">
                  <c:v>0.52200000000000002</c:v>
                </c:pt>
                <c:pt idx="6743">
                  <c:v>0.441</c:v>
                </c:pt>
                <c:pt idx="6744">
                  <c:v>0.20499999999999999</c:v>
                </c:pt>
                <c:pt idx="6745">
                  <c:v>0.59799999999999998</c:v>
                </c:pt>
                <c:pt idx="6746">
                  <c:v>3.4000000000000002E-2</c:v>
                </c:pt>
                <c:pt idx="6747">
                  <c:v>0.79600000000000004</c:v>
                </c:pt>
                <c:pt idx="6748">
                  <c:v>0.27600000000000002</c:v>
                </c:pt>
                <c:pt idx="6749">
                  <c:v>0.53700000000000003</c:v>
                </c:pt>
                <c:pt idx="6750">
                  <c:v>9.6000000000000002E-2</c:v>
                </c:pt>
                <c:pt idx="6751">
                  <c:v>0.35899999999999999</c:v>
                </c:pt>
                <c:pt idx="6752">
                  <c:v>0.18</c:v>
                </c:pt>
                <c:pt idx="6753">
                  <c:v>6.7000000000000004E-2</c:v>
                </c:pt>
                <c:pt idx="6754">
                  <c:v>3.1E-2</c:v>
                </c:pt>
                <c:pt idx="6755">
                  <c:v>0.42199999999999999</c:v>
                </c:pt>
                <c:pt idx="6756">
                  <c:v>7.6999999999999999E-2</c:v>
                </c:pt>
                <c:pt idx="6757">
                  <c:v>0.08</c:v>
                </c:pt>
                <c:pt idx="6758">
                  <c:v>0.40899999999999997</c:v>
                </c:pt>
                <c:pt idx="6759">
                  <c:v>0.21099999999999999</c:v>
                </c:pt>
                <c:pt idx="6760">
                  <c:v>7.8E-2</c:v>
                </c:pt>
                <c:pt idx="6761">
                  <c:v>0.10299999999999999</c:v>
                </c:pt>
                <c:pt idx="6762">
                  <c:v>0.28000000000000003</c:v>
                </c:pt>
                <c:pt idx="6763">
                  <c:v>0.70499999999999996</c:v>
                </c:pt>
                <c:pt idx="6764">
                  <c:v>1.2E-2</c:v>
                </c:pt>
                <c:pt idx="6765">
                  <c:v>0.55900000000000005</c:v>
                </c:pt>
                <c:pt idx="6766">
                  <c:v>0.59299999999999997</c:v>
                </c:pt>
                <c:pt idx="6767">
                  <c:v>0.25800000000000001</c:v>
                </c:pt>
                <c:pt idx="6768">
                  <c:v>0.55900000000000005</c:v>
                </c:pt>
                <c:pt idx="6769">
                  <c:v>0.44700000000000001</c:v>
                </c:pt>
                <c:pt idx="6770">
                  <c:v>0.13200000000000001</c:v>
                </c:pt>
                <c:pt idx="6771">
                  <c:v>0.113</c:v>
                </c:pt>
                <c:pt idx="6772">
                  <c:v>0.13800000000000001</c:v>
                </c:pt>
                <c:pt idx="6773">
                  <c:v>0.106</c:v>
                </c:pt>
                <c:pt idx="6774">
                  <c:v>0.63</c:v>
                </c:pt>
                <c:pt idx="6775">
                  <c:v>7.8E-2</c:v>
                </c:pt>
                <c:pt idx="6776">
                  <c:v>0.105</c:v>
                </c:pt>
                <c:pt idx="6777">
                  <c:v>0.435</c:v>
                </c:pt>
                <c:pt idx="6778">
                  <c:v>0.246</c:v>
                </c:pt>
                <c:pt idx="6779">
                  <c:v>0.30499999999999999</c:v>
                </c:pt>
                <c:pt idx="6780">
                  <c:v>0.126</c:v>
                </c:pt>
                <c:pt idx="6781">
                  <c:v>6.6000000000000003E-2</c:v>
                </c:pt>
                <c:pt idx="6782">
                  <c:v>0.126</c:v>
                </c:pt>
                <c:pt idx="6783">
                  <c:v>0.36199999999999999</c:v>
                </c:pt>
                <c:pt idx="6784">
                  <c:v>0.755</c:v>
                </c:pt>
                <c:pt idx="6785">
                  <c:v>1.9E-2</c:v>
                </c:pt>
                <c:pt idx="6786">
                  <c:v>0.185</c:v>
                </c:pt>
                <c:pt idx="6787">
                  <c:v>7.9000000000000001E-2</c:v>
                </c:pt>
                <c:pt idx="6788">
                  <c:v>0.184</c:v>
                </c:pt>
                <c:pt idx="6789">
                  <c:v>5.6000000000000001E-2</c:v>
                </c:pt>
                <c:pt idx="6790">
                  <c:v>5.6000000000000001E-2</c:v>
                </c:pt>
                <c:pt idx="6791">
                  <c:v>0.13800000000000001</c:v>
                </c:pt>
                <c:pt idx="6792">
                  <c:v>0.64100000000000001</c:v>
                </c:pt>
                <c:pt idx="6793">
                  <c:v>1.6E-2</c:v>
                </c:pt>
                <c:pt idx="6794">
                  <c:v>0.30199999999999999</c:v>
                </c:pt>
                <c:pt idx="6795">
                  <c:v>0.61399999999999999</c:v>
                </c:pt>
                <c:pt idx="6796">
                  <c:v>0.11899999999999999</c:v>
                </c:pt>
                <c:pt idx="6797">
                  <c:v>0.54400000000000004</c:v>
                </c:pt>
                <c:pt idx="6798">
                  <c:v>2.4E-2</c:v>
                </c:pt>
                <c:pt idx="6799">
                  <c:v>0.435</c:v>
                </c:pt>
                <c:pt idx="6800">
                  <c:v>0.45500000000000002</c:v>
                </c:pt>
                <c:pt idx="6801">
                  <c:v>0.185</c:v>
                </c:pt>
                <c:pt idx="6802">
                  <c:v>0.879</c:v>
                </c:pt>
                <c:pt idx="6803">
                  <c:v>0.16600000000000001</c:v>
                </c:pt>
                <c:pt idx="6804">
                  <c:v>0.14399999999999999</c:v>
                </c:pt>
                <c:pt idx="6805">
                  <c:v>0.38</c:v>
                </c:pt>
                <c:pt idx="6806">
                  <c:v>0.23100000000000001</c:v>
                </c:pt>
                <c:pt idx="6807">
                  <c:v>0.46</c:v>
                </c:pt>
                <c:pt idx="6808">
                  <c:v>0.47899999999999998</c:v>
                </c:pt>
                <c:pt idx="6809">
                  <c:v>0.41299999999999998</c:v>
                </c:pt>
                <c:pt idx="6810">
                  <c:v>0.19400000000000001</c:v>
                </c:pt>
                <c:pt idx="6811">
                  <c:v>0.23</c:v>
                </c:pt>
                <c:pt idx="6812">
                  <c:v>0.115</c:v>
                </c:pt>
                <c:pt idx="6813">
                  <c:v>0.41799999999999998</c:v>
                </c:pt>
                <c:pt idx="6814">
                  <c:v>6.2E-2</c:v>
                </c:pt>
                <c:pt idx="6815">
                  <c:v>0.49399999999999999</c:v>
                </c:pt>
                <c:pt idx="6816">
                  <c:v>8.5999999999999993E-2</c:v>
                </c:pt>
                <c:pt idx="6817">
                  <c:v>0.193</c:v>
                </c:pt>
                <c:pt idx="6818">
                  <c:v>5.8000000000000003E-2</c:v>
                </c:pt>
                <c:pt idx="6819">
                  <c:v>0.39200000000000002</c:v>
                </c:pt>
                <c:pt idx="6820">
                  <c:v>0.42299999999999999</c:v>
                </c:pt>
                <c:pt idx="6821">
                  <c:v>3.1E-2</c:v>
                </c:pt>
                <c:pt idx="6822">
                  <c:v>1.0999999999999999E-2</c:v>
                </c:pt>
                <c:pt idx="6823">
                  <c:v>6.0999999999999999E-2</c:v>
                </c:pt>
                <c:pt idx="6824">
                  <c:v>0.56100000000000005</c:v>
                </c:pt>
                <c:pt idx="6825">
                  <c:v>3.6999999999999998E-2</c:v>
                </c:pt>
                <c:pt idx="6826">
                  <c:v>8.8999999999999996E-2</c:v>
                </c:pt>
                <c:pt idx="6827">
                  <c:v>2.1000000000000001E-2</c:v>
                </c:pt>
                <c:pt idx="6828">
                  <c:v>0.70299999999999996</c:v>
                </c:pt>
                <c:pt idx="6829">
                  <c:v>0.26900000000000002</c:v>
                </c:pt>
                <c:pt idx="6830">
                  <c:v>0.55700000000000005</c:v>
                </c:pt>
                <c:pt idx="6831">
                  <c:v>0.71199999999999997</c:v>
                </c:pt>
                <c:pt idx="6832">
                  <c:v>0.161</c:v>
                </c:pt>
                <c:pt idx="6833">
                  <c:v>0.30499999999999999</c:v>
                </c:pt>
                <c:pt idx="6834">
                  <c:v>0.17299999999999999</c:v>
                </c:pt>
                <c:pt idx="6835">
                  <c:v>0.14499999999999999</c:v>
                </c:pt>
                <c:pt idx="6836">
                  <c:v>0.28000000000000003</c:v>
                </c:pt>
                <c:pt idx="6837">
                  <c:v>0.19500000000000001</c:v>
                </c:pt>
                <c:pt idx="6838">
                  <c:v>4.1000000000000002E-2</c:v>
                </c:pt>
                <c:pt idx="6839">
                  <c:v>0.14599999999999999</c:v>
                </c:pt>
                <c:pt idx="6840">
                  <c:v>8.9999999999999993E-3</c:v>
                </c:pt>
                <c:pt idx="6841">
                  <c:v>0.41899999999999998</c:v>
                </c:pt>
                <c:pt idx="6842">
                  <c:v>7.6999999999999999E-2</c:v>
                </c:pt>
                <c:pt idx="6843">
                  <c:v>0.375</c:v>
                </c:pt>
                <c:pt idx="6844">
                  <c:v>0.15</c:v>
                </c:pt>
                <c:pt idx="6845">
                  <c:v>0.03</c:v>
                </c:pt>
                <c:pt idx="6846">
                  <c:v>0.26100000000000001</c:v>
                </c:pt>
                <c:pt idx="6847">
                  <c:v>1.0999999999999999E-2</c:v>
                </c:pt>
                <c:pt idx="6848">
                  <c:v>0.81200000000000006</c:v>
                </c:pt>
                <c:pt idx="6849">
                  <c:v>0.29099999999999998</c:v>
                </c:pt>
                <c:pt idx="6850">
                  <c:v>0.02</c:v>
                </c:pt>
                <c:pt idx="6851">
                  <c:v>0.64200000000000002</c:v>
                </c:pt>
                <c:pt idx="6852">
                  <c:v>0.128</c:v>
                </c:pt>
                <c:pt idx="6853">
                  <c:v>0.20699999999999999</c:v>
                </c:pt>
                <c:pt idx="6854">
                  <c:v>0.66800000000000004</c:v>
                </c:pt>
                <c:pt idx="6855">
                  <c:v>0.254</c:v>
                </c:pt>
                <c:pt idx="6856">
                  <c:v>7.0000000000000007E-2</c:v>
                </c:pt>
                <c:pt idx="6857">
                  <c:v>9.6000000000000002E-2</c:v>
                </c:pt>
                <c:pt idx="6858">
                  <c:v>5.7000000000000002E-2</c:v>
                </c:pt>
                <c:pt idx="6859">
                  <c:v>0.253</c:v>
                </c:pt>
                <c:pt idx="6860">
                  <c:v>0.41899999999999998</c:v>
                </c:pt>
                <c:pt idx="6861">
                  <c:v>8.0000000000000002E-3</c:v>
                </c:pt>
                <c:pt idx="6862">
                  <c:v>0.624</c:v>
                </c:pt>
                <c:pt idx="6863">
                  <c:v>0.29099999999999998</c:v>
                </c:pt>
                <c:pt idx="6864">
                  <c:v>0.17299999999999999</c:v>
                </c:pt>
                <c:pt idx="6865">
                  <c:v>7.2999999999999995E-2</c:v>
                </c:pt>
                <c:pt idx="6866">
                  <c:v>0.19</c:v>
                </c:pt>
                <c:pt idx="6867">
                  <c:v>4.8000000000000001E-2</c:v>
                </c:pt>
                <c:pt idx="6868">
                  <c:v>0.33300000000000002</c:v>
                </c:pt>
                <c:pt idx="6869">
                  <c:v>0.44400000000000001</c:v>
                </c:pt>
                <c:pt idx="6870">
                  <c:v>0.246</c:v>
                </c:pt>
                <c:pt idx="6871">
                  <c:v>1.4E-2</c:v>
                </c:pt>
                <c:pt idx="6872">
                  <c:v>0.29199999999999998</c:v>
                </c:pt>
                <c:pt idx="6873">
                  <c:v>0.42499999999999999</c:v>
                </c:pt>
                <c:pt idx="6874">
                  <c:v>0.83199999999999996</c:v>
                </c:pt>
                <c:pt idx="6875">
                  <c:v>0.29799999999999999</c:v>
                </c:pt>
                <c:pt idx="6876">
                  <c:v>0.105</c:v>
                </c:pt>
                <c:pt idx="6877">
                  <c:v>0.81599999999999995</c:v>
                </c:pt>
                <c:pt idx="6878">
                  <c:v>0.42099999999999999</c:v>
                </c:pt>
                <c:pt idx="6879">
                  <c:v>8.3000000000000004E-2</c:v>
                </c:pt>
                <c:pt idx="6880">
                  <c:v>0.24099999999999999</c:v>
                </c:pt>
                <c:pt idx="6881">
                  <c:v>0.29199999999999998</c:v>
                </c:pt>
                <c:pt idx="6882">
                  <c:v>0.55500000000000005</c:v>
                </c:pt>
                <c:pt idx="6883">
                  <c:v>0.65200000000000002</c:v>
                </c:pt>
                <c:pt idx="6884">
                  <c:v>0.23400000000000001</c:v>
                </c:pt>
                <c:pt idx="6885">
                  <c:v>0.59399999999999997</c:v>
                </c:pt>
                <c:pt idx="6886">
                  <c:v>0.14699999999999999</c:v>
                </c:pt>
                <c:pt idx="6887">
                  <c:v>0.70799999999999996</c:v>
                </c:pt>
                <c:pt idx="6888">
                  <c:v>0.14099999999999999</c:v>
                </c:pt>
                <c:pt idx="6889">
                  <c:v>9.9000000000000005E-2</c:v>
                </c:pt>
                <c:pt idx="6890">
                  <c:v>0.161</c:v>
                </c:pt>
                <c:pt idx="6891">
                  <c:v>0.27</c:v>
                </c:pt>
                <c:pt idx="6892">
                  <c:v>0.185</c:v>
                </c:pt>
                <c:pt idx="6893">
                  <c:v>0.73199999999999998</c:v>
                </c:pt>
                <c:pt idx="6894">
                  <c:v>0.33300000000000002</c:v>
                </c:pt>
                <c:pt idx="6895">
                  <c:v>9.6000000000000002E-2</c:v>
                </c:pt>
                <c:pt idx="6896">
                  <c:v>0.44600000000000001</c:v>
                </c:pt>
                <c:pt idx="6897">
                  <c:v>0.13</c:v>
                </c:pt>
                <c:pt idx="6898">
                  <c:v>0.91300000000000003</c:v>
                </c:pt>
                <c:pt idx="6899">
                  <c:v>0.94899999999999995</c:v>
                </c:pt>
                <c:pt idx="6900">
                  <c:v>8.5999999999999993E-2</c:v>
                </c:pt>
                <c:pt idx="6901">
                  <c:v>0.36599999999999999</c:v>
                </c:pt>
                <c:pt idx="6902">
                  <c:v>0.59699999999999998</c:v>
                </c:pt>
                <c:pt idx="6903">
                  <c:v>0.27600000000000002</c:v>
                </c:pt>
                <c:pt idx="6904">
                  <c:v>0.122</c:v>
                </c:pt>
                <c:pt idx="6905">
                  <c:v>0.36499999999999999</c:v>
                </c:pt>
                <c:pt idx="6906">
                  <c:v>2.1000000000000001E-2</c:v>
                </c:pt>
                <c:pt idx="6907">
                  <c:v>7.6999999999999999E-2</c:v>
                </c:pt>
                <c:pt idx="6908">
                  <c:v>6.9000000000000006E-2</c:v>
                </c:pt>
                <c:pt idx="6909">
                  <c:v>0.19500000000000001</c:v>
                </c:pt>
                <c:pt idx="6910">
                  <c:v>0.27200000000000002</c:v>
                </c:pt>
                <c:pt idx="6911">
                  <c:v>0.182</c:v>
                </c:pt>
                <c:pt idx="6912">
                  <c:v>0</c:v>
                </c:pt>
                <c:pt idx="6913">
                  <c:v>0.104</c:v>
                </c:pt>
                <c:pt idx="6914">
                  <c:v>0.35199999999999998</c:v>
                </c:pt>
                <c:pt idx="6915">
                  <c:v>0.45100000000000001</c:v>
                </c:pt>
                <c:pt idx="6916">
                  <c:v>4.2000000000000003E-2</c:v>
                </c:pt>
                <c:pt idx="6917">
                  <c:v>0</c:v>
                </c:pt>
                <c:pt idx="6918">
                  <c:v>0.57299999999999995</c:v>
                </c:pt>
                <c:pt idx="6919">
                  <c:v>7.6999999999999999E-2</c:v>
                </c:pt>
                <c:pt idx="6920">
                  <c:v>0.45800000000000002</c:v>
                </c:pt>
                <c:pt idx="6921">
                  <c:v>1.0999999999999999E-2</c:v>
                </c:pt>
                <c:pt idx="6922">
                  <c:v>0.311</c:v>
                </c:pt>
                <c:pt idx="6923">
                  <c:v>0.159</c:v>
                </c:pt>
                <c:pt idx="6924">
                  <c:v>4.1000000000000002E-2</c:v>
                </c:pt>
                <c:pt idx="6925">
                  <c:v>0.249</c:v>
                </c:pt>
                <c:pt idx="6926">
                  <c:v>0.20300000000000001</c:v>
                </c:pt>
                <c:pt idx="6927">
                  <c:v>0.15</c:v>
                </c:pt>
                <c:pt idx="6928">
                  <c:v>0.115</c:v>
                </c:pt>
                <c:pt idx="6929">
                  <c:v>0.254</c:v>
                </c:pt>
                <c:pt idx="6930">
                  <c:v>2.7E-2</c:v>
                </c:pt>
                <c:pt idx="6931">
                  <c:v>0.129</c:v>
                </c:pt>
                <c:pt idx="6932">
                  <c:v>0.34899999999999998</c:v>
                </c:pt>
                <c:pt idx="6933">
                  <c:v>0.71799999999999997</c:v>
                </c:pt>
                <c:pt idx="6934">
                  <c:v>1.2E-2</c:v>
                </c:pt>
                <c:pt idx="6935">
                  <c:v>0.127</c:v>
                </c:pt>
                <c:pt idx="6936">
                  <c:v>0.38800000000000001</c:v>
                </c:pt>
                <c:pt idx="6937">
                  <c:v>0.93300000000000005</c:v>
                </c:pt>
                <c:pt idx="6938">
                  <c:v>0.28699999999999998</c:v>
                </c:pt>
                <c:pt idx="6939">
                  <c:v>0.183</c:v>
                </c:pt>
                <c:pt idx="6940">
                  <c:v>0.42199999999999999</c:v>
                </c:pt>
                <c:pt idx="6941">
                  <c:v>0.152</c:v>
                </c:pt>
                <c:pt idx="6942">
                  <c:v>0.25600000000000001</c:v>
                </c:pt>
                <c:pt idx="6943">
                  <c:v>6.3E-2</c:v>
                </c:pt>
                <c:pt idx="6944">
                  <c:v>0.46300000000000002</c:v>
                </c:pt>
                <c:pt idx="6945">
                  <c:v>8.5999999999999993E-2</c:v>
                </c:pt>
                <c:pt idx="6946">
                  <c:v>0.67200000000000004</c:v>
                </c:pt>
                <c:pt idx="6947">
                  <c:v>3.5999999999999997E-2</c:v>
                </c:pt>
                <c:pt idx="6948">
                  <c:v>0.34799999999999998</c:v>
                </c:pt>
                <c:pt idx="6949">
                  <c:v>0.83399999999999996</c:v>
                </c:pt>
                <c:pt idx="6950">
                  <c:v>2.7E-2</c:v>
                </c:pt>
                <c:pt idx="6951">
                  <c:v>6.3E-2</c:v>
                </c:pt>
                <c:pt idx="6952">
                  <c:v>0.25800000000000001</c:v>
                </c:pt>
                <c:pt idx="6953">
                  <c:v>0.21</c:v>
                </c:pt>
                <c:pt idx="6954">
                  <c:v>0.158</c:v>
                </c:pt>
                <c:pt idx="6955">
                  <c:v>7.0999999999999994E-2</c:v>
                </c:pt>
                <c:pt idx="6956">
                  <c:v>0.03</c:v>
                </c:pt>
                <c:pt idx="6957">
                  <c:v>0.248</c:v>
                </c:pt>
                <c:pt idx="6958">
                  <c:v>2.7E-2</c:v>
                </c:pt>
                <c:pt idx="6959">
                  <c:v>0.224</c:v>
                </c:pt>
                <c:pt idx="6960">
                  <c:v>0.40100000000000002</c:v>
                </c:pt>
                <c:pt idx="6961">
                  <c:v>0.14099999999999999</c:v>
                </c:pt>
                <c:pt idx="6962">
                  <c:v>0.50900000000000001</c:v>
                </c:pt>
                <c:pt idx="6963">
                  <c:v>8.7999999999999995E-2</c:v>
                </c:pt>
                <c:pt idx="6964">
                  <c:v>4.4999999999999998E-2</c:v>
                </c:pt>
                <c:pt idx="6965">
                  <c:v>8.3000000000000004E-2</c:v>
                </c:pt>
                <c:pt idx="6966">
                  <c:v>0.86599999999999999</c:v>
                </c:pt>
                <c:pt idx="6967">
                  <c:v>0.29799999999999999</c:v>
                </c:pt>
                <c:pt idx="6968">
                  <c:v>0.755</c:v>
                </c:pt>
                <c:pt idx="6969">
                  <c:v>2.5000000000000001E-2</c:v>
                </c:pt>
                <c:pt idx="6970">
                  <c:v>0.10299999999999999</c:v>
                </c:pt>
                <c:pt idx="6971">
                  <c:v>0.126</c:v>
                </c:pt>
                <c:pt idx="6972">
                  <c:v>0.41899999999999998</c:v>
                </c:pt>
                <c:pt idx="6973">
                  <c:v>0.53400000000000003</c:v>
                </c:pt>
                <c:pt idx="6974">
                  <c:v>0.57899999999999996</c:v>
                </c:pt>
                <c:pt idx="6975">
                  <c:v>0.25600000000000001</c:v>
                </c:pt>
                <c:pt idx="6976">
                  <c:v>7.6999999999999999E-2</c:v>
                </c:pt>
                <c:pt idx="6977">
                  <c:v>0.02</c:v>
                </c:pt>
                <c:pt idx="6978">
                  <c:v>0.54600000000000004</c:v>
                </c:pt>
                <c:pt idx="6979">
                  <c:v>0.23300000000000001</c:v>
                </c:pt>
                <c:pt idx="6980">
                  <c:v>9.7000000000000003E-2</c:v>
                </c:pt>
                <c:pt idx="6981">
                  <c:v>0.22700000000000001</c:v>
                </c:pt>
                <c:pt idx="6982">
                  <c:v>0.63500000000000001</c:v>
                </c:pt>
                <c:pt idx="6983">
                  <c:v>1.0999999999999999E-2</c:v>
                </c:pt>
                <c:pt idx="6984">
                  <c:v>0.32</c:v>
                </c:pt>
                <c:pt idx="6985">
                  <c:v>0.214</c:v>
                </c:pt>
                <c:pt idx="6986">
                  <c:v>0.17599999999999999</c:v>
                </c:pt>
                <c:pt idx="6987">
                  <c:v>0.123</c:v>
                </c:pt>
                <c:pt idx="6988">
                  <c:v>0.49199999999999999</c:v>
                </c:pt>
                <c:pt idx="6989">
                  <c:v>0.10299999999999999</c:v>
                </c:pt>
                <c:pt idx="6990">
                  <c:v>4.1000000000000002E-2</c:v>
                </c:pt>
                <c:pt idx="6991">
                  <c:v>0.183</c:v>
                </c:pt>
                <c:pt idx="6992">
                  <c:v>0.251</c:v>
                </c:pt>
                <c:pt idx="6993">
                  <c:v>0.47699999999999998</c:v>
                </c:pt>
                <c:pt idx="6994">
                  <c:v>0.44400000000000001</c:v>
                </c:pt>
                <c:pt idx="6995">
                  <c:v>0.03</c:v>
                </c:pt>
                <c:pt idx="6996">
                  <c:v>0.17</c:v>
                </c:pt>
                <c:pt idx="6997">
                  <c:v>0.13700000000000001</c:v>
                </c:pt>
                <c:pt idx="6998">
                  <c:v>0.03</c:v>
                </c:pt>
                <c:pt idx="6999">
                  <c:v>2.8000000000000001E-2</c:v>
                </c:pt>
                <c:pt idx="7000">
                  <c:v>0.85399999999999998</c:v>
                </c:pt>
                <c:pt idx="7001">
                  <c:v>0.188</c:v>
                </c:pt>
                <c:pt idx="7002">
                  <c:v>0.124</c:v>
                </c:pt>
                <c:pt idx="7003">
                  <c:v>0.48099999999999998</c:v>
                </c:pt>
                <c:pt idx="7004">
                  <c:v>0</c:v>
                </c:pt>
                <c:pt idx="7005">
                  <c:v>0.11600000000000001</c:v>
                </c:pt>
                <c:pt idx="7006">
                  <c:v>0.26300000000000001</c:v>
                </c:pt>
                <c:pt idx="7007">
                  <c:v>0.14199999999999999</c:v>
                </c:pt>
                <c:pt idx="7008">
                  <c:v>0.14099999999999999</c:v>
                </c:pt>
                <c:pt idx="7009">
                  <c:v>9.1999999999999998E-2</c:v>
                </c:pt>
                <c:pt idx="7010">
                  <c:v>0.47199999999999998</c:v>
                </c:pt>
                <c:pt idx="7011">
                  <c:v>0.10100000000000001</c:v>
                </c:pt>
                <c:pt idx="7012">
                  <c:v>3.5000000000000003E-2</c:v>
                </c:pt>
                <c:pt idx="7013">
                  <c:v>0.45800000000000002</c:v>
                </c:pt>
                <c:pt idx="7014">
                  <c:v>5.2999999999999999E-2</c:v>
                </c:pt>
                <c:pt idx="7015">
                  <c:v>4.1000000000000002E-2</c:v>
                </c:pt>
                <c:pt idx="7016">
                  <c:v>0.307</c:v>
                </c:pt>
                <c:pt idx="7017">
                  <c:v>0.15</c:v>
                </c:pt>
                <c:pt idx="7018">
                  <c:v>0.04</c:v>
                </c:pt>
                <c:pt idx="7019">
                  <c:v>0.50600000000000001</c:v>
                </c:pt>
                <c:pt idx="7020">
                  <c:v>0.621</c:v>
                </c:pt>
                <c:pt idx="7021">
                  <c:v>0.17499999999999999</c:v>
                </c:pt>
                <c:pt idx="7022">
                  <c:v>0.14399999999999999</c:v>
                </c:pt>
                <c:pt idx="7023">
                  <c:v>0.38500000000000001</c:v>
                </c:pt>
                <c:pt idx="7024">
                  <c:v>0.28599999999999998</c:v>
                </c:pt>
                <c:pt idx="7025">
                  <c:v>0.28599999999999998</c:v>
                </c:pt>
                <c:pt idx="7026">
                  <c:v>3.3000000000000002E-2</c:v>
                </c:pt>
                <c:pt idx="7027">
                  <c:v>0.01</c:v>
                </c:pt>
                <c:pt idx="7028">
                  <c:v>0.16200000000000001</c:v>
                </c:pt>
                <c:pt idx="7029">
                  <c:v>0.48799999999999999</c:v>
                </c:pt>
                <c:pt idx="7030">
                  <c:v>0.28499999999999998</c:v>
                </c:pt>
                <c:pt idx="7031">
                  <c:v>0.38600000000000001</c:v>
                </c:pt>
                <c:pt idx="7032">
                  <c:v>0.27500000000000002</c:v>
                </c:pt>
                <c:pt idx="7033">
                  <c:v>0.124</c:v>
                </c:pt>
                <c:pt idx="7034">
                  <c:v>0.14000000000000001</c:v>
                </c:pt>
                <c:pt idx="7035">
                  <c:v>4.8000000000000001E-2</c:v>
                </c:pt>
                <c:pt idx="7036">
                  <c:v>2.1000000000000001E-2</c:v>
                </c:pt>
                <c:pt idx="7037">
                  <c:v>2.9000000000000001E-2</c:v>
                </c:pt>
                <c:pt idx="7038">
                  <c:v>2.3E-2</c:v>
                </c:pt>
                <c:pt idx="7039">
                  <c:v>0.30599999999999999</c:v>
                </c:pt>
                <c:pt idx="7040">
                  <c:v>0.11</c:v>
                </c:pt>
                <c:pt idx="7041">
                  <c:v>6.6000000000000003E-2</c:v>
                </c:pt>
                <c:pt idx="7042">
                  <c:v>0.374</c:v>
                </c:pt>
                <c:pt idx="7043">
                  <c:v>3.3000000000000002E-2</c:v>
                </c:pt>
                <c:pt idx="7044">
                  <c:v>0.21</c:v>
                </c:pt>
                <c:pt idx="7045">
                  <c:v>9.4E-2</c:v>
                </c:pt>
                <c:pt idx="7046">
                  <c:v>0.41299999999999998</c:v>
                </c:pt>
                <c:pt idx="7047">
                  <c:v>8.5000000000000006E-2</c:v>
                </c:pt>
                <c:pt idx="7048">
                  <c:v>5.8000000000000003E-2</c:v>
                </c:pt>
                <c:pt idx="7049">
                  <c:v>6.3E-2</c:v>
                </c:pt>
                <c:pt idx="7050">
                  <c:v>0.14699999999999999</c:v>
                </c:pt>
                <c:pt idx="7051">
                  <c:v>0.123</c:v>
                </c:pt>
                <c:pt idx="7052">
                  <c:v>7.5999999999999998E-2</c:v>
                </c:pt>
                <c:pt idx="7053">
                  <c:v>0.23300000000000001</c:v>
                </c:pt>
                <c:pt idx="7054">
                  <c:v>9.7000000000000003E-2</c:v>
                </c:pt>
                <c:pt idx="7055">
                  <c:v>0.111</c:v>
                </c:pt>
                <c:pt idx="7056">
                  <c:v>0.21099999999999999</c:v>
                </c:pt>
                <c:pt idx="7057">
                  <c:v>0.22</c:v>
                </c:pt>
                <c:pt idx="7058">
                  <c:v>6.3E-2</c:v>
                </c:pt>
                <c:pt idx="7059">
                  <c:v>5.8999999999999997E-2</c:v>
                </c:pt>
                <c:pt idx="7060">
                  <c:v>5.0999999999999997E-2</c:v>
                </c:pt>
                <c:pt idx="7061">
                  <c:v>0.60499999999999998</c:v>
                </c:pt>
                <c:pt idx="7062">
                  <c:v>4.5999999999999999E-2</c:v>
                </c:pt>
                <c:pt idx="7063">
                  <c:v>0</c:v>
                </c:pt>
                <c:pt idx="7064">
                  <c:v>0.20399999999999999</c:v>
                </c:pt>
                <c:pt idx="7065">
                  <c:v>0.36399999999999999</c:v>
                </c:pt>
                <c:pt idx="7066">
                  <c:v>0.32900000000000001</c:v>
                </c:pt>
                <c:pt idx="7067">
                  <c:v>2E-3</c:v>
                </c:pt>
                <c:pt idx="7068">
                  <c:v>0.40300000000000002</c:v>
                </c:pt>
                <c:pt idx="7069">
                  <c:v>0.21299999999999999</c:v>
                </c:pt>
                <c:pt idx="7070">
                  <c:v>0.23200000000000001</c:v>
                </c:pt>
                <c:pt idx="7071">
                  <c:v>0.13100000000000001</c:v>
                </c:pt>
                <c:pt idx="7072">
                  <c:v>7.3999999999999996E-2</c:v>
                </c:pt>
                <c:pt idx="7073">
                  <c:v>0.375</c:v>
                </c:pt>
                <c:pt idx="7074">
                  <c:v>0.1</c:v>
                </c:pt>
                <c:pt idx="7075">
                  <c:v>7.0999999999999994E-2</c:v>
                </c:pt>
                <c:pt idx="7076">
                  <c:v>0.71199999999999997</c:v>
                </c:pt>
                <c:pt idx="7077">
                  <c:v>0.40300000000000002</c:v>
                </c:pt>
                <c:pt idx="7078">
                  <c:v>0.16900000000000001</c:v>
                </c:pt>
                <c:pt idx="7079">
                  <c:v>7.6999999999999999E-2</c:v>
                </c:pt>
                <c:pt idx="7080">
                  <c:v>0.02</c:v>
                </c:pt>
                <c:pt idx="7081">
                  <c:v>1.4E-2</c:v>
                </c:pt>
                <c:pt idx="7082">
                  <c:v>0.93600000000000005</c:v>
                </c:pt>
                <c:pt idx="7083">
                  <c:v>0.17399999999999999</c:v>
                </c:pt>
                <c:pt idx="7084">
                  <c:v>0.318</c:v>
                </c:pt>
                <c:pt idx="7085">
                  <c:v>0.31900000000000001</c:v>
                </c:pt>
                <c:pt idx="7086">
                  <c:v>3.1E-2</c:v>
                </c:pt>
                <c:pt idx="7087">
                  <c:v>0.13400000000000001</c:v>
                </c:pt>
                <c:pt idx="7088">
                  <c:v>0.24299999999999999</c:v>
                </c:pt>
                <c:pt idx="7089">
                  <c:v>9.7000000000000003E-2</c:v>
                </c:pt>
                <c:pt idx="7090">
                  <c:v>0.67</c:v>
                </c:pt>
                <c:pt idx="7091">
                  <c:v>4.4999999999999998E-2</c:v>
                </c:pt>
                <c:pt idx="7092">
                  <c:v>5.3999999999999999E-2</c:v>
                </c:pt>
                <c:pt idx="7093">
                  <c:v>0.66300000000000003</c:v>
                </c:pt>
                <c:pt idx="7094">
                  <c:v>0.61899999999999999</c:v>
                </c:pt>
                <c:pt idx="7095">
                  <c:v>7.1999999999999995E-2</c:v>
                </c:pt>
                <c:pt idx="7096">
                  <c:v>0.33300000000000002</c:v>
                </c:pt>
                <c:pt idx="7097">
                  <c:v>0.186</c:v>
                </c:pt>
                <c:pt idx="7098">
                  <c:v>0.79100000000000004</c:v>
                </c:pt>
                <c:pt idx="7099">
                  <c:v>0.20200000000000001</c:v>
                </c:pt>
                <c:pt idx="7100">
                  <c:v>0.13900000000000001</c:v>
                </c:pt>
                <c:pt idx="7101">
                  <c:v>5.2999999999999999E-2</c:v>
                </c:pt>
                <c:pt idx="7102">
                  <c:v>5.8000000000000003E-2</c:v>
                </c:pt>
                <c:pt idx="7103">
                  <c:v>0</c:v>
                </c:pt>
                <c:pt idx="7104">
                  <c:v>0.54</c:v>
                </c:pt>
                <c:pt idx="7105">
                  <c:v>0.86399999999999999</c:v>
                </c:pt>
                <c:pt idx="7106">
                  <c:v>3.4000000000000002E-2</c:v>
                </c:pt>
                <c:pt idx="7107">
                  <c:v>0.22700000000000001</c:v>
                </c:pt>
                <c:pt idx="7108">
                  <c:v>5.3999999999999999E-2</c:v>
                </c:pt>
                <c:pt idx="7109">
                  <c:v>4.7E-2</c:v>
                </c:pt>
                <c:pt idx="7110">
                  <c:v>6.8000000000000005E-2</c:v>
                </c:pt>
                <c:pt idx="7111">
                  <c:v>0.214</c:v>
                </c:pt>
                <c:pt idx="7112">
                  <c:v>3.5999999999999997E-2</c:v>
                </c:pt>
                <c:pt idx="7113">
                  <c:v>7.0999999999999994E-2</c:v>
                </c:pt>
                <c:pt idx="7114">
                  <c:v>0.19</c:v>
                </c:pt>
                <c:pt idx="7115">
                  <c:v>9.4E-2</c:v>
                </c:pt>
                <c:pt idx="7116">
                  <c:v>0.49</c:v>
                </c:pt>
                <c:pt idx="7117">
                  <c:v>0.63600000000000001</c:v>
                </c:pt>
                <c:pt idx="7118">
                  <c:v>0.88700000000000001</c:v>
                </c:pt>
                <c:pt idx="7119">
                  <c:v>0.13100000000000001</c:v>
                </c:pt>
                <c:pt idx="7120">
                  <c:v>2.5000000000000001E-2</c:v>
                </c:pt>
                <c:pt idx="7121">
                  <c:v>0.14699999999999999</c:v>
                </c:pt>
                <c:pt idx="7122">
                  <c:v>0.14599999999999999</c:v>
                </c:pt>
                <c:pt idx="7123">
                  <c:v>0.03</c:v>
                </c:pt>
                <c:pt idx="7124">
                  <c:v>4.5999999999999999E-2</c:v>
                </c:pt>
                <c:pt idx="7125">
                  <c:v>9.7000000000000003E-2</c:v>
                </c:pt>
                <c:pt idx="7126">
                  <c:v>0.83599999999999997</c:v>
                </c:pt>
                <c:pt idx="7127">
                  <c:v>0.46600000000000003</c:v>
                </c:pt>
                <c:pt idx="7128">
                  <c:v>1.9E-2</c:v>
                </c:pt>
                <c:pt idx="7129">
                  <c:v>0.57199999999999995</c:v>
                </c:pt>
                <c:pt idx="7130">
                  <c:v>9.2999999999999999E-2</c:v>
                </c:pt>
                <c:pt idx="7131">
                  <c:v>9.0999999999999998E-2</c:v>
                </c:pt>
                <c:pt idx="7132">
                  <c:v>0.53700000000000003</c:v>
                </c:pt>
                <c:pt idx="7133">
                  <c:v>0.17499999999999999</c:v>
                </c:pt>
                <c:pt idx="7134">
                  <c:v>0.16600000000000001</c:v>
                </c:pt>
                <c:pt idx="7135">
                  <c:v>0.24199999999999999</c:v>
                </c:pt>
                <c:pt idx="7136">
                  <c:v>7.1999999999999995E-2</c:v>
                </c:pt>
                <c:pt idx="7137">
                  <c:v>0.318</c:v>
                </c:pt>
                <c:pt idx="7138">
                  <c:v>0.26400000000000001</c:v>
                </c:pt>
                <c:pt idx="7139">
                  <c:v>0.105</c:v>
                </c:pt>
                <c:pt idx="7140">
                  <c:v>0.14299999999999999</c:v>
                </c:pt>
                <c:pt idx="7141">
                  <c:v>0.129</c:v>
                </c:pt>
                <c:pt idx="7142">
                  <c:v>0.13300000000000001</c:v>
                </c:pt>
                <c:pt idx="7143">
                  <c:v>4.7E-2</c:v>
                </c:pt>
                <c:pt idx="7144">
                  <c:v>2.3E-2</c:v>
                </c:pt>
                <c:pt idx="7145">
                  <c:v>0.57799999999999996</c:v>
                </c:pt>
                <c:pt idx="7146">
                  <c:v>0.66900000000000004</c:v>
                </c:pt>
                <c:pt idx="7147">
                  <c:v>0.59</c:v>
                </c:pt>
                <c:pt idx="7148">
                  <c:v>2.9000000000000001E-2</c:v>
                </c:pt>
                <c:pt idx="7149">
                  <c:v>6.0999999999999999E-2</c:v>
                </c:pt>
                <c:pt idx="7150">
                  <c:v>2.5000000000000001E-2</c:v>
                </c:pt>
                <c:pt idx="7151">
                  <c:v>0.35699999999999998</c:v>
                </c:pt>
                <c:pt idx="7152">
                  <c:v>0.5</c:v>
                </c:pt>
                <c:pt idx="7153">
                  <c:v>0.16700000000000001</c:v>
                </c:pt>
                <c:pt idx="7154">
                  <c:v>0.307</c:v>
                </c:pt>
                <c:pt idx="7155">
                  <c:v>0.161</c:v>
                </c:pt>
                <c:pt idx="7156">
                  <c:v>0.10199999999999999</c:v>
                </c:pt>
                <c:pt idx="7157">
                  <c:v>0.10299999999999999</c:v>
                </c:pt>
                <c:pt idx="7158">
                  <c:v>0.126</c:v>
                </c:pt>
                <c:pt idx="7159">
                  <c:v>0.69399999999999995</c:v>
                </c:pt>
                <c:pt idx="7160">
                  <c:v>4.5999999999999999E-2</c:v>
                </c:pt>
                <c:pt idx="7161">
                  <c:v>1.7000000000000001E-2</c:v>
                </c:pt>
                <c:pt idx="7162">
                  <c:v>0.52500000000000002</c:v>
                </c:pt>
                <c:pt idx="7163">
                  <c:v>0.84199999999999997</c:v>
                </c:pt>
                <c:pt idx="7164">
                  <c:v>4.7E-2</c:v>
                </c:pt>
                <c:pt idx="7165">
                  <c:v>0.63900000000000001</c:v>
                </c:pt>
                <c:pt idx="7166">
                  <c:v>9.9000000000000005E-2</c:v>
                </c:pt>
                <c:pt idx="7167">
                  <c:v>4.2000000000000003E-2</c:v>
                </c:pt>
                <c:pt idx="7168">
                  <c:v>0.82099999999999995</c:v>
                </c:pt>
                <c:pt idx="7169">
                  <c:v>0.46600000000000003</c:v>
                </c:pt>
                <c:pt idx="7170">
                  <c:v>1.9E-2</c:v>
                </c:pt>
                <c:pt idx="7171">
                  <c:v>0.1</c:v>
                </c:pt>
                <c:pt idx="7172">
                  <c:v>3.5999999999999997E-2</c:v>
                </c:pt>
                <c:pt idx="7173">
                  <c:v>0.27800000000000002</c:v>
                </c:pt>
                <c:pt idx="7174">
                  <c:v>3.9E-2</c:v>
                </c:pt>
                <c:pt idx="7175">
                  <c:v>0</c:v>
                </c:pt>
                <c:pt idx="7176">
                  <c:v>0.16800000000000001</c:v>
                </c:pt>
                <c:pt idx="7177">
                  <c:v>0.751</c:v>
                </c:pt>
                <c:pt idx="7178">
                  <c:v>0.17100000000000001</c:v>
                </c:pt>
                <c:pt idx="7179">
                  <c:v>0.19</c:v>
                </c:pt>
                <c:pt idx="7180">
                  <c:v>9.1999999999999998E-2</c:v>
                </c:pt>
                <c:pt idx="7181">
                  <c:v>0.13700000000000001</c:v>
                </c:pt>
                <c:pt idx="7182">
                  <c:v>3.2000000000000001E-2</c:v>
                </c:pt>
                <c:pt idx="7183">
                  <c:v>0.16</c:v>
                </c:pt>
                <c:pt idx="7184">
                  <c:v>0.27200000000000002</c:v>
                </c:pt>
                <c:pt idx="7185">
                  <c:v>0.22600000000000001</c:v>
                </c:pt>
                <c:pt idx="7186">
                  <c:v>0.51600000000000001</c:v>
                </c:pt>
                <c:pt idx="7187">
                  <c:v>6.3E-2</c:v>
                </c:pt>
                <c:pt idx="7188">
                  <c:v>0.16</c:v>
                </c:pt>
                <c:pt idx="7189">
                  <c:v>8.9999999999999993E-3</c:v>
                </c:pt>
                <c:pt idx="7190">
                  <c:v>7.0999999999999994E-2</c:v>
                </c:pt>
                <c:pt idx="7191">
                  <c:v>0.02</c:v>
                </c:pt>
                <c:pt idx="7192">
                  <c:v>0.115</c:v>
                </c:pt>
                <c:pt idx="7193">
                  <c:v>1.7000000000000001E-2</c:v>
                </c:pt>
                <c:pt idx="7194">
                  <c:v>0.47699999999999998</c:v>
                </c:pt>
                <c:pt idx="7195">
                  <c:v>0.26800000000000002</c:v>
                </c:pt>
                <c:pt idx="7196">
                  <c:v>5.8000000000000003E-2</c:v>
                </c:pt>
                <c:pt idx="7197">
                  <c:v>0.80200000000000005</c:v>
                </c:pt>
                <c:pt idx="7198">
                  <c:v>1.2E-2</c:v>
                </c:pt>
                <c:pt idx="7199">
                  <c:v>0.68600000000000005</c:v>
                </c:pt>
                <c:pt idx="7200">
                  <c:v>0.129</c:v>
                </c:pt>
                <c:pt idx="7201">
                  <c:v>0.63200000000000001</c:v>
                </c:pt>
                <c:pt idx="7202">
                  <c:v>3.3000000000000002E-2</c:v>
                </c:pt>
                <c:pt idx="7203">
                  <c:v>3.5000000000000003E-2</c:v>
                </c:pt>
                <c:pt idx="7204">
                  <c:v>0.28199999999999997</c:v>
                </c:pt>
                <c:pt idx="7205">
                  <c:v>3.3000000000000002E-2</c:v>
                </c:pt>
                <c:pt idx="7206">
                  <c:v>0.84</c:v>
                </c:pt>
                <c:pt idx="7207">
                  <c:v>3.7999999999999999E-2</c:v>
                </c:pt>
                <c:pt idx="7208">
                  <c:v>6.0999999999999999E-2</c:v>
                </c:pt>
                <c:pt idx="7209">
                  <c:v>0.20300000000000001</c:v>
                </c:pt>
                <c:pt idx="7210">
                  <c:v>7.0999999999999994E-2</c:v>
                </c:pt>
                <c:pt idx="7211">
                  <c:v>0.44400000000000001</c:v>
                </c:pt>
                <c:pt idx="7212">
                  <c:v>0.14199999999999999</c:v>
                </c:pt>
                <c:pt idx="7213">
                  <c:v>0.03</c:v>
                </c:pt>
                <c:pt idx="7214">
                  <c:v>4.9000000000000002E-2</c:v>
                </c:pt>
                <c:pt idx="7215">
                  <c:v>0.29699999999999999</c:v>
                </c:pt>
                <c:pt idx="7216">
                  <c:v>0.436</c:v>
                </c:pt>
                <c:pt idx="7217">
                  <c:v>9.9000000000000005E-2</c:v>
                </c:pt>
                <c:pt idx="7218">
                  <c:v>0.66</c:v>
                </c:pt>
                <c:pt idx="7219">
                  <c:v>3.2000000000000001E-2</c:v>
                </c:pt>
                <c:pt idx="7220">
                  <c:v>7.0000000000000001E-3</c:v>
                </c:pt>
                <c:pt idx="7221">
                  <c:v>1.6E-2</c:v>
                </c:pt>
                <c:pt idx="7222">
                  <c:v>7.2999999999999995E-2</c:v>
                </c:pt>
                <c:pt idx="7223">
                  <c:v>0.91900000000000004</c:v>
                </c:pt>
                <c:pt idx="7224">
                  <c:v>3.5999999999999997E-2</c:v>
                </c:pt>
                <c:pt idx="7225">
                  <c:v>4.1000000000000002E-2</c:v>
                </c:pt>
                <c:pt idx="7226">
                  <c:v>0.29799999999999999</c:v>
                </c:pt>
                <c:pt idx="7227">
                  <c:v>0.54200000000000004</c:v>
                </c:pt>
                <c:pt idx="7228">
                  <c:v>0.1</c:v>
                </c:pt>
                <c:pt idx="7229">
                  <c:v>0.68300000000000005</c:v>
                </c:pt>
                <c:pt idx="7230">
                  <c:v>0.121</c:v>
                </c:pt>
                <c:pt idx="7231">
                  <c:v>0.29599999999999999</c:v>
                </c:pt>
                <c:pt idx="7232">
                  <c:v>4.2999999999999997E-2</c:v>
                </c:pt>
                <c:pt idx="7233">
                  <c:v>2.1999999999999999E-2</c:v>
                </c:pt>
                <c:pt idx="7234">
                  <c:v>0.41699999999999998</c:v>
                </c:pt>
                <c:pt idx="7235">
                  <c:v>0.129</c:v>
                </c:pt>
                <c:pt idx="7236">
                  <c:v>0.79100000000000004</c:v>
                </c:pt>
                <c:pt idx="7237">
                  <c:v>0.60299999999999998</c:v>
                </c:pt>
                <c:pt idx="7238">
                  <c:v>0.29899999999999999</c:v>
                </c:pt>
                <c:pt idx="7239">
                  <c:v>0.39400000000000002</c:v>
                </c:pt>
                <c:pt idx="7240">
                  <c:v>7.3999999999999996E-2</c:v>
                </c:pt>
                <c:pt idx="7241">
                  <c:v>1.4E-2</c:v>
                </c:pt>
                <c:pt idx="7242">
                  <c:v>0.747</c:v>
                </c:pt>
                <c:pt idx="7243">
                  <c:v>0.34799999999999998</c:v>
                </c:pt>
                <c:pt idx="7244">
                  <c:v>0.14699999999999999</c:v>
                </c:pt>
                <c:pt idx="7245">
                  <c:v>0.124</c:v>
                </c:pt>
                <c:pt idx="7246">
                  <c:v>1.4E-2</c:v>
                </c:pt>
                <c:pt idx="7247">
                  <c:v>0.32400000000000001</c:v>
                </c:pt>
                <c:pt idx="7248">
                  <c:v>0.59799999999999998</c:v>
                </c:pt>
                <c:pt idx="7249">
                  <c:v>0.248</c:v>
                </c:pt>
                <c:pt idx="7250">
                  <c:v>0.29599999999999999</c:v>
                </c:pt>
                <c:pt idx="7251">
                  <c:v>0.75600000000000001</c:v>
                </c:pt>
                <c:pt idx="7252">
                  <c:v>0.223</c:v>
                </c:pt>
                <c:pt idx="7253">
                  <c:v>5.8999999999999997E-2</c:v>
                </c:pt>
                <c:pt idx="7254">
                  <c:v>0.13500000000000001</c:v>
                </c:pt>
                <c:pt idx="7255">
                  <c:v>0.47799999999999998</c:v>
                </c:pt>
                <c:pt idx="7256">
                  <c:v>6.6000000000000003E-2</c:v>
                </c:pt>
                <c:pt idx="7257">
                  <c:v>2.7E-2</c:v>
                </c:pt>
                <c:pt idx="7258">
                  <c:v>0.76600000000000001</c:v>
                </c:pt>
                <c:pt idx="7259">
                  <c:v>2.5000000000000001E-2</c:v>
                </c:pt>
                <c:pt idx="7260">
                  <c:v>0.65100000000000002</c:v>
                </c:pt>
                <c:pt idx="7261">
                  <c:v>1.2999999999999999E-2</c:v>
                </c:pt>
                <c:pt idx="7262">
                  <c:v>1.2999999999999999E-2</c:v>
                </c:pt>
                <c:pt idx="7263">
                  <c:v>0.154</c:v>
                </c:pt>
                <c:pt idx="7264">
                  <c:v>0.92600000000000005</c:v>
                </c:pt>
                <c:pt idx="7265">
                  <c:v>0.39100000000000001</c:v>
                </c:pt>
                <c:pt idx="7266">
                  <c:v>0.40300000000000002</c:v>
                </c:pt>
                <c:pt idx="7267">
                  <c:v>0.86599999999999999</c:v>
                </c:pt>
                <c:pt idx="7268">
                  <c:v>0.72299999999999998</c:v>
                </c:pt>
                <c:pt idx="7269">
                  <c:v>0.188</c:v>
                </c:pt>
                <c:pt idx="7270">
                  <c:v>0.91100000000000003</c:v>
                </c:pt>
                <c:pt idx="7271">
                  <c:v>8.5000000000000006E-2</c:v>
                </c:pt>
                <c:pt idx="7272">
                  <c:v>0.68700000000000006</c:v>
                </c:pt>
                <c:pt idx="7273">
                  <c:v>8.2000000000000003E-2</c:v>
                </c:pt>
                <c:pt idx="7274">
                  <c:v>0.123</c:v>
                </c:pt>
                <c:pt idx="7275">
                  <c:v>0.12</c:v>
                </c:pt>
                <c:pt idx="7276">
                  <c:v>2.3E-2</c:v>
                </c:pt>
                <c:pt idx="7277">
                  <c:v>0.48699999999999999</c:v>
                </c:pt>
                <c:pt idx="7278">
                  <c:v>0.3</c:v>
                </c:pt>
                <c:pt idx="7279">
                  <c:v>0.79100000000000004</c:v>
                </c:pt>
                <c:pt idx="7280">
                  <c:v>2.8000000000000001E-2</c:v>
                </c:pt>
                <c:pt idx="7281">
                  <c:v>0</c:v>
                </c:pt>
                <c:pt idx="7282">
                  <c:v>2.1999999999999999E-2</c:v>
                </c:pt>
                <c:pt idx="7283">
                  <c:v>7.9000000000000001E-2</c:v>
                </c:pt>
                <c:pt idx="7284">
                  <c:v>0.54</c:v>
                </c:pt>
                <c:pt idx="7285">
                  <c:v>0.33200000000000002</c:v>
                </c:pt>
                <c:pt idx="7286">
                  <c:v>0.47</c:v>
                </c:pt>
                <c:pt idx="7287">
                  <c:v>0.875</c:v>
                </c:pt>
                <c:pt idx="7288">
                  <c:v>0.182</c:v>
                </c:pt>
                <c:pt idx="7289">
                  <c:v>0.1</c:v>
                </c:pt>
                <c:pt idx="7290">
                  <c:v>0.71299999999999997</c:v>
                </c:pt>
                <c:pt idx="7291">
                  <c:v>0.83699999999999997</c:v>
                </c:pt>
                <c:pt idx="7292">
                  <c:v>1.0999999999999999E-2</c:v>
                </c:pt>
                <c:pt idx="7293">
                  <c:v>0.44500000000000001</c:v>
                </c:pt>
                <c:pt idx="7294">
                  <c:v>0.314</c:v>
                </c:pt>
                <c:pt idx="7295">
                  <c:v>0.27400000000000002</c:v>
                </c:pt>
                <c:pt idx="7296">
                  <c:v>0.66100000000000003</c:v>
                </c:pt>
                <c:pt idx="7297">
                  <c:v>0.28999999999999998</c:v>
                </c:pt>
                <c:pt idx="7298">
                  <c:v>0.34300000000000003</c:v>
                </c:pt>
                <c:pt idx="7299">
                  <c:v>0.16700000000000001</c:v>
                </c:pt>
                <c:pt idx="7300">
                  <c:v>0.253</c:v>
                </c:pt>
                <c:pt idx="7301">
                  <c:v>0.11899999999999999</c:v>
                </c:pt>
                <c:pt idx="7302">
                  <c:v>0.41699999999999998</c:v>
                </c:pt>
              </c:numCache>
            </c:numRef>
          </c:xVal>
          <c:yVal>
            <c:numRef>
              <c:f>'Non EcoDis PS'!$C$3:$C$7445</c:f>
              <c:numCache>
                <c:formatCode>0%</c:formatCode>
                <c:ptCount val="7443"/>
                <c:pt idx="0">
                  <c:v>8.4033613445378096E-3</c:v>
                </c:pt>
                <c:pt idx="1">
                  <c:v>1.21951219512195E-2</c:v>
                </c:pt>
                <c:pt idx="2">
                  <c:v>1.3333333333333299E-2</c:v>
                </c:pt>
                <c:pt idx="3">
                  <c:v>1.4705882352941201E-2</c:v>
                </c:pt>
                <c:pt idx="4">
                  <c:v>1.7857142857142901E-2</c:v>
                </c:pt>
                <c:pt idx="5">
                  <c:v>1.9230769230769201E-2</c:v>
                </c:pt>
                <c:pt idx="6">
                  <c:v>1.9607843137254902E-2</c:v>
                </c:pt>
                <c:pt idx="7">
                  <c:v>0.02</c:v>
                </c:pt>
                <c:pt idx="8">
                  <c:v>2.0833333333333301E-2</c:v>
                </c:pt>
                <c:pt idx="9">
                  <c:v>2.2222222222222199E-2</c:v>
                </c:pt>
                <c:pt idx="10">
                  <c:v>2.4390243902439001E-2</c:v>
                </c:pt>
                <c:pt idx="11">
                  <c:v>2.4390243902439001E-2</c:v>
                </c:pt>
                <c:pt idx="12">
                  <c:v>2.5641025641025599E-2</c:v>
                </c:pt>
                <c:pt idx="13">
                  <c:v>2.5641025641025599E-2</c:v>
                </c:pt>
                <c:pt idx="14">
                  <c:v>2.6315789473684199E-2</c:v>
                </c:pt>
                <c:pt idx="15">
                  <c:v>2.66666666666667E-2</c:v>
                </c:pt>
                <c:pt idx="16">
                  <c:v>2.7210884353741499E-2</c:v>
                </c:pt>
                <c:pt idx="17">
                  <c:v>2.7777777777777801E-2</c:v>
                </c:pt>
                <c:pt idx="18">
                  <c:v>2.7777777777777801E-2</c:v>
                </c:pt>
                <c:pt idx="19">
                  <c:v>2.8571428571428598E-2</c:v>
                </c:pt>
                <c:pt idx="20">
                  <c:v>2.8571428571428598E-2</c:v>
                </c:pt>
                <c:pt idx="21">
                  <c:v>2.8571428571428598E-2</c:v>
                </c:pt>
                <c:pt idx="22">
                  <c:v>2.94117647058823E-2</c:v>
                </c:pt>
                <c:pt idx="23">
                  <c:v>2.94117647058823E-2</c:v>
                </c:pt>
                <c:pt idx="24">
                  <c:v>3.03030303030303E-2</c:v>
                </c:pt>
                <c:pt idx="25">
                  <c:v>3.03030303030303E-2</c:v>
                </c:pt>
                <c:pt idx="26">
                  <c:v>3.03030303030303E-2</c:v>
                </c:pt>
                <c:pt idx="27">
                  <c:v>3.03030303030303E-2</c:v>
                </c:pt>
                <c:pt idx="28">
                  <c:v>3.125E-2</c:v>
                </c:pt>
                <c:pt idx="29">
                  <c:v>3.125E-2</c:v>
                </c:pt>
                <c:pt idx="30">
                  <c:v>3.2258064516128997E-2</c:v>
                </c:pt>
                <c:pt idx="31">
                  <c:v>3.2258064516128997E-2</c:v>
                </c:pt>
                <c:pt idx="32">
                  <c:v>3.2520325203252001E-2</c:v>
                </c:pt>
                <c:pt idx="33">
                  <c:v>3.2786885245901599E-2</c:v>
                </c:pt>
                <c:pt idx="34">
                  <c:v>3.3333333333333298E-2</c:v>
                </c:pt>
                <c:pt idx="35">
                  <c:v>3.4482758620689599E-2</c:v>
                </c:pt>
                <c:pt idx="36">
                  <c:v>3.5714285714285698E-2</c:v>
                </c:pt>
                <c:pt idx="37">
                  <c:v>3.59281437125748E-2</c:v>
                </c:pt>
                <c:pt idx="38">
                  <c:v>3.6649214659685903E-2</c:v>
                </c:pt>
                <c:pt idx="39">
                  <c:v>3.7037037037037E-2</c:v>
                </c:pt>
                <c:pt idx="40">
                  <c:v>3.8095238095238099E-2</c:v>
                </c:pt>
                <c:pt idx="41">
                  <c:v>3.8461538461538498E-2</c:v>
                </c:pt>
                <c:pt idx="42">
                  <c:v>3.8461538461538498E-2</c:v>
                </c:pt>
                <c:pt idx="43">
                  <c:v>3.8461538461538498E-2</c:v>
                </c:pt>
                <c:pt idx="44">
                  <c:v>3.8461538461538498E-2</c:v>
                </c:pt>
                <c:pt idx="45">
                  <c:v>0.04</c:v>
                </c:pt>
                <c:pt idx="46">
                  <c:v>0.04</c:v>
                </c:pt>
                <c:pt idx="47">
                  <c:v>4.1666666666666699E-2</c:v>
                </c:pt>
                <c:pt idx="48">
                  <c:v>4.1666666666666699E-2</c:v>
                </c:pt>
                <c:pt idx="49">
                  <c:v>4.2553191489361701E-2</c:v>
                </c:pt>
                <c:pt idx="50">
                  <c:v>4.3478260869565202E-2</c:v>
                </c:pt>
                <c:pt idx="51">
                  <c:v>4.3478260869565202E-2</c:v>
                </c:pt>
                <c:pt idx="52">
                  <c:v>4.4117647058823498E-2</c:v>
                </c:pt>
                <c:pt idx="53">
                  <c:v>4.54545454545454E-2</c:v>
                </c:pt>
                <c:pt idx="54">
                  <c:v>4.6511627906976702E-2</c:v>
                </c:pt>
                <c:pt idx="55">
                  <c:v>4.7619047619047603E-2</c:v>
                </c:pt>
                <c:pt idx="56">
                  <c:v>4.7619047619047603E-2</c:v>
                </c:pt>
                <c:pt idx="57">
                  <c:v>4.8780487804878002E-2</c:v>
                </c:pt>
                <c:pt idx="58">
                  <c:v>4.8780487804878002E-2</c:v>
                </c:pt>
                <c:pt idx="59">
                  <c:v>4.8780487804878002E-2</c:v>
                </c:pt>
                <c:pt idx="60">
                  <c:v>0.05</c:v>
                </c:pt>
                <c:pt idx="61">
                  <c:v>0.05</c:v>
                </c:pt>
                <c:pt idx="62">
                  <c:v>0.05</c:v>
                </c:pt>
                <c:pt idx="63">
                  <c:v>5.0632911392405097E-2</c:v>
                </c:pt>
                <c:pt idx="64">
                  <c:v>5.0847457627118599E-2</c:v>
                </c:pt>
                <c:pt idx="65">
                  <c:v>5.0847457627118599E-2</c:v>
                </c:pt>
                <c:pt idx="66">
                  <c:v>5.2631578947368397E-2</c:v>
                </c:pt>
                <c:pt idx="67">
                  <c:v>5.2631578947368397E-2</c:v>
                </c:pt>
                <c:pt idx="68">
                  <c:v>5.2631578947368397E-2</c:v>
                </c:pt>
                <c:pt idx="69">
                  <c:v>5.2631578947368397E-2</c:v>
                </c:pt>
                <c:pt idx="70">
                  <c:v>5.2631578947368397E-2</c:v>
                </c:pt>
                <c:pt idx="71">
                  <c:v>5.2631578947368397E-2</c:v>
                </c:pt>
                <c:pt idx="72">
                  <c:v>5.3333333333333302E-2</c:v>
                </c:pt>
                <c:pt idx="73">
                  <c:v>5.3333333333333302E-2</c:v>
                </c:pt>
                <c:pt idx="74">
                  <c:v>5.3571428571428603E-2</c:v>
                </c:pt>
                <c:pt idx="75">
                  <c:v>5.4054054054054002E-2</c:v>
                </c:pt>
                <c:pt idx="76">
                  <c:v>5.4054054054054002E-2</c:v>
                </c:pt>
                <c:pt idx="77">
                  <c:v>5.4545454545454501E-2</c:v>
                </c:pt>
                <c:pt idx="78">
                  <c:v>5.4852320675105502E-2</c:v>
                </c:pt>
                <c:pt idx="79">
                  <c:v>5.5555555555555497E-2</c:v>
                </c:pt>
                <c:pt idx="80">
                  <c:v>5.5555555555555497E-2</c:v>
                </c:pt>
                <c:pt idx="81">
                  <c:v>5.5555555555555497E-2</c:v>
                </c:pt>
                <c:pt idx="82">
                  <c:v>5.7142857142857099E-2</c:v>
                </c:pt>
                <c:pt idx="83">
                  <c:v>5.7142857142857099E-2</c:v>
                </c:pt>
                <c:pt idx="84">
                  <c:v>5.7142857142857099E-2</c:v>
                </c:pt>
                <c:pt idx="85">
                  <c:v>5.7142857142857099E-2</c:v>
                </c:pt>
                <c:pt idx="86">
                  <c:v>5.7142857142857099E-2</c:v>
                </c:pt>
                <c:pt idx="87">
                  <c:v>5.8823529411764698E-2</c:v>
                </c:pt>
                <c:pt idx="88">
                  <c:v>5.8823529411764698E-2</c:v>
                </c:pt>
                <c:pt idx="89">
                  <c:v>5.8823529411764698E-2</c:v>
                </c:pt>
                <c:pt idx="90">
                  <c:v>5.8823529411764698E-2</c:v>
                </c:pt>
                <c:pt idx="91">
                  <c:v>5.9405940594059403E-2</c:v>
                </c:pt>
                <c:pt idx="92">
                  <c:v>6.0975609756097497E-2</c:v>
                </c:pt>
                <c:pt idx="93">
                  <c:v>6.0975609756097497E-2</c:v>
                </c:pt>
                <c:pt idx="94">
                  <c:v>6.1068702290076299E-2</c:v>
                </c:pt>
                <c:pt idx="95">
                  <c:v>6.1224489795918401E-2</c:v>
                </c:pt>
                <c:pt idx="96">
                  <c:v>6.25E-2</c:v>
                </c:pt>
                <c:pt idx="97">
                  <c:v>6.25E-2</c:v>
                </c:pt>
                <c:pt idx="98">
                  <c:v>6.25E-2</c:v>
                </c:pt>
                <c:pt idx="99">
                  <c:v>6.25E-2</c:v>
                </c:pt>
                <c:pt idx="100">
                  <c:v>6.25E-2</c:v>
                </c:pt>
                <c:pt idx="101">
                  <c:v>6.2801932367149704E-2</c:v>
                </c:pt>
                <c:pt idx="102">
                  <c:v>6.4516129032257993E-2</c:v>
                </c:pt>
                <c:pt idx="103">
                  <c:v>6.4516129032257993E-2</c:v>
                </c:pt>
                <c:pt idx="104">
                  <c:v>6.4516129032257993E-2</c:v>
                </c:pt>
                <c:pt idx="105">
                  <c:v>6.4655172413793094E-2</c:v>
                </c:pt>
                <c:pt idx="106">
                  <c:v>6.4705882352941196E-2</c:v>
                </c:pt>
                <c:pt idx="107">
                  <c:v>6.5217391304347797E-2</c:v>
                </c:pt>
                <c:pt idx="108">
                  <c:v>6.6115702479338803E-2</c:v>
                </c:pt>
                <c:pt idx="109">
                  <c:v>6.6666666666666693E-2</c:v>
                </c:pt>
                <c:pt idx="110">
                  <c:v>6.6666666666666693E-2</c:v>
                </c:pt>
                <c:pt idx="111">
                  <c:v>6.6666666666666693E-2</c:v>
                </c:pt>
                <c:pt idx="112">
                  <c:v>6.6666666666666693E-2</c:v>
                </c:pt>
                <c:pt idx="113">
                  <c:v>6.6666666666666693E-2</c:v>
                </c:pt>
                <c:pt idx="114">
                  <c:v>6.6666666666666693E-2</c:v>
                </c:pt>
                <c:pt idx="115">
                  <c:v>6.7415730337078594E-2</c:v>
                </c:pt>
                <c:pt idx="116">
                  <c:v>6.7567567567567599E-2</c:v>
                </c:pt>
                <c:pt idx="117">
                  <c:v>6.8181818181818205E-2</c:v>
                </c:pt>
                <c:pt idx="118">
                  <c:v>6.8965517241379296E-2</c:v>
                </c:pt>
                <c:pt idx="119">
                  <c:v>6.8965517241379296E-2</c:v>
                </c:pt>
                <c:pt idx="120">
                  <c:v>6.8965517241379296E-2</c:v>
                </c:pt>
                <c:pt idx="121">
                  <c:v>6.8965517241379296E-2</c:v>
                </c:pt>
                <c:pt idx="122">
                  <c:v>6.9767441860465101E-2</c:v>
                </c:pt>
                <c:pt idx="123">
                  <c:v>7.0866141732283505E-2</c:v>
                </c:pt>
                <c:pt idx="124">
                  <c:v>7.1428571428571397E-2</c:v>
                </c:pt>
                <c:pt idx="125">
                  <c:v>7.2727272727272696E-2</c:v>
                </c:pt>
                <c:pt idx="126">
                  <c:v>7.3170731707317097E-2</c:v>
                </c:pt>
                <c:pt idx="127">
                  <c:v>7.4626865671641798E-2</c:v>
                </c:pt>
                <c:pt idx="128">
                  <c:v>7.4626865671641798E-2</c:v>
                </c:pt>
                <c:pt idx="129">
                  <c:v>7.5471698113207503E-2</c:v>
                </c:pt>
                <c:pt idx="130">
                  <c:v>7.5471698113207503E-2</c:v>
                </c:pt>
                <c:pt idx="131">
                  <c:v>7.5757575757575801E-2</c:v>
                </c:pt>
                <c:pt idx="132">
                  <c:v>7.69230769230769E-2</c:v>
                </c:pt>
                <c:pt idx="133">
                  <c:v>7.69230769230769E-2</c:v>
                </c:pt>
                <c:pt idx="134">
                  <c:v>7.69230769230769E-2</c:v>
                </c:pt>
                <c:pt idx="135">
                  <c:v>7.7720207253885995E-2</c:v>
                </c:pt>
                <c:pt idx="136">
                  <c:v>7.8431372549019607E-2</c:v>
                </c:pt>
                <c:pt idx="137">
                  <c:v>7.8431372549019607E-2</c:v>
                </c:pt>
                <c:pt idx="138">
                  <c:v>7.8947368421052599E-2</c:v>
                </c:pt>
                <c:pt idx="139">
                  <c:v>0.08</c:v>
                </c:pt>
                <c:pt idx="140">
                  <c:v>0.08</c:v>
                </c:pt>
                <c:pt idx="141">
                  <c:v>0.08</c:v>
                </c:pt>
                <c:pt idx="142">
                  <c:v>0.08</c:v>
                </c:pt>
                <c:pt idx="143">
                  <c:v>0.08</c:v>
                </c:pt>
                <c:pt idx="144">
                  <c:v>8.04597701149425E-2</c:v>
                </c:pt>
                <c:pt idx="145">
                  <c:v>8.0645161290322606E-2</c:v>
                </c:pt>
                <c:pt idx="146">
                  <c:v>8.1081081081081099E-2</c:v>
                </c:pt>
                <c:pt idx="147">
                  <c:v>8.1081081081081099E-2</c:v>
                </c:pt>
                <c:pt idx="148">
                  <c:v>8.1081081081081099E-2</c:v>
                </c:pt>
                <c:pt idx="149">
                  <c:v>8.1632653061224497E-2</c:v>
                </c:pt>
                <c:pt idx="150">
                  <c:v>8.1632653061224497E-2</c:v>
                </c:pt>
                <c:pt idx="151">
                  <c:v>8.2474226804123696E-2</c:v>
                </c:pt>
                <c:pt idx="152">
                  <c:v>8.2802547770700605E-2</c:v>
                </c:pt>
                <c:pt idx="153">
                  <c:v>8.3333333333333301E-2</c:v>
                </c:pt>
                <c:pt idx="154">
                  <c:v>8.3333333333333301E-2</c:v>
                </c:pt>
                <c:pt idx="155">
                  <c:v>8.3333333333333301E-2</c:v>
                </c:pt>
                <c:pt idx="156">
                  <c:v>8.3333333333333301E-2</c:v>
                </c:pt>
                <c:pt idx="157">
                  <c:v>8.3333333333333301E-2</c:v>
                </c:pt>
                <c:pt idx="158">
                  <c:v>8.4745762711864403E-2</c:v>
                </c:pt>
                <c:pt idx="159">
                  <c:v>8.4967320261437898E-2</c:v>
                </c:pt>
                <c:pt idx="160">
                  <c:v>8.5227272727272693E-2</c:v>
                </c:pt>
                <c:pt idx="161">
                  <c:v>8.5714285714285701E-2</c:v>
                </c:pt>
                <c:pt idx="162">
                  <c:v>8.5714285714285701E-2</c:v>
                </c:pt>
                <c:pt idx="163">
                  <c:v>8.6206896551724102E-2</c:v>
                </c:pt>
                <c:pt idx="164">
                  <c:v>8.6206896551724102E-2</c:v>
                </c:pt>
                <c:pt idx="165">
                  <c:v>8.6956521739130405E-2</c:v>
                </c:pt>
                <c:pt idx="166">
                  <c:v>8.6956521739130405E-2</c:v>
                </c:pt>
                <c:pt idx="167">
                  <c:v>8.7108013937282194E-2</c:v>
                </c:pt>
                <c:pt idx="168">
                  <c:v>8.7999999999999995E-2</c:v>
                </c:pt>
                <c:pt idx="169">
                  <c:v>8.8172043010752696E-2</c:v>
                </c:pt>
                <c:pt idx="170">
                  <c:v>8.8235294117646995E-2</c:v>
                </c:pt>
                <c:pt idx="171">
                  <c:v>8.8235294117646995E-2</c:v>
                </c:pt>
                <c:pt idx="172">
                  <c:v>8.8235294117646995E-2</c:v>
                </c:pt>
                <c:pt idx="173">
                  <c:v>8.8235294117646995E-2</c:v>
                </c:pt>
                <c:pt idx="174">
                  <c:v>8.9285714285714302E-2</c:v>
                </c:pt>
                <c:pt idx="175">
                  <c:v>9.0909090909090898E-2</c:v>
                </c:pt>
                <c:pt idx="176">
                  <c:v>9.0909090909090898E-2</c:v>
                </c:pt>
                <c:pt idx="177">
                  <c:v>9.0909090909090898E-2</c:v>
                </c:pt>
                <c:pt idx="178">
                  <c:v>9.0909090909090898E-2</c:v>
                </c:pt>
                <c:pt idx="179">
                  <c:v>9.0909090909090898E-2</c:v>
                </c:pt>
                <c:pt idx="180">
                  <c:v>9.0909090909090898E-2</c:v>
                </c:pt>
                <c:pt idx="181">
                  <c:v>9.1463414634146298E-2</c:v>
                </c:pt>
                <c:pt idx="182">
                  <c:v>9.2105263157894704E-2</c:v>
                </c:pt>
                <c:pt idx="183">
                  <c:v>9.2592592592592601E-2</c:v>
                </c:pt>
                <c:pt idx="184">
                  <c:v>9.375E-2</c:v>
                </c:pt>
                <c:pt idx="185">
                  <c:v>9.4339622641509399E-2</c:v>
                </c:pt>
                <c:pt idx="186">
                  <c:v>9.45945945945946E-2</c:v>
                </c:pt>
                <c:pt idx="187">
                  <c:v>9.5238095238095205E-2</c:v>
                </c:pt>
                <c:pt idx="188">
                  <c:v>9.5238095238095205E-2</c:v>
                </c:pt>
                <c:pt idx="189">
                  <c:v>9.5238095238095205E-2</c:v>
                </c:pt>
                <c:pt idx="190">
                  <c:v>9.5541401273885301E-2</c:v>
                </c:pt>
                <c:pt idx="191">
                  <c:v>9.6153846153846104E-2</c:v>
                </c:pt>
                <c:pt idx="192">
                  <c:v>9.6385542168674704E-2</c:v>
                </c:pt>
                <c:pt idx="193">
                  <c:v>9.6774193548387094E-2</c:v>
                </c:pt>
                <c:pt idx="194">
                  <c:v>9.7560975609756101E-2</c:v>
                </c:pt>
                <c:pt idx="195">
                  <c:v>9.7560975609756101E-2</c:v>
                </c:pt>
                <c:pt idx="196">
                  <c:v>9.7560975609756101E-2</c:v>
                </c:pt>
                <c:pt idx="197">
                  <c:v>9.8039215686274495E-2</c:v>
                </c:pt>
                <c:pt idx="198">
                  <c:v>9.8360655737704902E-2</c:v>
                </c:pt>
                <c:pt idx="199">
                  <c:v>9.9236641221374003E-2</c:v>
                </c:pt>
                <c:pt idx="200">
                  <c:v>9.9447513812154706E-2</c:v>
                </c:pt>
                <c:pt idx="201">
                  <c:v>9.9547511312217202E-2</c:v>
                </c:pt>
                <c:pt idx="202">
                  <c:v>0.1</c:v>
                </c:pt>
                <c:pt idx="203">
                  <c:v>0.1</c:v>
                </c:pt>
                <c:pt idx="204">
                  <c:v>0.1</c:v>
                </c:pt>
                <c:pt idx="205">
                  <c:v>0.1</c:v>
                </c:pt>
                <c:pt idx="206">
                  <c:v>0.1</c:v>
                </c:pt>
                <c:pt idx="207">
                  <c:v>0.101449275362319</c:v>
                </c:pt>
                <c:pt idx="208">
                  <c:v>0.101449275362319</c:v>
                </c:pt>
                <c:pt idx="209">
                  <c:v>0.102564102564103</c:v>
                </c:pt>
                <c:pt idx="210">
                  <c:v>0.102564102564103</c:v>
                </c:pt>
                <c:pt idx="211">
                  <c:v>0.102564102564103</c:v>
                </c:pt>
                <c:pt idx="212">
                  <c:v>0.102564102564103</c:v>
                </c:pt>
                <c:pt idx="213">
                  <c:v>0.102564102564103</c:v>
                </c:pt>
                <c:pt idx="214">
                  <c:v>0.102739726027397</c:v>
                </c:pt>
                <c:pt idx="215">
                  <c:v>0.10294117647058799</c:v>
                </c:pt>
                <c:pt idx="216">
                  <c:v>0.10344827586206901</c:v>
                </c:pt>
                <c:pt idx="217">
                  <c:v>0.104166666666667</c:v>
                </c:pt>
                <c:pt idx="218">
                  <c:v>0.104166666666667</c:v>
                </c:pt>
                <c:pt idx="219">
                  <c:v>0.104477611940298</c:v>
                </c:pt>
                <c:pt idx="220">
                  <c:v>0.104477611940298</c:v>
                </c:pt>
                <c:pt idx="221">
                  <c:v>0.104545454545455</c:v>
                </c:pt>
                <c:pt idx="222">
                  <c:v>0.105022831050228</c:v>
                </c:pt>
                <c:pt idx="223">
                  <c:v>0.105263157894737</c:v>
                </c:pt>
                <c:pt idx="224">
                  <c:v>0.105263157894737</c:v>
                </c:pt>
                <c:pt idx="225">
                  <c:v>0.105263157894737</c:v>
                </c:pt>
                <c:pt idx="226">
                  <c:v>0.105263157894737</c:v>
                </c:pt>
                <c:pt idx="227">
                  <c:v>0.105263157894737</c:v>
                </c:pt>
                <c:pt idx="228">
                  <c:v>0.105263157894737</c:v>
                </c:pt>
                <c:pt idx="229">
                  <c:v>0.10606060606060599</c:v>
                </c:pt>
                <c:pt idx="230">
                  <c:v>0.107142857142857</c:v>
                </c:pt>
                <c:pt idx="231">
                  <c:v>0.107142857142857</c:v>
                </c:pt>
                <c:pt idx="232">
                  <c:v>0.107142857142857</c:v>
                </c:pt>
                <c:pt idx="233">
                  <c:v>0.107142857142857</c:v>
                </c:pt>
                <c:pt idx="234">
                  <c:v>0.108108108108108</c:v>
                </c:pt>
                <c:pt idx="235">
                  <c:v>0.108108108108108</c:v>
                </c:pt>
                <c:pt idx="236">
                  <c:v>0.108108108108108</c:v>
                </c:pt>
                <c:pt idx="237">
                  <c:v>0.108108108108108</c:v>
                </c:pt>
                <c:pt idx="238">
                  <c:v>0.108108108108108</c:v>
                </c:pt>
                <c:pt idx="239">
                  <c:v>0.108108108108108</c:v>
                </c:pt>
                <c:pt idx="240">
                  <c:v>0.109090909090909</c:v>
                </c:pt>
                <c:pt idx="241">
                  <c:v>0.109375</c:v>
                </c:pt>
                <c:pt idx="242">
                  <c:v>0.11111111111111099</c:v>
                </c:pt>
                <c:pt idx="243">
                  <c:v>0.11111111111111099</c:v>
                </c:pt>
                <c:pt idx="244">
                  <c:v>0.11111111111111099</c:v>
                </c:pt>
                <c:pt idx="245">
                  <c:v>0.11111111111111099</c:v>
                </c:pt>
                <c:pt idx="246">
                  <c:v>0.11111111111111099</c:v>
                </c:pt>
                <c:pt idx="247">
                  <c:v>0.11111111111111099</c:v>
                </c:pt>
                <c:pt idx="248">
                  <c:v>0.11111111111111099</c:v>
                </c:pt>
                <c:pt idx="249">
                  <c:v>0.11111111111111099</c:v>
                </c:pt>
                <c:pt idx="250">
                  <c:v>0.11111111111111099</c:v>
                </c:pt>
                <c:pt idx="251">
                  <c:v>0.1125</c:v>
                </c:pt>
                <c:pt idx="252">
                  <c:v>0.1125</c:v>
                </c:pt>
                <c:pt idx="253">
                  <c:v>0.11267605633802801</c:v>
                </c:pt>
                <c:pt idx="254">
                  <c:v>0.112903225806452</c:v>
                </c:pt>
                <c:pt idx="255">
                  <c:v>0.11363636363636399</c:v>
                </c:pt>
                <c:pt idx="256">
                  <c:v>0.11377245508981999</c:v>
                </c:pt>
                <c:pt idx="257">
                  <c:v>0.113924050632911</c:v>
                </c:pt>
                <c:pt idx="258">
                  <c:v>0.113924050632911</c:v>
                </c:pt>
                <c:pt idx="259">
                  <c:v>0.113989637305699</c:v>
                </c:pt>
                <c:pt idx="260">
                  <c:v>0.114285714285714</c:v>
                </c:pt>
                <c:pt idx="261">
                  <c:v>0.114285714285714</c:v>
                </c:pt>
                <c:pt idx="262">
                  <c:v>0.114285714285714</c:v>
                </c:pt>
                <c:pt idx="263">
                  <c:v>0.114754098360656</c:v>
                </c:pt>
                <c:pt idx="264">
                  <c:v>0.114754098360656</c:v>
                </c:pt>
                <c:pt idx="265">
                  <c:v>0.115384615384615</c:v>
                </c:pt>
                <c:pt idx="266">
                  <c:v>0.115384615384615</c:v>
                </c:pt>
                <c:pt idx="267">
                  <c:v>0.115384615384615</c:v>
                </c:pt>
                <c:pt idx="268">
                  <c:v>0.115384615384615</c:v>
                </c:pt>
                <c:pt idx="269">
                  <c:v>0.115942028985507</c:v>
                </c:pt>
                <c:pt idx="270">
                  <c:v>0.11607142857142901</c:v>
                </c:pt>
                <c:pt idx="271">
                  <c:v>0.116279069767442</c:v>
                </c:pt>
                <c:pt idx="272">
                  <c:v>0.11764705882352899</c:v>
                </c:pt>
                <c:pt idx="273">
                  <c:v>0.11764705882352899</c:v>
                </c:pt>
                <c:pt idx="274">
                  <c:v>0.11764705882352899</c:v>
                </c:pt>
                <c:pt idx="275">
                  <c:v>0.11764705882352899</c:v>
                </c:pt>
                <c:pt idx="276">
                  <c:v>0.11764705882352899</c:v>
                </c:pt>
                <c:pt idx="277">
                  <c:v>0.11764705882352899</c:v>
                </c:pt>
                <c:pt idx="278">
                  <c:v>0.11900826446281</c:v>
                </c:pt>
                <c:pt idx="279">
                  <c:v>0.119047619047619</c:v>
                </c:pt>
                <c:pt idx="280">
                  <c:v>0.119047619047619</c:v>
                </c:pt>
                <c:pt idx="281">
                  <c:v>0.119402985074627</c:v>
                </c:pt>
                <c:pt idx="282">
                  <c:v>0.12</c:v>
                </c:pt>
                <c:pt idx="283">
                  <c:v>0.12</c:v>
                </c:pt>
                <c:pt idx="284">
                  <c:v>0.12</c:v>
                </c:pt>
                <c:pt idx="285">
                  <c:v>0.12121212121212099</c:v>
                </c:pt>
                <c:pt idx="286">
                  <c:v>0.12121212121212099</c:v>
                </c:pt>
                <c:pt idx="287">
                  <c:v>0.12195121951219499</c:v>
                </c:pt>
                <c:pt idx="288">
                  <c:v>0.122093023255814</c:v>
                </c:pt>
                <c:pt idx="289">
                  <c:v>0.122448979591837</c:v>
                </c:pt>
                <c:pt idx="290">
                  <c:v>0.123076923076923</c:v>
                </c:pt>
                <c:pt idx="291">
                  <c:v>0.123188405797101</c:v>
                </c:pt>
                <c:pt idx="292">
                  <c:v>0.123376623376623</c:v>
                </c:pt>
                <c:pt idx="293">
                  <c:v>0.12345679012345701</c:v>
                </c:pt>
                <c:pt idx="294">
                  <c:v>0.123595505617978</c:v>
                </c:pt>
                <c:pt idx="295">
                  <c:v>0.123762376237624</c:v>
                </c:pt>
                <c:pt idx="296">
                  <c:v>0.12380952380952399</c:v>
                </c:pt>
                <c:pt idx="297">
                  <c:v>0.125</c:v>
                </c:pt>
                <c:pt idx="298">
                  <c:v>0.125</c:v>
                </c:pt>
                <c:pt idx="299">
                  <c:v>0.125</c:v>
                </c:pt>
                <c:pt idx="300">
                  <c:v>0.125</c:v>
                </c:pt>
                <c:pt idx="301">
                  <c:v>0.125</c:v>
                </c:pt>
                <c:pt idx="302">
                  <c:v>0.125</c:v>
                </c:pt>
                <c:pt idx="303">
                  <c:v>0.125</c:v>
                </c:pt>
                <c:pt idx="304">
                  <c:v>0.125</c:v>
                </c:pt>
                <c:pt idx="305">
                  <c:v>0.125</c:v>
                </c:pt>
                <c:pt idx="306">
                  <c:v>0.125</c:v>
                </c:pt>
                <c:pt idx="307">
                  <c:v>0.12621359223301001</c:v>
                </c:pt>
                <c:pt idx="308">
                  <c:v>0.12631578947368399</c:v>
                </c:pt>
                <c:pt idx="309">
                  <c:v>0.12668463611859801</c:v>
                </c:pt>
                <c:pt idx="310">
                  <c:v>0.12676056338028199</c:v>
                </c:pt>
                <c:pt idx="311">
                  <c:v>0.12676056338028199</c:v>
                </c:pt>
                <c:pt idx="312">
                  <c:v>0.126984126984127</c:v>
                </c:pt>
                <c:pt idx="313">
                  <c:v>0.12711864406779699</c:v>
                </c:pt>
                <c:pt idx="314">
                  <c:v>0.12727272727272701</c:v>
                </c:pt>
                <c:pt idx="315">
                  <c:v>0.12765957446808501</c:v>
                </c:pt>
                <c:pt idx="316">
                  <c:v>0.12765957446808501</c:v>
                </c:pt>
                <c:pt idx="317">
                  <c:v>0.127906976744186</c:v>
                </c:pt>
                <c:pt idx="318">
                  <c:v>0.127906976744186</c:v>
                </c:pt>
                <c:pt idx="319">
                  <c:v>0.128571428571429</c:v>
                </c:pt>
                <c:pt idx="320">
                  <c:v>0.12871287128712899</c:v>
                </c:pt>
                <c:pt idx="321">
                  <c:v>0.12903225806451599</c:v>
                </c:pt>
                <c:pt idx="322">
                  <c:v>0.12903225806451599</c:v>
                </c:pt>
                <c:pt idx="323">
                  <c:v>0.12921348314606701</c:v>
                </c:pt>
                <c:pt idx="324">
                  <c:v>0.12987012987013</c:v>
                </c:pt>
                <c:pt idx="325">
                  <c:v>0.13043478260869601</c:v>
                </c:pt>
                <c:pt idx="326">
                  <c:v>0.13043478260869601</c:v>
                </c:pt>
                <c:pt idx="327">
                  <c:v>0.13043478260869601</c:v>
                </c:pt>
                <c:pt idx="328">
                  <c:v>0.13095238095238099</c:v>
                </c:pt>
                <c:pt idx="329">
                  <c:v>0.13157894736842099</c:v>
                </c:pt>
                <c:pt idx="330">
                  <c:v>0.13178294573643401</c:v>
                </c:pt>
                <c:pt idx="331">
                  <c:v>0.13207547169811301</c:v>
                </c:pt>
                <c:pt idx="332">
                  <c:v>0.13265306122449</c:v>
                </c:pt>
                <c:pt idx="333">
                  <c:v>0.133333333333333</c:v>
                </c:pt>
                <c:pt idx="334">
                  <c:v>0.133333333333333</c:v>
                </c:pt>
                <c:pt idx="335">
                  <c:v>0.133333333333333</c:v>
                </c:pt>
                <c:pt idx="336">
                  <c:v>0.133333333333333</c:v>
                </c:pt>
                <c:pt idx="337">
                  <c:v>0.133333333333333</c:v>
                </c:pt>
                <c:pt idx="338">
                  <c:v>0.134020618556701</c:v>
                </c:pt>
                <c:pt idx="339">
                  <c:v>0.134146341463415</c:v>
                </c:pt>
                <c:pt idx="340">
                  <c:v>0.135135135135135</c:v>
                </c:pt>
                <c:pt idx="341">
                  <c:v>0.13525179856115099</c:v>
                </c:pt>
                <c:pt idx="342">
                  <c:v>0.13559322033898299</c:v>
                </c:pt>
                <c:pt idx="343">
                  <c:v>0.13636363636363599</c:v>
                </c:pt>
                <c:pt idx="344">
                  <c:v>0.13636363636363599</c:v>
                </c:pt>
                <c:pt idx="345">
                  <c:v>0.13636363636363599</c:v>
                </c:pt>
                <c:pt idx="346">
                  <c:v>0.13725490196078399</c:v>
                </c:pt>
                <c:pt idx="347">
                  <c:v>0.13725490196078399</c:v>
                </c:pt>
                <c:pt idx="348">
                  <c:v>0.13725490196078399</c:v>
                </c:pt>
                <c:pt idx="349">
                  <c:v>0.13772455089820401</c:v>
                </c:pt>
                <c:pt idx="350">
                  <c:v>0.13776722090261301</c:v>
                </c:pt>
                <c:pt idx="351">
                  <c:v>0.13793103448275901</c:v>
                </c:pt>
                <c:pt idx="352">
                  <c:v>0.13793103448275901</c:v>
                </c:pt>
                <c:pt idx="353">
                  <c:v>0.13793103448275901</c:v>
                </c:pt>
                <c:pt idx="354">
                  <c:v>0.138461538461538</c:v>
                </c:pt>
                <c:pt idx="355">
                  <c:v>0.13888888888888901</c:v>
                </c:pt>
                <c:pt idx="356">
                  <c:v>0.13888888888888901</c:v>
                </c:pt>
                <c:pt idx="357">
                  <c:v>0.13888888888888901</c:v>
                </c:pt>
                <c:pt idx="358">
                  <c:v>0.13918629550321199</c:v>
                </c:pt>
                <c:pt idx="359">
                  <c:v>0.13953488372093001</c:v>
                </c:pt>
                <c:pt idx="360">
                  <c:v>0.13953488372093001</c:v>
                </c:pt>
                <c:pt idx="361">
                  <c:v>0.13953488372093001</c:v>
                </c:pt>
                <c:pt idx="362">
                  <c:v>0.13962264150943399</c:v>
                </c:pt>
                <c:pt idx="363">
                  <c:v>0.14000000000000001</c:v>
                </c:pt>
                <c:pt idx="364">
                  <c:v>0.14000000000000001</c:v>
                </c:pt>
                <c:pt idx="365">
                  <c:v>0.140350877192982</c:v>
                </c:pt>
                <c:pt idx="366">
                  <c:v>0.140350877192982</c:v>
                </c:pt>
                <c:pt idx="367">
                  <c:v>0.140350877192982</c:v>
                </c:pt>
                <c:pt idx="368">
                  <c:v>0.140625</c:v>
                </c:pt>
                <c:pt idx="369">
                  <c:v>0.14093959731543601</c:v>
                </c:pt>
                <c:pt idx="370">
                  <c:v>0.141025641025641</c:v>
                </c:pt>
                <c:pt idx="371">
                  <c:v>0.14117647058823499</c:v>
                </c:pt>
                <c:pt idx="372">
                  <c:v>0.141304347826087</c:v>
                </c:pt>
                <c:pt idx="373">
                  <c:v>0.141463414634146</c:v>
                </c:pt>
                <c:pt idx="374">
                  <c:v>0.141666666666667</c:v>
                </c:pt>
                <c:pt idx="375">
                  <c:v>0.14173228346456701</c:v>
                </c:pt>
                <c:pt idx="376">
                  <c:v>0.141975308641975</c:v>
                </c:pt>
                <c:pt idx="377">
                  <c:v>0.14210526315789501</c:v>
                </c:pt>
                <c:pt idx="378">
                  <c:v>0.14237288135593201</c:v>
                </c:pt>
                <c:pt idx="379">
                  <c:v>0.14285714285714299</c:v>
                </c:pt>
                <c:pt idx="380">
                  <c:v>0.14285714285714299</c:v>
                </c:pt>
                <c:pt idx="381">
                  <c:v>0.14285714285714299</c:v>
                </c:pt>
                <c:pt idx="382">
                  <c:v>0.14285714285714299</c:v>
                </c:pt>
                <c:pt idx="383">
                  <c:v>0.14285714285714299</c:v>
                </c:pt>
                <c:pt idx="384">
                  <c:v>0.14285714285714299</c:v>
                </c:pt>
                <c:pt idx="385">
                  <c:v>0.14285714285714299</c:v>
                </c:pt>
                <c:pt idx="386">
                  <c:v>0.14285714285714299</c:v>
                </c:pt>
                <c:pt idx="387">
                  <c:v>0.14285714285714299</c:v>
                </c:pt>
                <c:pt idx="388">
                  <c:v>0.14285714285714299</c:v>
                </c:pt>
                <c:pt idx="389">
                  <c:v>0.14285714285714299</c:v>
                </c:pt>
                <c:pt idx="390">
                  <c:v>0.14285714285714299</c:v>
                </c:pt>
                <c:pt idx="391">
                  <c:v>0.144067796610169</c:v>
                </c:pt>
                <c:pt idx="392">
                  <c:v>0.14457831325301199</c:v>
                </c:pt>
                <c:pt idx="393">
                  <c:v>0.14537444933920701</c:v>
                </c:pt>
                <c:pt idx="394">
                  <c:v>0.145454545454545</c:v>
                </c:pt>
                <c:pt idx="395">
                  <c:v>0.145454545454545</c:v>
                </c:pt>
                <c:pt idx="396">
                  <c:v>0.145454545454545</c:v>
                </c:pt>
                <c:pt idx="397">
                  <c:v>0.14583333333333301</c:v>
                </c:pt>
                <c:pt idx="398">
                  <c:v>0.146341463414634</c:v>
                </c:pt>
                <c:pt idx="399">
                  <c:v>0.146341463414634</c:v>
                </c:pt>
                <c:pt idx="400">
                  <c:v>0.14644351464435101</c:v>
                </c:pt>
                <c:pt idx="401">
                  <c:v>0.14657210401891299</c:v>
                </c:pt>
                <c:pt idx="402">
                  <c:v>0.14705882352941199</c:v>
                </c:pt>
                <c:pt idx="403">
                  <c:v>0.14705882352941199</c:v>
                </c:pt>
                <c:pt idx="404">
                  <c:v>0.14705882352941199</c:v>
                </c:pt>
                <c:pt idx="405">
                  <c:v>0.14728682170542601</c:v>
                </c:pt>
                <c:pt idx="406">
                  <c:v>0.14754098360655701</c:v>
                </c:pt>
                <c:pt idx="407">
                  <c:v>0.14754098360655701</c:v>
                </c:pt>
                <c:pt idx="408">
                  <c:v>0.147887323943662</c:v>
                </c:pt>
                <c:pt idx="409">
                  <c:v>0.148148148148148</c:v>
                </c:pt>
                <c:pt idx="410">
                  <c:v>0.148148148148148</c:v>
                </c:pt>
                <c:pt idx="411">
                  <c:v>0.148148148148148</c:v>
                </c:pt>
                <c:pt idx="412">
                  <c:v>0.14864864864864899</c:v>
                </c:pt>
                <c:pt idx="413">
                  <c:v>0.14893617021276601</c:v>
                </c:pt>
                <c:pt idx="414">
                  <c:v>0.14893617021276601</c:v>
                </c:pt>
                <c:pt idx="415">
                  <c:v>0.14893617021276601</c:v>
                </c:pt>
                <c:pt idx="416">
                  <c:v>0.14942528735632199</c:v>
                </c:pt>
                <c:pt idx="417">
                  <c:v>0.14945652173912999</c:v>
                </c:pt>
                <c:pt idx="418">
                  <c:v>0.149484536082474</c:v>
                </c:pt>
                <c:pt idx="419">
                  <c:v>0.15</c:v>
                </c:pt>
                <c:pt idx="420">
                  <c:v>0.15</c:v>
                </c:pt>
                <c:pt idx="421">
                  <c:v>0.15</c:v>
                </c:pt>
                <c:pt idx="422">
                  <c:v>0.15</c:v>
                </c:pt>
                <c:pt idx="423">
                  <c:v>0.15</c:v>
                </c:pt>
                <c:pt idx="424">
                  <c:v>0.15025906735751299</c:v>
                </c:pt>
                <c:pt idx="425">
                  <c:v>0.150684931506849</c:v>
                </c:pt>
                <c:pt idx="426">
                  <c:v>0.15094339622641501</c:v>
                </c:pt>
                <c:pt idx="427">
                  <c:v>0.151219512195122</c:v>
                </c:pt>
                <c:pt idx="428">
                  <c:v>0.15131578947368399</c:v>
                </c:pt>
                <c:pt idx="429">
                  <c:v>0.15151515151515199</c:v>
                </c:pt>
                <c:pt idx="430">
                  <c:v>0.15151515151515199</c:v>
                </c:pt>
                <c:pt idx="431">
                  <c:v>0.15151515151515199</c:v>
                </c:pt>
                <c:pt idx="432">
                  <c:v>0.15161290322580601</c:v>
                </c:pt>
                <c:pt idx="433">
                  <c:v>0.15186246418338101</c:v>
                </c:pt>
                <c:pt idx="434">
                  <c:v>0.152866242038217</c:v>
                </c:pt>
                <c:pt idx="435">
                  <c:v>0.153284671532847</c:v>
                </c:pt>
                <c:pt idx="436">
                  <c:v>0.15355086372360799</c:v>
                </c:pt>
                <c:pt idx="437">
                  <c:v>0.15384615384615399</c:v>
                </c:pt>
                <c:pt idx="438">
                  <c:v>0.15384615384615399</c:v>
                </c:pt>
                <c:pt idx="439">
                  <c:v>0.15384615384615399</c:v>
                </c:pt>
                <c:pt idx="440">
                  <c:v>0.15384615384615399</c:v>
                </c:pt>
                <c:pt idx="441">
                  <c:v>0.15384615384615399</c:v>
                </c:pt>
                <c:pt idx="442">
                  <c:v>0.15384615384615399</c:v>
                </c:pt>
                <c:pt idx="443">
                  <c:v>0.15384615384615399</c:v>
                </c:pt>
                <c:pt idx="444">
                  <c:v>0.15384615384615399</c:v>
                </c:pt>
                <c:pt idx="445">
                  <c:v>0.154471544715447</c:v>
                </c:pt>
                <c:pt idx="446">
                  <c:v>0.15503875968992201</c:v>
                </c:pt>
                <c:pt idx="447">
                  <c:v>0.155131264916468</c:v>
                </c:pt>
                <c:pt idx="448">
                  <c:v>0.15533980582524301</c:v>
                </c:pt>
                <c:pt idx="449">
                  <c:v>0.155555555555556</c:v>
                </c:pt>
                <c:pt idx="450">
                  <c:v>0.15625</c:v>
                </c:pt>
                <c:pt idx="451">
                  <c:v>0.15625</c:v>
                </c:pt>
                <c:pt idx="452">
                  <c:v>0.15625</c:v>
                </c:pt>
                <c:pt idx="453">
                  <c:v>0.15625</c:v>
                </c:pt>
                <c:pt idx="454">
                  <c:v>0.15625</c:v>
                </c:pt>
                <c:pt idx="455">
                  <c:v>0.15625</c:v>
                </c:pt>
                <c:pt idx="456">
                  <c:v>0.15625</c:v>
                </c:pt>
                <c:pt idx="457">
                  <c:v>0.15642458100558701</c:v>
                </c:pt>
                <c:pt idx="458">
                  <c:v>0.15708812260536401</c:v>
                </c:pt>
                <c:pt idx="459">
                  <c:v>0.157894736842105</c:v>
                </c:pt>
                <c:pt idx="460">
                  <c:v>0.157894736842105</c:v>
                </c:pt>
                <c:pt idx="461">
                  <c:v>0.157894736842105</c:v>
                </c:pt>
                <c:pt idx="462">
                  <c:v>0.157894736842105</c:v>
                </c:pt>
                <c:pt idx="463">
                  <c:v>0.157894736842105</c:v>
                </c:pt>
                <c:pt idx="464">
                  <c:v>0.157894736842105</c:v>
                </c:pt>
                <c:pt idx="465">
                  <c:v>0.157894736842105</c:v>
                </c:pt>
                <c:pt idx="466">
                  <c:v>0.15853658536585399</c:v>
                </c:pt>
                <c:pt idx="467">
                  <c:v>0.15853658536585399</c:v>
                </c:pt>
                <c:pt idx="468">
                  <c:v>0.15853658536585399</c:v>
                </c:pt>
                <c:pt idx="469">
                  <c:v>0.15853658536585399</c:v>
                </c:pt>
                <c:pt idx="470">
                  <c:v>0.15853658536585399</c:v>
                </c:pt>
                <c:pt idx="471">
                  <c:v>0.15860215053763399</c:v>
                </c:pt>
                <c:pt idx="472">
                  <c:v>0.15901060070671399</c:v>
                </c:pt>
                <c:pt idx="473">
                  <c:v>0.159036144578313</c:v>
                </c:pt>
                <c:pt idx="474">
                  <c:v>0.15909090909090901</c:v>
                </c:pt>
                <c:pt idx="475">
                  <c:v>0.15909090909090901</c:v>
                </c:pt>
                <c:pt idx="476">
                  <c:v>0.15929203539823</c:v>
                </c:pt>
                <c:pt idx="477">
                  <c:v>0.159574468085106</c:v>
                </c:pt>
                <c:pt idx="478">
                  <c:v>0.16</c:v>
                </c:pt>
                <c:pt idx="479">
                  <c:v>0.16</c:v>
                </c:pt>
                <c:pt idx="480">
                  <c:v>0.16</c:v>
                </c:pt>
                <c:pt idx="481">
                  <c:v>0.16</c:v>
                </c:pt>
                <c:pt idx="482">
                  <c:v>0.16</c:v>
                </c:pt>
                <c:pt idx="483">
                  <c:v>0.16</c:v>
                </c:pt>
                <c:pt idx="484">
                  <c:v>0.160714285714286</c:v>
                </c:pt>
                <c:pt idx="485">
                  <c:v>0.161490683229814</c:v>
                </c:pt>
                <c:pt idx="486">
                  <c:v>0.162162162162162</c:v>
                </c:pt>
                <c:pt idx="487">
                  <c:v>0.16271186440678001</c:v>
                </c:pt>
                <c:pt idx="488">
                  <c:v>0.162790697674419</c:v>
                </c:pt>
                <c:pt idx="489">
                  <c:v>0.162790697674419</c:v>
                </c:pt>
                <c:pt idx="490">
                  <c:v>0.16298552932216301</c:v>
                </c:pt>
                <c:pt idx="491">
                  <c:v>0.16304347826087001</c:v>
                </c:pt>
                <c:pt idx="492">
                  <c:v>0.16326530612244899</c:v>
                </c:pt>
                <c:pt idx="493">
                  <c:v>0.163636363636364</c:v>
                </c:pt>
                <c:pt idx="494">
                  <c:v>0.163636363636364</c:v>
                </c:pt>
                <c:pt idx="495">
                  <c:v>0.163636363636364</c:v>
                </c:pt>
                <c:pt idx="496">
                  <c:v>0.164179104477612</c:v>
                </c:pt>
                <c:pt idx="497">
                  <c:v>0.164383561643836</c:v>
                </c:pt>
                <c:pt idx="498">
                  <c:v>0.164383561643836</c:v>
                </c:pt>
                <c:pt idx="499">
                  <c:v>0.16447368421052599</c:v>
                </c:pt>
                <c:pt idx="500">
                  <c:v>0.16463414634146301</c:v>
                </c:pt>
                <c:pt idx="501">
                  <c:v>0.164835164835165</c:v>
                </c:pt>
                <c:pt idx="502">
                  <c:v>0.16504854368932001</c:v>
                </c:pt>
                <c:pt idx="503">
                  <c:v>0.16521739130434801</c:v>
                </c:pt>
                <c:pt idx="504">
                  <c:v>0.16613418530351401</c:v>
                </c:pt>
                <c:pt idx="505">
                  <c:v>0.16618075801749299</c:v>
                </c:pt>
                <c:pt idx="506">
                  <c:v>0.16619718309859199</c:v>
                </c:pt>
                <c:pt idx="507">
                  <c:v>0.16666666666666699</c:v>
                </c:pt>
                <c:pt idx="508">
                  <c:v>0.16666666666666699</c:v>
                </c:pt>
                <c:pt idx="509">
                  <c:v>0.16666666666666699</c:v>
                </c:pt>
                <c:pt idx="510">
                  <c:v>0.16666666666666699</c:v>
                </c:pt>
                <c:pt idx="511">
                  <c:v>0.16666666666666699</c:v>
                </c:pt>
                <c:pt idx="512">
                  <c:v>0.16666666666666699</c:v>
                </c:pt>
                <c:pt idx="513">
                  <c:v>0.16666666666666699</c:v>
                </c:pt>
                <c:pt idx="514">
                  <c:v>0.16666666666666699</c:v>
                </c:pt>
                <c:pt idx="515">
                  <c:v>0.16666666666666699</c:v>
                </c:pt>
                <c:pt idx="516">
                  <c:v>0.16666666666666699</c:v>
                </c:pt>
                <c:pt idx="517">
                  <c:v>0.16666666666666699</c:v>
                </c:pt>
                <c:pt idx="518">
                  <c:v>0.16666666666666699</c:v>
                </c:pt>
                <c:pt idx="519">
                  <c:v>0.16666666666666699</c:v>
                </c:pt>
                <c:pt idx="520">
                  <c:v>0.16666666666666699</c:v>
                </c:pt>
                <c:pt idx="521">
                  <c:v>0.16666666666666699</c:v>
                </c:pt>
                <c:pt idx="522">
                  <c:v>0.16666666666666699</c:v>
                </c:pt>
                <c:pt idx="523">
                  <c:v>0.16666666666666699</c:v>
                </c:pt>
                <c:pt idx="524">
                  <c:v>0.16666666666666699</c:v>
                </c:pt>
                <c:pt idx="525">
                  <c:v>0.16666666666666699</c:v>
                </c:pt>
                <c:pt idx="526">
                  <c:v>0.16666666666666699</c:v>
                </c:pt>
                <c:pt idx="527">
                  <c:v>0.16867469879518099</c:v>
                </c:pt>
                <c:pt idx="528">
                  <c:v>0.16923076923076899</c:v>
                </c:pt>
                <c:pt idx="529">
                  <c:v>0.169491525423729</c:v>
                </c:pt>
                <c:pt idx="530">
                  <c:v>0.169491525423729</c:v>
                </c:pt>
                <c:pt idx="531">
                  <c:v>0.170212765957447</c:v>
                </c:pt>
                <c:pt idx="532">
                  <c:v>0.17105263157894701</c:v>
                </c:pt>
                <c:pt idx="533">
                  <c:v>0.171171171171171</c:v>
                </c:pt>
                <c:pt idx="534">
                  <c:v>0.17142857142857101</c:v>
                </c:pt>
                <c:pt idx="535">
                  <c:v>0.17142857142857101</c:v>
                </c:pt>
                <c:pt idx="536">
                  <c:v>0.17142857142857101</c:v>
                </c:pt>
                <c:pt idx="537">
                  <c:v>0.171641791044776</c:v>
                </c:pt>
                <c:pt idx="538">
                  <c:v>0.17171717171717199</c:v>
                </c:pt>
                <c:pt idx="539">
                  <c:v>0.171875</c:v>
                </c:pt>
                <c:pt idx="540">
                  <c:v>0.17241379310344801</c:v>
                </c:pt>
                <c:pt idx="541">
                  <c:v>0.17241379310344801</c:v>
                </c:pt>
                <c:pt idx="542">
                  <c:v>0.17241379310344801</c:v>
                </c:pt>
                <c:pt idx="543">
                  <c:v>0.172839506172839</c:v>
                </c:pt>
                <c:pt idx="544">
                  <c:v>0.172839506172839</c:v>
                </c:pt>
                <c:pt idx="545">
                  <c:v>0.17307692307692299</c:v>
                </c:pt>
                <c:pt idx="546">
                  <c:v>0.17322834645669299</c:v>
                </c:pt>
                <c:pt idx="547">
                  <c:v>0.173913043478261</c:v>
                </c:pt>
                <c:pt idx="548">
                  <c:v>0.173913043478261</c:v>
                </c:pt>
                <c:pt idx="549">
                  <c:v>0.173913043478261</c:v>
                </c:pt>
                <c:pt idx="550">
                  <c:v>0.17431192660550501</c:v>
                </c:pt>
                <c:pt idx="551">
                  <c:v>0.17441860465116299</c:v>
                </c:pt>
                <c:pt idx="552">
                  <c:v>0.17449664429530201</c:v>
                </c:pt>
                <c:pt idx="553">
                  <c:v>0.17475728155339801</c:v>
                </c:pt>
                <c:pt idx="554">
                  <c:v>0.17499999999999999</c:v>
                </c:pt>
                <c:pt idx="555">
                  <c:v>0.17515923566878999</c:v>
                </c:pt>
                <c:pt idx="556">
                  <c:v>0.175824175824176</c:v>
                </c:pt>
                <c:pt idx="557">
                  <c:v>0.17647058823529399</c:v>
                </c:pt>
                <c:pt idx="558">
                  <c:v>0.17647058823529399</c:v>
                </c:pt>
                <c:pt idx="559">
                  <c:v>0.17647058823529399</c:v>
                </c:pt>
                <c:pt idx="560">
                  <c:v>0.17647058823529399</c:v>
                </c:pt>
                <c:pt idx="561">
                  <c:v>0.17647058823529399</c:v>
                </c:pt>
                <c:pt idx="562">
                  <c:v>0.17647058823529399</c:v>
                </c:pt>
                <c:pt idx="563">
                  <c:v>0.17647058823529399</c:v>
                </c:pt>
                <c:pt idx="564">
                  <c:v>0.17692307692307699</c:v>
                </c:pt>
                <c:pt idx="565">
                  <c:v>0.17709720372836199</c:v>
                </c:pt>
                <c:pt idx="566">
                  <c:v>0.177128116938951</c:v>
                </c:pt>
                <c:pt idx="567">
                  <c:v>0.177215189873418</c:v>
                </c:pt>
                <c:pt idx="568">
                  <c:v>0.17741935483870999</c:v>
                </c:pt>
                <c:pt idx="569">
                  <c:v>0.17741935483870999</c:v>
                </c:pt>
                <c:pt idx="570">
                  <c:v>0.177570093457944</c:v>
                </c:pt>
                <c:pt idx="571">
                  <c:v>0.17773788150807901</c:v>
                </c:pt>
                <c:pt idx="572">
                  <c:v>0.17777777777777801</c:v>
                </c:pt>
                <c:pt idx="573">
                  <c:v>0.17777777777777801</c:v>
                </c:pt>
                <c:pt idx="574">
                  <c:v>0.17777777777777801</c:v>
                </c:pt>
                <c:pt idx="575">
                  <c:v>0.17857142857142899</c:v>
                </c:pt>
                <c:pt idx="576">
                  <c:v>0.17857142857142899</c:v>
                </c:pt>
                <c:pt idx="577">
                  <c:v>0.17857142857142899</c:v>
                </c:pt>
                <c:pt idx="578">
                  <c:v>0.17857142857142899</c:v>
                </c:pt>
                <c:pt idx="579">
                  <c:v>0.17931034482758601</c:v>
                </c:pt>
                <c:pt idx="580">
                  <c:v>0.17942583732057399</c:v>
                </c:pt>
                <c:pt idx="581">
                  <c:v>0.17948717948717899</c:v>
                </c:pt>
                <c:pt idx="582">
                  <c:v>0.17948717948717899</c:v>
                </c:pt>
                <c:pt idx="583">
                  <c:v>0.17989417989418</c:v>
                </c:pt>
                <c:pt idx="584">
                  <c:v>0.17989417989418</c:v>
                </c:pt>
                <c:pt idx="585">
                  <c:v>0.18</c:v>
                </c:pt>
                <c:pt idx="586">
                  <c:v>0.18</c:v>
                </c:pt>
                <c:pt idx="587">
                  <c:v>0.18032786885245899</c:v>
                </c:pt>
                <c:pt idx="588">
                  <c:v>0.18032786885245899</c:v>
                </c:pt>
                <c:pt idx="589">
                  <c:v>0.180555555555556</c:v>
                </c:pt>
                <c:pt idx="590">
                  <c:v>0.180722891566265</c:v>
                </c:pt>
                <c:pt idx="591">
                  <c:v>0.180851063829787</c:v>
                </c:pt>
                <c:pt idx="592">
                  <c:v>0.18120805369127499</c:v>
                </c:pt>
                <c:pt idx="593">
                  <c:v>0.18144329896907199</c:v>
                </c:pt>
                <c:pt idx="594">
                  <c:v>0.18181818181818199</c:v>
                </c:pt>
                <c:pt idx="595">
                  <c:v>0.18181818181818199</c:v>
                </c:pt>
                <c:pt idx="596">
                  <c:v>0.18181818181818199</c:v>
                </c:pt>
                <c:pt idx="597">
                  <c:v>0.18181818181818199</c:v>
                </c:pt>
                <c:pt idx="598">
                  <c:v>0.18181818181818199</c:v>
                </c:pt>
                <c:pt idx="599">
                  <c:v>0.18181818181818199</c:v>
                </c:pt>
                <c:pt idx="600">
                  <c:v>0.18181818181818199</c:v>
                </c:pt>
                <c:pt idx="601">
                  <c:v>0.18181818181818199</c:v>
                </c:pt>
                <c:pt idx="602">
                  <c:v>0.182539682539683</c:v>
                </c:pt>
                <c:pt idx="603">
                  <c:v>0.182561307901907</c:v>
                </c:pt>
                <c:pt idx="604">
                  <c:v>0.18279569892473099</c:v>
                </c:pt>
                <c:pt idx="605">
                  <c:v>0.18292682926829301</c:v>
                </c:pt>
                <c:pt idx="606">
                  <c:v>0.18348623853210999</c:v>
                </c:pt>
                <c:pt idx="607">
                  <c:v>0.18390804597701099</c:v>
                </c:pt>
                <c:pt idx="608">
                  <c:v>0.184</c:v>
                </c:pt>
                <c:pt idx="609">
                  <c:v>0.18446601941747601</c:v>
                </c:pt>
                <c:pt idx="610">
                  <c:v>0.18461538461538499</c:v>
                </c:pt>
                <c:pt idx="611">
                  <c:v>0.18461538461538499</c:v>
                </c:pt>
                <c:pt idx="612">
                  <c:v>0.18518518518518501</c:v>
                </c:pt>
                <c:pt idx="613">
                  <c:v>0.18518518518518501</c:v>
                </c:pt>
                <c:pt idx="614">
                  <c:v>0.18548387096774199</c:v>
                </c:pt>
                <c:pt idx="615">
                  <c:v>0.185567010309278</c:v>
                </c:pt>
                <c:pt idx="616">
                  <c:v>0.185758513931889</c:v>
                </c:pt>
                <c:pt idx="617">
                  <c:v>0.18589743589743599</c:v>
                </c:pt>
                <c:pt idx="618">
                  <c:v>0.186046511627907</c:v>
                </c:pt>
                <c:pt idx="619">
                  <c:v>0.186046511627907</c:v>
                </c:pt>
                <c:pt idx="620">
                  <c:v>0.186046511627907</c:v>
                </c:pt>
                <c:pt idx="621">
                  <c:v>0.18627450980392199</c:v>
                </c:pt>
                <c:pt idx="622">
                  <c:v>0.186440677966102</c:v>
                </c:pt>
                <c:pt idx="623">
                  <c:v>0.18649517684887501</c:v>
                </c:pt>
                <c:pt idx="624">
                  <c:v>0.18699186991869901</c:v>
                </c:pt>
                <c:pt idx="625">
                  <c:v>0.1875</c:v>
                </c:pt>
                <c:pt idx="626">
                  <c:v>0.18807339449541299</c:v>
                </c:pt>
                <c:pt idx="627">
                  <c:v>0.18811881188118801</c:v>
                </c:pt>
                <c:pt idx="628">
                  <c:v>0.18867924528301899</c:v>
                </c:pt>
                <c:pt idx="629">
                  <c:v>0.18867924528301899</c:v>
                </c:pt>
                <c:pt idx="630">
                  <c:v>0.18918918918918901</c:v>
                </c:pt>
                <c:pt idx="631">
                  <c:v>0.18918918918918901</c:v>
                </c:pt>
                <c:pt idx="632">
                  <c:v>0.18918918918918901</c:v>
                </c:pt>
                <c:pt idx="633">
                  <c:v>0.18965517241379301</c:v>
                </c:pt>
                <c:pt idx="634">
                  <c:v>0.18965517241379301</c:v>
                </c:pt>
                <c:pt idx="635">
                  <c:v>0.18965517241379301</c:v>
                </c:pt>
                <c:pt idx="636">
                  <c:v>0.189873417721519</c:v>
                </c:pt>
                <c:pt idx="637">
                  <c:v>0.19047619047618999</c:v>
                </c:pt>
                <c:pt idx="638">
                  <c:v>0.19047619047618999</c:v>
                </c:pt>
                <c:pt idx="639">
                  <c:v>0.19047619047618999</c:v>
                </c:pt>
                <c:pt idx="640">
                  <c:v>0.190909090909091</c:v>
                </c:pt>
                <c:pt idx="641">
                  <c:v>0.191176470588235</c:v>
                </c:pt>
                <c:pt idx="642">
                  <c:v>0.191176470588235</c:v>
                </c:pt>
                <c:pt idx="643">
                  <c:v>0.191176470588235</c:v>
                </c:pt>
                <c:pt idx="644">
                  <c:v>0.19123505976095601</c:v>
                </c:pt>
                <c:pt idx="645">
                  <c:v>0.19130434782608699</c:v>
                </c:pt>
                <c:pt idx="646">
                  <c:v>0.19135802469135799</c:v>
                </c:pt>
                <c:pt idx="647">
                  <c:v>0.191387559808612</c:v>
                </c:pt>
                <c:pt idx="648">
                  <c:v>0.19148936170212799</c:v>
                </c:pt>
                <c:pt idx="649">
                  <c:v>0.19178082191780799</c:v>
                </c:pt>
                <c:pt idx="650">
                  <c:v>0.19230769230769201</c:v>
                </c:pt>
                <c:pt idx="651">
                  <c:v>0.19230769230769201</c:v>
                </c:pt>
                <c:pt idx="652">
                  <c:v>0.19230769230769201</c:v>
                </c:pt>
                <c:pt idx="653">
                  <c:v>0.19230769230769201</c:v>
                </c:pt>
                <c:pt idx="654">
                  <c:v>0.19230769230769201</c:v>
                </c:pt>
                <c:pt idx="655">
                  <c:v>0.19251336898395699</c:v>
                </c:pt>
                <c:pt idx="656">
                  <c:v>0.19277108433734899</c:v>
                </c:pt>
                <c:pt idx="657">
                  <c:v>0.19298245614035101</c:v>
                </c:pt>
                <c:pt idx="658">
                  <c:v>0.193121693121693</c:v>
                </c:pt>
                <c:pt idx="659">
                  <c:v>0.19354838709677399</c:v>
                </c:pt>
                <c:pt idx="660">
                  <c:v>0.19354838709677399</c:v>
                </c:pt>
                <c:pt idx="661">
                  <c:v>0.19354838709677399</c:v>
                </c:pt>
                <c:pt idx="662">
                  <c:v>0.19354838709677399</c:v>
                </c:pt>
                <c:pt idx="663">
                  <c:v>0.19354838709677399</c:v>
                </c:pt>
                <c:pt idx="664">
                  <c:v>0.19402985074626899</c:v>
                </c:pt>
                <c:pt idx="665">
                  <c:v>0.19428571428571401</c:v>
                </c:pt>
                <c:pt idx="666">
                  <c:v>0.194444444444444</c:v>
                </c:pt>
                <c:pt idx="667">
                  <c:v>0.194444444444444</c:v>
                </c:pt>
                <c:pt idx="668">
                  <c:v>0.194444444444444</c:v>
                </c:pt>
                <c:pt idx="669">
                  <c:v>0.194647201946472</c:v>
                </c:pt>
                <c:pt idx="670">
                  <c:v>0.19480519480519501</c:v>
                </c:pt>
                <c:pt idx="671">
                  <c:v>0.19480519480519501</c:v>
                </c:pt>
                <c:pt idx="672">
                  <c:v>0.19480519480519501</c:v>
                </c:pt>
                <c:pt idx="673">
                  <c:v>0.19498607242339799</c:v>
                </c:pt>
                <c:pt idx="674">
                  <c:v>0.19512195121951201</c:v>
                </c:pt>
                <c:pt idx="675">
                  <c:v>0.19512195121951201</c:v>
                </c:pt>
                <c:pt idx="676">
                  <c:v>0.19512195121951201</c:v>
                </c:pt>
                <c:pt idx="677">
                  <c:v>0.19512195121951201</c:v>
                </c:pt>
                <c:pt idx="678">
                  <c:v>0.19512195121951201</c:v>
                </c:pt>
                <c:pt idx="679">
                  <c:v>0.19512195121951201</c:v>
                </c:pt>
                <c:pt idx="680">
                  <c:v>0.195402298850575</c:v>
                </c:pt>
                <c:pt idx="681">
                  <c:v>0.195402298850575</c:v>
                </c:pt>
                <c:pt idx="682">
                  <c:v>0.195402298850575</c:v>
                </c:pt>
                <c:pt idx="683">
                  <c:v>0.19607843137254899</c:v>
                </c:pt>
                <c:pt idx="684">
                  <c:v>0.19607843137254899</c:v>
                </c:pt>
                <c:pt idx="685">
                  <c:v>0.19626168224299101</c:v>
                </c:pt>
                <c:pt idx="686">
                  <c:v>0.19626168224299101</c:v>
                </c:pt>
                <c:pt idx="687">
                  <c:v>0.19672131147541</c:v>
                </c:pt>
                <c:pt idx="688">
                  <c:v>0.19696969696969699</c:v>
                </c:pt>
                <c:pt idx="689">
                  <c:v>0.197044334975369</c:v>
                </c:pt>
                <c:pt idx="690">
                  <c:v>0.19753086419753099</c:v>
                </c:pt>
                <c:pt idx="691">
                  <c:v>0.19776119402985101</c:v>
                </c:pt>
                <c:pt idx="692">
                  <c:v>0.19780219780219799</c:v>
                </c:pt>
                <c:pt idx="693">
                  <c:v>0.19780219780219799</c:v>
                </c:pt>
                <c:pt idx="694">
                  <c:v>0.19780219780219799</c:v>
                </c:pt>
                <c:pt idx="695">
                  <c:v>0.19811320754716999</c:v>
                </c:pt>
                <c:pt idx="696">
                  <c:v>0.19834710743801701</c:v>
                </c:pt>
                <c:pt idx="697">
                  <c:v>0.19834710743801701</c:v>
                </c:pt>
                <c:pt idx="698">
                  <c:v>0.19852941176470601</c:v>
                </c:pt>
                <c:pt idx="699">
                  <c:v>0.199013157894737</c:v>
                </c:pt>
                <c:pt idx="700">
                  <c:v>0.19915254237288099</c:v>
                </c:pt>
                <c:pt idx="701">
                  <c:v>0.19930069930069899</c:v>
                </c:pt>
                <c:pt idx="702">
                  <c:v>0.19948849104859301</c:v>
                </c:pt>
                <c:pt idx="703">
                  <c:v>0.2</c:v>
                </c:pt>
                <c:pt idx="704">
                  <c:v>0.2</c:v>
                </c:pt>
                <c:pt idx="705">
                  <c:v>0.2</c:v>
                </c:pt>
                <c:pt idx="706">
                  <c:v>0.2</c:v>
                </c:pt>
                <c:pt idx="707">
                  <c:v>0.2</c:v>
                </c:pt>
                <c:pt idx="708">
                  <c:v>0.2</c:v>
                </c:pt>
                <c:pt idx="709">
                  <c:v>0.2</c:v>
                </c:pt>
                <c:pt idx="710">
                  <c:v>0.2</c:v>
                </c:pt>
                <c:pt idx="711">
                  <c:v>0.2</c:v>
                </c:pt>
                <c:pt idx="712">
                  <c:v>0.2</c:v>
                </c:pt>
                <c:pt idx="713">
                  <c:v>0.2</c:v>
                </c:pt>
                <c:pt idx="714">
                  <c:v>0.2</c:v>
                </c:pt>
                <c:pt idx="715">
                  <c:v>0.2</c:v>
                </c:pt>
                <c:pt idx="716">
                  <c:v>0.2</c:v>
                </c:pt>
                <c:pt idx="717">
                  <c:v>0.20070422535211299</c:v>
                </c:pt>
                <c:pt idx="718">
                  <c:v>0.20078740157480299</c:v>
                </c:pt>
                <c:pt idx="719">
                  <c:v>0.201438848920863</c:v>
                </c:pt>
                <c:pt idx="720">
                  <c:v>0.201634877384196</c:v>
                </c:pt>
                <c:pt idx="721">
                  <c:v>0.20164609053497901</c:v>
                </c:pt>
                <c:pt idx="722">
                  <c:v>0.20175438596491199</c:v>
                </c:pt>
                <c:pt idx="723">
                  <c:v>0.20212765957446799</c:v>
                </c:pt>
                <c:pt idx="724">
                  <c:v>0.202185792349727</c:v>
                </c:pt>
                <c:pt idx="725">
                  <c:v>0.20253164556962</c:v>
                </c:pt>
                <c:pt idx="726">
                  <c:v>0.20253164556962</c:v>
                </c:pt>
                <c:pt idx="727">
                  <c:v>0.202898550724638</c:v>
                </c:pt>
                <c:pt idx="728">
                  <c:v>0.20294117647058799</c:v>
                </c:pt>
                <c:pt idx="729">
                  <c:v>0.20338983050847501</c:v>
                </c:pt>
                <c:pt idx="730">
                  <c:v>0.20353982300885001</c:v>
                </c:pt>
                <c:pt idx="731">
                  <c:v>0.20404411764705899</c:v>
                </c:pt>
                <c:pt idx="732">
                  <c:v>0.20408163265306101</c:v>
                </c:pt>
                <c:pt idx="733">
                  <c:v>0.20408163265306101</c:v>
                </c:pt>
                <c:pt idx="734">
                  <c:v>0.204301075268817</c:v>
                </c:pt>
                <c:pt idx="735">
                  <c:v>0.20441988950276199</c:v>
                </c:pt>
                <c:pt idx="736">
                  <c:v>0.204506065857886</c:v>
                </c:pt>
                <c:pt idx="737">
                  <c:v>0.204545454545455</c:v>
                </c:pt>
                <c:pt idx="738">
                  <c:v>0.204545454545455</c:v>
                </c:pt>
                <c:pt idx="739">
                  <c:v>0.204545454545455</c:v>
                </c:pt>
                <c:pt idx="740">
                  <c:v>0.20481927710843401</c:v>
                </c:pt>
                <c:pt idx="741">
                  <c:v>0.20512820512820501</c:v>
                </c:pt>
                <c:pt idx="742">
                  <c:v>0.20512820512820501</c:v>
                </c:pt>
                <c:pt idx="743">
                  <c:v>0.20538720538720501</c:v>
                </c:pt>
                <c:pt idx="744">
                  <c:v>0.20542635658914701</c:v>
                </c:pt>
                <c:pt idx="745">
                  <c:v>0.205673758865248</c:v>
                </c:pt>
                <c:pt idx="746">
                  <c:v>0.20588235294117599</c:v>
                </c:pt>
                <c:pt idx="747">
                  <c:v>0.20588235294117599</c:v>
                </c:pt>
                <c:pt idx="748">
                  <c:v>0.20588235294117599</c:v>
                </c:pt>
                <c:pt idx="749">
                  <c:v>0.206081081081081</c:v>
                </c:pt>
                <c:pt idx="750">
                  <c:v>0.20609318996415801</c:v>
                </c:pt>
                <c:pt idx="751">
                  <c:v>0.206106870229008</c:v>
                </c:pt>
                <c:pt idx="752">
                  <c:v>0.206349206349206</c:v>
                </c:pt>
                <c:pt idx="753">
                  <c:v>0.20648967551622399</c:v>
                </c:pt>
                <c:pt idx="754">
                  <c:v>0.20652173913043501</c:v>
                </c:pt>
                <c:pt idx="755">
                  <c:v>0.20662460567823299</c:v>
                </c:pt>
                <c:pt idx="756">
                  <c:v>0.20689655172413801</c:v>
                </c:pt>
                <c:pt idx="757">
                  <c:v>0.20689655172413801</c:v>
                </c:pt>
                <c:pt idx="758">
                  <c:v>0.20689655172413801</c:v>
                </c:pt>
                <c:pt idx="759">
                  <c:v>0.20689655172413801</c:v>
                </c:pt>
                <c:pt idx="760">
                  <c:v>0.20689655172413801</c:v>
                </c:pt>
                <c:pt idx="761">
                  <c:v>0.20689655172413801</c:v>
                </c:pt>
                <c:pt idx="762">
                  <c:v>0.20689655172413801</c:v>
                </c:pt>
                <c:pt idx="763">
                  <c:v>0.20703125</c:v>
                </c:pt>
                <c:pt idx="764">
                  <c:v>0.20704845814978001</c:v>
                </c:pt>
                <c:pt idx="765">
                  <c:v>0.20754716981132099</c:v>
                </c:pt>
                <c:pt idx="766">
                  <c:v>0.20754716981132099</c:v>
                </c:pt>
                <c:pt idx="767">
                  <c:v>0.20754716981132099</c:v>
                </c:pt>
                <c:pt idx="768">
                  <c:v>0.207792207792208</c:v>
                </c:pt>
                <c:pt idx="769">
                  <c:v>0.20833333333333301</c:v>
                </c:pt>
                <c:pt idx="770">
                  <c:v>0.20833333333333301</c:v>
                </c:pt>
                <c:pt idx="771">
                  <c:v>0.20833333333333301</c:v>
                </c:pt>
                <c:pt idx="772">
                  <c:v>0.20838794233289601</c:v>
                </c:pt>
                <c:pt idx="773">
                  <c:v>0.208860759493671</c:v>
                </c:pt>
                <c:pt idx="774">
                  <c:v>0.20918367346938799</c:v>
                </c:pt>
                <c:pt idx="775">
                  <c:v>0.209302325581395</c:v>
                </c:pt>
                <c:pt idx="776">
                  <c:v>0.209302325581395</c:v>
                </c:pt>
                <c:pt idx="777">
                  <c:v>0.209302325581395</c:v>
                </c:pt>
                <c:pt idx="778">
                  <c:v>0.20946915351506501</c:v>
                </c:pt>
                <c:pt idx="779">
                  <c:v>0.20985010706638099</c:v>
                </c:pt>
                <c:pt idx="780">
                  <c:v>0.209876543209877</c:v>
                </c:pt>
                <c:pt idx="781">
                  <c:v>0.209964412811388</c:v>
                </c:pt>
                <c:pt idx="782">
                  <c:v>0.21</c:v>
                </c:pt>
                <c:pt idx="783">
                  <c:v>0.21008403361344499</c:v>
                </c:pt>
                <c:pt idx="784">
                  <c:v>0.21052631578947401</c:v>
                </c:pt>
                <c:pt idx="785">
                  <c:v>0.21052631578947401</c:v>
                </c:pt>
                <c:pt idx="786">
                  <c:v>0.21052631578947401</c:v>
                </c:pt>
                <c:pt idx="787">
                  <c:v>0.2109375</c:v>
                </c:pt>
                <c:pt idx="788">
                  <c:v>0.211111111111111</c:v>
                </c:pt>
                <c:pt idx="789">
                  <c:v>0.21126760563380301</c:v>
                </c:pt>
                <c:pt idx="790">
                  <c:v>0.21153846153846201</c:v>
                </c:pt>
                <c:pt idx="791">
                  <c:v>0.21153846153846201</c:v>
                </c:pt>
                <c:pt idx="792">
                  <c:v>0.21153846153846201</c:v>
                </c:pt>
                <c:pt idx="793">
                  <c:v>0.21167883211678801</c:v>
                </c:pt>
                <c:pt idx="794">
                  <c:v>0.21212121212121199</c:v>
                </c:pt>
                <c:pt idx="795">
                  <c:v>0.21212121212121199</c:v>
                </c:pt>
                <c:pt idx="796">
                  <c:v>0.21212121212121199</c:v>
                </c:pt>
                <c:pt idx="797">
                  <c:v>0.21212121212121199</c:v>
                </c:pt>
                <c:pt idx="798">
                  <c:v>0.212389380530973</c:v>
                </c:pt>
                <c:pt idx="799">
                  <c:v>0.21249999999999999</c:v>
                </c:pt>
                <c:pt idx="800">
                  <c:v>0.21249999999999999</c:v>
                </c:pt>
                <c:pt idx="801">
                  <c:v>0.21276595744680801</c:v>
                </c:pt>
                <c:pt idx="802">
                  <c:v>0.213114754098361</c:v>
                </c:pt>
                <c:pt idx="803">
                  <c:v>0.213592233009709</c:v>
                </c:pt>
                <c:pt idx="804">
                  <c:v>0.21381578947368399</c:v>
                </c:pt>
                <c:pt idx="805">
                  <c:v>0.214285714285714</c:v>
                </c:pt>
                <c:pt idx="806">
                  <c:v>0.214285714285714</c:v>
                </c:pt>
                <c:pt idx="807">
                  <c:v>0.214285714285714</c:v>
                </c:pt>
                <c:pt idx="808">
                  <c:v>0.214285714285714</c:v>
                </c:pt>
                <c:pt idx="809">
                  <c:v>0.214285714285714</c:v>
                </c:pt>
                <c:pt idx="810">
                  <c:v>0.214285714285714</c:v>
                </c:pt>
                <c:pt idx="811">
                  <c:v>0.214285714285714</c:v>
                </c:pt>
                <c:pt idx="812">
                  <c:v>0.21462639109697901</c:v>
                </c:pt>
                <c:pt idx="813">
                  <c:v>0.21478873239436599</c:v>
                </c:pt>
                <c:pt idx="814">
                  <c:v>0.214876033057851</c:v>
                </c:pt>
                <c:pt idx="815">
                  <c:v>0.21507760532150799</c:v>
                </c:pt>
                <c:pt idx="816">
                  <c:v>0.215189873417722</c:v>
                </c:pt>
                <c:pt idx="817">
                  <c:v>0.21568627450980399</c:v>
                </c:pt>
                <c:pt idx="818">
                  <c:v>0.21621621621621601</c:v>
                </c:pt>
                <c:pt idx="819">
                  <c:v>0.21621621621621601</c:v>
                </c:pt>
                <c:pt idx="820">
                  <c:v>0.21621621621621601</c:v>
                </c:pt>
                <c:pt idx="821">
                  <c:v>0.21621621621621601</c:v>
                </c:pt>
                <c:pt idx="822">
                  <c:v>0.21634615384615399</c:v>
                </c:pt>
                <c:pt idx="823">
                  <c:v>0.21656050955414</c:v>
                </c:pt>
                <c:pt idx="824">
                  <c:v>0.21666666666666701</c:v>
                </c:pt>
                <c:pt idx="825">
                  <c:v>0.21698113207547201</c:v>
                </c:pt>
                <c:pt idx="826">
                  <c:v>0.21703296703296701</c:v>
                </c:pt>
                <c:pt idx="827">
                  <c:v>0.217391304347826</c:v>
                </c:pt>
                <c:pt idx="828">
                  <c:v>0.217391304347826</c:v>
                </c:pt>
                <c:pt idx="829">
                  <c:v>0.21782178217821799</c:v>
                </c:pt>
                <c:pt idx="830">
                  <c:v>0.218181818181818</c:v>
                </c:pt>
                <c:pt idx="831">
                  <c:v>0.218181818181818</c:v>
                </c:pt>
                <c:pt idx="832">
                  <c:v>0.218274111675127</c:v>
                </c:pt>
                <c:pt idx="833">
                  <c:v>0.21875</c:v>
                </c:pt>
                <c:pt idx="834">
                  <c:v>0.21875</c:v>
                </c:pt>
                <c:pt idx="835">
                  <c:v>0.21875</c:v>
                </c:pt>
                <c:pt idx="836">
                  <c:v>0.218978102189781</c:v>
                </c:pt>
                <c:pt idx="837">
                  <c:v>0.219178082191781</c:v>
                </c:pt>
                <c:pt idx="838">
                  <c:v>0.219512195121951</c:v>
                </c:pt>
                <c:pt idx="839">
                  <c:v>0.22</c:v>
                </c:pt>
                <c:pt idx="840">
                  <c:v>0.22</c:v>
                </c:pt>
                <c:pt idx="841">
                  <c:v>0.22</c:v>
                </c:pt>
                <c:pt idx="842">
                  <c:v>0.22018348623853201</c:v>
                </c:pt>
                <c:pt idx="843">
                  <c:v>0.22033898305084701</c:v>
                </c:pt>
                <c:pt idx="844">
                  <c:v>0.220588235294118</c:v>
                </c:pt>
                <c:pt idx="845">
                  <c:v>0.22077922077922099</c:v>
                </c:pt>
                <c:pt idx="846">
                  <c:v>0.22077922077922099</c:v>
                </c:pt>
                <c:pt idx="847">
                  <c:v>0.22077922077922099</c:v>
                </c:pt>
                <c:pt idx="848">
                  <c:v>0.220858895705521</c:v>
                </c:pt>
                <c:pt idx="849">
                  <c:v>0.22115384615384601</c:v>
                </c:pt>
                <c:pt idx="850">
                  <c:v>0.22121896162528201</c:v>
                </c:pt>
                <c:pt idx="851">
                  <c:v>0.22131147540983601</c:v>
                </c:pt>
                <c:pt idx="852">
                  <c:v>0.221393034825871</c:v>
                </c:pt>
                <c:pt idx="853">
                  <c:v>0.22140221402214</c:v>
                </c:pt>
                <c:pt idx="854">
                  <c:v>0.22167487684729101</c:v>
                </c:pt>
                <c:pt idx="855">
                  <c:v>0.22222222222222199</c:v>
                </c:pt>
                <c:pt idx="856">
                  <c:v>0.22222222222222199</c:v>
                </c:pt>
                <c:pt idx="857">
                  <c:v>0.22222222222222199</c:v>
                </c:pt>
                <c:pt idx="858">
                  <c:v>0.22222222222222199</c:v>
                </c:pt>
                <c:pt idx="859">
                  <c:v>0.22222222222222199</c:v>
                </c:pt>
                <c:pt idx="860">
                  <c:v>0.22222222222222199</c:v>
                </c:pt>
                <c:pt idx="861">
                  <c:v>0.22222222222222199</c:v>
                </c:pt>
                <c:pt idx="862">
                  <c:v>0.22222222222222199</c:v>
                </c:pt>
                <c:pt idx="863">
                  <c:v>0.22222222222222199</c:v>
                </c:pt>
                <c:pt idx="864">
                  <c:v>0.22413793103448301</c:v>
                </c:pt>
                <c:pt idx="865">
                  <c:v>0.22440087145969501</c:v>
                </c:pt>
                <c:pt idx="866">
                  <c:v>0.22448979591836701</c:v>
                </c:pt>
                <c:pt idx="867">
                  <c:v>0.22448979591836701</c:v>
                </c:pt>
                <c:pt idx="868">
                  <c:v>0.22463768115942001</c:v>
                </c:pt>
                <c:pt idx="869">
                  <c:v>0.224907063197026</c:v>
                </c:pt>
                <c:pt idx="870">
                  <c:v>0.22500000000000001</c:v>
                </c:pt>
                <c:pt idx="871">
                  <c:v>0.22500000000000001</c:v>
                </c:pt>
                <c:pt idx="872">
                  <c:v>0.22529644268774701</c:v>
                </c:pt>
                <c:pt idx="873">
                  <c:v>0.225806451612903</c:v>
                </c:pt>
                <c:pt idx="874">
                  <c:v>0.225806451612903</c:v>
                </c:pt>
                <c:pt idx="875">
                  <c:v>0.225806451612903</c:v>
                </c:pt>
                <c:pt idx="876">
                  <c:v>0.225806451612903</c:v>
                </c:pt>
                <c:pt idx="877">
                  <c:v>0.22602739726027399</c:v>
                </c:pt>
                <c:pt idx="878">
                  <c:v>0.226256983240223</c:v>
                </c:pt>
                <c:pt idx="879">
                  <c:v>0.22641509433962301</c:v>
                </c:pt>
                <c:pt idx="880">
                  <c:v>0.22641509433962301</c:v>
                </c:pt>
                <c:pt idx="881">
                  <c:v>0.226851851851852</c:v>
                </c:pt>
                <c:pt idx="882">
                  <c:v>0.22695035460992899</c:v>
                </c:pt>
                <c:pt idx="883">
                  <c:v>0.22727272727272699</c:v>
                </c:pt>
                <c:pt idx="884">
                  <c:v>0.22727272727272699</c:v>
                </c:pt>
                <c:pt idx="885">
                  <c:v>0.22727272727272699</c:v>
                </c:pt>
                <c:pt idx="886">
                  <c:v>0.22727272727272699</c:v>
                </c:pt>
                <c:pt idx="887">
                  <c:v>0.227513227513227</c:v>
                </c:pt>
                <c:pt idx="888">
                  <c:v>0.22758620689655201</c:v>
                </c:pt>
                <c:pt idx="889">
                  <c:v>0.22794117647058801</c:v>
                </c:pt>
                <c:pt idx="890">
                  <c:v>0.22807017543859601</c:v>
                </c:pt>
                <c:pt idx="891">
                  <c:v>0.22807017543859601</c:v>
                </c:pt>
                <c:pt idx="892">
                  <c:v>0.22807017543859601</c:v>
                </c:pt>
                <c:pt idx="893">
                  <c:v>0.228187919463087</c:v>
                </c:pt>
                <c:pt idx="894">
                  <c:v>0.22834645669291301</c:v>
                </c:pt>
                <c:pt idx="895">
                  <c:v>0.22834645669291301</c:v>
                </c:pt>
                <c:pt idx="896">
                  <c:v>0.228365384615385</c:v>
                </c:pt>
                <c:pt idx="897">
                  <c:v>0.22857142857142901</c:v>
                </c:pt>
                <c:pt idx="898">
                  <c:v>0.22857142857142901</c:v>
                </c:pt>
                <c:pt idx="899">
                  <c:v>0.22857142857142901</c:v>
                </c:pt>
                <c:pt idx="900">
                  <c:v>0.22857142857142901</c:v>
                </c:pt>
                <c:pt idx="901">
                  <c:v>0.22883295194507999</c:v>
                </c:pt>
                <c:pt idx="902">
                  <c:v>0.22891566265060201</c:v>
                </c:pt>
                <c:pt idx="903">
                  <c:v>0.22916666666666699</c:v>
                </c:pt>
                <c:pt idx="904">
                  <c:v>0.22916666666666699</c:v>
                </c:pt>
                <c:pt idx="905">
                  <c:v>0.22916666666666699</c:v>
                </c:pt>
                <c:pt idx="906">
                  <c:v>0.22957198443579799</c:v>
                </c:pt>
                <c:pt idx="907">
                  <c:v>0.22962962962962999</c:v>
                </c:pt>
                <c:pt idx="908">
                  <c:v>0.22972972972972999</c:v>
                </c:pt>
                <c:pt idx="909">
                  <c:v>0.229885057471264</c:v>
                </c:pt>
                <c:pt idx="910">
                  <c:v>0.23</c:v>
                </c:pt>
                <c:pt idx="911">
                  <c:v>0.23</c:v>
                </c:pt>
                <c:pt idx="912">
                  <c:v>0.23030303030303001</c:v>
                </c:pt>
                <c:pt idx="913">
                  <c:v>0.23043478260869599</c:v>
                </c:pt>
                <c:pt idx="914">
                  <c:v>0.230769230769231</c:v>
                </c:pt>
                <c:pt idx="915">
                  <c:v>0.230769230769231</c:v>
                </c:pt>
                <c:pt idx="916">
                  <c:v>0.230769230769231</c:v>
                </c:pt>
                <c:pt idx="917">
                  <c:v>0.230769230769231</c:v>
                </c:pt>
                <c:pt idx="918">
                  <c:v>0.230769230769231</c:v>
                </c:pt>
                <c:pt idx="919">
                  <c:v>0.230769230769231</c:v>
                </c:pt>
                <c:pt idx="920">
                  <c:v>0.23140495867768601</c:v>
                </c:pt>
                <c:pt idx="921">
                  <c:v>0.231578947368421</c:v>
                </c:pt>
                <c:pt idx="922">
                  <c:v>0.23170731707317099</c:v>
                </c:pt>
                <c:pt idx="923">
                  <c:v>0.231788079470199</c:v>
                </c:pt>
                <c:pt idx="924">
                  <c:v>0.231884057971014</c:v>
                </c:pt>
                <c:pt idx="925">
                  <c:v>0.23200000000000001</c:v>
                </c:pt>
                <c:pt idx="926">
                  <c:v>0.23214285714285701</c:v>
                </c:pt>
                <c:pt idx="927">
                  <c:v>0.23214285714285701</c:v>
                </c:pt>
                <c:pt idx="928">
                  <c:v>0.232283464566929</c:v>
                </c:pt>
                <c:pt idx="929">
                  <c:v>0.232558139534884</c:v>
                </c:pt>
                <c:pt idx="930">
                  <c:v>0.232558139534884</c:v>
                </c:pt>
                <c:pt idx="931">
                  <c:v>0.232558139534884</c:v>
                </c:pt>
                <c:pt idx="932">
                  <c:v>0.233009708737864</c:v>
                </c:pt>
                <c:pt idx="933">
                  <c:v>0.233333333333333</c:v>
                </c:pt>
                <c:pt idx="934">
                  <c:v>0.233333333333333</c:v>
                </c:pt>
                <c:pt idx="935">
                  <c:v>0.233333333333333</c:v>
                </c:pt>
                <c:pt idx="936">
                  <c:v>0.233333333333333</c:v>
                </c:pt>
                <c:pt idx="937">
                  <c:v>0.233333333333333</c:v>
                </c:pt>
                <c:pt idx="938">
                  <c:v>0.233502538071066</c:v>
                </c:pt>
                <c:pt idx="939">
                  <c:v>0.23376623376623401</c:v>
                </c:pt>
                <c:pt idx="940">
                  <c:v>0.233870967741935</c:v>
                </c:pt>
                <c:pt idx="941">
                  <c:v>0.233870967741935</c:v>
                </c:pt>
                <c:pt idx="942">
                  <c:v>0.23404255319148901</c:v>
                </c:pt>
                <c:pt idx="943">
                  <c:v>0.23404255319148901</c:v>
                </c:pt>
                <c:pt idx="944">
                  <c:v>0.23404255319148901</c:v>
                </c:pt>
                <c:pt idx="945">
                  <c:v>0.23408624229979499</c:v>
                </c:pt>
                <c:pt idx="946">
                  <c:v>0.23423423423423401</c:v>
                </c:pt>
                <c:pt idx="947">
                  <c:v>0.234352256186317</c:v>
                </c:pt>
                <c:pt idx="948">
                  <c:v>0.23449830890642601</c:v>
                </c:pt>
                <c:pt idx="949">
                  <c:v>0.23469387755102</c:v>
                </c:pt>
                <c:pt idx="950">
                  <c:v>0.23474178403755899</c:v>
                </c:pt>
                <c:pt idx="951">
                  <c:v>0.23529411764705899</c:v>
                </c:pt>
                <c:pt idx="952">
                  <c:v>0.23529411764705899</c:v>
                </c:pt>
                <c:pt idx="953">
                  <c:v>0.23529411764705899</c:v>
                </c:pt>
                <c:pt idx="954">
                  <c:v>0.235593220338983</c:v>
                </c:pt>
                <c:pt idx="955">
                  <c:v>0.23563218390804599</c:v>
                </c:pt>
                <c:pt idx="956">
                  <c:v>0.23622047244094499</c:v>
                </c:pt>
                <c:pt idx="957">
                  <c:v>0.236363636363636</c:v>
                </c:pt>
                <c:pt idx="958">
                  <c:v>0.236363636363636</c:v>
                </c:pt>
                <c:pt idx="959">
                  <c:v>0.236559139784946</c:v>
                </c:pt>
                <c:pt idx="960">
                  <c:v>0.23665893271461699</c:v>
                </c:pt>
                <c:pt idx="961">
                  <c:v>0.23668639053254401</c:v>
                </c:pt>
                <c:pt idx="962">
                  <c:v>0.23684210526315799</c:v>
                </c:pt>
                <c:pt idx="963">
                  <c:v>0.23693379790940799</c:v>
                </c:pt>
                <c:pt idx="964">
                  <c:v>0.23696682464454999</c:v>
                </c:pt>
                <c:pt idx="965">
                  <c:v>0.23711340206185599</c:v>
                </c:pt>
                <c:pt idx="966">
                  <c:v>0.23725055432372499</c:v>
                </c:pt>
                <c:pt idx="967">
                  <c:v>0.23728813559322001</c:v>
                </c:pt>
                <c:pt idx="968">
                  <c:v>0.23749999999999999</c:v>
                </c:pt>
                <c:pt idx="969">
                  <c:v>0.23770491803278701</c:v>
                </c:pt>
                <c:pt idx="970">
                  <c:v>0.23776223776223801</c:v>
                </c:pt>
                <c:pt idx="971">
                  <c:v>0.23789764868603</c:v>
                </c:pt>
                <c:pt idx="972">
                  <c:v>0.238095238095238</c:v>
                </c:pt>
                <c:pt idx="973">
                  <c:v>0.238095238095238</c:v>
                </c:pt>
                <c:pt idx="974">
                  <c:v>0.238095238095238</c:v>
                </c:pt>
                <c:pt idx="975">
                  <c:v>0.238095238095238</c:v>
                </c:pt>
                <c:pt idx="976">
                  <c:v>0.23844282238442799</c:v>
                </c:pt>
                <c:pt idx="977">
                  <c:v>0.23863636363636401</c:v>
                </c:pt>
                <c:pt idx="978">
                  <c:v>0.238805970149254</c:v>
                </c:pt>
                <c:pt idx="979">
                  <c:v>0.238805970149254</c:v>
                </c:pt>
                <c:pt idx="980">
                  <c:v>0.238805970149254</c:v>
                </c:pt>
                <c:pt idx="981">
                  <c:v>0.23913043478260901</c:v>
                </c:pt>
                <c:pt idx="982">
                  <c:v>0.23913043478260901</c:v>
                </c:pt>
                <c:pt idx="983">
                  <c:v>0.23913043478260901</c:v>
                </c:pt>
                <c:pt idx="984">
                  <c:v>0.23913043478260901</c:v>
                </c:pt>
                <c:pt idx="985">
                  <c:v>0.23913043478260901</c:v>
                </c:pt>
                <c:pt idx="986">
                  <c:v>0.23913043478260901</c:v>
                </c:pt>
                <c:pt idx="987">
                  <c:v>0.23928571428571399</c:v>
                </c:pt>
                <c:pt idx="988">
                  <c:v>0.23958333333333301</c:v>
                </c:pt>
                <c:pt idx="989">
                  <c:v>0.23963133640553</c:v>
                </c:pt>
                <c:pt idx="990">
                  <c:v>0.23976608187134499</c:v>
                </c:pt>
                <c:pt idx="991">
                  <c:v>0.24</c:v>
                </c:pt>
                <c:pt idx="992">
                  <c:v>0.24</c:v>
                </c:pt>
                <c:pt idx="993">
                  <c:v>0.24</c:v>
                </c:pt>
                <c:pt idx="994">
                  <c:v>0.24</c:v>
                </c:pt>
                <c:pt idx="995">
                  <c:v>0.240384615384615</c:v>
                </c:pt>
                <c:pt idx="996">
                  <c:v>0.24048442906574399</c:v>
                </c:pt>
                <c:pt idx="997">
                  <c:v>0.240506329113924</c:v>
                </c:pt>
                <c:pt idx="998">
                  <c:v>0.240506329113924</c:v>
                </c:pt>
                <c:pt idx="999">
                  <c:v>0.24113475177304999</c:v>
                </c:pt>
                <c:pt idx="1000">
                  <c:v>0.24120603015075401</c:v>
                </c:pt>
                <c:pt idx="1001">
                  <c:v>0.24137931034482801</c:v>
                </c:pt>
                <c:pt idx="1002">
                  <c:v>0.24137931034482801</c:v>
                </c:pt>
                <c:pt idx="1003">
                  <c:v>0.24161073825503401</c:v>
                </c:pt>
                <c:pt idx="1004">
                  <c:v>0.24170616113744101</c:v>
                </c:pt>
                <c:pt idx="1005">
                  <c:v>0.24175824175824201</c:v>
                </c:pt>
                <c:pt idx="1006">
                  <c:v>0.24175824175824201</c:v>
                </c:pt>
                <c:pt idx="1007">
                  <c:v>0.241935483870968</c:v>
                </c:pt>
                <c:pt idx="1008">
                  <c:v>0.24210526315789499</c:v>
                </c:pt>
                <c:pt idx="1009">
                  <c:v>0.24215246636771301</c:v>
                </c:pt>
                <c:pt idx="1010">
                  <c:v>0.24223602484472001</c:v>
                </c:pt>
                <c:pt idx="1011">
                  <c:v>0.24242424242424199</c:v>
                </c:pt>
                <c:pt idx="1012">
                  <c:v>0.24242424242424199</c:v>
                </c:pt>
                <c:pt idx="1013">
                  <c:v>0.24242424242424199</c:v>
                </c:pt>
                <c:pt idx="1014">
                  <c:v>0.24251497005987999</c:v>
                </c:pt>
                <c:pt idx="1015">
                  <c:v>0.24252873563218399</c:v>
                </c:pt>
                <c:pt idx="1016">
                  <c:v>0.24261603375527399</c:v>
                </c:pt>
                <c:pt idx="1017">
                  <c:v>0.24285714285714299</c:v>
                </c:pt>
                <c:pt idx="1018">
                  <c:v>0.24324324324324301</c:v>
                </c:pt>
                <c:pt idx="1019">
                  <c:v>0.24324324324324301</c:v>
                </c:pt>
                <c:pt idx="1020">
                  <c:v>0.24324324324324301</c:v>
                </c:pt>
                <c:pt idx="1021">
                  <c:v>0.24324324324324301</c:v>
                </c:pt>
                <c:pt idx="1022">
                  <c:v>0.24324324324324301</c:v>
                </c:pt>
                <c:pt idx="1023">
                  <c:v>0.24324324324324301</c:v>
                </c:pt>
                <c:pt idx="1024">
                  <c:v>0.24324324324324301</c:v>
                </c:pt>
                <c:pt idx="1025">
                  <c:v>0.24324324324324301</c:v>
                </c:pt>
                <c:pt idx="1026">
                  <c:v>0.24324324324324301</c:v>
                </c:pt>
                <c:pt idx="1027">
                  <c:v>0.243589743589744</c:v>
                </c:pt>
                <c:pt idx="1028">
                  <c:v>0.24390243902438999</c:v>
                </c:pt>
                <c:pt idx="1029">
                  <c:v>0.24418604651162801</c:v>
                </c:pt>
                <c:pt idx="1030">
                  <c:v>0.24444444444444399</c:v>
                </c:pt>
                <c:pt idx="1031">
                  <c:v>0.24489795918367299</c:v>
                </c:pt>
                <c:pt idx="1032">
                  <c:v>0.24489795918367299</c:v>
                </c:pt>
                <c:pt idx="1033">
                  <c:v>0.24489795918367299</c:v>
                </c:pt>
                <c:pt idx="1034">
                  <c:v>0.24489795918367299</c:v>
                </c:pt>
                <c:pt idx="1035">
                  <c:v>0.24509803921568599</c:v>
                </c:pt>
                <c:pt idx="1036">
                  <c:v>0.245145631067961</c:v>
                </c:pt>
                <c:pt idx="1037">
                  <c:v>0.245283018867925</c:v>
                </c:pt>
                <c:pt idx="1038">
                  <c:v>0.24561403508771901</c:v>
                </c:pt>
                <c:pt idx="1039">
                  <c:v>0.24570024570024601</c:v>
                </c:pt>
                <c:pt idx="1040">
                  <c:v>0.246153846153846</c:v>
                </c:pt>
                <c:pt idx="1041">
                  <c:v>0.246153846153846</c:v>
                </c:pt>
                <c:pt idx="1042">
                  <c:v>0.246153846153846</c:v>
                </c:pt>
                <c:pt idx="1043">
                  <c:v>0.24637681159420299</c:v>
                </c:pt>
                <c:pt idx="1044">
                  <c:v>0.24677716390423601</c:v>
                </c:pt>
                <c:pt idx="1045">
                  <c:v>0.24691358024691401</c:v>
                </c:pt>
                <c:pt idx="1046">
                  <c:v>0.247058823529412</c:v>
                </c:pt>
                <c:pt idx="1047">
                  <c:v>0.247311827956989</c:v>
                </c:pt>
                <c:pt idx="1048">
                  <c:v>0.24752475247524799</c:v>
                </c:pt>
                <c:pt idx="1049">
                  <c:v>0.24822695035461001</c:v>
                </c:pt>
                <c:pt idx="1050">
                  <c:v>0.24827586206896499</c:v>
                </c:pt>
                <c:pt idx="1051">
                  <c:v>0.24827586206896499</c:v>
                </c:pt>
                <c:pt idx="1052">
                  <c:v>0.24832214765100699</c:v>
                </c:pt>
                <c:pt idx="1053">
                  <c:v>0.24870466321243501</c:v>
                </c:pt>
                <c:pt idx="1054">
                  <c:v>0.24899598393574299</c:v>
                </c:pt>
                <c:pt idx="1055">
                  <c:v>0.24905660377358499</c:v>
                </c:pt>
                <c:pt idx="1056">
                  <c:v>0.24931506849315099</c:v>
                </c:pt>
                <c:pt idx="1057">
                  <c:v>0.249496981891348</c:v>
                </c:pt>
                <c:pt idx="1058">
                  <c:v>0.25</c:v>
                </c:pt>
                <c:pt idx="1059">
                  <c:v>0.25</c:v>
                </c:pt>
                <c:pt idx="1060">
                  <c:v>0.25</c:v>
                </c:pt>
                <c:pt idx="1061">
                  <c:v>0.25</c:v>
                </c:pt>
                <c:pt idx="1062">
                  <c:v>0.25</c:v>
                </c:pt>
                <c:pt idx="1063">
                  <c:v>0.25</c:v>
                </c:pt>
                <c:pt idx="1064">
                  <c:v>0.25</c:v>
                </c:pt>
                <c:pt idx="1065">
                  <c:v>0.25</c:v>
                </c:pt>
                <c:pt idx="1066">
                  <c:v>0.25</c:v>
                </c:pt>
                <c:pt idx="1067">
                  <c:v>0.25</c:v>
                </c:pt>
                <c:pt idx="1068">
                  <c:v>0.25</c:v>
                </c:pt>
                <c:pt idx="1069">
                  <c:v>0.25</c:v>
                </c:pt>
                <c:pt idx="1070">
                  <c:v>0.25</c:v>
                </c:pt>
                <c:pt idx="1071">
                  <c:v>0.25</c:v>
                </c:pt>
                <c:pt idx="1072">
                  <c:v>0.25</c:v>
                </c:pt>
                <c:pt idx="1073">
                  <c:v>0.25</c:v>
                </c:pt>
                <c:pt idx="1074">
                  <c:v>0.25</c:v>
                </c:pt>
                <c:pt idx="1075">
                  <c:v>0.25</c:v>
                </c:pt>
                <c:pt idx="1076">
                  <c:v>0.25</c:v>
                </c:pt>
                <c:pt idx="1077">
                  <c:v>0.25</c:v>
                </c:pt>
                <c:pt idx="1078">
                  <c:v>0.25</c:v>
                </c:pt>
                <c:pt idx="1079">
                  <c:v>0.25087108013937298</c:v>
                </c:pt>
                <c:pt idx="1080">
                  <c:v>0.25098039215686302</c:v>
                </c:pt>
                <c:pt idx="1081">
                  <c:v>0.251162790697674</c:v>
                </c:pt>
                <c:pt idx="1082">
                  <c:v>0.25161290322580598</c:v>
                </c:pt>
                <c:pt idx="1083">
                  <c:v>0.25233644859813098</c:v>
                </c:pt>
                <c:pt idx="1084">
                  <c:v>0.25249169435215901</c:v>
                </c:pt>
                <c:pt idx="1085">
                  <c:v>0.25268817204301097</c:v>
                </c:pt>
                <c:pt idx="1086">
                  <c:v>0.25301204819277101</c:v>
                </c:pt>
                <c:pt idx="1087">
                  <c:v>0.253164556962025</c:v>
                </c:pt>
                <c:pt idx="1088">
                  <c:v>0.25333333333333302</c:v>
                </c:pt>
                <c:pt idx="1089">
                  <c:v>0.25352112676056299</c:v>
                </c:pt>
                <c:pt idx="1090">
                  <c:v>0.25373134328358199</c:v>
                </c:pt>
                <c:pt idx="1091">
                  <c:v>0.25373134328358199</c:v>
                </c:pt>
                <c:pt idx="1092">
                  <c:v>0.253846153846154</c:v>
                </c:pt>
                <c:pt idx="1093">
                  <c:v>0.25394321766561501</c:v>
                </c:pt>
                <c:pt idx="1094">
                  <c:v>0.25396825396825401</c:v>
                </c:pt>
                <c:pt idx="1095">
                  <c:v>0.25396825396825401</c:v>
                </c:pt>
                <c:pt idx="1096">
                  <c:v>0.25438596491228099</c:v>
                </c:pt>
                <c:pt idx="1097">
                  <c:v>0.25448028673835099</c:v>
                </c:pt>
                <c:pt idx="1098">
                  <c:v>0.25454545454545402</c:v>
                </c:pt>
                <c:pt idx="1099">
                  <c:v>0.25490196078431399</c:v>
                </c:pt>
                <c:pt idx="1100">
                  <c:v>0.25531914893617003</c:v>
                </c:pt>
                <c:pt idx="1101">
                  <c:v>0.25531914893617003</c:v>
                </c:pt>
                <c:pt idx="1102">
                  <c:v>0.25547445255474499</c:v>
                </c:pt>
                <c:pt idx="1103">
                  <c:v>0.25547445255474499</c:v>
                </c:pt>
                <c:pt idx="1104">
                  <c:v>0.25581395348837199</c:v>
                </c:pt>
                <c:pt idx="1105">
                  <c:v>0.25581395348837199</c:v>
                </c:pt>
                <c:pt idx="1106">
                  <c:v>0.25590062111801198</c:v>
                </c:pt>
                <c:pt idx="1107">
                  <c:v>0.255924170616114</c:v>
                </c:pt>
                <c:pt idx="1108">
                  <c:v>0.25630252100840301</c:v>
                </c:pt>
                <c:pt idx="1109">
                  <c:v>0.256410256410256</c:v>
                </c:pt>
                <c:pt idx="1110">
                  <c:v>0.256410256410256</c:v>
                </c:pt>
                <c:pt idx="1111">
                  <c:v>0.25645592163846798</c:v>
                </c:pt>
                <c:pt idx="1112">
                  <c:v>0.25663716814159299</c:v>
                </c:pt>
                <c:pt idx="1113">
                  <c:v>0.25694444444444398</c:v>
                </c:pt>
                <c:pt idx="1114">
                  <c:v>0.25704225352112697</c:v>
                </c:pt>
                <c:pt idx="1115">
                  <c:v>0.25714285714285701</c:v>
                </c:pt>
                <c:pt idx="1116">
                  <c:v>0.25714285714285701</c:v>
                </c:pt>
                <c:pt idx="1117">
                  <c:v>0.25726141078838199</c:v>
                </c:pt>
                <c:pt idx="1118">
                  <c:v>0.25734549138804502</c:v>
                </c:pt>
                <c:pt idx="1119">
                  <c:v>0.25742574257425699</c:v>
                </c:pt>
                <c:pt idx="1120">
                  <c:v>0.25748502994012001</c:v>
                </c:pt>
                <c:pt idx="1121">
                  <c:v>0.25806451612903197</c:v>
                </c:pt>
                <c:pt idx="1122">
                  <c:v>0.25806451612903197</c:v>
                </c:pt>
                <c:pt idx="1123">
                  <c:v>0.25862068965517199</c:v>
                </c:pt>
                <c:pt idx="1124">
                  <c:v>0.25882352941176501</c:v>
                </c:pt>
                <c:pt idx="1125">
                  <c:v>0.25899280575539602</c:v>
                </c:pt>
                <c:pt idx="1126">
                  <c:v>0.25903614457831298</c:v>
                </c:pt>
                <c:pt idx="1127">
                  <c:v>0.25925925925925902</c:v>
                </c:pt>
                <c:pt idx="1128">
                  <c:v>0.25925925925925902</c:v>
                </c:pt>
                <c:pt idx="1129">
                  <c:v>0.259475218658892</c:v>
                </c:pt>
                <c:pt idx="1130">
                  <c:v>0.25974025974025999</c:v>
                </c:pt>
                <c:pt idx="1131">
                  <c:v>0.25984251968503902</c:v>
                </c:pt>
                <c:pt idx="1132">
                  <c:v>0.25986842105263203</c:v>
                </c:pt>
                <c:pt idx="1133">
                  <c:v>0.26</c:v>
                </c:pt>
                <c:pt idx="1134">
                  <c:v>0.26</c:v>
                </c:pt>
                <c:pt idx="1135">
                  <c:v>0.26</c:v>
                </c:pt>
                <c:pt idx="1136">
                  <c:v>0.26016260162601601</c:v>
                </c:pt>
                <c:pt idx="1137">
                  <c:v>0.26027397260273999</c:v>
                </c:pt>
                <c:pt idx="1138">
                  <c:v>0.26043165467625901</c:v>
                </c:pt>
                <c:pt idx="1139">
                  <c:v>0.26086956521739102</c:v>
                </c:pt>
                <c:pt idx="1140">
                  <c:v>0.26086956521739102</c:v>
                </c:pt>
                <c:pt idx="1141">
                  <c:v>0.26086956521739102</c:v>
                </c:pt>
                <c:pt idx="1142">
                  <c:v>0.26086956521739102</c:v>
                </c:pt>
                <c:pt idx="1143">
                  <c:v>0.26086956521739102</c:v>
                </c:pt>
                <c:pt idx="1144">
                  <c:v>0.261208576998051</c:v>
                </c:pt>
                <c:pt idx="1145">
                  <c:v>0.26130653266331699</c:v>
                </c:pt>
                <c:pt idx="1146">
                  <c:v>0.26157697121401702</c:v>
                </c:pt>
                <c:pt idx="1147">
                  <c:v>0.26179245283018898</c:v>
                </c:pt>
                <c:pt idx="1148">
                  <c:v>0.26190476190476197</c:v>
                </c:pt>
                <c:pt idx="1149">
                  <c:v>0.26190476190476197</c:v>
                </c:pt>
                <c:pt idx="1150">
                  <c:v>0.26213592233009703</c:v>
                </c:pt>
                <c:pt idx="1151">
                  <c:v>0.26250000000000001</c:v>
                </c:pt>
                <c:pt idx="1152">
                  <c:v>0.26250000000000001</c:v>
                </c:pt>
                <c:pt idx="1153">
                  <c:v>0.26293103448275901</c:v>
                </c:pt>
                <c:pt idx="1154">
                  <c:v>0.26315789473684198</c:v>
                </c:pt>
                <c:pt idx="1155">
                  <c:v>0.26315789473684198</c:v>
                </c:pt>
                <c:pt idx="1156">
                  <c:v>0.26388888888888901</c:v>
                </c:pt>
                <c:pt idx="1157">
                  <c:v>0.26404494382022498</c:v>
                </c:pt>
                <c:pt idx="1158">
                  <c:v>0.26415094339622602</c:v>
                </c:pt>
                <c:pt idx="1159">
                  <c:v>0.26415094339622602</c:v>
                </c:pt>
                <c:pt idx="1160">
                  <c:v>0.26436781609195398</c:v>
                </c:pt>
                <c:pt idx="1161">
                  <c:v>0.26436781609195398</c:v>
                </c:pt>
                <c:pt idx="1162">
                  <c:v>0.265060240963855</c:v>
                </c:pt>
                <c:pt idx="1163">
                  <c:v>0.26523297491039399</c:v>
                </c:pt>
                <c:pt idx="1164">
                  <c:v>0.26530612244898</c:v>
                </c:pt>
                <c:pt idx="1165">
                  <c:v>0.26530612244898</c:v>
                </c:pt>
                <c:pt idx="1166">
                  <c:v>0.265432098765432</c:v>
                </c:pt>
                <c:pt idx="1167">
                  <c:v>0.265486725663717</c:v>
                </c:pt>
                <c:pt idx="1168">
                  <c:v>0.26576576576576599</c:v>
                </c:pt>
                <c:pt idx="1169">
                  <c:v>0.26595744680851102</c:v>
                </c:pt>
                <c:pt idx="1170">
                  <c:v>0.26605504587155998</c:v>
                </c:pt>
                <c:pt idx="1171">
                  <c:v>0.26618705035971202</c:v>
                </c:pt>
                <c:pt idx="1172">
                  <c:v>0.266666666666667</c:v>
                </c:pt>
                <c:pt idx="1173">
                  <c:v>0.266666666666667</c:v>
                </c:pt>
                <c:pt idx="1174">
                  <c:v>0.266666666666667</c:v>
                </c:pt>
                <c:pt idx="1175">
                  <c:v>0.266666666666667</c:v>
                </c:pt>
                <c:pt idx="1176">
                  <c:v>0.266666666666667</c:v>
                </c:pt>
                <c:pt idx="1177">
                  <c:v>0.266666666666667</c:v>
                </c:pt>
                <c:pt idx="1178">
                  <c:v>0.266666666666667</c:v>
                </c:pt>
                <c:pt idx="1179">
                  <c:v>0.266666666666667</c:v>
                </c:pt>
                <c:pt idx="1180">
                  <c:v>0.266666666666667</c:v>
                </c:pt>
                <c:pt idx="1181">
                  <c:v>0.266666666666667</c:v>
                </c:pt>
                <c:pt idx="1182">
                  <c:v>0.26687116564417201</c:v>
                </c:pt>
                <c:pt idx="1183">
                  <c:v>0.26744186046511598</c:v>
                </c:pt>
                <c:pt idx="1184">
                  <c:v>0.26744186046511598</c:v>
                </c:pt>
                <c:pt idx="1185">
                  <c:v>0.26747720364741601</c:v>
                </c:pt>
                <c:pt idx="1186">
                  <c:v>0.26751592356687898</c:v>
                </c:pt>
                <c:pt idx="1187">
                  <c:v>0.26760563380281699</c:v>
                </c:pt>
                <c:pt idx="1188">
                  <c:v>0.26760563380281699</c:v>
                </c:pt>
                <c:pt idx="1189">
                  <c:v>0.26760563380281699</c:v>
                </c:pt>
                <c:pt idx="1190">
                  <c:v>0.26801152737752199</c:v>
                </c:pt>
                <c:pt idx="1191">
                  <c:v>0.26818181818181802</c:v>
                </c:pt>
                <c:pt idx="1192">
                  <c:v>0.26829268292682901</c:v>
                </c:pt>
                <c:pt idx="1193">
                  <c:v>0.26829268292682901</c:v>
                </c:pt>
                <c:pt idx="1194">
                  <c:v>0.26829268292682901</c:v>
                </c:pt>
                <c:pt idx="1195">
                  <c:v>0.26829268292682901</c:v>
                </c:pt>
                <c:pt idx="1196">
                  <c:v>0.26829268292682901</c:v>
                </c:pt>
                <c:pt idx="1197">
                  <c:v>0.26829268292682901</c:v>
                </c:pt>
                <c:pt idx="1198">
                  <c:v>0.26849315068493101</c:v>
                </c:pt>
                <c:pt idx="1199">
                  <c:v>0.26881720430107497</c:v>
                </c:pt>
                <c:pt idx="1200">
                  <c:v>0.269230769230769</c:v>
                </c:pt>
                <c:pt idx="1201">
                  <c:v>0.269230769230769</c:v>
                </c:pt>
                <c:pt idx="1202">
                  <c:v>0.269230769230769</c:v>
                </c:pt>
                <c:pt idx="1203">
                  <c:v>0.269230769230769</c:v>
                </c:pt>
                <c:pt idx="1204">
                  <c:v>0.26966292134831499</c:v>
                </c:pt>
                <c:pt idx="1205">
                  <c:v>0.26976744186046497</c:v>
                </c:pt>
                <c:pt idx="1206">
                  <c:v>0.26984126984126999</c:v>
                </c:pt>
                <c:pt idx="1207">
                  <c:v>0.27058823529411802</c:v>
                </c:pt>
                <c:pt idx="1208">
                  <c:v>0.27083333333333298</c:v>
                </c:pt>
                <c:pt idx="1209">
                  <c:v>0.27083333333333298</c:v>
                </c:pt>
                <c:pt idx="1210">
                  <c:v>0.27091633466135501</c:v>
                </c:pt>
                <c:pt idx="1211">
                  <c:v>0.27096774193548401</c:v>
                </c:pt>
                <c:pt idx="1212">
                  <c:v>0.27118644067796599</c:v>
                </c:pt>
                <c:pt idx="1213">
                  <c:v>0.27118644067796599</c:v>
                </c:pt>
                <c:pt idx="1214">
                  <c:v>0.27118644067796599</c:v>
                </c:pt>
                <c:pt idx="1215">
                  <c:v>0.27118644067796599</c:v>
                </c:pt>
                <c:pt idx="1216">
                  <c:v>0.27142857142857102</c:v>
                </c:pt>
                <c:pt idx="1217">
                  <c:v>0.27171903881700599</c:v>
                </c:pt>
                <c:pt idx="1218">
                  <c:v>0.27173913043478298</c:v>
                </c:pt>
                <c:pt idx="1219">
                  <c:v>0.27179487179487199</c:v>
                </c:pt>
                <c:pt idx="1220">
                  <c:v>0.27188940092165897</c:v>
                </c:pt>
                <c:pt idx="1221">
                  <c:v>0.27188940092165897</c:v>
                </c:pt>
                <c:pt idx="1222">
                  <c:v>0.272151898734177</c:v>
                </c:pt>
                <c:pt idx="1223">
                  <c:v>0.27222222222222198</c:v>
                </c:pt>
                <c:pt idx="1224">
                  <c:v>0.27222222222222198</c:v>
                </c:pt>
                <c:pt idx="1225">
                  <c:v>0.27223230490018102</c:v>
                </c:pt>
                <c:pt idx="1226">
                  <c:v>0.27272727272727298</c:v>
                </c:pt>
                <c:pt idx="1227">
                  <c:v>0.27272727272727298</c:v>
                </c:pt>
                <c:pt idx="1228">
                  <c:v>0.27272727272727298</c:v>
                </c:pt>
                <c:pt idx="1229">
                  <c:v>0.27272727272727298</c:v>
                </c:pt>
                <c:pt idx="1230">
                  <c:v>0.27272727272727298</c:v>
                </c:pt>
                <c:pt idx="1231">
                  <c:v>0.27272727272727298</c:v>
                </c:pt>
                <c:pt idx="1232">
                  <c:v>0.27272727272727298</c:v>
                </c:pt>
                <c:pt idx="1233">
                  <c:v>0.27272727272727298</c:v>
                </c:pt>
                <c:pt idx="1234">
                  <c:v>0.27272727272727298</c:v>
                </c:pt>
                <c:pt idx="1235">
                  <c:v>0.27283800243605399</c:v>
                </c:pt>
                <c:pt idx="1236">
                  <c:v>0.27299270072992698</c:v>
                </c:pt>
                <c:pt idx="1237">
                  <c:v>0.27323549965059402</c:v>
                </c:pt>
                <c:pt idx="1238">
                  <c:v>0.27329192546583903</c:v>
                </c:pt>
                <c:pt idx="1239">
                  <c:v>0.273809523809524</c:v>
                </c:pt>
                <c:pt idx="1240">
                  <c:v>0.27419354838709697</c:v>
                </c:pt>
                <c:pt idx="1241">
                  <c:v>0.27439024390243899</c:v>
                </c:pt>
                <c:pt idx="1242">
                  <c:v>0.27439024390243899</c:v>
                </c:pt>
                <c:pt idx="1243">
                  <c:v>0.27450980392156898</c:v>
                </c:pt>
                <c:pt idx="1244">
                  <c:v>0.27450980392156898</c:v>
                </c:pt>
                <c:pt idx="1245">
                  <c:v>0.27464788732394402</c:v>
                </c:pt>
                <c:pt idx="1246">
                  <c:v>0.27464788732394402</c:v>
                </c:pt>
                <c:pt idx="1247">
                  <c:v>0.27480916030534402</c:v>
                </c:pt>
                <c:pt idx="1248">
                  <c:v>0.27485380116959102</c:v>
                </c:pt>
                <c:pt idx="1249">
                  <c:v>0.27486910994764402</c:v>
                </c:pt>
                <c:pt idx="1250">
                  <c:v>0.27500000000000002</c:v>
                </c:pt>
                <c:pt idx="1251">
                  <c:v>0.27500000000000002</c:v>
                </c:pt>
                <c:pt idx="1252">
                  <c:v>0.27500000000000002</c:v>
                </c:pt>
                <c:pt idx="1253">
                  <c:v>0.27500000000000002</c:v>
                </c:pt>
                <c:pt idx="1254">
                  <c:v>0.27505827505827501</c:v>
                </c:pt>
                <c:pt idx="1255">
                  <c:v>0.27536231884057999</c:v>
                </c:pt>
                <c:pt idx="1256">
                  <c:v>0.27551020408163301</c:v>
                </c:pt>
                <c:pt idx="1257">
                  <c:v>0.27551020408163301</c:v>
                </c:pt>
                <c:pt idx="1258">
                  <c:v>0.27565982404692102</c:v>
                </c:pt>
                <c:pt idx="1259">
                  <c:v>0.27567567567567602</c:v>
                </c:pt>
                <c:pt idx="1260">
                  <c:v>0.27586206896551702</c:v>
                </c:pt>
                <c:pt idx="1261">
                  <c:v>0.27586206896551702</c:v>
                </c:pt>
                <c:pt idx="1262">
                  <c:v>0.27586206896551702</c:v>
                </c:pt>
                <c:pt idx="1263">
                  <c:v>0.27586206896551702</c:v>
                </c:pt>
                <c:pt idx="1264">
                  <c:v>0.27586206896551702</c:v>
                </c:pt>
                <c:pt idx="1265">
                  <c:v>0.27586206896551702</c:v>
                </c:pt>
                <c:pt idx="1266">
                  <c:v>0.27586206896551702</c:v>
                </c:pt>
                <c:pt idx="1267">
                  <c:v>0.27586206896551702</c:v>
                </c:pt>
                <c:pt idx="1268">
                  <c:v>0.27619047619047599</c:v>
                </c:pt>
                <c:pt idx="1269">
                  <c:v>0.27628361858190698</c:v>
                </c:pt>
                <c:pt idx="1270">
                  <c:v>0.27631578947368401</c:v>
                </c:pt>
                <c:pt idx="1271">
                  <c:v>0.27665706051873201</c:v>
                </c:pt>
                <c:pt idx="1272">
                  <c:v>0.276666666666667</c:v>
                </c:pt>
                <c:pt idx="1273">
                  <c:v>0.27667269439421299</c:v>
                </c:pt>
                <c:pt idx="1274">
                  <c:v>0.27692307692307699</c:v>
                </c:pt>
                <c:pt idx="1275">
                  <c:v>0.27692307692307699</c:v>
                </c:pt>
                <c:pt idx="1276">
                  <c:v>0.27692307692307699</c:v>
                </c:pt>
                <c:pt idx="1277">
                  <c:v>0.277264325323475</c:v>
                </c:pt>
                <c:pt idx="1278">
                  <c:v>0.27769110764430599</c:v>
                </c:pt>
                <c:pt idx="1279">
                  <c:v>0.27777777777777801</c:v>
                </c:pt>
                <c:pt idx="1280">
                  <c:v>0.27777777777777801</c:v>
                </c:pt>
                <c:pt idx="1281">
                  <c:v>0.27777777777777801</c:v>
                </c:pt>
                <c:pt idx="1282">
                  <c:v>0.27830188679245299</c:v>
                </c:pt>
                <c:pt idx="1283">
                  <c:v>0.278481012658228</c:v>
                </c:pt>
                <c:pt idx="1284">
                  <c:v>0.278481012658228</c:v>
                </c:pt>
                <c:pt idx="1285">
                  <c:v>0.27868852459016402</c:v>
                </c:pt>
                <c:pt idx="1286">
                  <c:v>0.278728606356968</c:v>
                </c:pt>
                <c:pt idx="1287">
                  <c:v>0.278947368421053</c:v>
                </c:pt>
                <c:pt idx="1288">
                  <c:v>0.278947368421053</c:v>
                </c:pt>
                <c:pt idx="1289">
                  <c:v>0.27906976744186002</c:v>
                </c:pt>
                <c:pt idx="1290">
                  <c:v>0.27922077922077898</c:v>
                </c:pt>
                <c:pt idx="1291">
                  <c:v>0.27927927927927898</c:v>
                </c:pt>
                <c:pt idx="1292">
                  <c:v>0.27978339350180498</c:v>
                </c:pt>
                <c:pt idx="1293">
                  <c:v>0.28000000000000003</c:v>
                </c:pt>
                <c:pt idx="1294">
                  <c:v>0.280141843971631</c:v>
                </c:pt>
                <c:pt idx="1295">
                  <c:v>0.28014616321559099</c:v>
                </c:pt>
                <c:pt idx="1296">
                  <c:v>0.28048780487804897</c:v>
                </c:pt>
                <c:pt idx="1297">
                  <c:v>0.28057553956834502</c:v>
                </c:pt>
                <c:pt idx="1298">
                  <c:v>0.28070175438596501</c:v>
                </c:pt>
                <c:pt idx="1299">
                  <c:v>0.28070175438596501</c:v>
                </c:pt>
                <c:pt idx="1300">
                  <c:v>0.28070175438596501</c:v>
                </c:pt>
                <c:pt idx="1301">
                  <c:v>0.28070175438596501</c:v>
                </c:pt>
                <c:pt idx="1302">
                  <c:v>0.28089887640449401</c:v>
                </c:pt>
                <c:pt idx="1303">
                  <c:v>0.28095238095238101</c:v>
                </c:pt>
                <c:pt idx="1304">
                  <c:v>0.28099173553718998</c:v>
                </c:pt>
                <c:pt idx="1305">
                  <c:v>0.28125</c:v>
                </c:pt>
                <c:pt idx="1306">
                  <c:v>0.281481481481481</c:v>
                </c:pt>
                <c:pt idx="1307">
                  <c:v>0.28169014084506999</c:v>
                </c:pt>
                <c:pt idx="1308">
                  <c:v>0.28181818181818202</c:v>
                </c:pt>
                <c:pt idx="1309">
                  <c:v>0.28191489361702099</c:v>
                </c:pt>
                <c:pt idx="1310">
                  <c:v>0.28191489361702099</c:v>
                </c:pt>
                <c:pt idx="1311">
                  <c:v>0.28205128205128199</c:v>
                </c:pt>
                <c:pt idx="1312">
                  <c:v>0.28217821782178198</c:v>
                </c:pt>
                <c:pt idx="1313">
                  <c:v>0.282258064516129</c:v>
                </c:pt>
                <c:pt idx="1314">
                  <c:v>0.282258064516129</c:v>
                </c:pt>
                <c:pt idx="1315">
                  <c:v>0.28235294117647097</c:v>
                </c:pt>
                <c:pt idx="1316">
                  <c:v>0.28235294117647097</c:v>
                </c:pt>
                <c:pt idx="1317">
                  <c:v>0.282407407407407</c:v>
                </c:pt>
                <c:pt idx="1318">
                  <c:v>0.28246753246753198</c:v>
                </c:pt>
                <c:pt idx="1319">
                  <c:v>0.28275862068965502</c:v>
                </c:pt>
                <c:pt idx="1320">
                  <c:v>0.28287292817679599</c:v>
                </c:pt>
                <c:pt idx="1321">
                  <c:v>0.28301886792452802</c:v>
                </c:pt>
                <c:pt idx="1322">
                  <c:v>0.28301886792452802</c:v>
                </c:pt>
                <c:pt idx="1323">
                  <c:v>0.28301886792452802</c:v>
                </c:pt>
                <c:pt idx="1324">
                  <c:v>0.28326180257510702</c:v>
                </c:pt>
                <c:pt idx="1325">
                  <c:v>0.28333333333333299</c:v>
                </c:pt>
                <c:pt idx="1326">
                  <c:v>0.28333333333333299</c:v>
                </c:pt>
                <c:pt idx="1327">
                  <c:v>0.28354430379746798</c:v>
                </c:pt>
                <c:pt idx="1328">
                  <c:v>0.28358208955223901</c:v>
                </c:pt>
                <c:pt idx="1329">
                  <c:v>0.28365384615384598</c:v>
                </c:pt>
                <c:pt idx="1330">
                  <c:v>0.28368794326241098</c:v>
                </c:pt>
                <c:pt idx="1331">
                  <c:v>0.28395061728395099</c:v>
                </c:pt>
                <c:pt idx="1332">
                  <c:v>0.28488372093023301</c:v>
                </c:pt>
                <c:pt idx="1333">
                  <c:v>0.28546712802768198</c:v>
                </c:pt>
                <c:pt idx="1334">
                  <c:v>0.28571428571428598</c:v>
                </c:pt>
                <c:pt idx="1335">
                  <c:v>0.28571428571428598</c:v>
                </c:pt>
                <c:pt idx="1336">
                  <c:v>0.28571428571428598</c:v>
                </c:pt>
                <c:pt idx="1337">
                  <c:v>0.28571428571428598</c:v>
                </c:pt>
                <c:pt idx="1338">
                  <c:v>0.28571428571428598</c:v>
                </c:pt>
                <c:pt idx="1339">
                  <c:v>0.28571428571428598</c:v>
                </c:pt>
                <c:pt idx="1340">
                  <c:v>0.28571428571428598</c:v>
                </c:pt>
                <c:pt idx="1341">
                  <c:v>0.28571428571428598</c:v>
                </c:pt>
                <c:pt idx="1342">
                  <c:v>0.28571428571428598</c:v>
                </c:pt>
                <c:pt idx="1343">
                  <c:v>0.28594771241830103</c:v>
                </c:pt>
                <c:pt idx="1344">
                  <c:v>0.28647214854111402</c:v>
                </c:pt>
                <c:pt idx="1345">
                  <c:v>0.28666666666666701</c:v>
                </c:pt>
                <c:pt idx="1346">
                  <c:v>0.28668478260869601</c:v>
                </c:pt>
                <c:pt idx="1347">
                  <c:v>0.28695652173913</c:v>
                </c:pt>
                <c:pt idx="1348">
                  <c:v>0.28703703703703698</c:v>
                </c:pt>
                <c:pt idx="1349">
                  <c:v>0.28709677419354801</c:v>
                </c:pt>
                <c:pt idx="1350">
                  <c:v>0.287313432835821</c:v>
                </c:pt>
                <c:pt idx="1351">
                  <c:v>0.28749999999999998</c:v>
                </c:pt>
                <c:pt idx="1352">
                  <c:v>0.28749999999999998</c:v>
                </c:pt>
                <c:pt idx="1353">
                  <c:v>0.28767123287671198</c:v>
                </c:pt>
                <c:pt idx="1354">
                  <c:v>0.28767123287671198</c:v>
                </c:pt>
                <c:pt idx="1355">
                  <c:v>0.28767123287671198</c:v>
                </c:pt>
                <c:pt idx="1356">
                  <c:v>0.28776978417266202</c:v>
                </c:pt>
                <c:pt idx="1357">
                  <c:v>0.28813559322033899</c:v>
                </c:pt>
                <c:pt idx="1358">
                  <c:v>0.28813559322033899</c:v>
                </c:pt>
                <c:pt idx="1359">
                  <c:v>0.28828828828828801</c:v>
                </c:pt>
                <c:pt idx="1360">
                  <c:v>0.28834355828220898</c:v>
                </c:pt>
                <c:pt idx="1361">
                  <c:v>0.28865979381443302</c:v>
                </c:pt>
                <c:pt idx="1362">
                  <c:v>0.28873239436619702</c:v>
                </c:pt>
                <c:pt idx="1363">
                  <c:v>0.28879310344827602</c:v>
                </c:pt>
                <c:pt idx="1364">
                  <c:v>0.28888888888888897</c:v>
                </c:pt>
                <c:pt idx="1365">
                  <c:v>0.28888888888888897</c:v>
                </c:pt>
                <c:pt idx="1366">
                  <c:v>0.28891149542217698</c:v>
                </c:pt>
                <c:pt idx="1367">
                  <c:v>0.28915662650602397</c:v>
                </c:pt>
                <c:pt idx="1368">
                  <c:v>0.28915662650602397</c:v>
                </c:pt>
                <c:pt idx="1369">
                  <c:v>0.28925619834710697</c:v>
                </c:pt>
                <c:pt idx="1370">
                  <c:v>0.289383561643836</c:v>
                </c:pt>
                <c:pt idx="1371">
                  <c:v>0.28947368421052599</c:v>
                </c:pt>
                <c:pt idx="1372">
                  <c:v>0.28947368421052599</c:v>
                </c:pt>
                <c:pt idx="1373">
                  <c:v>0.28988764044943799</c:v>
                </c:pt>
                <c:pt idx="1374">
                  <c:v>0.29001367989056098</c:v>
                </c:pt>
                <c:pt idx="1375">
                  <c:v>0.29004329004328999</c:v>
                </c:pt>
                <c:pt idx="1376">
                  <c:v>0.29004329004328999</c:v>
                </c:pt>
                <c:pt idx="1377">
                  <c:v>0.29032258064516098</c:v>
                </c:pt>
                <c:pt idx="1378">
                  <c:v>0.29032258064516098</c:v>
                </c:pt>
                <c:pt idx="1379">
                  <c:v>0.29032258064516098</c:v>
                </c:pt>
                <c:pt idx="1380">
                  <c:v>0.29038281979458402</c:v>
                </c:pt>
                <c:pt idx="1381">
                  <c:v>0.29047619047619</c:v>
                </c:pt>
                <c:pt idx="1382">
                  <c:v>0.29050279329608902</c:v>
                </c:pt>
                <c:pt idx="1383">
                  <c:v>0.29074889867841403</c:v>
                </c:pt>
                <c:pt idx="1384">
                  <c:v>0.29090909090909101</c:v>
                </c:pt>
                <c:pt idx="1385">
                  <c:v>0.29090909090909101</c:v>
                </c:pt>
                <c:pt idx="1386">
                  <c:v>0.29090909090909101</c:v>
                </c:pt>
                <c:pt idx="1387">
                  <c:v>0.29090909090909101</c:v>
                </c:pt>
                <c:pt idx="1388">
                  <c:v>0.29109589041095901</c:v>
                </c:pt>
                <c:pt idx="1389">
                  <c:v>0.291139240506329</c:v>
                </c:pt>
                <c:pt idx="1390">
                  <c:v>0.29126213592233002</c:v>
                </c:pt>
                <c:pt idx="1391">
                  <c:v>0.291375291375291</c:v>
                </c:pt>
                <c:pt idx="1392">
                  <c:v>0.29139072847682101</c:v>
                </c:pt>
                <c:pt idx="1393">
                  <c:v>0.29139072847682101</c:v>
                </c:pt>
                <c:pt idx="1394">
                  <c:v>0.29166666666666702</c:v>
                </c:pt>
                <c:pt idx="1395">
                  <c:v>0.29166666666666702</c:v>
                </c:pt>
                <c:pt idx="1396">
                  <c:v>0.29166666666666702</c:v>
                </c:pt>
                <c:pt idx="1397">
                  <c:v>0.29166666666666702</c:v>
                </c:pt>
                <c:pt idx="1398">
                  <c:v>0.29166666666666702</c:v>
                </c:pt>
                <c:pt idx="1399">
                  <c:v>0.29166666666666702</c:v>
                </c:pt>
                <c:pt idx="1400">
                  <c:v>0.29230769230769199</c:v>
                </c:pt>
                <c:pt idx="1401">
                  <c:v>0.29253731343283601</c:v>
                </c:pt>
                <c:pt idx="1402">
                  <c:v>0.292682926829268</c:v>
                </c:pt>
                <c:pt idx="1403">
                  <c:v>0.292682926829268</c:v>
                </c:pt>
                <c:pt idx="1404">
                  <c:v>0.292682926829268</c:v>
                </c:pt>
                <c:pt idx="1405">
                  <c:v>0.29285714285714298</c:v>
                </c:pt>
                <c:pt idx="1406">
                  <c:v>0.29285714285714298</c:v>
                </c:pt>
                <c:pt idx="1407">
                  <c:v>0.29299363057324801</c:v>
                </c:pt>
                <c:pt idx="1408">
                  <c:v>0.29310344827586199</c:v>
                </c:pt>
                <c:pt idx="1409">
                  <c:v>0.29320987654321001</c:v>
                </c:pt>
                <c:pt idx="1410">
                  <c:v>0.29323308270676701</c:v>
                </c:pt>
                <c:pt idx="1411">
                  <c:v>0.293333333333333</c:v>
                </c:pt>
                <c:pt idx="1412">
                  <c:v>0.293333333333333</c:v>
                </c:pt>
                <c:pt idx="1413">
                  <c:v>0.29336734693877498</c:v>
                </c:pt>
                <c:pt idx="1414">
                  <c:v>0.293650793650794</c:v>
                </c:pt>
                <c:pt idx="1415">
                  <c:v>0.29378531073446301</c:v>
                </c:pt>
                <c:pt idx="1416">
                  <c:v>0.29384615384615398</c:v>
                </c:pt>
                <c:pt idx="1417">
                  <c:v>0.29411764705882398</c:v>
                </c:pt>
                <c:pt idx="1418">
                  <c:v>0.29411764705882398</c:v>
                </c:pt>
                <c:pt idx="1419">
                  <c:v>0.29411764705882398</c:v>
                </c:pt>
                <c:pt idx="1420">
                  <c:v>0.29411764705882398</c:v>
                </c:pt>
                <c:pt idx="1421">
                  <c:v>0.29411764705882398</c:v>
                </c:pt>
                <c:pt idx="1422">
                  <c:v>0.294303797468354</c:v>
                </c:pt>
                <c:pt idx="1423">
                  <c:v>0.29438822447102098</c:v>
                </c:pt>
                <c:pt idx="1424">
                  <c:v>0.29473684210526302</c:v>
                </c:pt>
                <c:pt idx="1425">
                  <c:v>0.29487179487179499</c:v>
                </c:pt>
                <c:pt idx="1426">
                  <c:v>0.29487179487179499</c:v>
                </c:pt>
                <c:pt idx="1427">
                  <c:v>0.29491017964071897</c:v>
                </c:pt>
                <c:pt idx="1428">
                  <c:v>0.29496402877697803</c:v>
                </c:pt>
                <c:pt idx="1429">
                  <c:v>0.29537366548042698</c:v>
                </c:pt>
                <c:pt idx="1430">
                  <c:v>0.29545454545454503</c:v>
                </c:pt>
                <c:pt idx="1431">
                  <c:v>0.29545454545454503</c:v>
                </c:pt>
                <c:pt idx="1432">
                  <c:v>0.29545454545454503</c:v>
                </c:pt>
                <c:pt idx="1433">
                  <c:v>0.29554655870445301</c:v>
                </c:pt>
                <c:pt idx="1434">
                  <c:v>0.29554655870445301</c:v>
                </c:pt>
                <c:pt idx="1435">
                  <c:v>0.29559748427672999</c:v>
                </c:pt>
                <c:pt idx="1436">
                  <c:v>0.29559748427672999</c:v>
                </c:pt>
                <c:pt idx="1437">
                  <c:v>0.29577464788732399</c:v>
                </c:pt>
                <c:pt idx="1438">
                  <c:v>0.29591836734693899</c:v>
                </c:pt>
                <c:pt idx="1439">
                  <c:v>0.29595015576324002</c:v>
                </c:pt>
                <c:pt idx="1440">
                  <c:v>0.29596412556053803</c:v>
                </c:pt>
                <c:pt idx="1441">
                  <c:v>0.29599999999999999</c:v>
                </c:pt>
                <c:pt idx="1442">
                  <c:v>0.29607250755287001</c:v>
                </c:pt>
                <c:pt idx="1443">
                  <c:v>0.29617834394904502</c:v>
                </c:pt>
                <c:pt idx="1444">
                  <c:v>0.296296296296296</c:v>
                </c:pt>
                <c:pt idx="1445">
                  <c:v>0.296296296296296</c:v>
                </c:pt>
                <c:pt idx="1446">
                  <c:v>0.296296296296296</c:v>
                </c:pt>
                <c:pt idx="1447">
                  <c:v>0.29646017699115002</c:v>
                </c:pt>
                <c:pt idx="1448">
                  <c:v>0.29648241206030101</c:v>
                </c:pt>
                <c:pt idx="1449">
                  <c:v>0.29661016949152502</c:v>
                </c:pt>
                <c:pt idx="1450">
                  <c:v>0.296650717703349</c:v>
                </c:pt>
                <c:pt idx="1451">
                  <c:v>0.296650717703349</c:v>
                </c:pt>
                <c:pt idx="1452">
                  <c:v>0.29670329670329698</c:v>
                </c:pt>
                <c:pt idx="1453">
                  <c:v>0.296875</c:v>
                </c:pt>
                <c:pt idx="1454">
                  <c:v>0.29696969696969699</c:v>
                </c:pt>
                <c:pt idx="1455">
                  <c:v>0.29729729729729698</c:v>
                </c:pt>
                <c:pt idx="1456">
                  <c:v>0.29729729729729698</c:v>
                </c:pt>
                <c:pt idx="1457">
                  <c:v>0.29729729729729698</c:v>
                </c:pt>
                <c:pt idx="1458">
                  <c:v>0.29729729729729698</c:v>
                </c:pt>
                <c:pt idx="1459">
                  <c:v>0.29746835443038</c:v>
                </c:pt>
                <c:pt idx="1460">
                  <c:v>0.29748062015503901</c:v>
                </c:pt>
                <c:pt idx="1461">
                  <c:v>0.29756097560975597</c:v>
                </c:pt>
                <c:pt idx="1462">
                  <c:v>0.29787234042553201</c:v>
                </c:pt>
                <c:pt idx="1463">
                  <c:v>0.29787234042553201</c:v>
                </c:pt>
                <c:pt idx="1464">
                  <c:v>0.29824561403508798</c:v>
                </c:pt>
                <c:pt idx="1465">
                  <c:v>0.29834254143646399</c:v>
                </c:pt>
                <c:pt idx="1466">
                  <c:v>0.29850746268656703</c:v>
                </c:pt>
                <c:pt idx="1467">
                  <c:v>0.29860228716645498</c:v>
                </c:pt>
                <c:pt idx="1468">
                  <c:v>0.29870129870129902</c:v>
                </c:pt>
                <c:pt idx="1469">
                  <c:v>0.29878048780487798</c:v>
                </c:pt>
                <c:pt idx="1470">
                  <c:v>0.29885057471264398</c:v>
                </c:pt>
                <c:pt idx="1471">
                  <c:v>0.29914529914529903</c:v>
                </c:pt>
                <c:pt idx="1472">
                  <c:v>0.29921259842519699</c:v>
                </c:pt>
                <c:pt idx="1473">
                  <c:v>0.29948364888123902</c:v>
                </c:pt>
                <c:pt idx="1474">
                  <c:v>0.29985443959243102</c:v>
                </c:pt>
                <c:pt idx="1475">
                  <c:v>0.3</c:v>
                </c:pt>
                <c:pt idx="1476">
                  <c:v>0.3</c:v>
                </c:pt>
                <c:pt idx="1477">
                  <c:v>0.3</c:v>
                </c:pt>
                <c:pt idx="1478">
                  <c:v>0.3</c:v>
                </c:pt>
                <c:pt idx="1479">
                  <c:v>0.3</c:v>
                </c:pt>
                <c:pt idx="1480">
                  <c:v>0.3</c:v>
                </c:pt>
                <c:pt idx="1481">
                  <c:v>0.3</c:v>
                </c:pt>
                <c:pt idx="1482">
                  <c:v>0.3</c:v>
                </c:pt>
                <c:pt idx="1483">
                  <c:v>0.3</c:v>
                </c:pt>
                <c:pt idx="1484">
                  <c:v>0.3</c:v>
                </c:pt>
                <c:pt idx="1485">
                  <c:v>0.3</c:v>
                </c:pt>
                <c:pt idx="1486">
                  <c:v>0.3</c:v>
                </c:pt>
                <c:pt idx="1487">
                  <c:v>0.3</c:v>
                </c:pt>
                <c:pt idx="1488">
                  <c:v>0.30015552099533399</c:v>
                </c:pt>
                <c:pt idx="1489">
                  <c:v>0.30084033613445399</c:v>
                </c:pt>
                <c:pt idx="1490">
                  <c:v>0.30097087378640802</c:v>
                </c:pt>
                <c:pt idx="1491">
                  <c:v>0.30107526881720398</c:v>
                </c:pt>
                <c:pt idx="1492">
                  <c:v>0.30123456790123498</c:v>
                </c:pt>
                <c:pt idx="1493">
                  <c:v>0.30132450331125799</c:v>
                </c:pt>
                <c:pt idx="1494">
                  <c:v>0.301369863013699</c:v>
                </c:pt>
                <c:pt idx="1495">
                  <c:v>0.301369863013699</c:v>
                </c:pt>
                <c:pt idx="1496">
                  <c:v>0.30158730158730201</c:v>
                </c:pt>
                <c:pt idx="1497">
                  <c:v>0.30158730158730201</c:v>
                </c:pt>
                <c:pt idx="1498">
                  <c:v>0.30158730158730201</c:v>
                </c:pt>
                <c:pt idx="1499">
                  <c:v>0.30161691542288599</c:v>
                </c:pt>
                <c:pt idx="1500">
                  <c:v>0.30172413793103398</c:v>
                </c:pt>
                <c:pt idx="1501">
                  <c:v>0.30188679245283001</c:v>
                </c:pt>
                <c:pt idx="1502">
                  <c:v>0.30188679245283001</c:v>
                </c:pt>
                <c:pt idx="1503">
                  <c:v>0.30219780219780201</c:v>
                </c:pt>
                <c:pt idx="1504">
                  <c:v>0.30232558139534899</c:v>
                </c:pt>
                <c:pt idx="1505">
                  <c:v>0.30232558139534899</c:v>
                </c:pt>
                <c:pt idx="1506">
                  <c:v>0.30232558139534899</c:v>
                </c:pt>
                <c:pt idx="1507">
                  <c:v>0.30246913580246898</c:v>
                </c:pt>
                <c:pt idx="1508">
                  <c:v>0.302752293577982</c:v>
                </c:pt>
                <c:pt idx="1509">
                  <c:v>0.30303030303030298</c:v>
                </c:pt>
                <c:pt idx="1510">
                  <c:v>0.30303030303030298</c:v>
                </c:pt>
                <c:pt idx="1511">
                  <c:v>0.303135888501742</c:v>
                </c:pt>
                <c:pt idx="1512">
                  <c:v>0.303142329020333</c:v>
                </c:pt>
                <c:pt idx="1513">
                  <c:v>0.30343007915567299</c:v>
                </c:pt>
                <c:pt idx="1514">
                  <c:v>0.30348258706467701</c:v>
                </c:pt>
                <c:pt idx="1515">
                  <c:v>0.30357142857142899</c:v>
                </c:pt>
                <c:pt idx="1516">
                  <c:v>0.303639326453015</c:v>
                </c:pt>
                <c:pt idx="1517">
                  <c:v>0.30370370370370398</c:v>
                </c:pt>
                <c:pt idx="1518">
                  <c:v>0.30399999999999999</c:v>
                </c:pt>
                <c:pt idx="1519">
                  <c:v>0.304054054054054</c:v>
                </c:pt>
                <c:pt idx="1520">
                  <c:v>0.304114490161002</c:v>
                </c:pt>
                <c:pt idx="1521">
                  <c:v>0.30434782608695599</c:v>
                </c:pt>
                <c:pt idx="1522">
                  <c:v>0.3046875</c:v>
                </c:pt>
                <c:pt idx="1523">
                  <c:v>0.3046875</c:v>
                </c:pt>
                <c:pt idx="1524">
                  <c:v>0.3046875</c:v>
                </c:pt>
                <c:pt idx="1525">
                  <c:v>0.30487804878048802</c:v>
                </c:pt>
                <c:pt idx="1526">
                  <c:v>0.30487804878048802</c:v>
                </c:pt>
                <c:pt idx="1527">
                  <c:v>0.30487804878048802</c:v>
                </c:pt>
                <c:pt idx="1528">
                  <c:v>0.30499325236167302</c:v>
                </c:pt>
                <c:pt idx="1529">
                  <c:v>0.305084745762712</c:v>
                </c:pt>
                <c:pt idx="1530">
                  <c:v>0.30526315789473701</c:v>
                </c:pt>
                <c:pt idx="1531">
                  <c:v>0.305295950155763</c:v>
                </c:pt>
                <c:pt idx="1532">
                  <c:v>0.30555555555555602</c:v>
                </c:pt>
                <c:pt idx="1533">
                  <c:v>0.30555555555555602</c:v>
                </c:pt>
                <c:pt idx="1534">
                  <c:v>0.30555555555555602</c:v>
                </c:pt>
                <c:pt idx="1535">
                  <c:v>0.30555555555555602</c:v>
                </c:pt>
                <c:pt idx="1536">
                  <c:v>0.30555555555555602</c:v>
                </c:pt>
                <c:pt idx="1537">
                  <c:v>0.30588235294117599</c:v>
                </c:pt>
                <c:pt idx="1538">
                  <c:v>0.306079664570231</c:v>
                </c:pt>
                <c:pt idx="1539">
                  <c:v>0.30612244897959201</c:v>
                </c:pt>
                <c:pt idx="1540">
                  <c:v>0.30612244897959201</c:v>
                </c:pt>
                <c:pt idx="1541">
                  <c:v>0.30618892508143303</c:v>
                </c:pt>
                <c:pt idx="1542">
                  <c:v>0.306201550387597</c:v>
                </c:pt>
                <c:pt idx="1543">
                  <c:v>0.30630630630630601</c:v>
                </c:pt>
                <c:pt idx="1544">
                  <c:v>0.30635838150289002</c:v>
                </c:pt>
                <c:pt idx="1545">
                  <c:v>0.30645161290322598</c:v>
                </c:pt>
                <c:pt idx="1546">
                  <c:v>0.30645161290322598</c:v>
                </c:pt>
                <c:pt idx="1547">
                  <c:v>0.30666666666666698</c:v>
                </c:pt>
                <c:pt idx="1548">
                  <c:v>0.30690537084399</c:v>
                </c:pt>
                <c:pt idx="1549">
                  <c:v>0.30693069306930698</c:v>
                </c:pt>
                <c:pt idx="1550">
                  <c:v>0.30746268656716402</c:v>
                </c:pt>
                <c:pt idx="1551">
                  <c:v>0.30769230769230799</c:v>
                </c:pt>
                <c:pt idx="1552">
                  <c:v>0.30769230769230799</c:v>
                </c:pt>
                <c:pt idx="1553">
                  <c:v>0.30769230769230799</c:v>
                </c:pt>
                <c:pt idx="1554">
                  <c:v>0.30769230769230799</c:v>
                </c:pt>
                <c:pt idx="1555">
                  <c:v>0.30769230769230799</c:v>
                </c:pt>
                <c:pt idx="1556">
                  <c:v>0.30769230769230799</c:v>
                </c:pt>
                <c:pt idx="1557">
                  <c:v>0.30769230769230799</c:v>
                </c:pt>
                <c:pt idx="1558">
                  <c:v>0.30769230769230799</c:v>
                </c:pt>
                <c:pt idx="1559">
                  <c:v>0.30777945619335301</c:v>
                </c:pt>
                <c:pt idx="1560">
                  <c:v>0.30786026200873401</c:v>
                </c:pt>
                <c:pt idx="1561">
                  <c:v>0.30813953488372098</c:v>
                </c:pt>
                <c:pt idx="1562">
                  <c:v>0.30813953488372098</c:v>
                </c:pt>
                <c:pt idx="1563">
                  <c:v>0.30844553243574002</c:v>
                </c:pt>
                <c:pt idx="1564">
                  <c:v>0.30847803881511698</c:v>
                </c:pt>
                <c:pt idx="1565">
                  <c:v>0.30851063829787201</c:v>
                </c:pt>
                <c:pt idx="1566">
                  <c:v>0.30851063829787201</c:v>
                </c:pt>
                <c:pt idx="1567">
                  <c:v>0.30864197530864201</c:v>
                </c:pt>
                <c:pt idx="1568">
                  <c:v>0.30864197530864201</c:v>
                </c:pt>
                <c:pt idx="1569">
                  <c:v>0.30864197530864201</c:v>
                </c:pt>
                <c:pt idx="1570">
                  <c:v>0.30872483221476499</c:v>
                </c:pt>
                <c:pt idx="1571">
                  <c:v>0.30888030888030898</c:v>
                </c:pt>
                <c:pt idx="1572">
                  <c:v>0.30909090909090903</c:v>
                </c:pt>
                <c:pt idx="1573">
                  <c:v>0.30921052631578899</c:v>
                </c:pt>
                <c:pt idx="1574">
                  <c:v>0.30937880633373899</c:v>
                </c:pt>
                <c:pt idx="1575">
                  <c:v>0.30952380952380898</c:v>
                </c:pt>
                <c:pt idx="1576">
                  <c:v>0.30952380952380898</c:v>
                </c:pt>
                <c:pt idx="1577">
                  <c:v>0.309677419354839</c:v>
                </c:pt>
                <c:pt idx="1578">
                  <c:v>0.30970149253731299</c:v>
                </c:pt>
                <c:pt idx="1579">
                  <c:v>0.30973451327433599</c:v>
                </c:pt>
                <c:pt idx="1580">
                  <c:v>0.309782608695652</c:v>
                </c:pt>
                <c:pt idx="1581">
                  <c:v>0.31</c:v>
                </c:pt>
                <c:pt idx="1582">
                  <c:v>0.31020408163265301</c:v>
                </c:pt>
                <c:pt idx="1583">
                  <c:v>0.31034482758620702</c:v>
                </c:pt>
                <c:pt idx="1584">
                  <c:v>0.31034482758620702</c:v>
                </c:pt>
                <c:pt idx="1585">
                  <c:v>0.31034482758620702</c:v>
                </c:pt>
                <c:pt idx="1586">
                  <c:v>0.31034482758620702</c:v>
                </c:pt>
                <c:pt idx="1587">
                  <c:v>0.31034482758620702</c:v>
                </c:pt>
                <c:pt idx="1588">
                  <c:v>0.31067961165048502</c:v>
                </c:pt>
                <c:pt idx="1589">
                  <c:v>0.31078224101479901</c:v>
                </c:pt>
                <c:pt idx="1590">
                  <c:v>0.31088082901554398</c:v>
                </c:pt>
                <c:pt idx="1591">
                  <c:v>0.310924369747899</c:v>
                </c:pt>
                <c:pt idx="1592">
                  <c:v>0.310975609756098</c:v>
                </c:pt>
                <c:pt idx="1593">
                  <c:v>0.31125827814569501</c:v>
                </c:pt>
                <c:pt idx="1594">
                  <c:v>0.31127450980392202</c:v>
                </c:pt>
                <c:pt idx="1595">
                  <c:v>0.31147540983606598</c:v>
                </c:pt>
                <c:pt idx="1596">
                  <c:v>0.31147540983606598</c:v>
                </c:pt>
                <c:pt idx="1597">
                  <c:v>0.31147540983606598</c:v>
                </c:pt>
                <c:pt idx="1598">
                  <c:v>0.31168831168831201</c:v>
                </c:pt>
                <c:pt idx="1599">
                  <c:v>0.31205673758865199</c:v>
                </c:pt>
                <c:pt idx="1600">
                  <c:v>0.31221719457013603</c:v>
                </c:pt>
                <c:pt idx="1601">
                  <c:v>0.3125</c:v>
                </c:pt>
                <c:pt idx="1602">
                  <c:v>0.3125</c:v>
                </c:pt>
                <c:pt idx="1603">
                  <c:v>0.3125</c:v>
                </c:pt>
                <c:pt idx="1604">
                  <c:v>0.3125</c:v>
                </c:pt>
                <c:pt idx="1605">
                  <c:v>0.3125</c:v>
                </c:pt>
                <c:pt idx="1606">
                  <c:v>0.3125</c:v>
                </c:pt>
                <c:pt idx="1607">
                  <c:v>0.31297709923664102</c:v>
                </c:pt>
                <c:pt idx="1608">
                  <c:v>0.31320103537532401</c:v>
                </c:pt>
                <c:pt idx="1609">
                  <c:v>0.313253012048193</c:v>
                </c:pt>
                <c:pt idx="1610">
                  <c:v>0.313253012048193</c:v>
                </c:pt>
                <c:pt idx="1611">
                  <c:v>0.313253012048193</c:v>
                </c:pt>
                <c:pt idx="1612">
                  <c:v>0.31355932203389802</c:v>
                </c:pt>
                <c:pt idx="1613">
                  <c:v>0.31372549019607798</c:v>
                </c:pt>
                <c:pt idx="1614">
                  <c:v>0.31391585760517798</c:v>
                </c:pt>
                <c:pt idx="1615">
                  <c:v>0.31413612565444998</c:v>
                </c:pt>
                <c:pt idx="1616">
                  <c:v>0.314285714285714</c:v>
                </c:pt>
                <c:pt idx="1617">
                  <c:v>0.314285714285714</c:v>
                </c:pt>
                <c:pt idx="1618">
                  <c:v>0.314285714285714</c:v>
                </c:pt>
                <c:pt idx="1619">
                  <c:v>0.314285714285714</c:v>
                </c:pt>
                <c:pt idx="1620">
                  <c:v>0.314285714285714</c:v>
                </c:pt>
                <c:pt idx="1621">
                  <c:v>0.314285714285714</c:v>
                </c:pt>
                <c:pt idx="1622">
                  <c:v>0.31443298969072198</c:v>
                </c:pt>
                <c:pt idx="1623">
                  <c:v>0.31460674157303398</c:v>
                </c:pt>
                <c:pt idx="1624">
                  <c:v>0.31481481481481499</c:v>
                </c:pt>
                <c:pt idx="1625">
                  <c:v>0.31481481481481499</c:v>
                </c:pt>
                <c:pt idx="1626">
                  <c:v>0.31481481481481499</c:v>
                </c:pt>
                <c:pt idx="1627">
                  <c:v>0.31506849315068503</c:v>
                </c:pt>
                <c:pt idx="1628">
                  <c:v>0.315217391304348</c:v>
                </c:pt>
                <c:pt idx="1629">
                  <c:v>0.31525851197982302</c:v>
                </c:pt>
                <c:pt idx="1630">
                  <c:v>0.31531531531531498</c:v>
                </c:pt>
                <c:pt idx="1631">
                  <c:v>0.31535269709543601</c:v>
                </c:pt>
                <c:pt idx="1632">
                  <c:v>0.31535269709543601</c:v>
                </c:pt>
                <c:pt idx="1633">
                  <c:v>0.31578947368421001</c:v>
                </c:pt>
                <c:pt idx="1634">
                  <c:v>0.31578947368421001</c:v>
                </c:pt>
                <c:pt idx="1635">
                  <c:v>0.31578947368421001</c:v>
                </c:pt>
                <c:pt idx="1636">
                  <c:v>0.31578947368421001</c:v>
                </c:pt>
                <c:pt idx="1637">
                  <c:v>0.31578947368421001</c:v>
                </c:pt>
                <c:pt idx="1638">
                  <c:v>0.31578947368421001</c:v>
                </c:pt>
                <c:pt idx="1639">
                  <c:v>0.31606217616580301</c:v>
                </c:pt>
                <c:pt idx="1640">
                  <c:v>0.31609195402298801</c:v>
                </c:pt>
                <c:pt idx="1641">
                  <c:v>0.316455696202532</c:v>
                </c:pt>
                <c:pt idx="1642">
                  <c:v>0.31658291457286403</c:v>
                </c:pt>
                <c:pt idx="1643">
                  <c:v>0.31666666666666698</c:v>
                </c:pt>
                <c:pt idx="1644">
                  <c:v>0.31718061674008802</c:v>
                </c:pt>
                <c:pt idx="1645">
                  <c:v>0.31724137931034502</c:v>
                </c:pt>
                <c:pt idx="1646">
                  <c:v>0.31730769230769201</c:v>
                </c:pt>
                <c:pt idx="1647">
                  <c:v>0.31730769230769201</c:v>
                </c:pt>
                <c:pt idx="1648">
                  <c:v>0.317460317460317</c:v>
                </c:pt>
                <c:pt idx="1649">
                  <c:v>0.317460317460317</c:v>
                </c:pt>
                <c:pt idx="1650">
                  <c:v>0.31788079470198699</c:v>
                </c:pt>
                <c:pt idx="1651">
                  <c:v>0.31818181818181801</c:v>
                </c:pt>
                <c:pt idx="1652">
                  <c:v>0.31818181818181801</c:v>
                </c:pt>
                <c:pt idx="1653">
                  <c:v>0.31818181818181801</c:v>
                </c:pt>
                <c:pt idx="1654">
                  <c:v>0.318385650224215</c:v>
                </c:pt>
                <c:pt idx="1655">
                  <c:v>0.31851851851851798</c:v>
                </c:pt>
                <c:pt idx="1656">
                  <c:v>0.318761384335155</c:v>
                </c:pt>
                <c:pt idx="1657">
                  <c:v>0.31887755102040799</c:v>
                </c:pt>
                <c:pt idx="1658">
                  <c:v>0.31891891891891899</c:v>
                </c:pt>
                <c:pt idx="1659">
                  <c:v>0.319148936170213</c:v>
                </c:pt>
                <c:pt idx="1660">
                  <c:v>0.319148936170213</c:v>
                </c:pt>
                <c:pt idx="1661">
                  <c:v>0.31944444444444398</c:v>
                </c:pt>
                <c:pt idx="1662">
                  <c:v>0.31953642384106001</c:v>
                </c:pt>
                <c:pt idx="1663">
                  <c:v>0.31958762886597902</c:v>
                </c:pt>
                <c:pt idx="1664">
                  <c:v>0.32</c:v>
                </c:pt>
                <c:pt idx="1665">
                  <c:v>0.32</c:v>
                </c:pt>
                <c:pt idx="1666">
                  <c:v>0.32</c:v>
                </c:pt>
                <c:pt idx="1667">
                  <c:v>0.32</c:v>
                </c:pt>
                <c:pt idx="1668">
                  <c:v>0.32</c:v>
                </c:pt>
                <c:pt idx="1669">
                  <c:v>0.32010582010582</c:v>
                </c:pt>
                <c:pt idx="1670">
                  <c:v>0.320175438596491</c:v>
                </c:pt>
                <c:pt idx="1671">
                  <c:v>0.3203125</c:v>
                </c:pt>
                <c:pt idx="1672">
                  <c:v>0.32033639143730902</c:v>
                </c:pt>
                <c:pt idx="1673">
                  <c:v>0.32038834951456302</c:v>
                </c:pt>
                <c:pt idx="1674">
                  <c:v>0.320754716981132</c:v>
                </c:pt>
                <c:pt idx="1675">
                  <c:v>0.320754716981132</c:v>
                </c:pt>
                <c:pt idx="1676">
                  <c:v>0.320754716981132</c:v>
                </c:pt>
                <c:pt idx="1677">
                  <c:v>0.32089552238806002</c:v>
                </c:pt>
                <c:pt idx="1678">
                  <c:v>0.32105263157894698</c:v>
                </c:pt>
                <c:pt idx="1679">
                  <c:v>0.32110091743119301</c:v>
                </c:pt>
                <c:pt idx="1680">
                  <c:v>0.32111337406653101</c:v>
                </c:pt>
                <c:pt idx="1681">
                  <c:v>0.321167883211679</c:v>
                </c:pt>
                <c:pt idx="1682">
                  <c:v>0.32133676092544999</c:v>
                </c:pt>
                <c:pt idx="1683">
                  <c:v>0.32142857142857101</c:v>
                </c:pt>
                <c:pt idx="1684">
                  <c:v>0.32151898734177198</c:v>
                </c:pt>
                <c:pt idx="1685">
                  <c:v>0.32155477031802099</c:v>
                </c:pt>
                <c:pt idx="1686">
                  <c:v>0.32155477031802099</c:v>
                </c:pt>
                <c:pt idx="1687">
                  <c:v>0.321818181818182</c:v>
                </c:pt>
                <c:pt idx="1688">
                  <c:v>0.32191780821917798</c:v>
                </c:pt>
                <c:pt idx="1689">
                  <c:v>0.322033898305085</c:v>
                </c:pt>
                <c:pt idx="1690">
                  <c:v>0.322033898305085</c:v>
                </c:pt>
                <c:pt idx="1691">
                  <c:v>0.322033898305085</c:v>
                </c:pt>
                <c:pt idx="1692">
                  <c:v>0.32222222222222202</c:v>
                </c:pt>
                <c:pt idx="1693">
                  <c:v>0.32222222222222202</c:v>
                </c:pt>
                <c:pt idx="1694">
                  <c:v>0.32222222222222202</c:v>
                </c:pt>
                <c:pt idx="1695">
                  <c:v>0.32240437158469898</c:v>
                </c:pt>
                <c:pt idx="1696">
                  <c:v>0.32258064516128998</c:v>
                </c:pt>
                <c:pt idx="1697">
                  <c:v>0.32264529058116198</c:v>
                </c:pt>
                <c:pt idx="1698">
                  <c:v>0.322784810126582</c:v>
                </c:pt>
                <c:pt idx="1699">
                  <c:v>0.32291666666666702</c:v>
                </c:pt>
                <c:pt idx="1700">
                  <c:v>0.32291666666666702</c:v>
                </c:pt>
                <c:pt idx="1701">
                  <c:v>0.32299270072992697</c:v>
                </c:pt>
                <c:pt idx="1702">
                  <c:v>0.32300884955752202</c:v>
                </c:pt>
                <c:pt idx="1703">
                  <c:v>0.323049001814882</c:v>
                </c:pt>
                <c:pt idx="1704">
                  <c:v>0.32307692307692298</c:v>
                </c:pt>
                <c:pt idx="1705">
                  <c:v>0.32335329341317398</c:v>
                </c:pt>
                <c:pt idx="1706">
                  <c:v>0.32352941176470601</c:v>
                </c:pt>
                <c:pt idx="1707">
                  <c:v>0.32352941176470601</c:v>
                </c:pt>
                <c:pt idx="1708">
                  <c:v>0.32352941176470601</c:v>
                </c:pt>
                <c:pt idx="1709">
                  <c:v>0.32380952380952399</c:v>
                </c:pt>
                <c:pt idx="1710">
                  <c:v>0.32380952380952399</c:v>
                </c:pt>
                <c:pt idx="1711">
                  <c:v>0.32383419689119203</c:v>
                </c:pt>
                <c:pt idx="1712">
                  <c:v>0.32413793103448302</c:v>
                </c:pt>
                <c:pt idx="1713">
                  <c:v>0.32413793103448302</c:v>
                </c:pt>
                <c:pt idx="1714">
                  <c:v>0.32432432432432401</c:v>
                </c:pt>
                <c:pt idx="1715">
                  <c:v>0.32432432432432401</c:v>
                </c:pt>
                <c:pt idx="1716">
                  <c:v>0.32432432432432401</c:v>
                </c:pt>
                <c:pt idx="1717">
                  <c:v>0.32432432432432401</c:v>
                </c:pt>
                <c:pt idx="1718">
                  <c:v>0.32451612903225802</c:v>
                </c:pt>
                <c:pt idx="1719">
                  <c:v>0.32467532467532501</c:v>
                </c:pt>
                <c:pt idx="1720">
                  <c:v>0.32478632478632502</c:v>
                </c:pt>
                <c:pt idx="1721">
                  <c:v>0.32500000000000001</c:v>
                </c:pt>
                <c:pt idx="1722">
                  <c:v>0.32500000000000001</c:v>
                </c:pt>
                <c:pt idx="1723">
                  <c:v>0.32500000000000001</c:v>
                </c:pt>
                <c:pt idx="1724">
                  <c:v>0.32500000000000001</c:v>
                </c:pt>
                <c:pt idx="1725">
                  <c:v>0.32512315270935999</c:v>
                </c:pt>
                <c:pt idx="1726">
                  <c:v>0.32512315270935999</c:v>
                </c:pt>
                <c:pt idx="1727">
                  <c:v>0.32520325203251998</c:v>
                </c:pt>
                <c:pt idx="1728">
                  <c:v>0.32533333333333297</c:v>
                </c:pt>
                <c:pt idx="1729">
                  <c:v>0.32536764705882298</c:v>
                </c:pt>
                <c:pt idx="1730">
                  <c:v>0.32539682539682502</c:v>
                </c:pt>
                <c:pt idx="1731">
                  <c:v>0.32552083333333298</c:v>
                </c:pt>
                <c:pt idx="1732">
                  <c:v>0.32558139534883701</c:v>
                </c:pt>
                <c:pt idx="1733">
                  <c:v>0.32558139534883701</c:v>
                </c:pt>
                <c:pt idx="1734">
                  <c:v>0.32558139534883701</c:v>
                </c:pt>
                <c:pt idx="1735">
                  <c:v>0.32558139534883701</c:v>
                </c:pt>
                <c:pt idx="1736">
                  <c:v>0.32558139534883701</c:v>
                </c:pt>
                <c:pt idx="1737">
                  <c:v>0.32579185520361997</c:v>
                </c:pt>
                <c:pt idx="1738">
                  <c:v>0.325842696629213</c:v>
                </c:pt>
                <c:pt idx="1739">
                  <c:v>0.32599118942731298</c:v>
                </c:pt>
                <c:pt idx="1740">
                  <c:v>0.32608695652173902</c:v>
                </c:pt>
                <c:pt idx="1741">
                  <c:v>0.32608695652173902</c:v>
                </c:pt>
                <c:pt idx="1742">
                  <c:v>0.326340326340326</c:v>
                </c:pt>
                <c:pt idx="1743">
                  <c:v>0.32653061224489799</c:v>
                </c:pt>
                <c:pt idx="1744">
                  <c:v>0.32653061224489799</c:v>
                </c:pt>
                <c:pt idx="1745">
                  <c:v>0.32673267326732702</c:v>
                </c:pt>
                <c:pt idx="1746">
                  <c:v>0.32692307692307698</c:v>
                </c:pt>
                <c:pt idx="1747">
                  <c:v>0.327014218009479</c:v>
                </c:pt>
                <c:pt idx="1748">
                  <c:v>0.32716049382716</c:v>
                </c:pt>
                <c:pt idx="1749">
                  <c:v>0.32718894009216598</c:v>
                </c:pt>
                <c:pt idx="1750">
                  <c:v>0.32727272727272699</c:v>
                </c:pt>
                <c:pt idx="1751">
                  <c:v>0.327327327327327</c:v>
                </c:pt>
                <c:pt idx="1752">
                  <c:v>0.32751937984496099</c:v>
                </c:pt>
                <c:pt idx="1753">
                  <c:v>0.32758620689655199</c:v>
                </c:pt>
                <c:pt idx="1754">
                  <c:v>0.327777777777778</c:v>
                </c:pt>
                <c:pt idx="1755">
                  <c:v>0.327777777777778</c:v>
                </c:pt>
                <c:pt idx="1756">
                  <c:v>0.32786885245901598</c:v>
                </c:pt>
                <c:pt idx="1757">
                  <c:v>0.32786885245901598</c:v>
                </c:pt>
                <c:pt idx="1758">
                  <c:v>0.328125</c:v>
                </c:pt>
                <c:pt idx="1759">
                  <c:v>0.328313253012048</c:v>
                </c:pt>
                <c:pt idx="1760">
                  <c:v>0.328358208955224</c:v>
                </c:pt>
                <c:pt idx="1761">
                  <c:v>0.328358208955224</c:v>
                </c:pt>
                <c:pt idx="1762">
                  <c:v>0.32838983050847498</c:v>
                </c:pt>
                <c:pt idx="1763">
                  <c:v>0.32848837209302301</c:v>
                </c:pt>
                <c:pt idx="1764">
                  <c:v>0.328695652173913</c:v>
                </c:pt>
                <c:pt idx="1765">
                  <c:v>0.32876712328767099</c:v>
                </c:pt>
                <c:pt idx="1766">
                  <c:v>0.32888888888888901</c:v>
                </c:pt>
                <c:pt idx="1767">
                  <c:v>0.32900432900432902</c:v>
                </c:pt>
                <c:pt idx="1768">
                  <c:v>0.32900432900432902</c:v>
                </c:pt>
                <c:pt idx="1769">
                  <c:v>0.32903225806451603</c:v>
                </c:pt>
                <c:pt idx="1770">
                  <c:v>0.329059829059829</c:v>
                </c:pt>
                <c:pt idx="1771">
                  <c:v>0.329113924050633</c:v>
                </c:pt>
                <c:pt idx="1772">
                  <c:v>0.32926829268292701</c:v>
                </c:pt>
                <c:pt idx="1773">
                  <c:v>0.32941176470588202</c:v>
                </c:pt>
                <c:pt idx="1774">
                  <c:v>0.32954545454545398</c:v>
                </c:pt>
                <c:pt idx="1775">
                  <c:v>0.32967032967033</c:v>
                </c:pt>
                <c:pt idx="1776">
                  <c:v>0.32967032967033</c:v>
                </c:pt>
                <c:pt idx="1777">
                  <c:v>0.32994923857868003</c:v>
                </c:pt>
                <c:pt idx="1778">
                  <c:v>0.32994923857868003</c:v>
                </c:pt>
                <c:pt idx="1779">
                  <c:v>0.33</c:v>
                </c:pt>
                <c:pt idx="1780">
                  <c:v>0.33004926108374399</c:v>
                </c:pt>
                <c:pt idx="1781">
                  <c:v>0.33043478260869602</c:v>
                </c:pt>
                <c:pt idx="1782">
                  <c:v>0.33050847457627103</c:v>
                </c:pt>
                <c:pt idx="1783">
                  <c:v>0.330578512396694</c:v>
                </c:pt>
                <c:pt idx="1784">
                  <c:v>0.33082706766917302</c:v>
                </c:pt>
                <c:pt idx="1785">
                  <c:v>0.330952380952381</c:v>
                </c:pt>
                <c:pt idx="1786">
                  <c:v>0.33141762452107298</c:v>
                </c:pt>
                <c:pt idx="1787">
                  <c:v>0.33149171270718197</c:v>
                </c:pt>
                <c:pt idx="1788">
                  <c:v>0.33155080213903698</c:v>
                </c:pt>
                <c:pt idx="1789">
                  <c:v>0.33159722222222199</c:v>
                </c:pt>
                <c:pt idx="1790">
                  <c:v>0.33160621761657999</c:v>
                </c:pt>
                <c:pt idx="1791">
                  <c:v>0.33161953727506399</c:v>
                </c:pt>
                <c:pt idx="1792">
                  <c:v>0.33177570093457898</c:v>
                </c:pt>
                <c:pt idx="1793">
                  <c:v>0.33181818181818201</c:v>
                </c:pt>
                <c:pt idx="1794">
                  <c:v>0.33185840707964598</c:v>
                </c:pt>
                <c:pt idx="1795">
                  <c:v>0.33195020746887999</c:v>
                </c:pt>
                <c:pt idx="1796">
                  <c:v>0.33204633204633199</c:v>
                </c:pt>
                <c:pt idx="1797">
                  <c:v>0.33207547169811302</c:v>
                </c:pt>
                <c:pt idx="1798">
                  <c:v>0.33214285714285702</c:v>
                </c:pt>
                <c:pt idx="1799">
                  <c:v>0.33215130023640699</c:v>
                </c:pt>
                <c:pt idx="1800">
                  <c:v>0.33248081841432198</c:v>
                </c:pt>
                <c:pt idx="1801">
                  <c:v>0.332635983263598</c:v>
                </c:pt>
                <c:pt idx="1802">
                  <c:v>0.33275261324041799</c:v>
                </c:pt>
                <c:pt idx="1803">
                  <c:v>0.33313583172863298</c:v>
                </c:pt>
                <c:pt idx="1804">
                  <c:v>0.33333333333333298</c:v>
                </c:pt>
                <c:pt idx="1805">
                  <c:v>0.33333333333333298</c:v>
                </c:pt>
                <c:pt idx="1806">
                  <c:v>0.33333333333333298</c:v>
                </c:pt>
                <c:pt idx="1807">
                  <c:v>0.33333333333333298</c:v>
                </c:pt>
                <c:pt idx="1808">
                  <c:v>0.33333333333333298</c:v>
                </c:pt>
                <c:pt idx="1809">
                  <c:v>0.33333333333333298</c:v>
                </c:pt>
                <c:pt idx="1810">
                  <c:v>0.33333333333333298</c:v>
                </c:pt>
                <c:pt idx="1811">
                  <c:v>0.33333333333333298</c:v>
                </c:pt>
                <c:pt idx="1812">
                  <c:v>0.33333333333333298</c:v>
                </c:pt>
                <c:pt idx="1813">
                  <c:v>0.33333333333333298</c:v>
                </c:pt>
                <c:pt idx="1814">
                  <c:v>0.33333333333333298</c:v>
                </c:pt>
                <c:pt idx="1815">
                  <c:v>0.33333333333333298</c:v>
                </c:pt>
                <c:pt idx="1816">
                  <c:v>0.33333333333333298</c:v>
                </c:pt>
                <c:pt idx="1817">
                  <c:v>0.33333333333333298</c:v>
                </c:pt>
                <c:pt idx="1818">
                  <c:v>0.33333333333333298</c:v>
                </c:pt>
                <c:pt idx="1819">
                  <c:v>0.33333333333333298</c:v>
                </c:pt>
                <c:pt idx="1820">
                  <c:v>0.33333333333333298</c:v>
                </c:pt>
                <c:pt idx="1821">
                  <c:v>0.33333333333333298</c:v>
                </c:pt>
                <c:pt idx="1822">
                  <c:v>0.33333333333333298</c:v>
                </c:pt>
                <c:pt idx="1823">
                  <c:v>0.33333333333333298</c:v>
                </c:pt>
                <c:pt idx="1824">
                  <c:v>0.33333333333333298</c:v>
                </c:pt>
                <c:pt idx="1825">
                  <c:v>0.33333333333333298</c:v>
                </c:pt>
                <c:pt idx="1826">
                  <c:v>0.33333333333333298</c:v>
                </c:pt>
                <c:pt idx="1827">
                  <c:v>0.33333333333333298</c:v>
                </c:pt>
                <c:pt idx="1828">
                  <c:v>0.33333333333333298</c:v>
                </c:pt>
                <c:pt idx="1829">
                  <c:v>0.33333333333333298</c:v>
                </c:pt>
                <c:pt idx="1830">
                  <c:v>0.33333333333333298</c:v>
                </c:pt>
                <c:pt idx="1831">
                  <c:v>0.33333333333333298</c:v>
                </c:pt>
                <c:pt idx="1832">
                  <c:v>0.33333333333333298</c:v>
                </c:pt>
                <c:pt idx="1833">
                  <c:v>0.33333333333333298</c:v>
                </c:pt>
                <c:pt idx="1834">
                  <c:v>0.33333333333333298</c:v>
                </c:pt>
                <c:pt idx="1835">
                  <c:v>0.33333333333333298</c:v>
                </c:pt>
                <c:pt idx="1836">
                  <c:v>0.33333333333333298</c:v>
                </c:pt>
                <c:pt idx="1837">
                  <c:v>0.33333333333333298</c:v>
                </c:pt>
                <c:pt idx="1838">
                  <c:v>0.33333333333333298</c:v>
                </c:pt>
                <c:pt idx="1839">
                  <c:v>0.33333333333333298</c:v>
                </c:pt>
                <c:pt idx="1840">
                  <c:v>0.33333333333333298</c:v>
                </c:pt>
                <c:pt idx="1841">
                  <c:v>0.33333333333333298</c:v>
                </c:pt>
                <c:pt idx="1842">
                  <c:v>0.33333333333333298</c:v>
                </c:pt>
                <c:pt idx="1843">
                  <c:v>0.33333333333333298</c:v>
                </c:pt>
                <c:pt idx="1844">
                  <c:v>0.33333333333333298</c:v>
                </c:pt>
                <c:pt idx="1845">
                  <c:v>0.33333333333333298</c:v>
                </c:pt>
                <c:pt idx="1846">
                  <c:v>0.33333333333333298</c:v>
                </c:pt>
                <c:pt idx="1847">
                  <c:v>0.33333333333333298</c:v>
                </c:pt>
                <c:pt idx="1848">
                  <c:v>0.33333333333333298</c:v>
                </c:pt>
                <c:pt idx="1849">
                  <c:v>0.33394160583941601</c:v>
                </c:pt>
                <c:pt idx="1850">
                  <c:v>0.333964049195837</c:v>
                </c:pt>
                <c:pt idx="1851">
                  <c:v>0.33423913043478298</c:v>
                </c:pt>
                <c:pt idx="1852">
                  <c:v>0.33475479744136499</c:v>
                </c:pt>
                <c:pt idx="1853">
                  <c:v>0.33487297921478099</c:v>
                </c:pt>
                <c:pt idx="1854">
                  <c:v>0.33492822966507202</c:v>
                </c:pt>
                <c:pt idx="1855">
                  <c:v>0.334975369458128</c:v>
                </c:pt>
                <c:pt idx="1856">
                  <c:v>0.33507853403141402</c:v>
                </c:pt>
                <c:pt idx="1857">
                  <c:v>0.33519553072625702</c:v>
                </c:pt>
                <c:pt idx="1858">
                  <c:v>0.3353428786737</c:v>
                </c:pt>
                <c:pt idx="1859">
                  <c:v>0.33536585365853699</c:v>
                </c:pt>
                <c:pt idx="1860">
                  <c:v>0.33548387096774201</c:v>
                </c:pt>
                <c:pt idx="1861">
                  <c:v>0.33552631578947401</c:v>
                </c:pt>
                <c:pt idx="1862">
                  <c:v>0.33552631578947401</c:v>
                </c:pt>
                <c:pt idx="1863">
                  <c:v>0.33570159857904103</c:v>
                </c:pt>
                <c:pt idx="1864">
                  <c:v>0.33582089552238797</c:v>
                </c:pt>
                <c:pt idx="1865">
                  <c:v>0.33582089552238797</c:v>
                </c:pt>
                <c:pt idx="1866">
                  <c:v>0.33600000000000002</c:v>
                </c:pt>
                <c:pt idx="1867">
                  <c:v>0.33603707995365001</c:v>
                </c:pt>
                <c:pt idx="1868">
                  <c:v>0.33606557377049201</c:v>
                </c:pt>
                <c:pt idx="1869">
                  <c:v>0.33606557377049201</c:v>
                </c:pt>
                <c:pt idx="1870">
                  <c:v>0.33618233618233601</c:v>
                </c:pt>
                <c:pt idx="1871">
                  <c:v>0.33636363636363598</c:v>
                </c:pt>
                <c:pt idx="1872">
                  <c:v>0.33636363636363598</c:v>
                </c:pt>
                <c:pt idx="1873">
                  <c:v>0.33644859813084099</c:v>
                </c:pt>
                <c:pt idx="1874">
                  <c:v>0.336569579288026</c:v>
                </c:pt>
                <c:pt idx="1875">
                  <c:v>0.33668341708542698</c:v>
                </c:pt>
                <c:pt idx="1876">
                  <c:v>0.336842105263158</c:v>
                </c:pt>
                <c:pt idx="1877">
                  <c:v>0.336842105263158</c:v>
                </c:pt>
                <c:pt idx="1878">
                  <c:v>0.33695652173912999</c:v>
                </c:pt>
                <c:pt idx="1879">
                  <c:v>0.33695652173912999</c:v>
                </c:pt>
                <c:pt idx="1880">
                  <c:v>0.337284482758621</c:v>
                </c:pt>
                <c:pt idx="1881">
                  <c:v>0.33750000000000002</c:v>
                </c:pt>
                <c:pt idx="1882">
                  <c:v>0.337579617834395</c:v>
                </c:pt>
                <c:pt idx="1883">
                  <c:v>0.337662337662338</c:v>
                </c:pt>
                <c:pt idx="1884">
                  <c:v>0.33771929824561397</c:v>
                </c:pt>
                <c:pt idx="1885">
                  <c:v>0.33773087071240099</c:v>
                </c:pt>
                <c:pt idx="1886">
                  <c:v>0.33774834437086099</c:v>
                </c:pt>
                <c:pt idx="1887">
                  <c:v>0.33776595744680799</c:v>
                </c:pt>
                <c:pt idx="1888">
                  <c:v>0.338028169014084</c:v>
                </c:pt>
                <c:pt idx="1889">
                  <c:v>0.33816425120772903</c:v>
                </c:pt>
                <c:pt idx="1890">
                  <c:v>0.33816425120772903</c:v>
                </c:pt>
                <c:pt idx="1891">
                  <c:v>0.33823529411764702</c:v>
                </c:pt>
                <c:pt idx="1892">
                  <c:v>0.33834586466165401</c:v>
                </c:pt>
                <c:pt idx="1893">
                  <c:v>0.33834586466165401</c:v>
                </c:pt>
                <c:pt idx="1894">
                  <c:v>0.33846153846153798</c:v>
                </c:pt>
                <c:pt idx="1895">
                  <c:v>0.33861386138613903</c:v>
                </c:pt>
                <c:pt idx="1896">
                  <c:v>0.33879222108495399</c:v>
                </c:pt>
                <c:pt idx="1897">
                  <c:v>0.338983050847458</c:v>
                </c:pt>
                <c:pt idx="1898">
                  <c:v>0.338983050847458</c:v>
                </c:pt>
                <c:pt idx="1899">
                  <c:v>0.339055793991416</c:v>
                </c:pt>
                <c:pt idx="1900">
                  <c:v>0.33913043478260901</c:v>
                </c:pt>
                <c:pt idx="1901">
                  <c:v>0.33928571428571402</c:v>
                </c:pt>
                <c:pt idx="1902">
                  <c:v>0.33935018050541499</c:v>
                </c:pt>
                <c:pt idx="1903">
                  <c:v>0.33944954128440402</c:v>
                </c:pt>
                <c:pt idx="1904">
                  <c:v>0.33944954128440402</c:v>
                </c:pt>
                <c:pt idx="1905">
                  <c:v>0.339622641509434</c:v>
                </c:pt>
                <c:pt idx="1906">
                  <c:v>0.339622641509434</c:v>
                </c:pt>
                <c:pt idx="1907">
                  <c:v>0.33974358974358998</c:v>
                </c:pt>
                <c:pt idx="1908">
                  <c:v>0.33990536277602501</c:v>
                </c:pt>
                <c:pt idx="1909">
                  <c:v>0.34</c:v>
                </c:pt>
                <c:pt idx="1910">
                  <c:v>0.34</c:v>
                </c:pt>
                <c:pt idx="1911">
                  <c:v>0.34013605442176897</c:v>
                </c:pt>
                <c:pt idx="1912">
                  <c:v>0.340163934426229</c:v>
                </c:pt>
                <c:pt idx="1913">
                  <c:v>0.340425531914894</c:v>
                </c:pt>
                <c:pt idx="1914">
                  <c:v>0.340425531914894</c:v>
                </c:pt>
                <c:pt idx="1915">
                  <c:v>0.340425531914894</c:v>
                </c:pt>
                <c:pt idx="1916">
                  <c:v>0.340425531914894</c:v>
                </c:pt>
                <c:pt idx="1917">
                  <c:v>0.340425531914894</c:v>
                </c:pt>
                <c:pt idx="1918">
                  <c:v>0.34049586776859497</c:v>
                </c:pt>
                <c:pt idx="1919">
                  <c:v>0.34057971014492699</c:v>
                </c:pt>
                <c:pt idx="1920">
                  <c:v>0.340659340659341</c:v>
                </c:pt>
                <c:pt idx="1921">
                  <c:v>0.340659340659341</c:v>
                </c:pt>
                <c:pt idx="1922">
                  <c:v>0.340753424657534</c:v>
                </c:pt>
                <c:pt idx="1923">
                  <c:v>0.34090909090909099</c:v>
                </c:pt>
                <c:pt idx="1924">
                  <c:v>0.34090909090909099</c:v>
                </c:pt>
                <c:pt idx="1925">
                  <c:v>0.34090909090909099</c:v>
                </c:pt>
                <c:pt idx="1926">
                  <c:v>0.34097421203438399</c:v>
                </c:pt>
                <c:pt idx="1927">
                  <c:v>0.341137123745819</c:v>
                </c:pt>
                <c:pt idx="1928">
                  <c:v>0.34117647058823503</c:v>
                </c:pt>
                <c:pt idx="1929">
                  <c:v>0.34117647058823503</c:v>
                </c:pt>
                <c:pt idx="1930">
                  <c:v>0.341269841269841</c:v>
                </c:pt>
                <c:pt idx="1931">
                  <c:v>0.341269841269841</c:v>
                </c:pt>
                <c:pt idx="1932">
                  <c:v>0.34137931034482799</c:v>
                </c:pt>
                <c:pt idx="1933">
                  <c:v>0.34146341463414598</c:v>
                </c:pt>
                <c:pt idx="1934">
                  <c:v>0.34146341463414598</c:v>
                </c:pt>
                <c:pt idx="1935">
                  <c:v>0.34146341463414598</c:v>
                </c:pt>
                <c:pt idx="1936">
                  <c:v>0.34166666666666701</c:v>
                </c:pt>
                <c:pt idx="1937">
                  <c:v>0.341772151898734</c:v>
                </c:pt>
                <c:pt idx="1938">
                  <c:v>0.341772151898734</c:v>
                </c:pt>
                <c:pt idx="1939">
                  <c:v>0.341772151898734</c:v>
                </c:pt>
                <c:pt idx="1940">
                  <c:v>0.341935483870968</c:v>
                </c:pt>
                <c:pt idx="1941">
                  <c:v>0.34210526315789502</c:v>
                </c:pt>
                <c:pt idx="1942">
                  <c:v>0.34210526315789502</c:v>
                </c:pt>
                <c:pt idx="1943">
                  <c:v>0.34210526315789502</c:v>
                </c:pt>
                <c:pt idx="1944">
                  <c:v>0.34210526315789502</c:v>
                </c:pt>
                <c:pt idx="1945">
                  <c:v>0.34234234234234201</c:v>
                </c:pt>
                <c:pt idx="1946">
                  <c:v>0.34234234234234201</c:v>
                </c:pt>
                <c:pt idx="1947">
                  <c:v>0.34246575342465702</c:v>
                </c:pt>
                <c:pt idx="1948">
                  <c:v>0.34246575342465702</c:v>
                </c:pt>
                <c:pt idx="1949">
                  <c:v>0.34251968503937003</c:v>
                </c:pt>
                <c:pt idx="1950">
                  <c:v>0.342592592592593</c:v>
                </c:pt>
                <c:pt idx="1951">
                  <c:v>0.342592592592593</c:v>
                </c:pt>
                <c:pt idx="1952">
                  <c:v>0.34271099744245498</c:v>
                </c:pt>
                <c:pt idx="1953">
                  <c:v>0.342741935483871</c:v>
                </c:pt>
                <c:pt idx="1954">
                  <c:v>0.342806394316163</c:v>
                </c:pt>
                <c:pt idx="1955">
                  <c:v>0.34285714285714303</c:v>
                </c:pt>
                <c:pt idx="1956">
                  <c:v>0.34285714285714303</c:v>
                </c:pt>
                <c:pt idx="1957">
                  <c:v>0.34285714285714303</c:v>
                </c:pt>
                <c:pt idx="1958">
                  <c:v>0.34301412872841403</c:v>
                </c:pt>
                <c:pt idx="1959">
                  <c:v>0.34306569343065701</c:v>
                </c:pt>
                <c:pt idx="1960">
                  <c:v>0.34313725490196101</c:v>
                </c:pt>
                <c:pt idx="1961">
                  <c:v>0.34328358208955201</c:v>
                </c:pt>
                <c:pt idx="1962">
                  <c:v>0.34328358208955201</c:v>
                </c:pt>
                <c:pt idx="1963">
                  <c:v>0.34328358208955201</c:v>
                </c:pt>
                <c:pt idx="1964">
                  <c:v>0.34328358208955201</c:v>
                </c:pt>
                <c:pt idx="1965">
                  <c:v>0.34328358208955201</c:v>
                </c:pt>
                <c:pt idx="1966">
                  <c:v>0.34333333333333299</c:v>
                </c:pt>
                <c:pt idx="1967">
                  <c:v>0.34361233480176201</c:v>
                </c:pt>
                <c:pt idx="1968">
                  <c:v>0.34375</c:v>
                </c:pt>
                <c:pt idx="1969">
                  <c:v>0.34375</c:v>
                </c:pt>
                <c:pt idx="1970">
                  <c:v>0.34375</c:v>
                </c:pt>
                <c:pt idx="1971">
                  <c:v>0.34375</c:v>
                </c:pt>
                <c:pt idx="1972">
                  <c:v>0.34375</c:v>
                </c:pt>
                <c:pt idx="1973">
                  <c:v>0.34375</c:v>
                </c:pt>
                <c:pt idx="1974">
                  <c:v>0.34399999999999997</c:v>
                </c:pt>
                <c:pt idx="1975">
                  <c:v>0.34408602150537598</c:v>
                </c:pt>
                <c:pt idx="1976">
                  <c:v>0.34426229508196698</c:v>
                </c:pt>
                <c:pt idx="1977">
                  <c:v>0.34426229508196698</c:v>
                </c:pt>
                <c:pt idx="1978">
                  <c:v>0.34426229508196698</c:v>
                </c:pt>
                <c:pt idx="1979">
                  <c:v>0.34432234432234399</c:v>
                </c:pt>
                <c:pt idx="1980">
                  <c:v>0.34453781512604997</c:v>
                </c:pt>
                <c:pt idx="1981">
                  <c:v>0.34482758620689702</c:v>
                </c:pt>
                <c:pt idx="1982">
                  <c:v>0.34482758620689702</c:v>
                </c:pt>
                <c:pt idx="1983">
                  <c:v>0.34482758620689702</c:v>
                </c:pt>
                <c:pt idx="1984">
                  <c:v>0.34482758620689702</c:v>
                </c:pt>
                <c:pt idx="1985">
                  <c:v>0.34491978609625701</c:v>
                </c:pt>
                <c:pt idx="1986">
                  <c:v>0.34517766497461899</c:v>
                </c:pt>
                <c:pt idx="1987">
                  <c:v>0.34519572953736599</c:v>
                </c:pt>
                <c:pt idx="1988">
                  <c:v>0.34523809523809501</c:v>
                </c:pt>
                <c:pt idx="1989">
                  <c:v>0.34530938123752503</c:v>
                </c:pt>
                <c:pt idx="1990">
                  <c:v>0.34545454545454501</c:v>
                </c:pt>
                <c:pt idx="1991">
                  <c:v>0.34567901234567899</c:v>
                </c:pt>
                <c:pt idx="1992">
                  <c:v>0.34572490706319697</c:v>
                </c:pt>
                <c:pt idx="1993">
                  <c:v>0.34586466165413499</c:v>
                </c:pt>
                <c:pt idx="1994">
                  <c:v>0.34599156118143498</c:v>
                </c:pt>
                <c:pt idx="1995">
                  <c:v>0.34615384615384598</c:v>
                </c:pt>
                <c:pt idx="1996">
                  <c:v>0.34615384615384598</c:v>
                </c:pt>
                <c:pt idx="1997">
                  <c:v>0.34615384615384598</c:v>
                </c:pt>
                <c:pt idx="1998">
                  <c:v>0.34615384615384598</c:v>
                </c:pt>
                <c:pt idx="1999">
                  <c:v>0.34615384615384598</c:v>
                </c:pt>
                <c:pt idx="2000">
                  <c:v>0.34615384615384598</c:v>
                </c:pt>
                <c:pt idx="2001">
                  <c:v>0.34625322997416003</c:v>
                </c:pt>
                <c:pt idx="2002">
                  <c:v>0.34636871508379902</c:v>
                </c:pt>
                <c:pt idx="2003">
                  <c:v>0.34659090909090901</c:v>
                </c:pt>
                <c:pt idx="2004">
                  <c:v>0.34666666666666701</c:v>
                </c:pt>
                <c:pt idx="2005">
                  <c:v>0.34693877551020402</c:v>
                </c:pt>
                <c:pt idx="2006">
                  <c:v>0.34693877551020402</c:v>
                </c:pt>
                <c:pt idx="2007">
                  <c:v>0.34703196347032</c:v>
                </c:pt>
                <c:pt idx="2008">
                  <c:v>0.34705882352941197</c:v>
                </c:pt>
                <c:pt idx="2009">
                  <c:v>0.34710743801652899</c:v>
                </c:pt>
                <c:pt idx="2010">
                  <c:v>0.34722222222222199</c:v>
                </c:pt>
                <c:pt idx="2011">
                  <c:v>0.34722222222222199</c:v>
                </c:pt>
                <c:pt idx="2012">
                  <c:v>0.34731543624161099</c:v>
                </c:pt>
                <c:pt idx="2013">
                  <c:v>0.34736842105263199</c:v>
                </c:pt>
                <c:pt idx="2014">
                  <c:v>0.34782608695652201</c:v>
                </c:pt>
                <c:pt idx="2015">
                  <c:v>0.34782608695652201</c:v>
                </c:pt>
                <c:pt idx="2016">
                  <c:v>0.34782608695652201</c:v>
                </c:pt>
                <c:pt idx="2017">
                  <c:v>0.34782608695652201</c:v>
                </c:pt>
                <c:pt idx="2018">
                  <c:v>0.34782608695652201</c:v>
                </c:pt>
                <c:pt idx="2019">
                  <c:v>0.34782608695652201</c:v>
                </c:pt>
                <c:pt idx="2020">
                  <c:v>0.34782608695652201</c:v>
                </c:pt>
                <c:pt idx="2021">
                  <c:v>0.347938144329897</c:v>
                </c:pt>
                <c:pt idx="2022">
                  <c:v>0.34806629834254099</c:v>
                </c:pt>
                <c:pt idx="2023">
                  <c:v>0.34814814814814798</c:v>
                </c:pt>
                <c:pt idx="2024">
                  <c:v>0.34827586206896499</c:v>
                </c:pt>
                <c:pt idx="2025">
                  <c:v>0.34834834834834799</c:v>
                </c:pt>
                <c:pt idx="2026">
                  <c:v>0.34848484848484801</c:v>
                </c:pt>
                <c:pt idx="2027">
                  <c:v>0.34871794871794898</c:v>
                </c:pt>
                <c:pt idx="2028">
                  <c:v>0.34883720930232598</c:v>
                </c:pt>
                <c:pt idx="2029">
                  <c:v>0.34890965732087198</c:v>
                </c:pt>
                <c:pt idx="2030">
                  <c:v>0.34899328859060402</c:v>
                </c:pt>
                <c:pt idx="2031">
                  <c:v>0.34926283680732101</c:v>
                </c:pt>
                <c:pt idx="2032">
                  <c:v>0.34939759036144602</c:v>
                </c:pt>
                <c:pt idx="2033">
                  <c:v>0.34951456310679602</c:v>
                </c:pt>
                <c:pt idx="2034">
                  <c:v>0.34961832061068698</c:v>
                </c:pt>
                <c:pt idx="2035">
                  <c:v>0.34965034965035002</c:v>
                </c:pt>
                <c:pt idx="2036">
                  <c:v>0.34965034965035002</c:v>
                </c:pt>
                <c:pt idx="2037">
                  <c:v>0.34972677595628399</c:v>
                </c:pt>
                <c:pt idx="2038">
                  <c:v>0.34977578475336302</c:v>
                </c:pt>
                <c:pt idx="2039">
                  <c:v>0.34979423868312798</c:v>
                </c:pt>
                <c:pt idx="2040">
                  <c:v>0.34994807892004098</c:v>
                </c:pt>
                <c:pt idx="2041">
                  <c:v>0.35</c:v>
                </c:pt>
                <c:pt idx="2042">
                  <c:v>0.35</c:v>
                </c:pt>
                <c:pt idx="2043">
                  <c:v>0.35</c:v>
                </c:pt>
                <c:pt idx="2044">
                  <c:v>0.35</c:v>
                </c:pt>
                <c:pt idx="2045">
                  <c:v>0.35</c:v>
                </c:pt>
                <c:pt idx="2046">
                  <c:v>0.35</c:v>
                </c:pt>
                <c:pt idx="2047">
                  <c:v>0.35</c:v>
                </c:pt>
                <c:pt idx="2048">
                  <c:v>0.35028248587570598</c:v>
                </c:pt>
                <c:pt idx="2049">
                  <c:v>0.35031847133757998</c:v>
                </c:pt>
                <c:pt idx="2050">
                  <c:v>0.35051546391752603</c:v>
                </c:pt>
                <c:pt idx="2051">
                  <c:v>0.35051546391752603</c:v>
                </c:pt>
                <c:pt idx="2052">
                  <c:v>0.35064935064935099</c:v>
                </c:pt>
                <c:pt idx="2053">
                  <c:v>0.35096153846153799</c:v>
                </c:pt>
                <c:pt idx="2054">
                  <c:v>0.35117773019271897</c:v>
                </c:pt>
                <c:pt idx="2055">
                  <c:v>0.35121951219512199</c:v>
                </c:pt>
                <c:pt idx="2056">
                  <c:v>0.35135135135135098</c:v>
                </c:pt>
                <c:pt idx="2057">
                  <c:v>0.35135135135135098</c:v>
                </c:pt>
                <c:pt idx="2058">
                  <c:v>0.35149384885764501</c:v>
                </c:pt>
                <c:pt idx="2059">
                  <c:v>0.351515151515151</c:v>
                </c:pt>
                <c:pt idx="2060">
                  <c:v>0.35164835164835201</c:v>
                </c:pt>
                <c:pt idx="2061">
                  <c:v>0.35166425470332802</c:v>
                </c:pt>
                <c:pt idx="2062">
                  <c:v>0.35177865612648201</c:v>
                </c:pt>
                <c:pt idx="2063">
                  <c:v>0.35185185185185203</c:v>
                </c:pt>
                <c:pt idx="2064">
                  <c:v>0.35185185185185203</c:v>
                </c:pt>
                <c:pt idx="2065">
                  <c:v>0.352014010507881</c:v>
                </c:pt>
                <c:pt idx="2066">
                  <c:v>0.35205183585313199</c:v>
                </c:pt>
                <c:pt idx="2067">
                  <c:v>0.352112676056338</c:v>
                </c:pt>
                <c:pt idx="2068">
                  <c:v>0.352173913043478</c:v>
                </c:pt>
                <c:pt idx="2069">
                  <c:v>0.35227272727272702</c:v>
                </c:pt>
                <c:pt idx="2070">
                  <c:v>0.35241502683363102</c:v>
                </c:pt>
                <c:pt idx="2071">
                  <c:v>0.35245901639344301</c:v>
                </c:pt>
                <c:pt idx="2072">
                  <c:v>0.35251798561151099</c:v>
                </c:pt>
                <c:pt idx="2073">
                  <c:v>0.352657004830918</c:v>
                </c:pt>
                <c:pt idx="2074">
                  <c:v>0.35294117647058798</c:v>
                </c:pt>
                <c:pt idx="2075">
                  <c:v>0.35294117647058798</c:v>
                </c:pt>
                <c:pt idx="2076">
                  <c:v>0.35294117647058798</c:v>
                </c:pt>
                <c:pt idx="2077">
                  <c:v>0.35294117647058798</c:v>
                </c:pt>
                <c:pt idx="2078">
                  <c:v>0.35324675324675298</c:v>
                </c:pt>
                <c:pt idx="2079">
                  <c:v>0.35344827586206901</c:v>
                </c:pt>
                <c:pt idx="2080">
                  <c:v>0.35344827586206901</c:v>
                </c:pt>
                <c:pt idx="2081">
                  <c:v>0.35353535353535298</c:v>
                </c:pt>
                <c:pt idx="2082">
                  <c:v>0.35381355932203401</c:v>
                </c:pt>
                <c:pt idx="2083">
                  <c:v>0.35384615384615398</c:v>
                </c:pt>
                <c:pt idx="2084">
                  <c:v>0.35384615384615398</c:v>
                </c:pt>
                <c:pt idx="2085">
                  <c:v>0.35398230088495602</c:v>
                </c:pt>
                <c:pt idx="2086">
                  <c:v>0.35416666666666702</c:v>
                </c:pt>
                <c:pt idx="2087">
                  <c:v>0.35416666666666702</c:v>
                </c:pt>
                <c:pt idx="2088">
                  <c:v>0.35433070866141703</c:v>
                </c:pt>
                <c:pt idx="2089">
                  <c:v>0.354545454545454</c:v>
                </c:pt>
                <c:pt idx="2090">
                  <c:v>0.354545454545454</c:v>
                </c:pt>
                <c:pt idx="2091">
                  <c:v>0.35477941176470601</c:v>
                </c:pt>
                <c:pt idx="2092">
                  <c:v>0.35483870967741898</c:v>
                </c:pt>
                <c:pt idx="2093">
                  <c:v>0.35483870967741898</c:v>
                </c:pt>
                <c:pt idx="2094">
                  <c:v>0.35483870967741898</c:v>
                </c:pt>
                <c:pt idx="2095">
                  <c:v>0.35483870967741898</c:v>
                </c:pt>
                <c:pt idx="2096">
                  <c:v>0.35483870967741898</c:v>
                </c:pt>
                <c:pt idx="2097">
                  <c:v>0.35496183206106902</c:v>
                </c:pt>
                <c:pt idx="2098">
                  <c:v>0.355140186915888</c:v>
                </c:pt>
                <c:pt idx="2099">
                  <c:v>0.355140186915888</c:v>
                </c:pt>
                <c:pt idx="2100">
                  <c:v>0.355140186915888</c:v>
                </c:pt>
                <c:pt idx="2101">
                  <c:v>0.355263157894737</c:v>
                </c:pt>
                <c:pt idx="2102">
                  <c:v>0.35532994923857902</c:v>
                </c:pt>
                <c:pt idx="2103">
                  <c:v>0.35543766578249297</c:v>
                </c:pt>
                <c:pt idx="2104">
                  <c:v>0.35555555555555601</c:v>
                </c:pt>
                <c:pt idx="2105">
                  <c:v>0.35555555555555601</c:v>
                </c:pt>
                <c:pt idx="2106">
                  <c:v>0.35555555555555601</c:v>
                </c:pt>
                <c:pt idx="2107">
                  <c:v>0.35555555555555601</c:v>
                </c:pt>
                <c:pt idx="2108">
                  <c:v>0.35555555555555601</c:v>
                </c:pt>
                <c:pt idx="2109">
                  <c:v>0.355769230769231</c:v>
                </c:pt>
                <c:pt idx="2110">
                  <c:v>0.35593220338983</c:v>
                </c:pt>
                <c:pt idx="2111">
                  <c:v>0.35593220338983</c:v>
                </c:pt>
                <c:pt idx="2112">
                  <c:v>0.35606060606060602</c:v>
                </c:pt>
                <c:pt idx="2113">
                  <c:v>0.35611510791366902</c:v>
                </c:pt>
                <c:pt idx="2114">
                  <c:v>0.35616438356164398</c:v>
                </c:pt>
                <c:pt idx="2115">
                  <c:v>0.35625000000000001</c:v>
                </c:pt>
                <c:pt idx="2116">
                  <c:v>0.35643564356435598</c:v>
                </c:pt>
                <c:pt idx="2117">
                  <c:v>0.35658914728682201</c:v>
                </c:pt>
                <c:pt idx="2118">
                  <c:v>0.35680000000000001</c:v>
                </c:pt>
                <c:pt idx="2119">
                  <c:v>0.35692307692307701</c:v>
                </c:pt>
                <c:pt idx="2120">
                  <c:v>0.35704514363885098</c:v>
                </c:pt>
                <c:pt idx="2121">
                  <c:v>0.35714285714285698</c:v>
                </c:pt>
                <c:pt idx="2122">
                  <c:v>0.35714285714285698</c:v>
                </c:pt>
                <c:pt idx="2123">
                  <c:v>0.35714285714285698</c:v>
                </c:pt>
                <c:pt idx="2124">
                  <c:v>0.35714285714285698</c:v>
                </c:pt>
                <c:pt idx="2125">
                  <c:v>0.35714285714285698</c:v>
                </c:pt>
                <c:pt idx="2126">
                  <c:v>0.35714285714285698</c:v>
                </c:pt>
                <c:pt idx="2127">
                  <c:v>0.35714285714285698</c:v>
                </c:pt>
                <c:pt idx="2128">
                  <c:v>0.35714285714285698</c:v>
                </c:pt>
                <c:pt idx="2129">
                  <c:v>0.35751295336787597</c:v>
                </c:pt>
                <c:pt idx="2130">
                  <c:v>0.35754189944134102</c:v>
                </c:pt>
                <c:pt idx="2131">
                  <c:v>0.35761589403973498</c:v>
                </c:pt>
                <c:pt idx="2132">
                  <c:v>0.35761589403973498</c:v>
                </c:pt>
                <c:pt idx="2133">
                  <c:v>0.35766423357664201</c:v>
                </c:pt>
                <c:pt idx="2134">
                  <c:v>0.35779816513761498</c:v>
                </c:pt>
                <c:pt idx="2135">
                  <c:v>0.35781249999999998</c:v>
                </c:pt>
                <c:pt idx="2136">
                  <c:v>0.35795454545454503</c:v>
                </c:pt>
                <c:pt idx="2137">
                  <c:v>0.358024691358025</c:v>
                </c:pt>
                <c:pt idx="2138">
                  <c:v>0.358108108108108</c:v>
                </c:pt>
                <c:pt idx="2139">
                  <c:v>0.358333333333333</c:v>
                </c:pt>
                <c:pt idx="2140">
                  <c:v>0.35841584158415801</c:v>
                </c:pt>
                <c:pt idx="2141">
                  <c:v>0.35849056603773599</c:v>
                </c:pt>
                <c:pt idx="2142">
                  <c:v>0.35849056603773599</c:v>
                </c:pt>
                <c:pt idx="2143">
                  <c:v>0.35849056603773599</c:v>
                </c:pt>
                <c:pt idx="2144">
                  <c:v>0.35864978902953598</c:v>
                </c:pt>
                <c:pt idx="2145">
                  <c:v>0.35869565217391303</c:v>
                </c:pt>
                <c:pt idx="2146">
                  <c:v>0.35869565217391303</c:v>
                </c:pt>
                <c:pt idx="2147">
                  <c:v>0.35877862595419802</c:v>
                </c:pt>
                <c:pt idx="2148">
                  <c:v>0.35897435897435898</c:v>
                </c:pt>
                <c:pt idx="2149">
                  <c:v>0.35897435897435898</c:v>
                </c:pt>
                <c:pt idx="2150">
                  <c:v>0.35897435897435898</c:v>
                </c:pt>
                <c:pt idx="2151">
                  <c:v>0.35915492957746498</c:v>
                </c:pt>
                <c:pt idx="2152">
                  <c:v>0.359259259259259</c:v>
                </c:pt>
                <c:pt idx="2153">
                  <c:v>0.359375</c:v>
                </c:pt>
                <c:pt idx="2154">
                  <c:v>0.35955056179775302</c:v>
                </c:pt>
                <c:pt idx="2155">
                  <c:v>0.35987261146496802</c:v>
                </c:pt>
                <c:pt idx="2156">
                  <c:v>0.35990888382687902</c:v>
                </c:pt>
                <c:pt idx="2157">
                  <c:v>0.35994764397905799</c:v>
                </c:pt>
                <c:pt idx="2158">
                  <c:v>0.36</c:v>
                </c:pt>
                <c:pt idx="2159">
                  <c:v>0.36</c:v>
                </c:pt>
                <c:pt idx="2160">
                  <c:v>0.36029411764705899</c:v>
                </c:pt>
                <c:pt idx="2161">
                  <c:v>0.36065573770491799</c:v>
                </c:pt>
                <c:pt idx="2162">
                  <c:v>0.36065573770491799</c:v>
                </c:pt>
                <c:pt idx="2163">
                  <c:v>0.36082474226804101</c:v>
                </c:pt>
                <c:pt idx="2164">
                  <c:v>0.36085626911315</c:v>
                </c:pt>
                <c:pt idx="2165">
                  <c:v>0.36085626911315</c:v>
                </c:pt>
                <c:pt idx="2166">
                  <c:v>0.36111111111111099</c:v>
                </c:pt>
                <c:pt idx="2167">
                  <c:v>0.36138613861386099</c:v>
                </c:pt>
                <c:pt idx="2168">
                  <c:v>0.36144578313253001</c:v>
                </c:pt>
                <c:pt idx="2169">
                  <c:v>0.36148648648648601</c:v>
                </c:pt>
                <c:pt idx="2170">
                  <c:v>0.36153846153846098</c:v>
                </c:pt>
                <c:pt idx="2171">
                  <c:v>0.36170212765957399</c:v>
                </c:pt>
                <c:pt idx="2172">
                  <c:v>0.36175115207373298</c:v>
                </c:pt>
                <c:pt idx="2173">
                  <c:v>0.36184210526315802</c:v>
                </c:pt>
                <c:pt idx="2174">
                  <c:v>0.36190476190476201</c:v>
                </c:pt>
                <c:pt idx="2175">
                  <c:v>0.36206896551724099</c:v>
                </c:pt>
                <c:pt idx="2176">
                  <c:v>0.36213991769547299</c:v>
                </c:pt>
                <c:pt idx="2177">
                  <c:v>0.36220472440944901</c:v>
                </c:pt>
                <c:pt idx="2178">
                  <c:v>0.36221294363256801</c:v>
                </c:pt>
                <c:pt idx="2179">
                  <c:v>0.36231884057970998</c:v>
                </c:pt>
                <c:pt idx="2180">
                  <c:v>0.36231884057970998</c:v>
                </c:pt>
                <c:pt idx="2181">
                  <c:v>0.36231884057970998</c:v>
                </c:pt>
                <c:pt idx="2182">
                  <c:v>0.36235955056179803</c:v>
                </c:pt>
                <c:pt idx="2183">
                  <c:v>0.36238532110091698</c:v>
                </c:pt>
                <c:pt idx="2184">
                  <c:v>0.36246786632390698</c:v>
                </c:pt>
                <c:pt idx="2185">
                  <c:v>0.36248012718600903</c:v>
                </c:pt>
                <c:pt idx="2186">
                  <c:v>0.36249999999999999</c:v>
                </c:pt>
                <c:pt idx="2187">
                  <c:v>0.36249999999999999</c:v>
                </c:pt>
                <c:pt idx="2188">
                  <c:v>0.36249999999999999</c:v>
                </c:pt>
                <c:pt idx="2189">
                  <c:v>0.36249999999999999</c:v>
                </c:pt>
                <c:pt idx="2190">
                  <c:v>0.36249999999999999</c:v>
                </c:pt>
                <c:pt idx="2191">
                  <c:v>0.36263736263736301</c:v>
                </c:pt>
                <c:pt idx="2192">
                  <c:v>0.36266666666666703</c:v>
                </c:pt>
                <c:pt idx="2193">
                  <c:v>0.36274509803921601</c:v>
                </c:pt>
                <c:pt idx="2194">
                  <c:v>0.36286919831223602</c:v>
                </c:pt>
                <c:pt idx="2195">
                  <c:v>0.362980769230769</c:v>
                </c:pt>
                <c:pt idx="2196">
                  <c:v>0.36304347826087002</c:v>
                </c:pt>
                <c:pt idx="2197">
                  <c:v>0.36308316430020299</c:v>
                </c:pt>
                <c:pt idx="2198">
                  <c:v>0.363228699551569</c:v>
                </c:pt>
                <c:pt idx="2199">
                  <c:v>0.36363636363636398</c:v>
                </c:pt>
                <c:pt idx="2200">
                  <c:v>0.36363636363636398</c:v>
                </c:pt>
                <c:pt idx="2201">
                  <c:v>0.36363636363636398</c:v>
                </c:pt>
                <c:pt idx="2202">
                  <c:v>0.36363636363636398</c:v>
                </c:pt>
                <c:pt idx="2203">
                  <c:v>0.36363636363636398</c:v>
                </c:pt>
                <c:pt idx="2204">
                  <c:v>0.36363636363636398</c:v>
                </c:pt>
                <c:pt idx="2205">
                  <c:v>0.36363636363636398</c:v>
                </c:pt>
                <c:pt idx="2206">
                  <c:v>0.36363636363636398</c:v>
                </c:pt>
                <c:pt idx="2207">
                  <c:v>0.36363636363636398</c:v>
                </c:pt>
                <c:pt idx="2208">
                  <c:v>0.36383682469680301</c:v>
                </c:pt>
                <c:pt idx="2209">
                  <c:v>0.36414565826330503</c:v>
                </c:pt>
                <c:pt idx="2210">
                  <c:v>0.36416184971098298</c:v>
                </c:pt>
                <c:pt idx="2211">
                  <c:v>0.36419753086419698</c:v>
                </c:pt>
                <c:pt idx="2212">
                  <c:v>0.36428571428571399</c:v>
                </c:pt>
                <c:pt idx="2213">
                  <c:v>0.36428571428571399</c:v>
                </c:pt>
                <c:pt idx="2214">
                  <c:v>0.36434108527131798</c:v>
                </c:pt>
                <c:pt idx="2215">
                  <c:v>0.36440677966101698</c:v>
                </c:pt>
                <c:pt idx="2216">
                  <c:v>0.36440677966101698</c:v>
                </c:pt>
                <c:pt idx="2217">
                  <c:v>0.36464088397790101</c:v>
                </c:pt>
                <c:pt idx="2218">
                  <c:v>0.36480686695279002</c:v>
                </c:pt>
                <c:pt idx="2219">
                  <c:v>0.36501901140684401</c:v>
                </c:pt>
                <c:pt idx="2220">
                  <c:v>0.365079365079365</c:v>
                </c:pt>
                <c:pt idx="2221">
                  <c:v>0.365079365079365</c:v>
                </c:pt>
                <c:pt idx="2222">
                  <c:v>0.36522462562396002</c:v>
                </c:pt>
                <c:pt idx="2223">
                  <c:v>0.36538461538461497</c:v>
                </c:pt>
                <c:pt idx="2224">
                  <c:v>0.36538461538461497</c:v>
                </c:pt>
                <c:pt idx="2225">
                  <c:v>0.36538461538461497</c:v>
                </c:pt>
                <c:pt idx="2226">
                  <c:v>0.36538461538461497</c:v>
                </c:pt>
                <c:pt idx="2227">
                  <c:v>0.36545749864645399</c:v>
                </c:pt>
                <c:pt idx="2228">
                  <c:v>0.365470852017937</c:v>
                </c:pt>
                <c:pt idx="2229">
                  <c:v>0.36571428571428599</c:v>
                </c:pt>
                <c:pt idx="2230">
                  <c:v>0.36585365853658502</c:v>
                </c:pt>
                <c:pt idx="2231">
                  <c:v>0.36585365853658502</c:v>
                </c:pt>
                <c:pt idx="2232">
                  <c:v>0.36623376623376602</c:v>
                </c:pt>
                <c:pt idx="2233">
                  <c:v>0.36627906976744201</c:v>
                </c:pt>
                <c:pt idx="2234">
                  <c:v>0.366336633663366</c:v>
                </c:pt>
                <c:pt idx="2235">
                  <c:v>0.36641221374045801</c:v>
                </c:pt>
                <c:pt idx="2236">
                  <c:v>0.36666666666666697</c:v>
                </c:pt>
                <c:pt idx="2237">
                  <c:v>0.366834170854271</c:v>
                </c:pt>
                <c:pt idx="2238">
                  <c:v>0.36697247706421998</c:v>
                </c:pt>
                <c:pt idx="2239">
                  <c:v>0.367088607594937</c:v>
                </c:pt>
                <c:pt idx="2240">
                  <c:v>0.36734693877551</c:v>
                </c:pt>
                <c:pt idx="2241">
                  <c:v>0.36761904761904801</c:v>
                </c:pt>
                <c:pt idx="2242">
                  <c:v>0.36764705882352899</c:v>
                </c:pt>
                <c:pt idx="2243">
                  <c:v>0.36764705882352899</c:v>
                </c:pt>
                <c:pt idx="2244">
                  <c:v>0.36764705882352899</c:v>
                </c:pt>
                <c:pt idx="2245">
                  <c:v>0.36774193548387102</c:v>
                </c:pt>
                <c:pt idx="2246">
                  <c:v>0.36774193548387102</c:v>
                </c:pt>
                <c:pt idx="2247">
                  <c:v>0.36776859504132198</c:v>
                </c:pt>
                <c:pt idx="2248">
                  <c:v>0.36813186813186799</c:v>
                </c:pt>
                <c:pt idx="2249">
                  <c:v>0.36813186813186799</c:v>
                </c:pt>
                <c:pt idx="2250">
                  <c:v>0.36815920398009899</c:v>
                </c:pt>
                <c:pt idx="2251">
                  <c:v>0.36824324324324298</c:v>
                </c:pt>
                <c:pt idx="2252">
                  <c:v>0.36842105263157898</c:v>
                </c:pt>
                <c:pt idx="2253">
                  <c:v>0.36842105263157898</c:v>
                </c:pt>
                <c:pt idx="2254">
                  <c:v>0.36842105263157898</c:v>
                </c:pt>
                <c:pt idx="2255">
                  <c:v>0.36842105263157898</c:v>
                </c:pt>
                <c:pt idx="2256">
                  <c:v>0.368589743589744</c:v>
                </c:pt>
                <c:pt idx="2257">
                  <c:v>0.36893203883495101</c:v>
                </c:pt>
                <c:pt idx="2258">
                  <c:v>0.36893203883495101</c:v>
                </c:pt>
                <c:pt idx="2259">
                  <c:v>0.36902485659655798</c:v>
                </c:pt>
                <c:pt idx="2260">
                  <c:v>0.36904761904761901</c:v>
                </c:pt>
                <c:pt idx="2261">
                  <c:v>0.36923076923076897</c:v>
                </c:pt>
                <c:pt idx="2262">
                  <c:v>0.36929460580912898</c:v>
                </c:pt>
                <c:pt idx="2263">
                  <c:v>0.36936936936936898</c:v>
                </c:pt>
                <c:pt idx="2264">
                  <c:v>0.36946902654867297</c:v>
                </c:pt>
                <c:pt idx="2265">
                  <c:v>0.36956521739130399</c:v>
                </c:pt>
                <c:pt idx="2266">
                  <c:v>0.36971046770601301</c:v>
                </c:pt>
                <c:pt idx="2267">
                  <c:v>0.369747899159664</c:v>
                </c:pt>
                <c:pt idx="2268">
                  <c:v>0.37</c:v>
                </c:pt>
                <c:pt idx="2269">
                  <c:v>0.37</c:v>
                </c:pt>
                <c:pt idx="2270">
                  <c:v>0.37009803921568601</c:v>
                </c:pt>
                <c:pt idx="2271">
                  <c:v>0.37016574585635398</c:v>
                </c:pt>
                <c:pt idx="2272">
                  <c:v>0.37021276595744701</c:v>
                </c:pt>
                <c:pt idx="2273">
                  <c:v>0.37037037037037002</c:v>
                </c:pt>
                <c:pt idx="2274">
                  <c:v>0.37037037037037002</c:v>
                </c:pt>
                <c:pt idx="2275">
                  <c:v>0.37037037037037002</c:v>
                </c:pt>
                <c:pt idx="2276">
                  <c:v>0.37037037037037002</c:v>
                </c:pt>
                <c:pt idx="2277">
                  <c:v>0.37037037037037002</c:v>
                </c:pt>
                <c:pt idx="2278">
                  <c:v>0.37037037037037002</c:v>
                </c:pt>
                <c:pt idx="2279">
                  <c:v>0.37037037037037002</c:v>
                </c:pt>
                <c:pt idx="2280">
                  <c:v>0.37037037037037002</c:v>
                </c:pt>
                <c:pt idx="2281">
                  <c:v>0.37037037037037002</c:v>
                </c:pt>
                <c:pt idx="2282">
                  <c:v>0.37045454545454498</c:v>
                </c:pt>
                <c:pt idx="2283">
                  <c:v>0.37057220708446897</c:v>
                </c:pt>
                <c:pt idx="2284">
                  <c:v>0.370588235294118</c:v>
                </c:pt>
                <c:pt idx="2285">
                  <c:v>0.37068062827225101</c:v>
                </c:pt>
                <c:pt idx="2286">
                  <c:v>0.37078651685393299</c:v>
                </c:pt>
                <c:pt idx="2287">
                  <c:v>0.370860927152318</c:v>
                </c:pt>
                <c:pt idx="2288">
                  <c:v>0.37090432503276499</c:v>
                </c:pt>
                <c:pt idx="2289">
                  <c:v>0.37096774193548399</c:v>
                </c:pt>
                <c:pt idx="2290">
                  <c:v>0.37106918238993702</c:v>
                </c:pt>
                <c:pt idx="2291">
                  <c:v>0.371104815864023</c:v>
                </c:pt>
                <c:pt idx="2292">
                  <c:v>0.37123745819398002</c:v>
                </c:pt>
                <c:pt idx="2293">
                  <c:v>0.37136465324384799</c:v>
                </c:pt>
                <c:pt idx="2294">
                  <c:v>0.371428571428571</c:v>
                </c:pt>
                <c:pt idx="2295">
                  <c:v>0.371428571428571</c:v>
                </c:pt>
                <c:pt idx="2296">
                  <c:v>0.371428571428571</c:v>
                </c:pt>
                <c:pt idx="2297">
                  <c:v>0.37151702786377699</c:v>
                </c:pt>
                <c:pt idx="2298">
                  <c:v>0.37168141592920401</c:v>
                </c:pt>
                <c:pt idx="2299">
                  <c:v>0.37172774869109898</c:v>
                </c:pt>
                <c:pt idx="2300">
                  <c:v>0.37172774869109898</c:v>
                </c:pt>
                <c:pt idx="2301">
                  <c:v>0.371848739495798</c:v>
                </c:pt>
                <c:pt idx="2302">
                  <c:v>0.37198067632850201</c:v>
                </c:pt>
                <c:pt idx="2303">
                  <c:v>0.372093023255814</c:v>
                </c:pt>
                <c:pt idx="2304">
                  <c:v>0.37219730941703999</c:v>
                </c:pt>
                <c:pt idx="2305">
                  <c:v>0.37220843672456599</c:v>
                </c:pt>
                <c:pt idx="2306">
                  <c:v>0.37222222222222201</c:v>
                </c:pt>
                <c:pt idx="2307">
                  <c:v>0.37234042553191499</c:v>
                </c:pt>
                <c:pt idx="2308">
                  <c:v>0.37241379310344802</c:v>
                </c:pt>
                <c:pt idx="2309">
                  <c:v>0.37254901960784298</c:v>
                </c:pt>
                <c:pt idx="2310">
                  <c:v>0.37267080745341602</c:v>
                </c:pt>
                <c:pt idx="2311">
                  <c:v>0.37275064267352198</c:v>
                </c:pt>
                <c:pt idx="2312">
                  <c:v>0.37288135593220301</c:v>
                </c:pt>
                <c:pt idx="2313">
                  <c:v>0.37288135593220301</c:v>
                </c:pt>
                <c:pt idx="2314">
                  <c:v>0.37301587301587302</c:v>
                </c:pt>
                <c:pt idx="2315">
                  <c:v>0.37303370786516798</c:v>
                </c:pt>
                <c:pt idx="2316">
                  <c:v>0.37313432835820898</c:v>
                </c:pt>
                <c:pt idx="2317">
                  <c:v>0.37313432835820898</c:v>
                </c:pt>
                <c:pt idx="2318">
                  <c:v>0.37323943661971798</c:v>
                </c:pt>
                <c:pt idx="2319">
                  <c:v>0.37333333333333302</c:v>
                </c:pt>
                <c:pt idx="2320">
                  <c:v>0.37339055793991399</c:v>
                </c:pt>
                <c:pt idx="2321">
                  <c:v>0.373464373464373</c:v>
                </c:pt>
                <c:pt idx="2322">
                  <c:v>0.373493975903614</c:v>
                </c:pt>
                <c:pt idx="2323">
                  <c:v>0.37383177570093501</c:v>
                </c:pt>
                <c:pt idx="2324">
                  <c:v>0.37390029325513202</c:v>
                </c:pt>
                <c:pt idx="2325">
                  <c:v>0.373949579831933</c:v>
                </c:pt>
                <c:pt idx="2326">
                  <c:v>0.37410071942445999</c:v>
                </c:pt>
                <c:pt idx="2327">
                  <c:v>0.37410071942445999</c:v>
                </c:pt>
                <c:pt idx="2328">
                  <c:v>0.374285714285714</c:v>
                </c:pt>
                <c:pt idx="2329">
                  <c:v>0.37430167597765401</c:v>
                </c:pt>
                <c:pt idx="2330">
                  <c:v>0.37452229299362999</c:v>
                </c:pt>
                <c:pt idx="2331">
                  <c:v>0.37460317460317499</c:v>
                </c:pt>
                <c:pt idx="2332">
                  <c:v>0.374880153403643</c:v>
                </c:pt>
                <c:pt idx="2333">
                  <c:v>0.375</c:v>
                </c:pt>
                <c:pt idx="2334">
                  <c:v>0.375</c:v>
                </c:pt>
                <c:pt idx="2335">
                  <c:v>0.375</c:v>
                </c:pt>
                <c:pt idx="2336">
                  <c:v>0.375</c:v>
                </c:pt>
                <c:pt idx="2337">
                  <c:v>0.375</c:v>
                </c:pt>
                <c:pt idx="2338">
                  <c:v>0.375</c:v>
                </c:pt>
                <c:pt idx="2339">
                  <c:v>0.375</c:v>
                </c:pt>
                <c:pt idx="2340">
                  <c:v>0.375</c:v>
                </c:pt>
                <c:pt idx="2341">
                  <c:v>0.375</c:v>
                </c:pt>
                <c:pt idx="2342">
                  <c:v>0.375</c:v>
                </c:pt>
                <c:pt idx="2343">
                  <c:v>0.375</c:v>
                </c:pt>
                <c:pt idx="2344">
                  <c:v>0.375</c:v>
                </c:pt>
                <c:pt idx="2345">
                  <c:v>0.375</c:v>
                </c:pt>
                <c:pt idx="2346">
                  <c:v>0.375</c:v>
                </c:pt>
                <c:pt idx="2347">
                  <c:v>0.375</c:v>
                </c:pt>
                <c:pt idx="2348">
                  <c:v>0.375</c:v>
                </c:pt>
                <c:pt idx="2349">
                  <c:v>0.375</c:v>
                </c:pt>
                <c:pt idx="2350">
                  <c:v>0.37532808398950102</c:v>
                </c:pt>
                <c:pt idx="2351">
                  <c:v>0.37539432176656101</c:v>
                </c:pt>
                <c:pt idx="2352">
                  <c:v>0.37553342816500701</c:v>
                </c:pt>
                <c:pt idx="2353">
                  <c:v>0.37558685446009399</c:v>
                </c:pt>
                <c:pt idx="2354">
                  <c:v>0.37565217391304301</c:v>
                </c:pt>
                <c:pt idx="2355">
                  <c:v>0.37566137566137597</c:v>
                </c:pt>
                <c:pt idx="2356">
                  <c:v>0.375690607734807</c:v>
                </c:pt>
                <c:pt idx="2357">
                  <c:v>0.37575757575757601</c:v>
                </c:pt>
                <c:pt idx="2358">
                  <c:v>0.37588652482269502</c:v>
                </c:pt>
                <c:pt idx="2359">
                  <c:v>0.37591240875912402</c:v>
                </c:pt>
                <c:pt idx="2360">
                  <c:v>0.37606837606837601</c:v>
                </c:pt>
                <c:pt idx="2361">
                  <c:v>0.37606837606837601</c:v>
                </c:pt>
                <c:pt idx="2362">
                  <c:v>0.376111817026684</c:v>
                </c:pt>
                <c:pt idx="2363">
                  <c:v>0.37613019891500898</c:v>
                </c:pt>
                <c:pt idx="2364">
                  <c:v>0.37614678899082599</c:v>
                </c:pt>
                <c:pt idx="2365">
                  <c:v>0.37623762376237602</c:v>
                </c:pt>
                <c:pt idx="2366">
                  <c:v>0.37649880095923299</c:v>
                </c:pt>
                <c:pt idx="2367">
                  <c:v>0.37662337662337703</c:v>
                </c:pt>
                <c:pt idx="2368">
                  <c:v>0.37671232876712302</c:v>
                </c:pt>
                <c:pt idx="2369">
                  <c:v>0.37673130193905802</c:v>
                </c:pt>
                <c:pt idx="2370">
                  <c:v>0.37677725118483402</c:v>
                </c:pt>
                <c:pt idx="2371">
                  <c:v>0.37692307692307703</c:v>
                </c:pt>
                <c:pt idx="2372">
                  <c:v>0.37692307692307703</c:v>
                </c:pt>
                <c:pt idx="2373">
                  <c:v>0.37692307692307703</c:v>
                </c:pt>
                <c:pt idx="2374">
                  <c:v>0.37696335078533999</c:v>
                </c:pt>
                <c:pt idx="2375">
                  <c:v>0.37711864406779699</c:v>
                </c:pt>
                <c:pt idx="2376">
                  <c:v>0.37722419928825601</c:v>
                </c:pt>
                <c:pt idx="2377">
                  <c:v>0.37722419928825601</c:v>
                </c:pt>
                <c:pt idx="2378">
                  <c:v>0.37726098191214502</c:v>
                </c:pt>
                <c:pt idx="2379">
                  <c:v>0.37735849056603799</c:v>
                </c:pt>
                <c:pt idx="2380">
                  <c:v>0.37735849056603799</c:v>
                </c:pt>
                <c:pt idx="2381">
                  <c:v>0.37735849056603799</c:v>
                </c:pt>
                <c:pt idx="2382">
                  <c:v>0.37741935483870998</c:v>
                </c:pt>
                <c:pt idx="2383">
                  <c:v>0.37745098039215702</c:v>
                </c:pt>
                <c:pt idx="2384">
                  <c:v>0.37756010685663399</c:v>
                </c:pt>
                <c:pt idx="2385">
                  <c:v>0.37782805429864202</c:v>
                </c:pt>
                <c:pt idx="2386">
                  <c:v>0.37795275590551197</c:v>
                </c:pt>
                <c:pt idx="2387">
                  <c:v>0.37804878048780499</c:v>
                </c:pt>
                <c:pt idx="2388">
                  <c:v>0.378151260504202</c:v>
                </c:pt>
                <c:pt idx="2389">
                  <c:v>0.378151260504202</c:v>
                </c:pt>
                <c:pt idx="2390">
                  <c:v>0.378151260504202</c:v>
                </c:pt>
                <c:pt idx="2391">
                  <c:v>0.37837837837837801</c:v>
                </c:pt>
                <c:pt idx="2392">
                  <c:v>0.378571428571429</c:v>
                </c:pt>
                <c:pt idx="2393">
                  <c:v>0.37878787878787901</c:v>
                </c:pt>
                <c:pt idx="2394">
                  <c:v>0.37878787878787901</c:v>
                </c:pt>
                <c:pt idx="2395">
                  <c:v>0.37878787878787901</c:v>
                </c:pt>
                <c:pt idx="2396">
                  <c:v>0.379120879120879</c:v>
                </c:pt>
                <c:pt idx="2397">
                  <c:v>0.379120879120879</c:v>
                </c:pt>
                <c:pt idx="2398">
                  <c:v>0.37914691943127998</c:v>
                </c:pt>
                <c:pt idx="2399">
                  <c:v>0.37915407854984901</c:v>
                </c:pt>
                <c:pt idx="2400">
                  <c:v>0.37916666666666698</c:v>
                </c:pt>
                <c:pt idx="2401">
                  <c:v>0.37916666666666698</c:v>
                </c:pt>
                <c:pt idx="2402">
                  <c:v>0.37931034482758602</c:v>
                </c:pt>
                <c:pt idx="2403">
                  <c:v>0.37931034482758602</c:v>
                </c:pt>
                <c:pt idx="2404">
                  <c:v>0.379381443298969</c:v>
                </c:pt>
                <c:pt idx="2405">
                  <c:v>0.37940379403794</c:v>
                </c:pt>
                <c:pt idx="2406">
                  <c:v>0.379432624113475</c:v>
                </c:pt>
                <c:pt idx="2407">
                  <c:v>0.37971698113207503</c:v>
                </c:pt>
                <c:pt idx="2408">
                  <c:v>0.379746835443038</c:v>
                </c:pt>
                <c:pt idx="2409">
                  <c:v>0.37980769230769201</c:v>
                </c:pt>
                <c:pt idx="2410">
                  <c:v>0.37992831541218602</c:v>
                </c:pt>
                <c:pt idx="2411">
                  <c:v>0.37992831541218602</c:v>
                </c:pt>
                <c:pt idx="2412">
                  <c:v>0.38</c:v>
                </c:pt>
                <c:pt idx="2413">
                  <c:v>0.38</c:v>
                </c:pt>
                <c:pt idx="2414">
                  <c:v>0.38</c:v>
                </c:pt>
                <c:pt idx="2415">
                  <c:v>0.38016528925619802</c:v>
                </c:pt>
                <c:pt idx="2416">
                  <c:v>0.38016528925619802</c:v>
                </c:pt>
                <c:pt idx="2417">
                  <c:v>0.38020833333333298</c:v>
                </c:pt>
                <c:pt idx="2418">
                  <c:v>0.38028169014084501</c:v>
                </c:pt>
                <c:pt idx="2419">
                  <c:v>0.38032786885245901</c:v>
                </c:pt>
                <c:pt idx="2420">
                  <c:v>0.380368098159509</c:v>
                </c:pt>
                <c:pt idx="2421">
                  <c:v>0.38041431261770198</c:v>
                </c:pt>
                <c:pt idx="2422">
                  <c:v>0.38043478260869601</c:v>
                </c:pt>
                <c:pt idx="2423">
                  <c:v>0.38053097345132703</c:v>
                </c:pt>
                <c:pt idx="2424">
                  <c:v>0.38053097345132703</c:v>
                </c:pt>
                <c:pt idx="2425">
                  <c:v>0.38073394495412799</c:v>
                </c:pt>
                <c:pt idx="2426">
                  <c:v>0.38095238095238099</c:v>
                </c:pt>
                <c:pt idx="2427">
                  <c:v>0.38095238095238099</c:v>
                </c:pt>
                <c:pt idx="2428">
                  <c:v>0.38095238095238099</c:v>
                </c:pt>
                <c:pt idx="2429">
                  <c:v>0.38095238095238099</c:v>
                </c:pt>
                <c:pt idx="2430">
                  <c:v>0.38095238095238099</c:v>
                </c:pt>
                <c:pt idx="2431">
                  <c:v>0.38095238095238099</c:v>
                </c:pt>
                <c:pt idx="2432">
                  <c:v>0.38112094395280199</c:v>
                </c:pt>
                <c:pt idx="2433">
                  <c:v>0.38113570741097202</c:v>
                </c:pt>
                <c:pt idx="2434">
                  <c:v>0.38123167155425203</c:v>
                </c:pt>
                <c:pt idx="2435">
                  <c:v>0.38147138964577698</c:v>
                </c:pt>
                <c:pt idx="2436">
                  <c:v>0.38150289017340999</c:v>
                </c:pt>
                <c:pt idx="2437">
                  <c:v>0.38153846153846099</c:v>
                </c:pt>
                <c:pt idx="2438">
                  <c:v>0.38157894736842102</c:v>
                </c:pt>
                <c:pt idx="2439">
                  <c:v>0.38179669030732899</c:v>
                </c:pt>
                <c:pt idx="2440">
                  <c:v>0.38184931506849301</c:v>
                </c:pt>
                <c:pt idx="2441">
                  <c:v>0.38188976377952699</c:v>
                </c:pt>
                <c:pt idx="2442">
                  <c:v>0.38188976377952699</c:v>
                </c:pt>
                <c:pt idx="2443">
                  <c:v>0.38202247191011202</c:v>
                </c:pt>
                <c:pt idx="2444">
                  <c:v>0.38202247191011202</c:v>
                </c:pt>
                <c:pt idx="2445">
                  <c:v>0.38207547169811301</c:v>
                </c:pt>
                <c:pt idx="2446">
                  <c:v>0.38216922203293602</c:v>
                </c:pt>
                <c:pt idx="2447">
                  <c:v>0.38235294117647101</c:v>
                </c:pt>
                <c:pt idx="2448">
                  <c:v>0.38235294117647101</c:v>
                </c:pt>
                <c:pt idx="2449">
                  <c:v>0.38235294117647101</c:v>
                </c:pt>
                <c:pt idx="2450">
                  <c:v>0.38235294117647101</c:v>
                </c:pt>
                <c:pt idx="2451">
                  <c:v>0.38251366120218599</c:v>
                </c:pt>
                <c:pt idx="2452">
                  <c:v>0.38260869565217398</c:v>
                </c:pt>
                <c:pt idx="2453">
                  <c:v>0.38263665594855301</c:v>
                </c:pt>
                <c:pt idx="2454">
                  <c:v>0.38271604938271597</c:v>
                </c:pt>
                <c:pt idx="2455">
                  <c:v>0.38271604938271597</c:v>
                </c:pt>
                <c:pt idx="2456">
                  <c:v>0.38276553106212402</c:v>
                </c:pt>
                <c:pt idx="2457">
                  <c:v>0.38283828382838297</c:v>
                </c:pt>
                <c:pt idx="2458">
                  <c:v>0.38283828382838297</c:v>
                </c:pt>
                <c:pt idx="2459">
                  <c:v>0.382899628252788</c:v>
                </c:pt>
                <c:pt idx="2460">
                  <c:v>0.38297872340425498</c:v>
                </c:pt>
                <c:pt idx="2461">
                  <c:v>0.38297872340425498</c:v>
                </c:pt>
                <c:pt idx="2462">
                  <c:v>0.38314176245210702</c:v>
                </c:pt>
                <c:pt idx="2463">
                  <c:v>0.38317757009345799</c:v>
                </c:pt>
                <c:pt idx="2464">
                  <c:v>0.38322368421052599</c:v>
                </c:pt>
                <c:pt idx="2465">
                  <c:v>0.383259911894273</c:v>
                </c:pt>
                <c:pt idx="2466">
                  <c:v>0.38328530259366</c:v>
                </c:pt>
                <c:pt idx="2467">
                  <c:v>0.38333333333333303</c:v>
                </c:pt>
                <c:pt idx="2468">
                  <c:v>0.38383838383838398</c:v>
                </c:pt>
                <c:pt idx="2469">
                  <c:v>0.38392857142857101</c:v>
                </c:pt>
                <c:pt idx="2470">
                  <c:v>0.38405797101449302</c:v>
                </c:pt>
                <c:pt idx="2471">
                  <c:v>0.38416763678696197</c:v>
                </c:pt>
                <c:pt idx="2472">
                  <c:v>0.38434163701067597</c:v>
                </c:pt>
                <c:pt idx="2473">
                  <c:v>0.38440111420612799</c:v>
                </c:pt>
                <c:pt idx="2474">
                  <c:v>0.38461538461538503</c:v>
                </c:pt>
                <c:pt idx="2475">
                  <c:v>0.38461538461538503</c:v>
                </c:pt>
                <c:pt idx="2476">
                  <c:v>0.38461538461538503</c:v>
                </c:pt>
                <c:pt idx="2477">
                  <c:v>0.38461538461538503</c:v>
                </c:pt>
                <c:pt idx="2478">
                  <c:v>0.38461538461538503</c:v>
                </c:pt>
                <c:pt idx="2479">
                  <c:v>0.38461538461538503</c:v>
                </c:pt>
                <c:pt idx="2480">
                  <c:v>0.38461538461538503</c:v>
                </c:pt>
                <c:pt idx="2481">
                  <c:v>0.38461538461538503</c:v>
                </c:pt>
                <c:pt idx="2482">
                  <c:v>0.38461538461538503</c:v>
                </c:pt>
                <c:pt idx="2483">
                  <c:v>0.38502673796791398</c:v>
                </c:pt>
                <c:pt idx="2484">
                  <c:v>0.38509316770186303</c:v>
                </c:pt>
                <c:pt idx="2485">
                  <c:v>0.38509316770186303</c:v>
                </c:pt>
                <c:pt idx="2486">
                  <c:v>0.38513513513513498</c:v>
                </c:pt>
                <c:pt idx="2487">
                  <c:v>0.38532110091743099</c:v>
                </c:pt>
                <c:pt idx="2488">
                  <c:v>0.38541666666666702</c:v>
                </c:pt>
                <c:pt idx="2489">
                  <c:v>0.38541666666666702</c:v>
                </c:pt>
                <c:pt idx="2490">
                  <c:v>0.38547486033519501</c:v>
                </c:pt>
                <c:pt idx="2491">
                  <c:v>0.38565022421524697</c:v>
                </c:pt>
                <c:pt idx="2492">
                  <c:v>0.38571428571428601</c:v>
                </c:pt>
                <c:pt idx="2493">
                  <c:v>0.38571428571428601</c:v>
                </c:pt>
                <c:pt idx="2494">
                  <c:v>0.385939741750359</c:v>
                </c:pt>
                <c:pt idx="2495">
                  <c:v>0.38596491228070201</c:v>
                </c:pt>
                <c:pt idx="2496">
                  <c:v>0.38610038610038599</c:v>
                </c:pt>
                <c:pt idx="2497">
                  <c:v>0.38636363636363602</c:v>
                </c:pt>
                <c:pt idx="2498">
                  <c:v>0.38655462184873901</c:v>
                </c:pt>
                <c:pt idx="2499">
                  <c:v>0.38655462184873901</c:v>
                </c:pt>
                <c:pt idx="2500">
                  <c:v>0.38666666666666699</c:v>
                </c:pt>
                <c:pt idx="2501">
                  <c:v>0.38671875</c:v>
                </c:pt>
                <c:pt idx="2502">
                  <c:v>0.386740331491713</c:v>
                </c:pt>
                <c:pt idx="2503">
                  <c:v>0.38675958188153298</c:v>
                </c:pt>
                <c:pt idx="2504">
                  <c:v>0.38679245283018898</c:v>
                </c:pt>
                <c:pt idx="2505">
                  <c:v>0.386861313868613</c:v>
                </c:pt>
                <c:pt idx="2506">
                  <c:v>0.386861313868613</c:v>
                </c:pt>
                <c:pt idx="2507">
                  <c:v>0.38709677419354799</c:v>
                </c:pt>
                <c:pt idx="2508">
                  <c:v>0.38709677419354799</c:v>
                </c:pt>
                <c:pt idx="2509">
                  <c:v>0.38728323699422001</c:v>
                </c:pt>
                <c:pt idx="2510">
                  <c:v>0.38730158730158698</c:v>
                </c:pt>
                <c:pt idx="2511">
                  <c:v>0.38732394366197198</c:v>
                </c:pt>
                <c:pt idx="2512">
                  <c:v>0.38740920096852299</c:v>
                </c:pt>
                <c:pt idx="2513">
                  <c:v>0.38750000000000001</c:v>
                </c:pt>
                <c:pt idx="2514">
                  <c:v>0.38750000000000001</c:v>
                </c:pt>
                <c:pt idx="2515">
                  <c:v>0.38752783964365201</c:v>
                </c:pt>
                <c:pt idx="2516">
                  <c:v>0.387596899224806</c:v>
                </c:pt>
                <c:pt idx="2517">
                  <c:v>0.38766519823788498</c:v>
                </c:pt>
                <c:pt idx="2518">
                  <c:v>0.38766519823788498</c:v>
                </c:pt>
                <c:pt idx="2519">
                  <c:v>0.38775510204081598</c:v>
                </c:pt>
                <c:pt idx="2520">
                  <c:v>0.38775510204081598</c:v>
                </c:pt>
                <c:pt idx="2521">
                  <c:v>0.38775510204081598</c:v>
                </c:pt>
                <c:pt idx="2522">
                  <c:v>0.387799564270152</c:v>
                </c:pt>
                <c:pt idx="2523">
                  <c:v>0.38781163434902999</c:v>
                </c:pt>
                <c:pt idx="2524">
                  <c:v>0.38791423001949299</c:v>
                </c:pt>
                <c:pt idx="2525">
                  <c:v>0.38793103448275901</c:v>
                </c:pt>
                <c:pt idx="2526">
                  <c:v>0.38793103448275901</c:v>
                </c:pt>
                <c:pt idx="2527">
                  <c:v>0.387978142076503</c:v>
                </c:pt>
                <c:pt idx="2528">
                  <c:v>0.38808139534883701</c:v>
                </c:pt>
                <c:pt idx="2529">
                  <c:v>0.38829787234042501</c:v>
                </c:pt>
                <c:pt idx="2530">
                  <c:v>0.38838268792710701</c:v>
                </c:pt>
                <c:pt idx="2531">
                  <c:v>0.38842975206611602</c:v>
                </c:pt>
                <c:pt idx="2532">
                  <c:v>0.38888888888888901</c:v>
                </c:pt>
                <c:pt idx="2533">
                  <c:v>0.38888888888888901</c:v>
                </c:pt>
                <c:pt idx="2534">
                  <c:v>0.38888888888888901</c:v>
                </c:pt>
                <c:pt idx="2535">
                  <c:v>0.38911644236395498</c:v>
                </c:pt>
                <c:pt idx="2536">
                  <c:v>0.38914027149321301</c:v>
                </c:pt>
                <c:pt idx="2537">
                  <c:v>0.389221556886227</c:v>
                </c:pt>
                <c:pt idx="2538">
                  <c:v>0.38924731182795702</c:v>
                </c:pt>
                <c:pt idx="2539">
                  <c:v>0.38940092165898599</c:v>
                </c:pt>
                <c:pt idx="2540">
                  <c:v>0.389513108614232</c:v>
                </c:pt>
                <c:pt idx="2541">
                  <c:v>0.38961038961039002</c:v>
                </c:pt>
                <c:pt idx="2542">
                  <c:v>0.38961038961039002</c:v>
                </c:pt>
                <c:pt idx="2543">
                  <c:v>0.38961038961039002</c:v>
                </c:pt>
                <c:pt idx="2544">
                  <c:v>0.38972431077694197</c:v>
                </c:pt>
                <c:pt idx="2545">
                  <c:v>0.38980392156862698</c:v>
                </c:pt>
                <c:pt idx="2546">
                  <c:v>0.38983050847457601</c:v>
                </c:pt>
                <c:pt idx="2547">
                  <c:v>0.38992805755395699</c:v>
                </c:pt>
                <c:pt idx="2548">
                  <c:v>0.38997214484679699</c:v>
                </c:pt>
                <c:pt idx="2549">
                  <c:v>0.39</c:v>
                </c:pt>
                <c:pt idx="2550">
                  <c:v>0.39</c:v>
                </c:pt>
                <c:pt idx="2551">
                  <c:v>0.390070921985816</c:v>
                </c:pt>
                <c:pt idx="2552">
                  <c:v>0.39024390243902402</c:v>
                </c:pt>
                <c:pt idx="2553">
                  <c:v>0.39043824701195201</c:v>
                </c:pt>
                <c:pt idx="2554">
                  <c:v>0.39047619047618998</c:v>
                </c:pt>
                <c:pt idx="2555">
                  <c:v>0.390519187358916</c:v>
                </c:pt>
                <c:pt idx="2556">
                  <c:v>0.390519187358916</c:v>
                </c:pt>
                <c:pt idx="2557">
                  <c:v>0.390625</c:v>
                </c:pt>
                <c:pt idx="2558">
                  <c:v>0.390625</c:v>
                </c:pt>
                <c:pt idx="2559">
                  <c:v>0.390625</c:v>
                </c:pt>
                <c:pt idx="2560">
                  <c:v>0.39072847682119199</c:v>
                </c:pt>
                <c:pt idx="2561">
                  <c:v>0.39072847682119199</c:v>
                </c:pt>
                <c:pt idx="2562">
                  <c:v>0.390804597701149</c:v>
                </c:pt>
                <c:pt idx="2563">
                  <c:v>0.39082969432314402</c:v>
                </c:pt>
                <c:pt idx="2564">
                  <c:v>0.39082969432314402</c:v>
                </c:pt>
                <c:pt idx="2565">
                  <c:v>0.39090909090909098</c:v>
                </c:pt>
                <c:pt idx="2566">
                  <c:v>0.390946502057613</c:v>
                </c:pt>
                <c:pt idx="2567">
                  <c:v>0.39102564102564102</c:v>
                </c:pt>
                <c:pt idx="2568">
                  <c:v>0.391115926327194</c:v>
                </c:pt>
                <c:pt idx="2569">
                  <c:v>0.391129032258064</c:v>
                </c:pt>
                <c:pt idx="2570">
                  <c:v>0.39130434782608697</c:v>
                </c:pt>
                <c:pt idx="2571">
                  <c:v>0.39130434782608697</c:v>
                </c:pt>
                <c:pt idx="2572">
                  <c:v>0.39130434782608697</c:v>
                </c:pt>
                <c:pt idx="2573">
                  <c:v>0.39130434782608697</c:v>
                </c:pt>
                <c:pt idx="2574">
                  <c:v>0.39130434782608697</c:v>
                </c:pt>
                <c:pt idx="2575">
                  <c:v>0.39130434782608697</c:v>
                </c:pt>
                <c:pt idx="2576">
                  <c:v>0.39144736842105299</c:v>
                </c:pt>
                <c:pt idx="2577">
                  <c:v>0.391666666666667</c:v>
                </c:pt>
                <c:pt idx="2578">
                  <c:v>0.391666666666667</c:v>
                </c:pt>
                <c:pt idx="2579">
                  <c:v>0.39175257731958801</c:v>
                </c:pt>
                <c:pt idx="2580">
                  <c:v>0.39175257731958801</c:v>
                </c:pt>
                <c:pt idx="2581">
                  <c:v>0.39175257731958801</c:v>
                </c:pt>
                <c:pt idx="2582">
                  <c:v>0.391812865497076</c:v>
                </c:pt>
                <c:pt idx="2583">
                  <c:v>0.391884057971014</c:v>
                </c:pt>
                <c:pt idx="2584">
                  <c:v>0.391891891891892</c:v>
                </c:pt>
                <c:pt idx="2585">
                  <c:v>0.39193083573486998</c:v>
                </c:pt>
                <c:pt idx="2586">
                  <c:v>0.39204545454545398</c:v>
                </c:pt>
                <c:pt idx="2587">
                  <c:v>0.39215686274509798</c:v>
                </c:pt>
                <c:pt idx="2588">
                  <c:v>0.39215686274509798</c:v>
                </c:pt>
                <c:pt idx="2589">
                  <c:v>0.39226519337016602</c:v>
                </c:pt>
                <c:pt idx="2590">
                  <c:v>0.39226519337016602</c:v>
                </c:pt>
                <c:pt idx="2591">
                  <c:v>0.39252336448598102</c:v>
                </c:pt>
                <c:pt idx="2592">
                  <c:v>0.39252336448598102</c:v>
                </c:pt>
                <c:pt idx="2593">
                  <c:v>0.39263803680981602</c:v>
                </c:pt>
                <c:pt idx="2594">
                  <c:v>0.39280283831728302</c:v>
                </c:pt>
                <c:pt idx="2595">
                  <c:v>0.39285714285714302</c:v>
                </c:pt>
                <c:pt idx="2596">
                  <c:v>0.39285714285714302</c:v>
                </c:pt>
                <c:pt idx="2597">
                  <c:v>0.39298245614035099</c:v>
                </c:pt>
                <c:pt idx="2598">
                  <c:v>0.39310344827586202</c:v>
                </c:pt>
                <c:pt idx="2599">
                  <c:v>0.39310344827586202</c:v>
                </c:pt>
                <c:pt idx="2600">
                  <c:v>0.39325842696629199</c:v>
                </c:pt>
                <c:pt idx="2601">
                  <c:v>0.39325842696629199</c:v>
                </c:pt>
                <c:pt idx="2602">
                  <c:v>0.39328063241106698</c:v>
                </c:pt>
                <c:pt idx="2603">
                  <c:v>0.39344262295082</c:v>
                </c:pt>
                <c:pt idx="2604">
                  <c:v>0.39344262295082</c:v>
                </c:pt>
                <c:pt idx="2605">
                  <c:v>0.39347408829174702</c:v>
                </c:pt>
                <c:pt idx="2606">
                  <c:v>0.39354838709677398</c:v>
                </c:pt>
                <c:pt idx="2607">
                  <c:v>0.39357429718875497</c:v>
                </c:pt>
                <c:pt idx="2608">
                  <c:v>0.39361702127659598</c:v>
                </c:pt>
                <c:pt idx="2609">
                  <c:v>0.39361702127659598</c:v>
                </c:pt>
                <c:pt idx="2610">
                  <c:v>0.39378238341968902</c:v>
                </c:pt>
                <c:pt idx="2611">
                  <c:v>0.39378238341968902</c:v>
                </c:pt>
                <c:pt idx="2612">
                  <c:v>0.39393939393939398</c:v>
                </c:pt>
                <c:pt idx="2613">
                  <c:v>0.39393939393939398</c:v>
                </c:pt>
                <c:pt idx="2614">
                  <c:v>0.39393939393939398</c:v>
                </c:pt>
                <c:pt idx="2615">
                  <c:v>0.39393939393939398</c:v>
                </c:pt>
                <c:pt idx="2616">
                  <c:v>0.39393939393939398</c:v>
                </c:pt>
                <c:pt idx="2617">
                  <c:v>0.39393939393939398</c:v>
                </c:pt>
                <c:pt idx="2618">
                  <c:v>0.39426523297491001</c:v>
                </c:pt>
                <c:pt idx="2619">
                  <c:v>0.39428571428571402</c:v>
                </c:pt>
                <c:pt idx="2620">
                  <c:v>0.39434889434889397</c:v>
                </c:pt>
                <c:pt idx="2621">
                  <c:v>0.394736842105263</c:v>
                </c:pt>
                <c:pt idx="2622">
                  <c:v>0.394736842105263</c:v>
                </c:pt>
                <c:pt idx="2623">
                  <c:v>0.394736842105263</c:v>
                </c:pt>
                <c:pt idx="2624">
                  <c:v>0.39482200647249199</c:v>
                </c:pt>
                <c:pt idx="2625">
                  <c:v>0.39482200647249199</c:v>
                </c:pt>
                <c:pt idx="2626">
                  <c:v>0.39487179487179502</c:v>
                </c:pt>
                <c:pt idx="2627">
                  <c:v>0.39490445859872603</c:v>
                </c:pt>
                <c:pt idx="2628">
                  <c:v>0.39490445859872603</c:v>
                </c:pt>
                <c:pt idx="2629">
                  <c:v>0.39492753623188398</c:v>
                </c:pt>
                <c:pt idx="2630">
                  <c:v>0.39495798319327702</c:v>
                </c:pt>
                <c:pt idx="2631">
                  <c:v>0.39495798319327702</c:v>
                </c:pt>
                <c:pt idx="2632">
                  <c:v>0.39511201629327902</c:v>
                </c:pt>
                <c:pt idx="2633">
                  <c:v>0.39516129032258102</c:v>
                </c:pt>
                <c:pt idx="2634">
                  <c:v>0.39525691699604698</c:v>
                </c:pt>
                <c:pt idx="2635">
                  <c:v>0.39534883720930197</c:v>
                </c:pt>
                <c:pt idx="2636">
                  <c:v>0.39534883720930197</c:v>
                </c:pt>
                <c:pt idx="2637">
                  <c:v>0.39549839228295802</c:v>
                </c:pt>
                <c:pt idx="2638">
                  <c:v>0.39555555555555499</c:v>
                </c:pt>
                <c:pt idx="2639">
                  <c:v>0.39560439560439598</c:v>
                </c:pt>
                <c:pt idx="2640">
                  <c:v>0.39560439560439598</c:v>
                </c:pt>
                <c:pt idx="2641">
                  <c:v>0.39560439560439598</c:v>
                </c:pt>
                <c:pt idx="2642">
                  <c:v>0.39566395663956599</c:v>
                </c:pt>
                <c:pt idx="2643">
                  <c:v>0.395759717314488</c:v>
                </c:pt>
                <c:pt idx="2644">
                  <c:v>0.39583333333333298</c:v>
                </c:pt>
                <c:pt idx="2645">
                  <c:v>0.39583333333333298</c:v>
                </c:pt>
                <c:pt idx="2646">
                  <c:v>0.39583333333333298</c:v>
                </c:pt>
                <c:pt idx="2647">
                  <c:v>0.39613526570048302</c:v>
                </c:pt>
                <c:pt idx="2648">
                  <c:v>0.39613526570048302</c:v>
                </c:pt>
                <c:pt idx="2649">
                  <c:v>0.39618138424820998</c:v>
                </c:pt>
                <c:pt idx="2650">
                  <c:v>0.39655172413793099</c:v>
                </c:pt>
                <c:pt idx="2651">
                  <c:v>0.39669421487603301</c:v>
                </c:pt>
                <c:pt idx="2652">
                  <c:v>0.396761133603239</c:v>
                </c:pt>
                <c:pt idx="2653">
                  <c:v>0.39681390296886299</c:v>
                </c:pt>
                <c:pt idx="2654">
                  <c:v>0.39682539682539703</c:v>
                </c:pt>
                <c:pt idx="2655">
                  <c:v>0.39682539682539703</c:v>
                </c:pt>
                <c:pt idx="2656">
                  <c:v>0.39682539682539703</c:v>
                </c:pt>
                <c:pt idx="2657">
                  <c:v>0.39690721649484501</c:v>
                </c:pt>
                <c:pt idx="2658">
                  <c:v>0.39692307692307699</c:v>
                </c:pt>
                <c:pt idx="2659">
                  <c:v>0.39693356047700201</c:v>
                </c:pt>
                <c:pt idx="2660">
                  <c:v>0.39705882352941202</c:v>
                </c:pt>
                <c:pt idx="2661">
                  <c:v>0.39705882352941202</c:v>
                </c:pt>
                <c:pt idx="2662">
                  <c:v>0.39705882352941202</c:v>
                </c:pt>
                <c:pt idx="2663">
                  <c:v>0.39716312056737602</c:v>
                </c:pt>
                <c:pt idx="2664">
                  <c:v>0.39716312056737602</c:v>
                </c:pt>
                <c:pt idx="2665">
                  <c:v>0.39725085910652902</c:v>
                </c:pt>
                <c:pt idx="2666">
                  <c:v>0.397260273972603</c:v>
                </c:pt>
                <c:pt idx="2667">
                  <c:v>0.397260273972603</c:v>
                </c:pt>
                <c:pt idx="2668">
                  <c:v>0.39727722772277202</c:v>
                </c:pt>
                <c:pt idx="2669">
                  <c:v>0.39727891156462602</c:v>
                </c:pt>
                <c:pt idx="2670">
                  <c:v>0.39740259740259698</c:v>
                </c:pt>
                <c:pt idx="2671">
                  <c:v>0.39743589743589702</c:v>
                </c:pt>
                <c:pt idx="2672">
                  <c:v>0.39746835443037998</c:v>
                </c:pt>
                <c:pt idx="2673">
                  <c:v>0.39759036144578302</c:v>
                </c:pt>
                <c:pt idx="2674">
                  <c:v>0.39763779527559001</c:v>
                </c:pt>
                <c:pt idx="2675">
                  <c:v>0.39770867430441897</c:v>
                </c:pt>
                <c:pt idx="2676">
                  <c:v>0.39772727272727298</c:v>
                </c:pt>
                <c:pt idx="2677">
                  <c:v>0.39778449144007999</c:v>
                </c:pt>
                <c:pt idx="2678">
                  <c:v>0.39784946236559099</c:v>
                </c:pt>
                <c:pt idx="2679">
                  <c:v>0.39784946236559099</c:v>
                </c:pt>
                <c:pt idx="2680">
                  <c:v>0.397959183673469</c:v>
                </c:pt>
                <c:pt idx="2681">
                  <c:v>0.39805825242718401</c:v>
                </c:pt>
                <c:pt idx="2682">
                  <c:v>0.39805825242718401</c:v>
                </c:pt>
                <c:pt idx="2683">
                  <c:v>0.39830508474576298</c:v>
                </c:pt>
                <c:pt idx="2684">
                  <c:v>0.3984375</c:v>
                </c:pt>
                <c:pt idx="2685">
                  <c:v>0.3984375</c:v>
                </c:pt>
                <c:pt idx="2686">
                  <c:v>0.39847715736040601</c:v>
                </c:pt>
                <c:pt idx="2687">
                  <c:v>0.39862542955326502</c:v>
                </c:pt>
                <c:pt idx="2688">
                  <c:v>0.39869281045751598</c:v>
                </c:pt>
                <c:pt idx="2689">
                  <c:v>0.398907103825137</c:v>
                </c:pt>
                <c:pt idx="2690">
                  <c:v>0.39893617021276601</c:v>
                </c:pt>
                <c:pt idx="2691">
                  <c:v>0.399014778325123</c:v>
                </c:pt>
                <c:pt idx="2692">
                  <c:v>0.39914163090128701</c:v>
                </c:pt>
                <c:pt idx="2693">
                  <c:v>0.39915966386554602</c:v>
                </c:pt>
                <c:pt idx="2694">
                  <c:v>0.39915966386554602</c:v>
                </c:pt>
                <c:pt idx="2695">
                  <c:v>0.39923954372623599</c:v>
                </c:pt>
                <c:pt idx="2696">
                  <c:v>0.39946380697050898</c:v>
                </c:pt>
                <c:pt idx="2697">
                  <c:v>0.39963833634719698</c:v>
                </c:pt>
                <c:pt idx="2698">
                  <c:v>0.39972432804962099</c:v>
                </c:pt>
                <c:pt idx="2699">
                  <c:v>0.39973082099596202</c:v>
                </c:pt>
                <c:pt idx="2700">
                  <c:v>0.4</c:v>
                </c:pt>
                <c:pt idx="2701">
                  <c:v>0.4</c:v>
                </c:pt>
                <c:pt idx="2702">
                  <c:v>0.4</c:v>
                </c:pt>
                <c:pt idx="2703">
                  <c:v>0.4</c:v>
                </c:pt>
                <c:pt idx="2704">
                  <c:v>0.4</c:v>
                </c:pt>
                <c:pt idx="2705">
                  <c:v>0.4</c:v>
                </c:pt>
                <c:pt idx="2706">
                  <c:v>0.4</c:v>
                </c:pt>
                <c:pt idx="2707">
                  <c:v>0.4</c:v>
                </c:pt>
                <c:pt idx="2708">
                  <c:v>0.4</c:v>
                </c:pt>
                <c:pt idx="2709">
                  <c:v>0.4</c:v>
                </c:pt>
                <c:pt idx="2710">
                  <c:v>0.4</c:v>
                </c:pt>
                <c:pt idx="2711">
                  <c:v>0.4</c:v>
                </c:pt>
                <c:pt idx="2712">
                  <c:v>0.4</c:v>
                </c:pt>
                <c:pt idx="2713">
                  <c:v>0.4</c:v>
                </c:pt>
                <c:pt idx="2714">
                  <c:v>0.4</c:v>
                </c:pt>
                <c:pt idx="2715">
                  <c:v>0.4</c:v>
                </c:pt>
                <c:pt idx="2716">
                  <c:v>0.4</c:v>
                </c:pt>
                <c:pt idx="2717">
                  <c:v>0.4</c:v>
                </c:pt>
                <c:pt idx="2718">
                  <c:v>0.4</c:v>
                </c:pt>
                <c:pt idx="2719">
                  <c:v>0.4</c:v>
                </c:pt>
                <c:pt idx="2720">
                  <c:v>0.4</c:v>
                </c:pt>
                <c:pt idx="2721">
                  <c:v>0.40030441400304401</c:v>
                </c:pt>
                <c:pt idx="2722">
                  <c:v>0.40046838407494101</c:v>
                </c:pt>
                <c:pt idx="2723">
                  <c:v>0.40071985602879401</c:v>
                </c:pt>
                <c:pt idx="2724">
                  <c:v>0.400756143667297</c:v>
                </c:pt>
                <c:pt idx="2725">
                  <c:v>0.40077821011673198</c:v>
                </c:pt>
                <c:pt idx="2726">
                  <c:v>0.40080971659919001</c:v>
                </c:pt>
                <c:pt idx="2727">
                  <c:v>0.40088105726872197</c:v>
                </c:pt>
                <c:pt idx="2728">
                  <c:v>0.40093240093240101</c:v>
                </c:pt>
                <c:pt idx="2729">
                  <c:v>0.40096618357487901</c:v>
                </c:pt>
                <c:pt idx="2730">
                  <c:v>0.40114613180515801</c:v>
                </c:pt>
                <c:pt idx="2731">
                  <c:v>0.40127388535031799</c:v>
                </c:pt>
                <c:pt idx="2732">
                  <c:v>0.40139064475347702</c:v>
                </c:pt>
                <c:pt idx="2733">
                  <c:v>0.40144665461121198</c:v>
                </c:pt>
                <c:pt idx="2734">
                  <c:v>0.40145985401459899</c:v>
                </c:pt>
                <c:pt idx="2735">
                  <c:v>0.40151515151515099</c:v>
                </c:pt>
                <c:pt idx="2736">
                  <c:v>0.40151515151515099</c:v>
                </c:pt>
                <c:pt idx="2737">
                  <c:v>0.40151515151515099</c:v>
                </c:pt>
                <c:pt idx="2738">
                  <c:v>0.40154440154440102</c:v>
                </c:pt>
                <c:pt idx="2739">
                  <c:v>0.40157480314960597</c:v>
                </c:pt>
                <c:pt idx="2740">
                  <c:v>0.40160642570281102</c:v>
                </c:pt>
                <c:pt idx="2741">
                  <c:v>0.40160642570281102</c:v>
                </c:pt>
                <c:pt idx="2742">
                  <c:v>0.401709401709402</c:v>
                </c:pt>
                <c:pt idx="2743">
                  <c:v>0.40178571428571402</c:v>
                </c:pt>
                <c:pt idx="2744">
                  <c:v>0.401869158878505</c:v>
                </c:pt>
                <c:pt idx="2745">
                  <c:v>0.40196078431372501</c:v>
                </c:pt>
                <c:pt idx="2746">
                  <c:v>0.40209790209790203</c:v>
                </c:pt>
                <c:pt idx="2747">
                  <c:v>0.402366863905325</c:v>
                </c:pt>
                <c:pt idx="2748">
                  <c:v>0.40243902439024398</c:v>
                </c:pt>
                <c:pt idx="2749">
                  <c:v>0.40243902439024398</c:v>
                </c:pt>
                <c:pt idx="2750">
                  <c:v>0.40254237288135603</c:v>
                </c:pt>
                <c:pt idx="2751">
                  <c:v>0.40259740259740301</c:v>
                </c:pt>
                <c:pt idx="2752">
                  <c:v>0.40273972602739699</c:v>
                </c:pt>
                <c:pt idx="2753">
                  <c:v>0.40277777777777801</c:v>
                </c:pt>
                <c:pt idx="2754">
                  <c:v>0.402877697841727</c:v>
                </c:pt>
                <c:pt idx="2755">
                  <c:v>0.40290381125226898</c:v>
                </c:pt>
                <c:pt idx="2756">
                  <c:v>0.40303030303030302</c:v>
                </c:pt>
                <c:pt idx="2757">
                  <c:v>0.40331491712707201</c:v>
                </c:pt>
                <c:pt idx="2758">
                  <c:v>0.40336134453781503</c:v>
                </c:pt>
                <c:pt idx="2759">
                  <c:v>0.40343347639485</c:v>
                </c:pt>
                <c:pt idx="2760">
                  <c:v>0.40344827586206899</c:v>
                </c:pt>
                <c:pt idx="2761">
                  <c:v>0.40344827586206899</c:v>
                </c:pt>
                <c:pt idx="2762">
                  <c:v>0.40350877192982498</c:v>
                </c:pt>
                <c:pt idx="2763">
                  <c:v>0.40350877192982498</c:v>
                </c:pt>
                <c:pt idx="2764">
                  <c:v>0.40361445783132499</c:v>
                </c:pt>
                <c:pt idx="2765">
                  <c:v>0.40381558028616898</c:v>
                </c:pt>
                <c:pt idx="2766">
                  <c:v>0.40384615384615402</c:v>
                </c:pt>
                <c:pt idx="2767">
                  <c:v>0.40384615384615402</c:v>
                </c:pt>
                <c:pt idx="2768">
                  <c:v>0.40404040404040398</c:v>
                </c:pt>
                <c:pt idx="2769">
                  <c:v>0.40404040404040398</c:v>
                </c:pt>
                <c:pt idx="2770">
                  <c:v>0.40404040404040398</c:v>
                </c:pt>
                <c:pt idx="2771">
                  <c:v>0.40410958904109601</c:v>
                </c:pt>
                <c:pt idx="2772">
                  <c:v>0.40425531914893598</c:v>
                </c:pt>
                <c:pt idx="2773">
                  <c:v>0.40425531914893598</c:v>
                </c:pt>
                <c:pt idx="2774">
                  <c:v>0.40425531914893598</c:v>
                </c:pt>
                <c:pt idx="2775">
                  <c:v>0.40441176470588203</c:v>
                </c:pt>
                <c:pt idx="2776">
                  <c:v>0.40447504302926002</c:v>
                </c:pt>
                <c:pt idx="2777">
                  <c:v>0.40449438202247201</c:v>
                </c:pt>
                <c:pt idx="2778">
                  <c:v>0.40456769983686802</c:v>
                </c:pt>
                <c:pt idx="2779">
                  <c:v>0.404710920770878</c:v>
                </c:pt>
                <c:pt idx="2780">
                  <c:v>0.40476190476190499</c:v>
                </c:pt>
                <c:pt idx="2781">
                  <c:v>0.40476190476190499</c:v>
                </c:pt>
                <c:pt idx="2782">
                  <c:v>0.40482573726541599</c:v>
                </c:pt>
                <c:pt idx="2783">
                  <c:v>0.40506329113924</c:v>
                </c:pt>
                <c:pt idx="2784">
                  <c:v>0.40506329113924</c:v>
                </c:pt>
                <c:pt idx="2785">
                  <c:v>0.40517241379310298</c:v>
                </c:pt>
                <c:pt idx="2786">
                  <c:v>0.405194805194805</c:v>
                </c:pt>
                <c:pt idx="2787">
                  <c:v>0.40538194444444398</c:v>
                </c:pt>
                <c:pt idx="2788">
                  <c:v>0.40540540540540498</c:v>
                </c:pt>
                <c:pt idx="2789">
                  <c:v>0.40540540540540498</c:v>
                </c:pt>
                <c:pt idx="2790">
                  <c:v>0.40545808966861602</c:v>
                </c:pt>
                <c:pt idx="2791">
                  <c:v>0.40552995391705099</c:v>
                </c:pt>
                <c:pt idx="2792">
                  <c:v>0.40557275541795701</c:v>
                </c:pt>
                <c:pt idx="2793">
                  <c:v>0.40559440559440602</c:v>
                </c:pt>
                <c:pt idx="2794">
                  <c:v>0.405797101449275</c:v>
                </c:pt>
                <c:pt idx="2795">
                  <c:v>0.40594059405940602</c:v>
                </c:pt>
                <c:pt idx="2796">
                  <c:v>0.40594059405940602</c:v>
                </c:pt>
                <c:pt idx="2797">
                  <c:v>0.40606060606060601</c:v>
                </c:pt>
                <c:pt idx="2798">
                  <c:v>0.40622683469236498</c:v>
                </c:pt>
                <c:pt idx="2799">
                  <c:v>0.40625</c:v>
                </c:pt>
                <c:pt idx="2800">
                  <c:v>0.40625</c:v>
                </c:pt>
                <c:pt idx="2801">
                  <c:v>0.40625</c:v>
                </c:pt>
                <c:pt idx="2802">
                  <c:v>0.40625</c:v>
                </c:pt>
                <c:pt idx="2803">
                  <c:v>0.40630182421227201</c:v>
                </c:pt>
                <c:pt idx="2804">
                  <c:v>0.40646651270207801</c:v>
                </c:pt>
                <c:pt idx="2805">
                  <c:v>0.406528189910979</c:v>
                </c:pt>
                <c:pt idx="2806">
                  <c:v>0.40659340659340698</c:v>
                </c:pt>
                <c:pt idx="2807">
                  <c:v>0.40659340659340698</c:v>
                </c:pt>
                <c:pt idx="2808">
                  <c:v>0.40666666666666701</c:v>
                </c:pt>
                <c:pt idx="2809">
                  <c:v>0.40666666666666701</c:v>
                </c:pt>
                <c:pt idx="2810">
                  <c:v>0.40677966101694901</c:v>
                </c:pt>
                <c:pt idx="2811">
                  <c:v>0.40677966101694901</c:v>
                </c:pt>
                <c:pt idx="2812">
                  <c:v>0.40677966101694901</c:v>
                </c:pt>
                <c:pt idx="2813">
                  <c:v>0.40686274509803899</c:v>
                </c:pt>
                <c:pt idx="2814">
                  <c:v>0.40692640692640702</c:v>
                </c:pt>
                <c:pt idx="2815">
                  <c:v>0.40697674418604601</c:v>
                </c:pt>
                <c:pt idx="2816">
                  <c:v>0.40697674418604601</c:v>
                </c:pt>
                <c:pt idx="2817">
                  <c:v>0.40710382513661197</c:v>
                </c:pt>
                <c:pt idx="2818">
                  <c:v>0.40718562874251502</c:v>
                </c:pt>
                <c:pt idx="2819">
                  <c:v>0.40726577437858502</c:v>
                </c:pt>
                <c:pt idx="2820">
                  <c:v>0.40730337078651702</c:v>
                </c:pt>
                <c:pt idx="2821">
                  <c:v>0.407407407407407</c:v>
                </c:pt>
                <c:pt idx="2822">
                  <c:v>0.407407407407407</c:v>
                </c:pt>
                <c:pt idx="2823">
                  <c:v>0.407407407407407</c:v>
                </c:pt>
                <c:pt idx="2824">
                  <c:v>0.407407407407407</c:v>
                </c:pt>
                <c:pt idx="2825">
                  <c:v>0.407407407407407</c:v>
                </c:pt>
                <c:pt idx="2826">
                  <c:v>0.407407407407407</c:v>
                </c:pt>
                <c:pt idx="2827">
                  <c:v>0.40766550522648098</c:v>
                </c:pt>
                <c:pt idx="2828">
                  <c:v>0.40773809523809501</c:v>
                </c:pt>
                <c:pt idx="2829">
                  <c:v>0.40796019900497499</c:v>
                </c:pt>
                <c:pt idx="2830">
                  <c:v>0.40799999999999997</c:v>
                </c:pt>
                <c:pt idx="2831">
                  <c:v>0.408071748878924</c:v>
                </c:pt>
                <c:pt idx="2832">
                  <c:v>0.40809968847352002</c:v>
                </c:pt>
                <c:pt idx="2833">
                  <c:v>0.40810556079170601</c:v>
                </c:pt>
                <c:pt idx="2834">
                  <c:v>0.40816326530612201</c:v>
                </c:pt>
                <c:pt idx="2835">
                  <c:v>0.40821256038647302</c:v>
                </c:pt>
                <c:pt idx="2836">
                  <c:v>0.40828402366863897</c:v>
                </c:pt>
                <c:pt idx="2837">
                  <c:v>0.40833333333333299</c:v>
                </c:pt>
                <c:pt idx="2838">
                  <c:v>0.40837696335078499</c:v>
                </c:pt>
                <c:pt idx="2839">
                  <c:v>0.40845070422535201</c:v>
                </c:pt>
                <c:pt idx="2840">
                  <c:v>0.40860215053763399</c:v>
                </c:pt>
                <c:pt idx="2841">
                  <c:v>0.40860215053763399</c:v>
                </c:pt>
                <c:pt idx="2842">
                  <c:v>0.40869565217391302</c:v>
                </c:pt>
                <c:pt idx="2843">
                  <c:v>0.40888888888888902</c:v>
                </c:pt>
                <c:pt idx="2844">
                  <c:v>0.40909090909090901</c:v>
                </c:pt>
                <c:pt idx="2845">
                  <c:v>0.40909090909090901</c:v>
                </c:pt>
                <c:pt idx="2846">
                  <c:v>0.40909090909090901</c:v>
                </c:pt>
                <c:pt idx="2847">
                  <c:v>0.40909090909090901</c:v>
                </c:pt>
                <c:pt idx="2848">
                  <c:v>0.40928270042194098</c:v>
                </c:pt>
                <c:pt idx="2849">
                  <c:v>0.40928270042194098</c:v>
                </c:pt>
                <c:pt idx="2850">
                  <c:v>0.409326424870466</c:v>
                </c:pt>
                <c:pt idx="2851">
                  <c:v>0.40933767643865399</c:v>
                </c:pt>
                <c:pt idx="2852">
                  <c:v>0.40939597315436199</c:v>
                </c:pt>
                <c:pt idx="2853">
                  <c:v>0.40942928039702198</c:v>
                </c:pt>
                <c:pt idx="2854">
                  <c:v>0.40944881889763801</c:v>
                </c:pt>
                <c:pt idx="2855">
                  <c:v>0.40948813982521798</c:v>
                </c:pt>
                <c:pt idx="2856">
                  <c:v>0.40949554896142398</c:v>
                </c:pt>
                <c:pt idx="2857">
                  <c:v>0.40952380952380901</c:v>
                </c:pt>
                <c:pt idx="2858">
                  <c:v>0.40958605664488001</c:v>
                </c:pt>
                <c:pt idx="2859">
                  <c:v>0.40959409594095902</c:v>
                </c:pt>
                <c:pt idx="2860">
                  <c:v>0.40963855421686701</c:v>
                </c:pt>
                <c:pt idx="2861">
                  <c:v>0.40974212034384</c:v>
                </c:pt>
                <c:pt idx="2862">
                  <c:v>0.40983606557377</c:v>
                </c:pt>
                <c:pt idx="2863">
                  <c:v>0.40993788819875798</c:v>
                </c:pt>
                <c:pt idx="2864">
                  <c:v>0.410071942446043</c:v>
                </c:pt>
                <c:pt idx="2865">
                  <c:v>0.41025641025641002</c:v>
                </c:pt>
                <c:pt idx="2866">
                  <c:v>0.41025641025641002</c:v>
                </c:pt>
                <c:pt idx="2867">
                  <c:v>0.41029023746701798</c:v>
                </c:pt>
                <c:pt idx="2868">
                  <c:v>0.41030358785648602</c:v>
                </c:pt>
                <c:pt idx="2869">
                  <c:v>0.410557184750733</c:v>
                </c:pt>
                <c:pt idx="2870">
                  <c:v>0.41078838174273902</c:v>
                </c:pt>
                <c:pt idx="2871">
                  <c:v>0.41095890410958902</c:v>
                </c:pt>
                <c:pt idx="2872">
                  <c:v>0.41095890410958902</c:v>
                </c:pt>
                <c:pt idx="2873">
                  <c:v>0.41110147441457101</c:v>
                </c:pt>
                <c:pt idx="2874">
                  <c:v>0.41118421052631599</c:v>
                </c:pt>
                <c:pt idx="2875">
                  <c:v>0.41121495327102803</c:v>
                </c:pt>
                <c:pt idx="2876">
                  <c:v>0.41135734072022201</c:v>
                </c:pt>
                <c:pt idx="2877">
                  <c:v>0.41137123745819398</c:v>
                </c:pt>
                <c:pt idx="2878">
                  <c:v>0.411392405063291</c:v>
                </c:pt>
                <c:pt idx="2879">
                  <c:v>0.41144901610017898</c:v>
                </c:pt>
                <c:pt idx="2880">
                  <c:v>0.41152263374485598</c:v>
                </c:pt>
                <c:pt idx="2881">
                  <c:v>0.41159420289855098</c:v>
                </c:pt>
                <c:pt idx="2882">
                  <c:v>0.41176470588235298</c:v>
                </c:pt>
                <c:pt idx="2883">
                  <c:v>0.41176470588235298</c:v>
                </c:pt>
                <c:pt idx="2884">
                  <c:v>0.41176470588235298</c:v>
                </c:pt>
                <c:pt idx="2885">
                  <c:v>0.41181902123730402</c:v>
                </c:pt>
                <c:pt idx="2886">
                  <c:v>0.41186440677966102</c:v>
                </c:pt>
                <c:pt idx="2887">
                  <c:v>0.412121212121212</c:v>
                </c:pt>
                <c:pt idx="2888">
                  <c:v>0.412121212121212</c:v>
                </c:pt>
                <c:pt idx="2889">
                  <c:v>0.41221374045801501</c:v>
                </c:pt>
                <c:pt idx="2890">
                  <c:v>0.41228070175438603</c:v>
                </c:pt>
                <c:pt idx="2891">
                  <c:v>0.41237113402061898</c:v>
                </c:pt>
                <c:pt idx="2892">
                  <c:v>0.41237113402061898</c:v>
                </c:pt>
                <c:pt idx="2893">
                  <c:v>0.41245791245791202</c:v>
                </c:pt>
                <c:pt idx="2894">
                  <c:v>0.41249999999999998</c:v>
                </c:pt>
                <c:pt idx="2895">
                  <c:v>0.412552891396333</c:v>
                </c:pt>
                <c:pt idx="2896">
                  <c:v>0.41258741258741299</c:v>
                </c:pt>
                <c:pt idx="2897">
                  <c:v>0.41267123287671198</c:v>
                </c:pt>
                <c:pt idx="2898">
                  <c:v>0.41269841269841301</c:v>
                </c:pt>
                <c:pt idx="2899">
                  <c:v>0.41269841269841301</c:v>
                </c:pt>
                <c:pt idx="2900">
                  <c:v>0.41269841269841301</c:v>
                </c:pt>
                <c:pt idx="2901">
                  <c:v>0.41269841269841301</c:v>
                </c:pt>
                <c:pt idx="2902">
                  <c:v>0.41293532338308497</c:v>
                </c:pt>
                <c:pt idx="2903">
                  <c:v>0.41297935103244798</c:v>
                </c:pt>
                <c:pt idx="2904">
                  <c:v>0.41297935103244798</c:v>
                </c:pt>
                <c:pt idx="2905">
                  <c:v>0.41304347826087001</c:v>
                </c:pt>
                <c:pt idx="2906">
                  <c:v>0.41304347826087001</c:v>
                </c:pt>
                <c:pt idx="2907">
                  <c:v>0.41304347826087001</c:v>
                </c:pt>
                <c:pt idx="2908">
                  <c:v>0.41304347826087001</c:v>
                </c:pt>
                <c:pt idx="2909">
                  <c:v>0.41330301307561101</c:v>
                </c:pt>
                <c:pt idx="2910">
                  <c:v>0.413333333333333</c:v>
                </c:pt>
                <c:pt idx="2911">
                  <c:v>0.41346153846153799</c:v>
                </c:pt>
                <c:pt idx="2912">
                  <c:v>0.41346153846153799</c:v>
                </c:pt>
                <c:pt idx="2913">
                  <c:v>0.41348973607038098</c:v>
                </c:pt>
                <c:pt idx="2914">
                  <c:v>0.41349693251533698</c:v>
                </c:pt>
                <c:pt idx="2915">
                  <c:v>0.41350210970464102</c:v>
                </c:pt>
                <c:pt idx="2916">
                  <c:v>0.41353383458646598</c:v>
                </c:pt>
                <c:pt idx="2917">
                  <c:v>0.41379310344827602</c:v>
                </c:pt>
                <c:pt idx="2918">
                  <c:v>0.41379310344827602</c:v>
                </c:pt>
                <c:pt idx="2919">
                  <c:v>0.41397849462365599</c:v>
                </c:pt>
                <c:pt idx="2920">
                  <c:v>0.41401273885350298</c:v>
                </c:pt>
                <c:pt idx="2921">
                  <c:v>0.41414141414141398</c:v>
                </c:pt>
                <c:pt idx="2922">
                  <c:v>0.41414141414141398</c:v>
                </c:pt>
                <c:pt idx="2923">
                  <c:v>0.41428571428571398</c:v>
                </c:pt>
                <c:pt idx="2924">
                  <c:v>0.41428571428571398</c:v>
                </c:pt>
                <c:pt idx="2925">
                  <c:v>0.41441441441441401</c:v>
                </c:pt>
                <c:pt idx="2926">
                  <c:v>0.41441441441441401</c:v>
                </c:pt>
                <c:pt idx="2927">
                  <c:v>0.414466130884041</c:v>
                </c:pt>
                <c:pt idx="2928">
                  <c:v>0.41463414634146301</c:v>
                </c:pt>
                <c:pt idx="2929">
                  <c:v>0.41474654377880199</c:v>
                </c:pt>
                <c:pt idx="2930">
                  <c:v>0.41481481481481502</c:v>
                </c:pt>
                <c:pt idx="2931">
                  <c:v>0.41481481481481502</c:v>
                </c:pt>
                <c:pt idx="2932">
                  <c:v>0.41481481481481502</c:v>
                </c:pt>
                <c:pt idx="2933">
                  <c:v>0.41489361702127697</c:v>
                </c:pt>
                <c:pt idx="2934">
                  <c:v>0.41489361702127697</c:v>
                </c:pt>
                <c:pt idx="2935">
                  <c:v>0.41496598639455801</c:v>
                </c:pt>
                <c:pt idx="2936">
                  <c:v>0.41509433962264197</c:v>
                </c:pt>
                <c:pt idx="2937">
                  <c:v>0.41516966067864303</c:v>
                </c:pt>
                <c:pt idx="2938">
                  <c:v>0.415313225058005</c:v>
                </c:pt>
                <c:pt idx="2939">
                  <c:v>0.41534391534391502</c:v>
                </c:pt>
                <c:pt idx="2940">
                  <c:v>0.41538461538461502</c:v>
                </c:pt>
                <c:pt idx="2941">
                  <c:v>0.41544117647058798</c:v>
                </c:pt>
                <c:pt idx="2942">
                  <c:v>0.41545893719806798</c:v>
                </c:pt>
                <c:pt idx="2943">
                  <c:v>0.41549295774647899</c:v>
                </c:pt>
                <c:pt idx="2944">
                  <c:v>0.415584415584416</c:v>
                </c:pt>
                <c:pt idx="2945">
                  <c:v>0.41562500000000002</c:v>
                </c:pt>
                <c:pt idx="2946">
                  <c:v>0.415647921760391</c:v>
                </c:pt>
                <c:pt idx="2947">
                  <c:v>0.41573033707865198</c:v>
                </c:pt>
                <c:pt idx="2948">
                  <c:v>0.41584158415841599</c:v>
                </c:pt>
                <c:pt idx="2949">
                  <c:v>0.41610738255033602</c:v>
                </c:pt>
                <c:pt idx="2950">
                  <c:v>0.41628959276018102</c:v>
                </c:pt>
                <c:pt idx="2951">
                  <c:v>0.41641337386018201</c:v>
                </c:pt>
                <c:pt idx="2952">
                  <c:v>0.41645244215938299</c:v>
                </c:pt>
                <c:pt idx="2953">
                  <c:v>0.41646191646191599</c:v>
                </c:pt>
                <c:pt idx="2954">
                  <c:v>0.41649048625792801</c:v>
                </c:pt>
                <c:pt idx="2955">
                  <c:v>0.41666666666666702</c:v>
                </c:pt>
                <c:pt idx="2956">
                  <c:v>0.41666666666666702</c:v>
                </c:pt>
                <c:pt idx="2957">
                  <c:v>0.41666666666666702</c:v>
                </c:pt>
                <c:pt idx="2958">
                  <c:v>0.41666666666666702</c:v>
                </c:pt>
                <c:pt idx="2959">
                  <c:v>0.41666666666666702</c:v>
                </c:pt>
                <c:pt idx="2960">
                  <c:v>0.41666666666666702</c:v>
                </c:pt>
                <c:pt idx="2961">
                  <c:v>0.41666666666666702</c:v>
                </c:pt>
                <c:pt idx="2962">
                  <c:v>0.41666666666666702</c:v>
                </c:pt>
                <c:pt idx="2963">
                  <c:v>0.41666666666666702</c:v>
                </c:pt>
                <c:pt idx="2964">
                  <c:v>0.41666666666666702</c:v>
                </c:pt>
                <c:pt idx="2965">
                  <c:v>0.41666666666666702</c:v>
                </c:pt>
                <c:pt idx="2966">
                  <c:v>0.41666666666666702</c:v>
                </c:pt>
                <c:pt idx="2967">
                  <c:v>0.41666666666666702</c:v>
                </c:pt>
                <c:pt idx="2968">
                  <c:v>0.41666666666666702</c:v>
                </c:pt>
                <c:pt idx="2969">
                  <c:v>0.41666666666666702</c:v>
                </c:pt>
                <c:pt idx="2970">
                  <c:v>0.416749750747757</c:v>
                </c:pt>
                <c:pt idx="2971">
                  <c:v>0.416901408450704</c:v>
                </c:pt>
                <c:pt idx="2972">
                  <c:v>0.41694078947368401</c:v>
                </c:pt>
                <c:pt idx="2973">
                  <c:v>0.41696750902527102</c:v>
                </c:pt>
                <c:pt idx="2974">
                  <c:v>0.41705069124423999</c:v>
                </c:pt>
                <c:pt idx="2975">
                  <c:v>0.41707920792079201</c:v>
                </c:pt>
                <c:pt idx="2976">
                  <c:v>0.41714285714285698</c:v>
                </c:pt>
                <c:pt idx="2977">
                  <c:v>0.41715976331360899</c:v>
                </c:pt>
                <c:pt idx="2978">
                  <c:v>0.41791044776119401</c:v>
                </c:pt>
                <c:pt idx="2979">
                  <c:v>0.41791044776119401</c:v>
                </c:pt>
                <c:pt idx="2980">
                  <c:v>0.41791044776119401</c:v>
                </c:pt>
                <c:pt idx="2981">
                  <c:v>0.41806020066889599</c:v>
                </c:pt>
                <c:pt idx="2982">
                  <c:v>0.41810344827586199</c:v>
                </c:pt>
                <c:pt idx="2983">
                  <c:v>0.41814595660749498</c:v>
                </c:pt>
                <c:pt idx="2984">
                  <c:v>0.41818181818181799</c:v>
                </c:pt>
                <c:pt idx="2985">
                  <c:v>0.41822721598002499</c:v>
                </c:pt>
                <c:pt idx="2986">
                  <c:v>0.41829268292682897</c:v>
                </c:pt>
                <c:pt idx="2987">
                  <c:v>0.418604651162791</c:v>
                </c:pt>
                <c:pt idx="2988">
                  <c:v>0.41864268192968102</c:v>
                </c:pt>
                <c:pt idx="2989">
                  <c:v>0.41891891891891903</c:v>
                </c:pt>
                <c:pt idx="2990">
                  <c:v>0.41897233201581002</c:v>
                </c:pt>
                <c:pt idx="2991">
                  <c:v>0.41901408450704197</c:v>
                </c:pt>
                <c:pt idx="2992">
                  <c:v>0.41918294849023102</c:v>
                </c:pt>
                <c:pt idx="2993">
                  <c:v>0.419191919191919</c:v>
                </c:pt>
                <c:pt idx="2994">
                  <c:v>0.419222903885481</c:v>
                </c:pt>
                <c:pt idx="2995">
                  <c:v>0.419222903885481</c:v>
                </c:pt>
                <c:pt idx="2996">
                  <c:v>0.41935483870967699</c:v>
                </c:pt>
                <c:pt idx="2997">
                  <c:v>0.41935483870967699</c:v>
                </c:pt>
                <c:pt idx="2998">
                  <c:v>0.41935483870967699</c:v>
                </c:pt>
                <c:pt idx="2999">
                  <c:v>0.41935483870967699</c:v>
                </c:pt>
                <c:pt idx="3000">
                  <c:v>0.41941747572815502</c:v>
                </c:pt>
                <c:pt idx="3001">
                  <c:v>0.41943734015345302</c:v>
                </c:pt>
                <c:pt idx="3002">
                  <c:v>0.41954022988505701</c:v>
                </c:pt>
                <c:pt idx="3003">
                  <c:v>0.41956521739130398</c:v>
                </c:pt>
                <c:pt idx="3004">
                  <c:v>0.41964285714285698</c:v>
                </c:pt>
                <c:pt idx="3005">
                  <c:v>0.41984732824427501</c:v>
                </c:pt>
                <c:pt idx="3006">
                  <c:v>0.42</c:v>
                </c:pt>
                <c:pt idx="3007">
                  <c:v>0.42</c:v>
                </c:pt>
                <c:pt idx="3008">
                  <c:v>0.42</c:v>
                </c:pt>
                <c:pt idx="3009">
                  <c:v>0.42</c:v>
                </c:pt>
                <c:pt idx="3010">
                  <c:v>0.42</c:v>
                </c:pt>
                <c:pt idx="3011">
                  <c:v>0.42012578616352197</c:v>
                </c:pt>
                <c:pt idx="3012">
                  <c:v>0.42033898305084699</c:v>
                </c:pt>
                <c:pt idx="3013">
                  <c:v>0.420353982300885</c:v>
                </c:pt>
                <c:pt idx="3014">
                  <c:v>0.42041522491349498</c:v>
                </c:pt>
                <c:pt idx="3015">
                  <c:v>0.42049469964664299</c:v>
                </c:pt>
                <c:pt idx="3016">
                  <c:v>0.42062415196743502</c:v>
                </c:pt>
                <c:pt idx="3017">
                  <c:v>0.42071197411003203</c:v>
                </c:pt>
                <c:pt idx="3018">
                  <c:v>0.42093023255813999</c:v>
                </c:pt>
                <c:pt idx="3019">
                  <c:v>0.42105263157894701</c:v>
                </c:pt>
                <c:pt idx="3020">
                  <c:v>0.42108626198083099</c:v>
                </c:pt>
                <c:pt idx="3021">
                  <c:v>0.421221864951768</c:v>
                </c:pt>
                <c:pt idx="3022">
                  <c:v>0.421221864951768</c:v>
                </c:pt>
                <c:pt idx="3023">
                  <c:v>0.42144177449168202</c:v>
                </c:pt>
                <c:pt idx="3024">
                  <c:v>0.421652421652422</c:v>
                </c:pt>
                <c:pt idx="3025">
                  <c:v>0.421686746987952</c:v>
                </c:pt>
                <c:pt idx="3026">
                  <c:v>0.42172523961661301</c:v>
                </c:pt>
                <c:pt idx="3027">
                  <c:v>0.42183622828784101</c:v>
                </c:pt>
                <c:pt idx="3028">
                  <c:v>0.42201834862385301</c:v>
                </c:pt>
                <c:pt idx="3029">
                  <c:v>0.42201834862385301</c:v>
                </c:pt>
                <c:pt idx="3030">
                  <c:v>0.422077922077922</c:v>
                </c:pt>
                <c:pt idx="3031">
                  <c:v>0.422077922077922</c:v>
                </c:pt>
                <c:pt idx="3032">
                  <c:v>0.42211055276381898</c:v>
                </c:pt>
                <c:pt idx="3033">
                  <c:v>0.422222222222222</c:v>
                </c:pt>
                <c:pt idx="3034">
                  <c:v>0.422222222222222</c:v>
                </c:pt>
                <c:pt idx="3035">
                  <c:v>0.422222222222222</c:v>
                </c:pt>
                <c:pt idx="3036">
                  <c:v>0.422222222222222</c:v>
                </c:pt>
                <c:pt idx="3037">
                  <c:v>0.42226890756302499</c:v>
                </c:pt>
                <c:pt idx="3038">
                  <c:v>0.42229729729729698</c:v>
                </c:pt>
                <c:pt idx="3039">
                  <c:v>0.42241379310344801</c:v>
                </c:pt>
                <c:pt idx="3040">
                  <c:v>0.42253521126760601</c:v>
                </c:pt>
                <c:pt idx="3041">
                  <c:v>0.42253521126760601</c:v>
                </c:pt>
                <c:pt idx="3042">
                  <c:v>0.422594142259414</c:v>
                </c:pt>
                <c:pt idx="3043">
                  <c:v>0.42260442260442299</c:v>
                </c:pt>
                <c:pt idx="3044">
                  <c:v>0.42265795206971701</c:v>
                </c:pt>
                <c:pt idx="3045">
                  <c:v>0.42274678111587999</c:v>
                </c:pt>
                <c:pt idx="3046">
                  <c:v>0.42290748898678399</c:v>
                </c:pt>
                <c:pt idx="3047">
                  <c:v>0.42292490118577097</c:v>
                </c:pt>
                <c:pt idx="3048">
                  <c:v>0.42307692307692302</c:v>
                </c:pt>
                <c:pt idx="3049">
                  <c:v>0.42307692307692302</c:v>
                </c:pt>
                <c:pt idx="3050">
                  <c:v>0.42307692307692302</c:v>
                </c:pt>
                <c:pt idx="3051">
                  <c:v>0.42307692307692302</c:v>
                </c:pt>
                <c:pt idx="3052">
                  <c:v>0.42335766423357701</c:v>
                </c:pt>
                <c:pt idx="3053">
                  <c:v>0.42338709677419401</c:v>
                </c:pt>
                <c:pt idx="3054">
                  <c:v>0.42342342342342298</c:v>
                </c:pt>
                <c:pt idx="3055">
                  <c:v>0.42361111111111099</c:v>
                </c:pt>
                <c:pt idx="3056">
                  <c:v>0.42372881355932202</c:v>
                </c:pt>
                <c:pt idx="3057">
                  <c:v>0.42377100186683297</c:v>
                </c:pt>
                <c:pt idx="3058">
                  <c:v>0.42382271468144</c:v>
                </c:pt>
                <c:pt idx="3059">
                  <c:v>0.42396313364055299</c:v>
                </c:pt>
                <c:pt idx="3060">
                  <c:v>0.42401021711366499</c:v>
                </c:pt>
                <c:pt idx="3061">
                  <c:v>0.424050632911392</c:v>
                </c:pt>
                <c:pt idx="3062">
                  <c:v>0.42424242424242398</c:v>
                </c:pt>
                <c:pt idx="3063">
                  <c:v>0.42435424354243501</c:v>
                </c:pt>
                <c:pt idx="3064">
                  <c:v>0.42436974789915999</c:v>
                </c:pt>
                <c:pt idx="3065">
                  <c:v>0.42439024390243901</c:v>
                </c:pt>
                <c:pt idx="3066">
                  <c:v>0.42440318302387298</c:v>
                </c:pt>
                <c:pt idx="3067">
                  <c:v>0.42461538461538501</c:v>
                </c:pt>
                <c:pt idx="3068">
                  <c:v>0.42465753424657499</c:v>
                </c:pt>
                <c:pt idx="3069">
                  <c:v>0.42471714534377702</c:v>
                </c:pt>
                <c:pt idx="3070">
                  <c:v>0.42483660130718998</c:v>
                </c:pt>
                <c:pt idx="3071">
                  <c:v>0.42493638676844803</c:v>
                </c:pt>
                <c:pt idx="3072">
                  <c:v>0.42499999999999999</c:v>
                </c:pt>
                <c:pt idx="3073">
                  <c:v>0.42499999999999999</c:v>
                </c:pt>
                <c:pt idx="3074">
                  <c:v>0.42520775623268697</c:v>
                </c:pt>
                <c:pt idx="3075">
                  <c:v>0.42547033285094099</c:v>
                </c:pt>
                <c:pt idx="3076">
                  <c:v>0.42553191489361702</c:v>
                </c:pt>
                <c:pt idx="3077">
                  <c:v>0.42553191489361702</c:v>
                </c:pt>
                <c:pt idx="3078">
                  <c:v>0.42560553633218001</c:v>
                </c:pt>
                <c:pt idx="3079">
                  <c:v>0.42564102564102602</c:v>
                </c:pt>
                <c:pt idx="3080">
                  <c:v>0.42567567567567599</c:v>
                </c:pt>
                <c:pt idx="3081">
                  <c:v>0.42574257425742601</c:v>
                </c:pt>
                <c:pt idx="3082">
                  <c:v>0.42579505300353399</c:v>
                </c:pt>
                <c:pt idx="3083">
                  <c:v>0.42580645161290298</c:v>
                </c:pt>
                <c:pt idx="3084">
                  <c:v>0.42592592592592599</c:v>
                </c:pt>
                <c:pt idx="3085">
                  <c:v>0.42592592592592599</c:v>
                </c:pt>
                <c:pt idx="3086">
                  <c:v>0.42598187311178198</c:v>
                </c:pt>
                <c:pt idx="3087">
                  <c:v>0.42604856512141298</c:v>
                </c:pt>
                <c:pt idx="3088">
                  <c:v>0.42607428987618401</c:v>
                </c:pt>
                <c:pt idx="3089">
                  <c:v>0.42615723732549599</c:v>
                </c:pt>
                <c:pt idx="3090">
                  <c:v>0.42622950819672101</c:v>
                </c:pt>
                <c:pt idx="3091">
                  <c:v>0.42622950819672101</c:v>
                </c:pt>
                <c:pt idx="3092">
                  <c:v>0.42622950819672101</c:v>
                </c:pt>
                <c:pt idx="3093">
                  <c:v>0.42631578947368398</c:v>
                </c:pt>
                <c:pt idx="3094">
                  <c:v>0.42631578947368398</c:v>
                </c:pt>
                <c:pt idx="3095">
                  <c:v>0.42647058823529399</c:v>
                </c:pt>
                <c:pt idx="3096">
                  <c:v>0.42647058823529399</c:v>
                </c:pt>
                <c:pt idx="3097">
                  <c:v>0.42647058823529399</c:v>
                </c:pt>
                <c:pt idx="3098">
                  <c:v>0.42654028436018998</c:v>
                </c:pt>
                <c:pt idx="3099">
                  <c:v>0.42654028436018998</c:v>
                </c:pt>
                <c:pt idx="3100">
                  <c:v>0.42657342657342701</c:v>
                </c:pt>
                <c:pt idx="3101">
                  <c:v>0.42675159235668803</c:v>
                </c:pt>
                <c:pt idx="3102">
                  <c:v>0.426966292134831</c:v>
                </c:pt>
                <c:pt idx="3103">
                  <c:v>0.42718446601941701</c:v>
                </c:pt>
                <c:pt idx="3104">
                  <c:v>0.42723004694835698</c:v>
                </c:pt>
                <c:pt idx="3105">
                  <c:v>0.42727272727272703</c:v>
                </c:pt>
                <c:pt idx="3106">
                  <c:v>0.42737896494156902</c:v>
                </c:pt>
                <c:pt idx="3107">
                  <c:v>0.42753623188405798</c:v>
                </c:pt>
                <c:pt idx="3108">
                  <c:v>0.427570093457944</c:v>
                </c:pt>
                <c:pt idx="3109">
                  <c:v>0.42757417102966799</c:v>
                </c:pt>
                <c:pt idx="3110">
                  <c:v>0.42757660167130901</c:v>
                </c:pt>
                <c:pt idx="3111">
                  <c:v>0.42777777777777798</c:v>
                </c:pt>
                <c:pt idx="3112">
                  <c:v>0.427786499215071</c:v>
                </c:pt>
                <c:pt idx="3113">
                  <c:v>0.42786069651741299</c:v>
                </c:pt>
                <c:pt idx="3114">
                  <c:v>0.42788461538461497</c:v>
                </c:pt>
                <c:pt idx="3115">
                  <c:v>0.42803738317757001</c:v>
                </c:pt>
                <c:pt idx="3116">
                  <c:v>0.42805755395683498</c:v>
                </c:pt>
                <c:pt idx="3117">
                  <c:v>0.42805755395683498</c:v>
                </c:pt>
                <c:pt idx="3118">
                  <c:v>0.42819843342036501</c:v>
                </c:pt>
                <c:pt idx="3119">
                  <c:v>0.42825112107623298</c:v>
                </c:pt>
                <c:pt idx="3120">
                  <c:v>0.42857142857142899</c:v>
                </c:pt>
                <c:pt idx="3121">
                  <c:v>0.42857142857142899</c:v>
                </c:pt>
                <c:pt idx="3122">
                  <c:v>0.42857142857142899</c:v>
                </c:pt>
                <c:pt idx="3123">
                  <c:v>0.42857142857142899</c:v>
                </c:pt>
                <c:pt idx="3124">
                  <c:v>0.42857142857142899</c:v>
                </c:pt>
                <c:pt idx="3125">
                  <c:v>0.42857142857142899</c:v>
                </c:pt>
                <c:pt idx="3126">
                  <c:v>0.42857142857142899</c:v>
                </c:pt>
                <c:pt idx="3127">
                  <c:v>0.42857142857142899</c:v>
                </c:pt>
                <c:pt idx="3128">
                  <c:v>0.42857142857142899</c:v>
                </c:pt>
                <c:pt idx="3129">
                  <c:v>0.42857142857142899</c:v>
                </c:pt>
                <c:pt idx="3130">
                  <c:v>0.42857142857142899</c:v>
                </c:pt>
                <c:pt idx="3131">
                  <c:v>0.42857142857142899</c:v>
                </c:pt>
                <c:pt idx="3132">
                  <c:v>0.42889908256880699</c:v>
                </c:pt>
                <c:pt idx="3133">
                  <c:v>0.42907180385289001</c:v>
                </c:pt>
                <c:pt idx="3134">
                  <c:v>0.42938775510204102</c:v>
                </c:pt>
                <c:pt idx="3135">
                  <c:v>0.42953020134228198</c:v>
                </c:pt>
                <c:pt idx="3136">
                  <c:v>0.42956120092378702</c:v>
                </c:pt>
                <c:pt idx="3137">
                  <c:v>0.4296875</c:v>
                </c:pt>
                <c:pt idx="3138">
                  <c:v>0.42971887550200799</c:v>
                </c:pt>
                <c:pt idx="3139">
                  <c:v>0.42975206611570199</c:v>
                </c:pt>
                <c:pt idx="3140">
                  <c:v>0.42975206611570199</c:v>
                </c:pt>
                <c:pt idx="3141">
                  <c:v>0.42986425339366502</c:v>
                </c:pt>
                <c:pt idx="3142">
                  <c:v>0.42987804878048802</c:v>
                </c:pt>
                <c:pt idx="3143">
                  <c:v>0.42989417989418</c:v>
                </c:pt>
                <c:pt idx="3144">
                  <c:v>0.42992424242424199</c:v>
                </c:pt>
                <c:pt idx="3145">
                  <c:v>0.42997542997542998</c:v>
                </c:pt>
                <c:pt idx="3146">
                  <c:v>0.43</c:v>
                </c:pt>
                <c:pt idx="3147">
                  <c:v>0.43004418262150201</c:v>
                </c:pt>
                <c:pt idx="3148">
                  <c:v>0.430075187969925</c:v>
                </c:pt>
                <c:pt idx="3149">
                  <c:v>0.43016759776536301</c:v>
                </c:pt>
                <c:pt idx="3150">
                  <c:v>0.43023255813953498</c:v>
                </c:pt>
                <c:pt idx="3151">
                  <c:v>0.43023255813953498</c:v>
                </c:pt>
                <c:pt idx="3152">
                  <c:v>0.43023255813953498</c:v>
                </c:pt>
                <c:pt idx="3153">
                  <c:v>0.43032786885245899</c:v>
                </c:pt>
                <c:pt idx="3154">
                  <c:v>0.43055555555555602</c:v>
                </c:pt>
                <c:pt idx="3155">
                  <c:v>0.43058823529411799</c:v>
                </c:pt>
                <c:pt idx="3156">
                  <c:v>0.43062200956937802</c:v>
                </c:pt>
                <c:pt idx="3157">
                  <c:v>0.43076923076923102</c:v>
                </c:pt>
                <c:pt idx="3158">
                  <c:v>0.43093922651933703</c:v>
                </c:pt>
                <c:pt idx="3159">
                  <c:v>0.43099273607748201</c:v>
                </c:pt>
                <c:pt idx="3160">
                  <c:v>0.431034482758621</c:v>
                </c:pt>
                <c:pt idx="3161">
                  <c:v>0.431034482758621</c:v>
                </c:pt>
                <c:pt idx="3162">
                  <c:v>0.43116883116883098</c:v>
                </c:pt>
                <c:pt idx="3163">
                  <c:v>0.43119266055045902</c:v>
                </c:pt>
                <c:pt idx="3164">
                  <c:v>0.43123772102161101</c:v>
                </c:pt>
                <c:pt idx="3165">
                  <c:v>0.43126684636118601</c:v>
                </c:pt>
                <c:pt idx="3166">
                  <c:v>0.43137254901960798</c:v>
                </c:pt>
                <c:pt idx="3167">
                  <c:v>0.43137254901960798</c:v>
                </c:pt>
                <c:pt idx="3168">
                  <c:v>0.43153526970954398</c:v>
                </c:pt>
                <c:pt idx="3169">
                  <c:v>0.43157894736842101</c:v>
                </c:pt>
                <c:pt idx="3170">
                  <c:v>0.431707317073171</c:v>
                </c:pt>
                <c:pt idx="3171">
                  <c:v>0.43188405797101398</c:v>
                </c:pt>
                <c:pt idx="3172">
                  <c:v>0.432</c:v>
                </c:pt>
                <c:pt idx="3173">
                  <c:v>0.43213296398891998</c:v>
                </c:pt>
                <c:pt idx="3174">
                  <c:v>0.43213296398891998</c:v>
                </c:pt>
                <c:pt idx="3175">
                  <c:v>0.43220338983050799</c:v>
                </c:pt>
                <c:pt idx="3176">
                  <c:v>0.43220338983050799</c:v>
                </c:pt>
                <c:pt idx="3177">
                  <c:v>0.43220338983050799</c:v>
                </c:pt>
                <c:pt idx="3178">
                  <c:v>0.432216905901116</c:v>
                </c:pt>
                <c:pt idx="3179">
                  <c:v>0.43234323432343202</c:v>
                </c:pt>
                <c:pt idx="3180">
                  <c:v>0.43238095238095198</c:v>
                </c:pt>
                <c:pt idx="3181">
                  <c:v>0.43243243243243201</c:v>
                </c:pt>
                <c:pt idx="3182">
                  <c:v>0.43243243243243201</c:v>
                </c:pt>
                <c:pt idx="3183">
                  <c:v>0.43243243243243201</c:v>
                </c:pt>
                <c:pt idx="3184">
                  <c:v>0.43243243243243201</c:v>
                </c:pt>
                <c:pt idx="3185">
                  <c:v>0.432525951557093</c:v>
                </c:pt>
                <c:pt idx="3186">
                  <c:v>0.432539682539683</c:v>
                </c:pt>
                <c:pt idx="3187">
                  <c:v>0.43255295429208501</c:v>
                </c:pt>
                <c:pt idx="3188">
                  <c:v>0.43262411347517699</c:v>
                </c:pt>
                <c:pt idx="3189">
                  <c:v>0.43269230769230799</c:v>
                </c:pt>
                <c:pt idx="3190">
                  <c:v>0.43283582089552203</c:v>
                </c:pt>
                <c:pt idx="3191">
                  <c:v>0.43307086614173201</c:v>
                </c:pt>
                <c:pt idx="3192">
                  <c:v>0.43309002433089999</c:v>
                </c:pt>
                <c:pt idx="3193">
                  <c:v>0.43312101910827999</c:v>
                </c:pt>
                <c:pt idx="3194">
                  <c:v>0.433147632311978</c:v>
                </c:pt>
                <c:pt idx="3195">
                  <c:v>0.43317972350230399</c:v>
                </c:pt>
                <c:pt idx="3196">
                  <c:v>0.43333333333333302</c:v>
                </c:pt>
                <c:pt idx="3197">
                  <c:v>0.43333333333333302</c:v>
                </c:pt>
                <c:pt idx="3198">
                  <c:v>0.43333333333333302</c:v>
                </c:pt>
                <c:pt idx="3199">
                  <c:v>0.43333333333333302</c:v>
                </c:pt>
                <c:pt idx="3200">
                  <c:v>0.433544303797468</c:v>
                </c:pt>
                <c:pt idx="3201">
                  <c:v>0.43362831858407103</c:v>
                </c:pt>
                <c:pt idx="3202">
                  <c:v>0.43367346938775497</c:v>
                </c:pt>
                <c:pt idx="3203">
                  <c:v>0.433710174717369</c:v>
                </c:pt>
                <c:pt idx="3204">
                  <c:v>0.43373493975903599</c:v>
                </c:pt>
                <c:pt idx="3205">
                  <c:v>0.433862433862434</c:v>
                </c:pt>
                <c:pt idx="3206">
                  <c:v>0.433911882510013</c:v>
                </c:pt>
                <c:pt idx="3207">
                  <c:v>0.43406593406593402</c:v>
                </c:pt>
                <c:pt idx="3208">
                  <c:v>0.43421052631578899</c:v>
                </c:pt>
                <c:pt idx="3209">
                  <c:v>0.43421052631578899</c:v>
                </c:pt>
                <c:pt idx="3210">
                  <c:v>0.43448275862069002</c:v>
                </c:pt>
                <c:pt idx="3211">
                  <c:v>0.43448275862069002</c:v>
                </c:pt>
                <c:pt idx="3212">
                  <c:v>0.43450064850843101</c:v>
                </c:pt>
                <c:pt idx="3213">
                  <c:v>0.434782608695652</c:v>
                </c:pt>
                <c:pt idx="3214">
                  <c:v>0.434782608695652</c:v>
                </c:pt>
                <c:pt idx="3215">
                  <c:v>0.434782608695652</c:v>
                </c:pt>
                <c:pt idx="3216">
                  <c:v>0.434782608695652</c:v>
                </c:pt>
                <c:pt idx="3217">
                  <c:v>0.435</c:v>
                </c:pt>
                <c:pt idx="3218">
                  <c:v>0.43511450381679401</c:v>
                </c:pt>
                <c:pt idx="3219">
                  <c:v>0.43518518518518501</c:v>
                </c:pt>
                <c:pt idx="3220">
                  <c:v>0.43521594684385401</c:v>
                </c:pt>
                <c:pt idx="3221">
                  <c:v>0.43523316062176198</c:v>
                </c:pt>
                <c:pt idx="3222">
                  <c:v>0.43531547889241901</c:v>
                </c:pt>
                <c:pt idx="3223">
                  <c:v>0.43554843875100102</c:v>
                </c:pt>
                <c:pt idx="3224">
                  <c:v>0.43558951965065501</c:v>
                </c:pt>
                <c:pt idx="3225">
                  <c:v>0.43564356435643597</c:v>
                </c:pt>
                <c:pt idx="3226">
                  <c:v>0.43566591422121898</c:v>
                </c:pt>
                <c:pt idx="3227">
                  <c:v>0.43573667711598701</c:v>
                </c:pt>
                <c:pt idx="3228">
                  <c:v>0.43578947368421</c:v>
                </c:pt>
                <c:pt idx="3229">
                  <c:v>0.43600867678958799</c:v>
                </c:pt>
                <c:pt idx="3230">
                  <c:v>0.43601895734597201</c:v>
                </c:pt>
                <c:pt idx="3231">
                  <c:v>0.43617021276595702</c:v>
                </c:pt>
                <c:pt idx="3232">
                  <c:v>0.43617021276595702</c:v>
                </c:pt>
                <c:pt idx="3233">
                  <c:v>0.43636363636363601</c:v>
                </c:pt>
                <c:pt idx="3234">
                  <c:v>0.43636363636363601</c:v>
                </c:pt>
                <c:pt idx="3235">
                  <c:v>0.43641114982578399</c:v>
                </c:pt>
                <c:pt idx="3236">
                  <c:v>0.43650793650793601</c:v>
                </c:pt>
                <c:pt idx="3237">
                  <c:v>0.436708860759494</c:v>
                </c:pt>
                <c:pt idx="3238">
                  <c:v>0.43687230989956999</c:v>
                </c:pt>
                <c:pt idx="3239">
                  <c:v>0.436974789915966</c:v>
                </c:pt>
                <c:pt idx="3240">
                  <c:v>0.436974789915966</c:v>
                </c:pt>
                <c:pt idx="3241">
                  <c:v>0.43700787401574798</c:v>
                </c:pt>
                <c:pt idx="3242">
                  <c:v>0.43705035971223</c:v>
                </c:pt>
                <c:pt idx="3243">
                  <c:v>0.43718592964824099</c:v>
                </c:pt>
                <c:pt idx="3244">
                  <c:v>0.43747238179407899</c:v>
                </c:pt>
                <c:pt idx="3245">
                  <c:v>0.4375</c:v>
                </c:pt>
                <c:pt idx="3246">
                  <c:v>0.4375</c:v>
                </c:pt>
                <c:pt idx="3247">
                  <c:v>0.4375</c:v>
                </c:pt>
                <c:pt idx="3248">
                  <c:v>0.4375</c:v>
                </c:pt>
                <c:pt idx="3249">
                  <c:v>0.4375</c:v>
                </c:pt>
                <c:pt idx="3250">
                  <c:v>0.4375</c:v>
                </c:pt>
                <c:pt idx="3251">
                  <c:v>0.4375</c:v>
                </c:pt>
                <c:pt idx="3252">
                  <c:v>0.4375</c:v>
                </c:pt>
                <c:pt idx="3253">
                  <c:v>0.4375</c:v>
                </c:pt>
                <c:pt idx="3254">
                  <c:v>0.4375</c:v>
                </c:pt>
                <c:pt idx="3255">
                  <c:v>0.4375</c:v>
                </c:pt>
                <c:pt idx="3256">
                  <c:v>0.43775100401606398</c:v>
                </c:pt>
                <c:pt idx="3257">
                  <c:v>0.43776824034334799</c:v>
                </c:pt>
                <c:pt idx="3258">
                  <c:v>0.43776824034334799</c:v>
                </c:pt>
                <c:pt idx="3259">
                  <c:v>0.43790849673202598</c:v>
                </c:pt>
                <c:pt idx="3260">
                  <c:v>0.43795620437956201</c:v>
                </c:pt>
                <c:pt idx="3261">
                  <c:v>0.43796992481203001</c:v>
                </c:pt>
                <c:pt idx="3262">
                  <c:v>0.43821839080459801</c:v>
                </c:pt>
                <c:pt idx="3263">
                  <c:v>0.43832020997375298</c:v>
                </c:pt>
                <c:pt idx="3264">
                  <c:v>0.43835616438356201</c:v>
                </c:pt>
                <c:pt idx="3265">
                  <c:v>0.43841336116910201</c:v>
                </c:pt>
                <c:pt idx="3266">
                  <c:v>0.43846153846153801</c:v>
                </c:pt>
                <c:pt idx="3267">
                  <c:v>0.43859649122806998</c:v>
                </c:pt>
                <c:pt idx="3268">
                  <c:v>0.43859649122806998</c:v>
                </c:pt>
                <c:pt idx="3269">
                  <c:v>0.43859649122806998</c:v>
                </c:pt>
                <c:pt idx="3270">
                  <c:v>0.43863179074446701</c:v>
                </c:pt>
                <c:pt idx="3271">
                  <c:v>0.438735177865613</c:v>
                </c:pt>
                <c:pt idx="3272">
                  <c:v>0.43877551020408201</c:v>
                </c:pt>
                <c:pt idx="3273">
                  <c:v>0.43881856540084402</c:v>
                </c:pt>
                <c:pt idx="3274">
                  <c:v>0.43884892086330901</c:v>
                </c:pt>
                <c:pt idx="3275">
                  <c:v>0.43891402714932098</c:v>
                </c:pt>
                <c:pt idx="3276">
                  <c:v>0.43898305084745798</c:v>
                </c:pt>
                <c:pt idx="3277">
                  <c:v>0.439024390243902</c:v>
                </c:pt>
                <c:pt idx="3278">
                  <c:v>0.43915343915343902</c:v>
                </c:pt>
                <c:pt idx="3279">
                  <c:v>0.43918918918918898</c:v>
                </c:pt>
                <c:pt idx="3280">
                  <c:v>0.43925233644859801</c:v>
                </c:pt>
                <c:pt idx="3281">
                  <c:v>0.43925233644859801</c:v>
                </c:pt>
                <c:pt idx="3282">
                  <c:v>0.43925233644859801</c:v>
                </c:pt>
                <c:pt idx="3283">
                  <c:v>0.43925233644859801</c:v>
                </c:pt>
                <c:pt idx="3284">
                  <c:v>0.43927648578811401</c:v>
                </c:pt>
                <c:pt idx="3285">
                  <c:v>0.439344262295082</c:v>
                </c:pt>
                <c:pt idx="3286">
                  <c:v>0.43936381709741501</c:v>
                </c:pt>
                <c:pt idx="3287">
                  <c:v>0.43949044585987301</c:v>
                </c:pt>
                <c:pt idx="3288">
                  <c:v>0.43951612903225801</c:v>
                </c:pt>
                <c:pt idx="3289">
                  <c:v>0.439716312056738</c:v>
                </c:pt>
                <c:pt idx="3290">
                  <c:v>0.439716312056738</c:v>
                </c:pt>
                <c:pt idx="3291">
                  <c:v>0.43975903614457801</c:v>
                </c:pt>
                <c:pt idx="3292">
                  <c:v>0.43979057591623</c:v>
                </c:pt>
                <c:pt idx="3293">
                  <c:v>0.44</c:v>
                </c:pt>
                <c:pt idx="3294">
                  <c:v>0.44</c:v>
                </c:pt>
                <c:pt idx="3295">
                  <c:v>0.44</c:v>
                </c:pt>
                <c:pt idx="3296">
                  <c:v>0.44</c:v>
                </c:pt>
                <c:pt idx="3297">
                  <c:v>0.44</c:v>
                </c:pt>
                <c:pt idx="3298">
                  <c:v>0.44</c:v>
                </c:pt>
                <c:pt idx="3299">
                  <c:v>0.44</c:v>
                </c:pt>
                <c:pt idx="3300">
                  <c:v>0.44033790918690602</c:v>
                </c:pt>
                <c:pt idx="3301">
                  <c:v>0.44036697247706402</c:v>
                </c:pt>
                <c:pt idx="3302">
                  <c:v>0.44036697247706402</c:v>
                </c:pt>
                <c:pt idx="3303">
                  <c:v>0.44043321299638999</c:v>
                </c:pt>
                <c:pt idx="3304">
                  <c:v>0.44052044609665397</c:v>
                </c:pt>
                <c:pt idx="3305">
                  <c:v>0.44063324538258603</c:v>
                </c:pt>
                <c:pt idx="3306">
                  <c:v>0.44067796610169502</c:v>
                </c:pt>
                <c:pt idx="3307">
                  <c:v>0.44067796610169502</c:v>
                </c:pt>
                <c:pt idx="3308">
                  <c:v>0.44072948328267503</c:v>
                </c:pt>
                <c:pt idx="3309">
                  <c:v>0.44078947368421001</c:v>
                </c:pt>
                <c:pt idx="3310">
                  <c:v>0.44093178036605701</c:v>
                </c:pt>
                <c:pt idx="3311">
                  <c:v>0.440993788819876</c:v>
                </c:pt>
                <c:pt idx="3312">
                  <c:v>0.440993788819876</c:v>
                </c:pt>
                <c:pt idx="3313">
                  <c:v>0.44104803493449801</c:v>
                </c:pt>
                <c:pt idx="3314">
                  <c:v>0.441102756892231</c:v>
                </c:pt>
                <c:pt idx="3315">
                  <c:v>0.441176470588235</c:v>
                </c:pt>
                <c:pt idx="3316">
                  <c:v>0.441176470588235</c:v>
                </c:pt>
                <c:pt idx="3317">
                  <c:v>0.441176470588235</c:v>
                </c:pt>
                <c:pt idx="3318">
                  <c:v>0.441176470588235</c:v>
                </c:pt>
                <c:pt idx="3319">
                  <c:v>0.441176470588235</c:v>
                </c:pt>
                <c:pt idx="3320">
                  <c:v>0.44144144144144098</c:v>
                </c:pt>
                <c:pt idx="3321">
                  <c:v>0.44144144144144098</c:v>
                </c:pt>
                <c:pt idx="3322">
                  <c:v>0.44153577661431098</c:v>
                </c:pt>
                <c:pt idx="3323">
                  <c:v>0.44155844155844198</c:v>
                </c:pt>
                <c:pt idx="3324">
                  <c:v>0.44166666666666698</c:v>
                </c:pt>
                <c:pt idx="3325">
                  <c:v>0.44166666666666698</c:v>
                </c:pt>
                <c:pt idx="3326">
                  <c:v>0.44169611307420498</c:v>
                </c:pt>
                <c:pt idx="3327">
                  <c:v>0.441717791411043</c:v>
                </c:pt>
                <c:pt idx="3328">
                  <c:v>0.441717791411043</c:v>
                </c:pt>
                <c:pt idx="3329">
                  <c:v>0.44184027777777801</c:v>
                </c:pt>
                <c:pt idx="3330">
                  <c:v>0.44186046511627902</c:v>
                </c:pt>
                <c:pt idx="3331">
                  <c:v>0.44194107452339698</c:v>
                </c:pt>
                <c:pt idx="3332">
                  <c:v>0.44230769230769201</c:v>
                </c:pt>
                <c:pt idx="3333">
                  <c:v>0.442408376963351</c:v>
                </c:pt>
                <c:pt idx="3334">
                  <c:v>0.44244604316546798</c:v>
                </c:pt>
                <c:pt idx="3335">
                  <c:v>0.44247787610619499</c:v>
                </c:pt>
                <c:pt idx="3336">
                  <c:v>0.44251134644478102</c:v>
                </c:pt>
                <c:pt idx="3337">
                  <c:v>0.44262295081967201</c:v>
                </c:pt>
                <c:pt idx="3338">
                  <c:v>0.44262295081967201</c:v>
                </c:pt>
                <c:pt idx="3339">
                  <c:v>0.44264507422402199</c:v>
                </c:pt>
                <c:pt idx="3340">
                  <c:v>0.44266666666666699</c:v>
                </c:pt>
                <c:pt idx="3341">
                  <c:v>0.442786069651741</c:v>
                </c:pt>
                <c:pt idx="3342">
                  <c:v>0.442857142857143</c:v>
                </c:pt>
                <c:pt idx="3343">
                  <c:v>0.442922374429224</c:v>
                </c:pt>
                <c:pt idx="3344">
                  <c:v>0.442946990116801</c:v>
                </c:pt>
                <c:pt idx="3345">
                  <c:v>0.44295302013422799</c:v>
                </c:pt>
                <c:pt idx="3346">
                  <c:v>0.44300518134715</c:v>
                </c:pt>
                <c:pt idx="3347">
                  <c:v>0.443037974683544</c:v>
                </c:pt>
                <c:pt idx="3348">
                  <c:v>0.443037974683544</c:v>
                </c:pt>
                <c:pt idx="3349">
                  <c:v>0.44322344322344298</c:v>
                </c:pt>
                <c:pt idx="3350">
                  <c:v>0.44326241134751798</c:v>
                </c:pt>
                <c:pt idx="3351">
                  <c:v>0.44329896907216498</c:v>
                </c:pt>
                <c:pt idx="3352">
                  <c:v>0.44331395348837199</c:v>
                </c:pt>
                <c:pt idx="3353">
                  <c:v>0.44334975369458102</c:v>
                </c:pt>
                <c:pt idx="3354">
                  <c:v>0.44339622641509402</c:v>
                </c:pt>
                <c:pt idx="3355">
                  <c:v>0.44354838709677402</c:v>
                </c:pt>
                <c:pt idx="3356">
                  <c:v>0.44360902255639101</c:v>
                </c:pt>
                <c:pt idx="3357">
                  <c:v>0.44360902255639101</c:v>
                </c:pt>
                <c:pt idx="3358">
                  <c:v>0.44378698224852098</c:v>
                </c:pt>
                <c:pt idx="3359">
                  <c:v>0.44378698224852098</c:v>
                </c:pt>
                <c:pt idx="3360">
                  <c:v>0.44387755102040799</c:v>
                </c:pt>
                <c:pt idx="3361">
                  <c:v>0.44389027431421402</c:v>
                </c:pt>
                <c:pt idx="3362">
                  <c:v>0.443910256410256</c:v>
                </c:pt>
                <c:pt idx="3363">
                  <c:v>0.44397463002114201</c:v>
                </c:pt>
                <c:pt idx="3364">
                  <c:v>0.44408945686901002</c:v>
                </c:pt>
                <c:pt idx="3365">
                  <c:v>0.444148936170213</c:v>
                </c:pt>
                <c:pt idx="3366">
                  <c:v>0.44415584415584403</c:v>
                </c:pt>
                <c:pt idx="3367">
                  <c:v>0.44444444444444398</c:v>
                </c:pt>
                <c:pt idx="3368">
                  <c:v>0.44444444444444398</c:v>
                </c:pt>
                <c:pt idx="3369">
                  <c:v>0.44444444444444398</c:v>
                </c:pt>
                <c:pt idx="3370">
                  <c:v>0.44444444444444398</c:v>
                </c:pt>
                <c:pt idx="3371">
                  <c:v>0.44444444444444398</c:v>
                </c:pt>
                <c:pt idx="3372">
                  <c:v>0.44444444444444398</c:v>
                </c:pt>
                <c:pt idx="3373">
                  <c:v>0.44444444444444398</c:v>
                </c:pt>
                <c:pt idx="3374">
                  <c:v>0.44444444444444398</c:v>
                </c:pt>
                <c:pt idx="3375">
                  <c:v>0.44444444444444398</c:v>
                </c:pt>
                <c:pt idx="3376">
                  <c:v>0.44471153846153799</c:v>
                </c:pt>
                <c:pt idx="3377">
                  <c:v>0.44484629294755901</c:v>
                </c:pt>
                <c:pt idx="3378">
                  <c:v>0.44485981308411199</c:v>
                </c:pt>
                <c:pt idx="3379">
                  <c:v>0.44489795918367298</c:v>
                </c:pt>
                <c:pt idx="3380">
                  <c:v>0.444933920704846</c:v>
                </c:pt>
                <c:pt idx="3381">
                  <c:v>0.44495412844036702</c:v>
                </c:pt>
                <c:pt idx="3382">
                  <c:v>0.44497607655502402</c:v>
                </c:pt>
                <c:pt idx="3383">
                  <c:v>0.445161290322581</c:v>
                </c:pt>
                <c:pt idx="3384">
                  <c:v>0.44524053224155602</c:v>
                </c:pt>
                <c:pt idx="3385">
                  <c:v>0.4453125</c:v>
                </c:pt>
                <c:pt idx="3386">
                  <c:v>0.4453125</c:v>
                </c:pt>
                <c:pt idx="3387">
                  <c:v>0.44543429844097998</c:v>
                </c:pt>
                <c:pt idx="3388">
                  <c:v>0.44545454545454499</c:v>
                </c:pt>
                <c:pt idx="3389">
                  <c:v>0.44552319309600902</c:v>
                </c:pt>
                <c:pt idx="3390">
                  <c:v>0.445544554455446</c:v>
                </c:pt>
                <c:pt idx="3391">
                  <c:v>0.445544554455446</c:v>
                </c:pt>
                <c:pt idx="3392">
                  <c:v>0.44565217391304301</c:v>
                </c:pt>
                <c:pt idx="3393">
                  <c:v>0.44565217391304301</c:v>
                </c:pt>
                <c:pt idx="3394">
                  <c:v>0.44584837545126399</c:v>
                </c:pt>
                <c:pt idx="3395">
                  <c:v>0.44587280108254401</c:v>
                </c:pt>
                <c:pt idx="3396">
                  <c:v>0.445887445887446</c:v>
                </c:pt>
                <c:pt idx="3397">
                  <c:v>0.44590643274853797</c:v>
                </c:pt>
                <c:pt idx="3398">
                  <c:v>0.44591029023746698</c:v>
                </c:pt>
                <c:pt idx="3399">
                  <c:v>0.445945945945946</c:v>
                </c:pt>
                <c:pt idx="3400">
                  <c:v>0.445945945945946</c:v>
                </c:pt>
                <c:pt idx="3401">
                  <c:v>0.44599303135888502</c:v>
                </c:pt>
                <c:pt idx="3402">
                  <c:v>0.44599303135888502</c:v>
                </c:pt>
                <c:pt idx="3403">
                  <c:v>0.446009389671361</c:v>
                </c:pt>
                <c:pt idx="3404">
                  <c:v>0.44604316546762601</c:v>
                </c:pt>
                <c:pt idx="3405">
                  <c:v>0.44606413994169097</c:v>
                </c:pt>
                <c:pt idx="3406">
                  <c:v>0.44623655913978499</c:v>
                </c:pt>
                <c:pt idx="3407">
                  <c:v>0.44626593806921699</c:v>
                </c:pt>
                <c:pt idx="3408">
                  <c:v>0.44636678200691998</c:v>
                </c:pt>
                <c:pt idx="3409">
                  <c:v>0.44641480339244399</c:v>
                </c:pt>
                <c:pt idx="3410">
                  <c:v>0.44642857142857101</c:v>
                </c:pt>
                <c:pt idx="3411">
                  <c:v>0.44642857142857101</c:v>
                </c:pt>
                <c:pt idx="3412">
                  <c:v>0.44642857142857101</c:v>
                </c:pt>
                <c:pt idx="3413">
                  <c:v>0.44642857142857101</c:v>
                </c:pt>
                <c:pt idx="3414">
                  <c:v>0.44655929721815502</c:v>
                </c:pt>
                <c:pt idx="3415">
                  <c:v>0.44660194174757301</c:v>
                </c:pt>
                <c:pt idx="3416">
                  <c:v>0.44671532846715301</c:v>
                </c:pt>
                <c:pt idx="3417">
                  <c:v>0.44680851063829802</c:v>
                </c:pt>
                <c:pt idx="3418">
                  <c:v>0.44680851063829802</c:v>
                </c:pt>
                <c:pt idx="3419">
                  <c:v>0.44680851063829802</c:v>
                </c:pt>
                <c:pt idx="3420">
                  <c:v>0.44694960212201601</c:v>
                </c:pt>
                <c:pt idx="3421">
                  <c:v>0.44696969696969702</c:v>
                </c:pt>
                <c:pt idx="3422">
                  <c:v>0.44705882352941201</c:v>
                </c:pt>
                <c:pt idx="3423">
                  <c:v>0.44705882352941201</c:v>
                </c:pt>
                <c:pt idx="3424">
                  <c:v>0.44705882352941201</c:v>
                </c:pt>
                <c:pt idx="3425">
                  <c:v>0.447101449275362</c:v>
                </c:pt>
                <c:pt idx="3426">
                  <c:v>0.44710327455919402</c:v>
                </c:pt>
                <c:pt idx="3427">
                  <c:v>0.44711538461538503</c:v>
                </c:pt>
                <c:pt idx="3428">
                  <c:v>0.44715447154471499</c:v>
                </c:pt>
                <c:pt idx="3429">
                  <c:v>0.44715447154471499</c:v>
                </c:pt>
                <c:pt idx="3430">
                  <c:v>0.44736842105263203</c:v>
                </c:pt>
                <c:pt idx="3431">
                  <c:v>0.44736842105263203</c:v>
                </c:pt>
                <c:pt idx="3432">
                  <c:v>0.44736842105263203</c:v>
                </c:pt>
                <c:pt idx="3433">
                  <c:v>0.44748858447488599</c:v>
                </c:pt>
                <c:pt idx="3434">
                  <c:v>0.44751381215469599</c:v>
                </c:pt>
                <c:pt idx="3435">
                  <c:v>0.447552447552448</c:v>
                </c:pt>
                <c:pt idx="3436">
                  <c:v>0.447552447552448</c:v>
                </c:pt>
                <c:pt idx="3437">
                  <c:v>0.44761904761904803</c:v>
                </c:pt>
                <c:pt idx="3438">
                  <c:v>0.44769874476987398</c:v>
                </c:pt>
                <c:pt idx="3439">
                  <c:v>0.44776119402985098</c:v>
                </c:pt>
                <c:pt idx="3440">
                  <c:v>0.44776119402985098</c:v>
                </c:pt>
                <c:pt idx="3441">
                  <c:v>0.44781783681214399</c:v>
                </c:pt>
                <c:pt idx="3442">
                  <c:v>0.44787644787644798</c:v>
                </c:pt>
                <c:pt idx="3443">
                  <c:v>0.44791666666666702</c:v>
                </c:pt>
                <c:pt idx="3444">
                  <c:v>0.44808743169398901</c:v>
                </c:pt>
                <c:pt idx="3445">
                  <c:v>0.44810744810744801</c:v>
                </c:pt>
                <c:pt idx="3446">
                  <c:v>0.44810863239573201</c:v>
                </c:pt>
                <c:pt idx="3447">
                  <c:v>0.44814814814814802</c:v>
                </c:pt>
                <c:pt idx="3448">
                  <c:v>0.44827586206896503</c:v>
                </c:pt>
                <c:pt idx="3449">
                  <c:v>0.44827586206896503</c:v>
                </c:pt>
                <c:pt idx="3450">
                  <c:v>0.44827586206896503</c:v>
                </c:pt>
                <c:pt idx="3451">
                  <c:v>0.44827586206896503</c:v>
                </c:pt>
                <c:pt idx="3452">
                  <c:v>0.44827586206896503</c:v>
                </c:pt>
                <c:pt idx="3453">
                  <c:v>0.44834307992202699</c:v>
                </c:pt>
                <c:pt idx="3454">
                  <c:v>0.448421052631579</c:v>
                </c:pt>
                <c:pt idx="3455">
                  <c:v>0.44852941176470601</c:v>
                </c:pt>
                <c:pt idx="3456">
                  <c:v>0.44855967078189302</c:v>
                </c:pt>
                <c:pt idx="3457">
                  <c:v>0.448730964467005</c:v>
                </c:pt>
                <c:pt idx="3458">
                  <c:v>0.44876325088339197</c:v>
                </c:pt>
                <c:pt idx="3459">
                  <c:v>0.44887780548628398</c:v>
                </c:pt>
                <c:pt idx="3460">
                  <c:v>0.44897959183673503</c:v>
                </c:pt>
                <c:pt idx="3461">
                  <c:v>0.44905660377358497</c:v>
                </c:pt>
                <c:pt idx="3462">
                  <c:v>0.44906033630069198</c:v>
                </c:pt>
                <c:pt idx="3463">
                  <c:v>0.44930875576036899</c:v>
                </c:pt>
                <c:pt idx="3464">
                  <c:v>0.449350649350649</c:v>
                </c:pt>
                <c:pt idx="3465">
                  <c:v>0.449350649350649</c:v>
                </c:pt>
                <c:pt idx="3466">
                  <c:v>0.44937586685159497</c:v>
                </c:pt>
                <c:pt idx="3467">
                  <c:v>0.44940476190476197</c:v>
                </c:pt>
                <c:pt idx="3468">
                  <c:v>0.449438202247191</c:v>
                </c:pt>
                <c:pt idx="3469">
                  <c:v>0.44961240310077499</c:v>
                </c:pt>
                <c:pt idx="3470">
                  <c:v>0.449680511182109</c:v>
                </c:pt>
                <c:pt idx="3471">
                  <c:v>0.44979079497907898</c:v>
                </c:pt>
                <c:pt idx="3472">
                  <c:v>0.45</c:v>
                </c:pt>
                <c:pt idx="3473">
                  <c:v>0.45</c:v>
                </c:pt>
                <c:pt idx="3474">
                  <c:v>0.45</c:v>
                </c:pt>
                <c:pt idx="3475">
                  <c:v>0.45</c:v>
                </c:pt>
                <c:pt idx="3476">
                  <c:v>0.45</c:v>
                </c:pt>
                <c:pt idx="3477">
                  <c:v>0.45</c:v>
                </c:pt>
                <c:pt idx="3478">
                  <c:v>0.450086555106751</c:v>
                </c:pt>
                <c:pt idx="3479">
                  <c:v>0.45028142589118197</c:v>
                </c:pt>
                <c:pt idx="3480">
                  <c:v>0.45031712473572899</c:v>
                </c:pt>
                <c:pt idx="3481">
                  <c:v>0.450354609929078</c:v>
                </c:pt>
                <c:pt idx="3482">
                  <c:v>0.45045045045045001</c:v>
                </c:pt>
                <c:pt idx="3483">
                  <c:v>0.45045045045045001</c:v>
                </c:pt>
                <c:pt idx="3484">
                  <c:v>0.45047619047618997</c:v>
                </c:pt>
                <c:pt idx="3485">
                  <c:v>0.45070422535211302</c:v>
                </c:pt>
                <c:pt idx="3486">
                  <c:v>0.45070422535211302</c:v>
                </c:pt>
                <c:pt idx="3487">
                  <c:v>0.45070422535211302</c:v>
                </c:pt>
                <c:pt idx="3488">
                  <c:v>0.45079365079365102</c:v>
                </c:pt>
                <c:pt idx="3489">
                  <c:v>0.450867052023121</c:v>
                </c:pt>
                <c:pt idx="3490">
                  <c:v>0.45096463022507999</c:v>
                </c:pt>
                <c:pt idx="3491">
                  <c:v>0.45098039215686297</c:v>
                </c:pt>
                <c:pt idx="3492">
                  <c:v>0.45098039215686297</c:v>
                </c:pt>
                <c:pt idx="3493">
                  <c:v>0.45116279069767401</c:v>
                </c:pt>
                <c:pt idx="3494">
                  <c:v>0.45121951219512202</c:v>
                </c:pt>
                <c:pt idx="3495">
                  <c:v>0.45121951219512202</c:v>
                </c:pt>
                <c:pt idx="3496">
                  <c:v>0.45138888888888901</c:v>
                </c:pt>
                <c:pt idx="3497">
                  <c:v>0.45142857142857101</c:v>
                </c:pt>
                <c:pt idx="3498">
                  <c:v>0.45147679324894502</c:v>
                </c:pt>
                <c:pt idx="3499">
                  <c:v>0.45161290322580599</c:v>
                </c:pt>
                <c:pt idx="3500">
                  <c:v>0.45161290322580599</c:v>
                </c:pt>
                <c:pt idx="3501">
                  <c:v>0.45161290322580599</c:v>
                </c:pt>
                <c:pt idx="3502">
                  <c:v>0.45161290322580599</c:v>
                </c:pt>
                <c:pt idx="3503">
                  <c:v>0.45161290322580599</c:v>
                </c:pt>
                <c:pt idx="3504">
                  <c:v>0.45161290322580599</c:v>
                </c:pt>
                <c:pt idx="3505">
                  <c:v>0.45168892380204201</c:v>
                </c:pt>
                <c:pt idx="3506">
                  <c:v>0.45175438596491202</c:v>
                </c:pt>
                <c:pt idx="3507">
                  <c:v>0.45187601957585599</c:v>
                </c:pt>
                <c:pt idx="3508">
                  <c:v>0.45202020202020199</c:v>
                </c:pt>
                <c:pt idx="3509">
                  <c:v>0.45205479452054798</c:v>
                </c:pt>
                <c:pt idx="3510">
                  <c:v>0.45243128964059198</c:v>
                </c:pt>
                <c:pt idx="3511">
                  <c:v>0.45243128964059198</c:v>
                </c:pt>
                <c:pt idx="3512">
                  <c:v>0.452436194895592</c:v>
                </c:pt>
                <c:pt idx="3513">
                  <c:v>0.45258620689655199</c:v>
                </c:pt>
                <c:pt idx="3514">
                  <c:v>0.452631578947368</c:v>
                </c:pt>
                <c:pt idx="3515">
                  <c:v>0.452777777777778</c:v>
                </c:pt>
                <c:pt idx="3516">
                  <c:v>0.45283018867924502</c:v>
                </c:pt>
                <c:pt idx="3517">
                  <c:v>0.45296167247386798</c:v>
                </c:pt>
                <c:pt idx="3518">
                  <c:v>0.45299145299145299</c:v>
                </c:pt>
                <c:pt idx="3519">
                  <c:v>0.45306122448979602</c:v>
                </c:pt>
                <c:pt idx="3520">
                  <c:v>0.453125</c:v>
                </c:pt>
                <c:pt idx="3521">
                  <c:v>0.453125</c:v>
                </c:pt>
                <c:pt idx="3522">
                  <c:v>0.45323741007194202</c:v>
                </c:pt>
                <c:pt idx="3523">
                  <c:v>0.453416149068323</c:v>
                </c:pt>
                <c:pt idx="3524">
                  <c:v>0.453416149068323</c:v>
                </c:pt>
                <c:pt idx="3525">
                  <c:v>0.45344129554655899</c:v>
                </c:pt>
                <c:pt idx="3526">
                  <c:v>0.45348837209302301</c:v>
                </c:pt>
                <c:pt idx="3527">
                  <c:v>0.45348837209302301</c:v>
                </c:pt>
                <c:pt idx="3528">
                  <c:v>0.45348837209302301</c:v>
                </c:pt>
                <c:pt idx="3529">
                  <c:v>0.453703703703704</c:v>
                </c:pt>
                <c:pt idx="3530">
                  <c:v>0.45384615384615401</c:v>
                </c:pt>
                <c:pt idx="3531">
                  <c:v>0.45384615384615401</c:v>
                </c:pt>
                <c:pt idx="3532">
                  <c:v>0.45396145610278399</c:v>
                </c:pt>
                <c:pt idx="3533">
                  <c:v>0.45398773006135001</c:v>
                </c:pt>
                <c:pt idx="3534">
                  <c:v>0.45404411764705899</c:v>
                </c:pt>
                <c:pt idx="3535">
                  <c:v>0.45411605937921701</c:v>
                </c:pt>
                <c:pt idx="3536">
                  <c:v>0.45414847161571997</c:v>
                </c:pt>
                <c:pt idx="3537">
                  <c:v>0.45418006430868202</c:v>
                </c:pt>
                <c:pt idx="3538">
                  <c:v>0.45435244161358801</c:v>
                </c:pt>
                <c:pt idx="3539">
                  <c:v>0.45454545454545398</c:v>
                </c:pt>
                <c:pt idx="3540">
                  <c:v>0.45454545454545398</c:v>
                </c:pt>
                <c:pt idx="3541">
                  <c:v>0.45454545454545398</c:v>
                </c:pt>
                <c:pt idx="3542">
                  <c:v>0.45454545454545398</c:v>
                </c:pt>
                <c:pt idx="3543">
                  <c:v>0.45454545454545398</c:v>
                </c:pt>
                <c:pt idx="3544">
                  <c:v>0.45476190476190498</c:v>
                </c:pt>
                <c:pt idx="3545">
                  <c:v>0.45505617977528101</c:v>
                </c:pt>
                <c:pt idx="3546">
                  <c:v>0.45512820512820501</c:v>
                </c:pt>
                <c:pt idx="3547">
                  <c:v>0.45517241379310303</c:v>
                </c:pt>
                <c:pt idx="3548">
                  <c:v>0.45544554455445502</c:v>
                </c:pt>
                <c:pt idx="3549">
                  <c:v>0.45559210526315802</c:v>
                </c:pt>
                <c:pt idx="3550">
                  <c:v>0.45562130177514798</c:v>
                </c:pt>
                <c:pt idx="3551">
                  <c:v>0.455696202531646</c:v>
                </c:pt>
                <c:pt idx="3552">
                  <c:v>0.45572916666666702</c:v>
                </c:pt>
                <c:pt idx="3553">
                  <c:v>0.45582329317269099</c:v>
                </c:pt>
                <c:pt idx="3554">
                  <c:v>0.45591939546599503</c:v>
                </c:pt>
                <c:pt idx="3555">
                  <c:v>0.455974842767296</c:v>
                </c:pt>
                <c:pt idx="3556">
                  <c:v>0.45600000000000002</c:v>
                </c:pt>
                <c:pt idx="3557">
                  <c:v>0.45600000000000002</c:v>
                </c:pt>
                <c:pt idx="3558">
                  <c:v>0.45614035087719301</c:v>
                </c:pt>
                <c:pt idx="3559">
                  <c:v>0.45620437956204402</c:v>
                </c:pt>
                <c:pt idx="3560">
                  <c:v>0.45624999999999999</c:v>
                </c:pt>
                <c:pt idx="3561">
                  <c:v>0.45631067961165001</c:v>
                </c:pt>
                <c:pt idx="3562">
                  <c:v>0.45652173913043498</c:v>
                </c:pt>
                <c:pt idx="3563">
                  <c:v>0.45652173913043498</c:v>
                </c:pt>
                <c:pt idx="3564">
                  <c:v>0.45654082528533801</c:v>
                </c:pt>
                <c:pt idx="3565">
                  <c:v>0.45669291338582702</c:v>
                </c:pt>
                <c:pt idx="3566">
                  <c:v>0.45679012345678999</c:v>
                </c:pt>
                <c:pt idx="3567">
                  <c:v>0.45685279187817301</c:v>
                </c:pt>
                <c:pt idx="3568">
                  <c:v>0.45692883895131098</c:v>
                </c:pt>
                <c:pt idx="3569">
                  <c:v>0.45693779904306198</c:v>
                </c:pt>
                <c:pt idx="3570">
                  <c:v>0.456989247311828</c:v>
                </c:pt>
                <c:pt idx="3571">
                  <c:v>0.456989247311828</c:v>
                </c:pt>
                <c:pt idx="3572">
                  <c:v>0.45703125</c:v>
                </c:pt>
                <c:pt idx="3573">
                  <c:v>0.457044673539519</c:v>
                </c:pt>
                <c:pt idx="3574">
                  <c:v>0.45714285714285702</c:v>
                </c:pt>
                <c:pt idx="3575">
                  <c:v>0.45714285714285702</c:v>
                </c:pt>
                <c:pt idx="3576">
                  <c:v>0.45714285714285702</c:v>
                </c:pt>
                <c:pt idx="3577">
                  <c:v>0.457399103139013</c:v>
                </c:pt>
                <c:pt idx="3578">
                  <c:v>0.45762711864406802</c:v>
                </c:pt>
                <c:pt idx="3579">
                  <c:v>0.45783132530120502</c:v>
                </c:pt>
                <c:pt idx="3580">
                  <c:v>0.45783132530120502</c:v>
                </c:pt>
                <c:pt idx="3581">
                  <c:v>0.45800524934383202</c:v>
                </c:pt>
                <c:pt idx="3582">
                  <c:v>0.45808736717827597</c:v>
                </c:pt>
                <c:pt idx="3583">
                  <c:v>0.45816733067729098</c:v>
                </c:pt>
                <c:pt idx="3584">
                  <c:v>0.45833333333333298</c:v>
                </c:pt>
                <c:pt idx="3585">
                  <c:v>0.45833333333333298</c:v>
                </c:pt>
                <c:pt idx="3586">
                  <c:v>0.45833333333333298</c:v>
                </c:pt>
                <c:pt idx="3587">
                  <c:v>0.45833333333333298</c:v>
                </c:pt>
                <c:pt idx="3588">
                  <c:v>0.45833333333333298</c:v>
                </c:pt>
                <c:pt idx="3589">
                  <c:v>0.458394160583942</c:v>
                </c:pt>
                <c:pt idx="3590">
                  <c:v>0.45840867992766698</c:v>
                </c:pt>
                <c:pt idx="3591">
                  <c:v>0.45853658536585401</c:v>
                </c:pt>
                <c:pt idx="3592">
                  <c:v>0.45853658536585401</c:v>
                </c:pt>
                <c:pt idx="3593">
                  <c:v>0.45859872611465002</c:v>
                </c:pt>
                <c:pt idx="3594">
                  <c:v>0.45860709592641302</c:v>
                </c:pt>
                <c:pt idx="3595">
                  <c:v>0.458620689655172</c:v>
                </c:pt>
                <c:pt idx="3596">
                  <c:v>0.45864661654135302</c:v>
                </c:pt>
                <c:pt idx="3597">
                  <c:v>0.45867098865478101</c:v>
                </c:pt>
                <c:pt idx="3598">
                  <c:v>0.45887445887445899</c:v>
                </c:pt>
                <c:pt idx="3599">
                  <c:v>0.45888594164456198</c:v>
                </c:pt>
                <c:pt idx="3600">
                  <c:v>0.45911949685534598</c:v>
                </c:pt>
                <c:pt idx="3601">
                  <c:v>0.45921450151057402</c:v>
                </c:pt>
                <c:pt idx="3602">
                  <c:v>0.45945945945945899</c:v>
                </c:pt>
                <c:pt idx="3603">
                  <c:v>0.45945945945945899</c:v>
                </c:pt>
                <c:pt idx="3604">
                  <c:v>0.45945945945945899</c:v>
                </c:pt>
                <c:pt idx="3605">
                  <c:v>0.45945945945945899</c:v>
                </c:pt>
                <c:pt idx="3606">
                  <c:v>0.45950155763239903</c:v>
                </c:pt>
                <c:pt idx="3607">
                  <c:v>0.45954692556634302</c:v>
                </c:pt>
                <c:pt idx="3608">
                  <c:v>0.45967741935483902</c:v>
                </c:pt>
                <c:pt idx="3609">
                  <c:v>0.45970149253731302</c:v>
                </c:pt>
                <c:pt idx="3610">
                  <c:v>0.45972495088408599</c:v>
                </c:pt>
                <c:pt idx="3611">
                  <c:v>0.45977011494252901</c:v>
                </c:pt>
                <c:pt idx="3612">
                  <c:v>0.45989304812834197</c:v>
                </c:pt>
                <c:pt idx="3613">
                  <c:v>0.45989304812834197</c:v>
                </c:pt>
                <c:pt idx="3614">
                  <c:v>0.45989304812834197</c:v>
                </c:pt>
                <c:pt idx="3615">
                  <c:v>0.46</c:v>
                </c:pt>
                <c:pt idx="3616">
                  <c:v>0.46</c:v>
                </c:pt>
                <c:pt idx="3617">
                  <c:v>0.46006944444444398</c:v>
                </c:pt>
                <c:pt idx="3618">
                  <c:v>0.46015424164524399</c:v>
                </c:pt>
                <c:pt idx="3619">
                  <c:v>0.46025104602510503</c:v>
                </c:pt>
                <c:pt idx="3620">
                  <c:v>0.46031746031746001</c:v>
                </c:pt>
                <c:pt idx="3621">
                  <c:v>0.46035805626598503</c:v>
                </c:pt>
                <c:pt idx="3622">
                  <c:v>0.46055979643765899</c:v>
                </c:pt>
                <c:pt idx="3623">
                  <c:v>0.46056782334384899</c:v>
                </c:pt>
                <c:pt idx="3624">
                  <c:v>0.460636515912898</c:v>
                </c:pt>
                <c:pt idx="3625">
                  <c:v>0.46067415730337102</c:v>
                </c:pt>
                <c:pt idx="3626">
                  <c:v>0.46067415730337102</c:v>
                </c:pt>
                <c:pt idx="3627">
                  <c:v>0.46086956521739098</c:v>
                </c:pt>
                <c:pt idx="3628">
                  <c:v>0.46090534979423903</c:v>
                </c:pt>
                <c:pt idx="3629">
                  <c:v>0.4609375</c:v>
                </c:pt>
                <c:pt idx="3630">
                  <c:v>0.46103896103896103</c:v>
                </c:pt>
                <c:pt idx="3631">
                  <c:v>0.46108949416342399</c:v>
                </c:pt>
                <c:pt idx="3632">
                  <c:v>0.46111111111111103</c:v>
                </c:pt>
                <c:pt idx="3633">
                  <c:v>0.46120689655172398</c:v>
                </c:pt>
                <c:pt idx="3634">
                  <c:v>0.46129032258064501</c:v>
                </c:pt>
                <c:pt idx="3635">
                  <c:v>0.461309523809524</c:v>
                </c:pt>
                <c:pt idx="3636">
                  <c:v>0.46153846153846201</c:v>
                </c:pt>
                <c:pt idx="3637">
                  <c:v>0.46153846153846201</c:v>
                </c:pt>
                <c:pt idx="3638">
                  <c:v>0.46153846153846201</c:v>
                </c:pt>
                <c:pt idx="3639">
                  <c:v>0.46153846153846201</c:v>
                </c:pt>
                <c:pt idx="3640">
                  <c:v>0.46153846153846201</c:v>
                </c:pt>
                <c:pt idx="3641">
                  <c:v>0.46153846153846201</c:v>
                </c:pt>
                <c:pt idx="3642">
                  <c:v>0.46153846153846201</c:v>
                </c:pt>
                <c:pt idx="3643">
                  <c:v>0.46175637393767699</c:v>
                </c:pt>
                <c:pt idx="3644">
                  <c:v>0.46195652173912999</c:v>
                </c:pt>
                <c:pt idx="3645">
                  <c:v>0.461988304093567</c:v>
                </c:pt>
                <c:pt idx="3646">
                  <c:v>0.461988304093567</c:v>
                </c:pt>
                <c:pt idx="3647">
                  <c:v>0.46212121212121199</c:v>
                </c:pt>
                <c:pt idx="3648">
                  <c:v>0.46215139442231101</c:v>
                </c:pt>
                <c:pt idx="3649">
                  <c:v>0.46218487394958002</c:v>
                </c:pt>
                <c:pt idx="3650">
                  <c:v>0.46218487394958002</c:v>
                </c:pt>
                <c:pt idx="3651">
                  <c:v>0.46224256292906202</c:v>
                </c:pt>
                <c:pt idx="3652">
                  <c:v>0.46226415094339601</c:v>
                </c:pt>
                <c:pt idx="3653">
                  <c:v>0.46226415094339601</c:v>
                </c:pt>
                <c:pt idx="3654">
                  <c:v>0.462311557788945</c:v>
                </c:pt>
                <c:pt idx="3655">
                  <c:v>0.462365591397849</c:v>
                </c:pt>
                <c:pt idx="3656">
                  <c:v>0.46255506607929497</c:v>
                </c:pt>
                <c:pt idx="3657">
                  <c:v>0.46260387811634301</c:v>
                </c:pt>
                <c:pt idx="3658">
                  <c:v>0.462686567164179</c:v>
                </c:pt>
                <c:pt idx="3659">
                  <c:v>0.46271510516252401</c:v>
                </c:pt>
                <c:pt idx="3660">
                  <c:v>0.462780269058296</c:v>
                </c:pt>
                <c:pt idx="3661">
                  <c:v>0.46278317152103599</c:v>
                </c:pt>
                <c:pt idx="3662">
                  <c:v>0.46279069767441899</c:v>
                </c:pt>
                <c:pt idx="3663">
                  <c:v>0.46285714285714302</c:v>
                </c:pt>
                <c:pt idx="3664">
                  <c:v>0.46290801186943598</c:v>
                </c:pt>
                <c:pt idx="3665">
                  <c:v>0.46296296296296302</c:v>
                </c:pt>
                <c:pt idx="3666">
                  <c:v>0.463028169014084</c:v>
                </c:pt>
                <c:pt idx="3667">
                  <c:v>0.463114754098361</c:v>
                </c:pt>
                <c:pt idx="3668">
                  <c:v>0.46315789473684199</c:v>
                </c:pt>
                <c:pt idx="3669">
                  <c:v>0.46315789473684199</c:v>
                </c:pt>
                <c:pt idx="3670">
                  <c:v>0.46320346320346301</c:v>
                </c:pt>
                <c:pt idx="3671">
                  <c:v>0.46330275229357798</c:v>
                </c:pt>
                <c:pt idx="3672">
                  <c:v>0.46331658291457301</c:v>
                </c:pt>
                <c:pt idx="3673">
                  <c:v>0.46333333333333299</c:v>
                </c:pt>
                <c:pt idx="3674">
                  <c:v>0.46335697399527198</c:v>
                </c:pt>
                <c:pt idx="3675">
                  <c:v>0.46341463414634099</c:v>
                </c:pt>
                <c:pt idx="3676">
                  <c:v>0.46341463414634099</c:v>
                </c:pt>
                <c:pt idx="3677">
                  <c:v>0.46341463414634099</c:v>
                </c:pt>
                <c:pt idx="3678">
                  <c:v>0.46343612334801798</c:v>
                </c:pt>
                <c:pt idx="3679">
                  <c:v>0.46346555323590799</c:v>
                </c:pt>
                <c:pt idx="3680">
                  <c:v>0.46354166666666702</c:v>
                </c:pt>
                <c:pt idx="3681">
                  <c:v>0.463576158940397</c:v>
                </c:pt>
                <c:pt idx="3682">
                  <c:v>0.46363636363636401</c:v>
                </c:pt>
                <c:pt idx="3683">
                  <c:v>0.46363636363636401</c:v>
                </c:pt>
                <c:pt idx="3684">
                  <c:v>0.46373626373626398</c:v>
                </c:pt>
                <c:pt idx="3685">
                  <c:v>0.46376811594202899</c:v>
                </c:pt>
                <c:pt idx="3686">
                  <c:v>0.463917525773196</c:v>
                </c:pt>
                <c:pt idx="3687">
                  <c:v>0.46411483253588498</c:v>
                </c:pt>
                <c:pt idx="3688">
                  <c:v>0.46417445482865999</c:v>
                </c:pt>
                <c:pt idx="3689">
                  <c:v>0.46422487223168701</c:v>
                </c:pt>
                <c:pt idx="3690">
                  <c:v>0.46428571428571402</c:v>
                </c:pt>
                <c:pt idx="3691">
                  <c:v>0.46428571428571402</c:v>
                </c:pt>
                <c:pt idx="3692">
                  <c:v>0.46435100548446101</c:v>
                </c:pt>
                <c:pt idx="3693">
                  <c:v>0.46441947565543101</c:v>
                </c:pt>
                <c:pt idx="3694">
                  <c:v>0.46446700507614203</c:v>
                </c:pt>
                <c:pt idx="3695">
                  <c:v>0.46464646464646497</c:v>
                </c:pt>
                <c:pt idx="3696">
                  <c:v>0.46464646464646497</c:v>
                </c:pt>
                <c:pt idx="3697">
                  <c:v>0.46466809421841498</c:v>
                </c:pt>
                <c:pt idx="3698">
                  <c:v>0.46478873239436602</c:v>
                </c:pt>
                <c:pt idx="3699">
                  <c:v>0.464912280701754</c:v>
                </c:pt>
                <c:pt idx="3700">
                  <c:v>0.46496212121212099</c:v>
                </c:pt>
                <c:pt idx="3701">
                  <c:v>0.46506024096385501</c:v>
                </c:pt>
                <c:pt idx="3702">
                  <c:v>0.46511627906976699</c:v>
                </c:pt>
                <c:pt idx="3703">
                  <c:v>0.46511627906976699</c:v>
                </c:pt>
                <c:pt idx="3704">
                  <c:v>0.46511627906976699</c:v>
                </c:pt>
                <c:pt idx="3705">
                  <c:v>0.46538461538461501</c:v>
                </c:pt>
                <c:pt idx="3706">
                  <c:v>0.465447154471545</c:v>
                </c:pt>
                <c:pt idx="3707">
                  <c:v>0.46560000000000001</c:v>
                </c:pt>
                <c:pt idx="3708">
                  <c:v>0.46560846560846603</c:v>
                </c:pt>
                <c:pt idx="3709">
                  <c:v>0.46566164154103801</c:v>
                </c:pt>
                <c:pt idx="3710">
                  <c:v>0.46572580645161299</c:v>
                </c:pt>
                <c:pt idx="3711">
                  <c:v>0.465753424657534</c:v>
                </c:pt>
                <c:pt idx="3712">
                  <c:v>0.465753424657534</c:v>
                </c:pt>
                <c:pt idx="3713">
                  <c:v>0.46583850931677001</c:v>
                </c:pt>
                <c:pt idx="3714">
                  <c:v>0.46590909090909099</c:v>
                </c:pt>
                <c:pt idx="3715">
                  <c:v>0.46600458365164199</c:v>
                </c:pt>
                <c:pt idx="3716">
                  <c:v>0.46604938271604901</c:v>
                </c:pt>
                <c:pt idx="3717">
                  <c:v>0.46604938271604901</c:v>
                </c:pt>
                <c:pt idx="3718">
                  <c:v>0.46609360076408801</c:v>
                </c:pt>
                <c:pt idx="3719">
                  <c:v>0.466124661246612</c:v>
                </c:pt>
                <c:pt idx="3720">
                  <c:v>0.466165413533835</c:v>
                </c:pt>
                <c:pt idx="3721">
                  <c:v>0.46621621621621601</c:v>
                </c:pt>
                <c:pt idx="3722">
                  <c:v>0.46629213483146098</c:v>
                </c:pt>
                <c:pt idx="3723">
                  <c:v>0.466442953020134</c:v>
                </c:pt>
                <c:pt idx="3724">
                  <c:v>0.46666666666666701</c:v>
                </c:pt>
                <c:pt idx="3725">
                  <c:v>0.46666666666666701</c:v>
                </c:pt>
                <c:pt idx="3726">
                  <c:v>0.46666666666666701</c:v>
                </c:pt>
                <c:pt idx="3727">
                  <c:v>0.46676737160120801</c:v>
                </c:pt>
                <c:pt idx="3728">
                  <c:v>0.46696035242290701</c:v>
                </c:pt>
                <c:pt idx="3729">
                  <c:v>0.46696035242290701</c:v>
                </c:pt>
                <c:pt idx="3730">
                  <c:v>0.46700507614213199</c:v>
                </c:pt>
                <c:pt idx="3731">
                  <c:v>0.467166979362101</c:v>
                </c:pt>
                <c:pt idx="3732">
                  <c:v>0.46721311475409799</c:v>
                </c:pt>
                <c:pt idx="3733">
                  <c:v>0.467289719626168</c:v>
                </c:pt>
                <c:pt idx="3734">
                  <c:v>0.467391304347826</c:v>
                </c:pt>
                <c:pt idx="3735">
                  <c:v>0.467391304347826</c:v>
                </c:pt>
                <c:pt idx="3736">
                  <c:v>0.467432950191571</c:v>
                </c:pt>
                <c:pt idx="3737">
                  <c:v>0.46753246753246702</c:v>
                </c:pt>
                <c:pt idx="3738">
                  <c:v>0.46753246753246702</c:v>
                </c:pt>
                <c:pt idx="3739">
                  <c:v>0.46753246753246702</c:v>
                </c:pt>
                <c:pt idx="3740">
                  <c:v>0.46755277560594199</c:v>
                </c:pt>
                <c:pt idx="3741">
                  <c:v>0.46766169154228898</c:v>
                </c:pt>
                <c:pt idx="3742">
                  <c:v>0.46769230769230802</c:v>
                </c:pt>
                <c:pt idx="3743">
                  <c:v>0.467741935483871</c:v>
                </c:pt>
                <c:pt idx="3744">
                  <c:v>0.467741935483871</c:v>
                </c:pt>
                <c:pt idx="3745">
                  <c:v>0.46787479406919302</c:v>
                </c:pt>
                <c:pt idx="3746">
                  <c:v>0.46796657381615597</c:v>
                </c:pt>
                <c:pt idx="3747">
                  <c:v>0.468233246301131</c:v>
                </c:pt>
                <c:pt idx="3748">
                  <c:v>0.46830985915493001</c:v>
                </c:pt>
                <c:pt idx="3749">
                  <c:v>0.468354430379747</c:v>
                </c:pt>
                <c:pt idx="3750">
                  <c:v>0.468354430379747</c:v>
                </c:pt>
                <c:pt idx="3751">
                  <c:v>0.46843853820598003</c:v>
                </c:pt>
                <c:pt idx="3752">
                  <c:v>0.46846846846846801</c:v>
                </c:pt>
                <c:pt idx="3753">
                  <c:v>0.46849315068493103</c:v>
                </c:pt>
                <c:pt idx="3754">
                  <c:v>0.46857142857142903</c:v>
                </c:pt>
                <c:pt idx="3755">
                  <c:v>0.46871896722939399</c:v>
                </c:pt>
                <c:pt idx="3756">
                  <c:v>0.46888888888888902</c:v>
                </c:pt>
                <c:pt idx="3757">
                  <c:v>0.46889952153109998</c:v>
                </c:pt>
                <c:pt idx="3758">
                  <c:v>0.46891891891891901</c:v>
                </c:pt>
                <c:pt idx="3759">
                  <c:v>0.468926553672316</c:v>
                </c:pt>
                <c:pt idx="3760">
                  <c:v>0.469135802469136</c:v>
                </c:pt>
                <c:pt idx="3761">
                  <c:v>0.469135802469136</c:v>
                </c:pt>
                <c:pt idx="3762">
                  <c:v>0.469145569620253</c:v>
                </c:pt>
                <c:pt idx="3763">
                  <c:v>0.46917293233082702</c:v>
                </c:pt>
                <c:pt idx="3764">
                  <c:v>0.46919431279620899</c:v>
                </c:pt>
                <c:pt idx="3765">
                  <c:v>0.46923076923076901</c:v>
                </c:pt>
                <c:pt idx="3766">
                  <c:v>0.46937151949085099</c:v>
                </c:pt>
                <c:pt idx="3767">
                  <c:v>0.46945337620578798</c:v>
                </c:pt>
                <c:pt idx="3768">
                  <c:v>0.46947835738068799</c:v>
                </c:pt>
                <c:pt idx="3769">
                  <c:v>0.46948356807511699</c:v>
                </c:pt>
                <c:pt idx="3770">
                  <c:v>0.46948356807511699</c:v>
                </c:pt>
                <c:pt idx="3771">
                  <c:v>0.46956521739130402</c:v>
                </c:pt>
                <c:pt idx="3772">
                  <c:v>0.46976744186046498</c:v>
                </c:pt>
                <c:pt idx="3773">
                  <c:v>0.46979865771812102</c:v>
                </c:pt>
                <c:pt idx="3774">
                  <c:v>0.46994535519125702</c:v>
                </c:pt>
                <c:pt idx="3775">
                  <c:v>0.47</c:v>
                </c:pt>
                <c:pt idx="3776">
                  <c:v>0.47</c:v>
                </c:pt>
                <c:pt idx="3777">
                  <c:v>0.47011952191235101</c:v>
                </c:pt>
                <c:pt idx="3778">
                  <c:v>0.47017543859649102</c:v>
                </c:pt>
                <c:pt idx="3779">
                  <c:v>0.47020933977455698</c:v>
                </c:pt>
                <c:pt idx="3780">
                  <c:v>0.47043010752688202</c:v>
                </c:pt>
                <c:pt idx="3781">
                  <c:v>0.47058823529411797</c:v>
                </c:pt>
                <c:pt idx="3782">
                  <c:v>0.47058823529411797</c:v>
                </c:pt>
                <c:pt idx="3783">
                  <c:v>0.47058823529411797</c:v>
                </c:pt>
                <c:pt idx="3784">
                  <c:v>0.47081712062256798</c:v>
                </c:pt>
                <c:pt idx="3785">
                  <c:v>0.47089947089947098</c:v>
                </c:pt>
                <c:pt idx="3786">
                  <c:v>0.47098976109215002</c:v>
                </c:pt>
                <c:pt idx="3787">
                  <c:v>0.47107438016528902</c:v>
                </c:pt>
                <c:pt idx="3788">
                  <c:v>0.47111111111111098</c:v>
                </c:pt>
                <c:pt idx="3789">
                  <c:v>0.47115384615384598</c:v>
                </c:pt>
                <c:pt idx="3790">
                  <c:v>0.47126436781609199</c:v>
                </c:pt>
                <c:pt idx="3791">
                  <c:v>0.47126436781609199</c:v>
                </c:pt>
                <c:pt idx="3792">
                  <c:v>0.47126436781609199</c:v>
                </c:pt>
                <c:pt idx="3793">
                  <c:v>0.47142857142857097</c:v>
                </c:pt>
                <c:pt idx="3794">
                  <c:v>0.47150259067357497</c:v>
                </c:pt>
                <c:pt idx="3795">
                  <c:v>0.471518987341772</c:v>
                </c:pt>
                <c:pt idx="3796">
                  <c:v>0.47154471544715398</c:v>
                </c:pt>
                <c:pt idx="3797">
                  <c:v>0.47169811320754701</c:v>
                </c:pt>
                <c:pt idx="3798">
                  <c:v>0.47169811320754701</c:v>
                </c:pt>
                <c:pt idx="3799">
                  <c:v>0.471830985915493</c:v>
                </c:pt>
                <c:pt idx="3800">
                  <c:v>0.47191011235955099</c:v>
                </c:pt>
                <c:pt idx="3801">
                  <c:v>0.47202797202797198</c:v>
                </c:pt>
                <c:pt idx="3802">
                  <c:v>0.47222222222222199</c:v>
                </c:pt>
                <c:pt idx="3803">
                  <c:v>0.47222222222222199</c:v>
                </c:pt>
                <c:pt idx="3804">
                  <c:v>0.47222222222222199</c:v>
                </c:pt>
                <c:pt idx="3805">
                  <c:v>0.47227926078028698</c:v>
                </c:pt>
                <c:pt idx="3806">
                  <c:v>0.47231638418079103</c:v>
                </c:pt>
                <c:pt idx="3807">
                  <c:v>0.47235238987816303</c:v>
                </c:pt>
                <c:pt idx="3808">
                  <c:v>0.47242206235012002</c:v>
                </c:pt>
                <c:pt idx="3809">
                  <c:v>0.47244094488188998</c:v>
                </c:pt>
                <c:pt idx="3810">
                  <c:v>0.47260273972602701</c:v>
                </c:pt>
                <c:pt idx="3811">
                  <c:v>0.472727272727273</c:v>
                </c:pt>
                <c:pt idx="3812">
                  <c:v>0.47291196388261802</c:v>
                </c:pt>
                <c:pt idx="3813">
                  <c:v>0.47292418772563199</c:v>
                </c:pt>
                <c:pt idx="3814">
                  <c:v>0.47297297297297303</c:v>
                </c:pt>
                <c:pt idx="3815">
                  <c:v>0.47313691507798999</c:v>
                </c:pt>
                <c:pt idx="3816">
                  <c:v>0.47315436241610698</c:v>
                </c:pt>
                <c:pt idx="3817">
                  <c:v>0.47319347319347299</c:v>
                </c:pt>
                <c:pt idx="3818">
                  <c:v>0.473282442748092</c:v>
                </c:pt>
                <c:pt idx="3819">
                  <c:v>0.47334410339256899</c:v>
                </c:pt>
                <c:pt idx="3820">
                  <c:v>0.47335423197492199</c:v>
                </c:pt>
                <c:pt idx="3821">
                  <c:v>0.47337278106508901</c:v>
                </c:pt>
                <c:pt idx="3822">
                  <c:v>0.47337278106508901</c:v>
                </c:pt>
                <c:pt idx="3823">
                  <c:v>0.47352024922118402</c:v>
                </c:pt>
                <c:pt idx="3824">
                  <c:v>0.47368421052631599</c:v>
                </c:pt>
                <c:pt idx="3825">
                  <c:v>0.47368421052631599</c:v>
                </c:pt>
                <c:pt idx="3826">
                  <c:v>0.47368421052631599</c:v>
                </c:pt>
                <c:pt idx="3827">
                  <c:v>0.47374429223744302</c:v>
                </c:pt>
                <c:pt idx="3828">
                  <c:v>0.47379912663755502</c:v>
                </c:pt>
                <c:pt idx="3829">
                  <c:v>0.47393364928909998</c:v>
                </c:pt>
                <c:pt idx="3830">
                  <c:v>0.47402597402597402</c:v>
                </c:pt>
                <c:pt idx="3831">
                  <c:v>0.47413793103448298</c:v>
                </c:pt>
                <c:pt idx="3832">
                  <c:v>0.47422680412371099</c:v>
                </c:pt>
                <c:pt idx="3833">
                  <c:v>0.47435897435897401</c:v>
                </c:pt>
                <c:pt idx="3834">
                  <c:v>0.47441860465116298</c:v>
                </c:pt>
                <c:pt idx="3835">
                  <c:v>0.47441860465116298</c:v>
                </c:pt>
                <c:pt idx="3836">
                  <c:v>0.47445255474452502</c:v>
                </c:pt>
                <c:pt idx="3837">
                  <c:v>0.47448979591836699</c:v>
                </c:pt>
                <c:pt idx="3838">
                  <c:v>0.474503025064823</c:v>
                </c:pt>
                <c:pt idx="3839">
                  <c:v>0.47457627118644102</c:v>
                </c:pt>
                <c:pt idx="3840">
                  <c:v>0.47457627118644102</c:v>
                </c:pt>
                <c:pt idx="3841">
                  <c:v>0.47457627118644102</c:v>
                </c:pt>
                <c:pt idx="3842">
                  <c:v>0.47463768115942001</c:v>
                </c:pt>
                <c:pt idx="3843">
                  <c:v>0.47463768115942001</c:v>
                </c:pt>
                <c:pt idx="3844">
                  <c:v>0.474683544303797</c:v>
                </c:pt>
                <c:pt idx="3845">
                  <c:v>0.474716981132075</c:v>
                </c:pt>
                <c:pt idx="3846">
                  <c:v>0.47478665632273098</c:v>
                </c:pt>
                <c:pt idx="3847">
                  <c:v>0.474835886214442</c:v>
                </c:pt>
                <c:pt idx="3848">
                  <c:v>0.47488584474885798</c:v>
                </c:pt>
                <c:pt idx="3849">
                  <c:v>0.47494033412887798</c:v>
                </c:pt>
                <c:pt idx="3850">
                  <c:v>0.47499999999999998</c:v>
                </c:pt>
                <c:pt idx="3851">
                  <c:v>0.47499999999999998</c:v>
                </c:pt>
                <c:pt idx="3852">
                  <c:v>0.47518382352941202</c:v>
                </c:pt>
                <c:pt idx="3853">
                  <c:v>0.475247524752475</c:v>
                </c:pt>
                <c:pt idx="3854">
                  <c:v>0.47540983606557402</c:v>
                </c:pt>
                <c:pt idx="3855">
                  <c:v>0.47540983606557402</c:v>
                </c:pt>
                <c:pt idx="3856">
                  <c:v>0.47540983606557402</c:v>
                </c:pt>
                <c:pt idx="3857">
                  <c:v>0.47560975609756101</c:v>
                </c:pt>
                <c:pt idx="3858">
                  <c:v>0.47567567567567598</c:v>
                </c:pt>
                <c:pt idx="3859">
                  <c:v>0.47589424572317301</c:v>
                </c:pt>
                <c:pt idx="3860">
                  <c:v>0.47590361445783103</c:v>
                </c:pt>
                <c:pt idx="3861">
                  <c:v>0.475945017182131</c:v>
                </c:pt>
                <c:pt idx="3862">
                  <c:v>0.476190476190476</c:v>
                </c:pt>
                <c:pt idx="3863">
                  <c:v>0.476190476190476</c:v>
                </c:pt>
                <c:pt idx="3864">
                  <c:v>0.476190476190476</c:v>
                </c:pt>
                <c:pt idx="3865">
                  <c:v>0.476190476190476</c:v>
                </c:pt>
                <c:pt idx="3866">
                  <c:v>0.476190476190476</c:v>
                </c:pt>
                <c:pt idx="3867">
                  <c:v>0.47633587786259501</c:v>
                </c:pt>
                <c:pt idx="3868">
                  <c:v>0.47634069400630902</c:v>
                </c:pt>
                <c:pt idx="3869">
                  <c:v>0.47641509433962298</c:v>
                </c:pt>
                <c:pt idx="3870">
                  <c:v>0.47643979057591601</c:v>
                </c:pt>
                <c:pt idx="3871">
                  <c:v>0.47658026375625301</c:v>
                </c:pt>
                <c:pt idx="3872">
                  <c:v>0.47663551401869197</c:v>
                </c:pt>
                <c:pt idx="3873">
                  <c:v>0.476683937823834</c:v>
                </c:pt>
                <c:pt idx="3874">
                  <c:v>0.47670250896057298</c:v>
                </c:pt>
                <c:pt idx="3875">
                  <c:v>0.47674418604651198</c:v>
                </c:pt>
                <c:pt idx="3876">
                  <c:v>0.47701149425287398</c:v>
                </c:pt>
                <c:pt idx="3877">
                  <c:v>0.47701149425287398</c:v>
                </c:pt>
                <c:pt idx="3878">
                  <c:v>0.47703180212014101</c:v>
                </c:pt>
                <c:pt idx="3879">
                  <c:v>0.47706422018348599</c:v>
                </c:pt>
                <c:pt idx="3880">
                  <c:v>0.477112676056338</c:v>
                </c:pt>
                <c:pt idx="3881">
                  <c:v>0.47718631178707199</c:v>
                </c:pt>
                <c:pt idx="3882">
                  <c:v>0.47722772277227699</c:v>
                </c:pt>
                <c:pt idx="3883">
                  <c:v>0.47727272727272702</c:v>
                </c:pt>
                <c:pt idx="3884">
                  <c:v>0.477443609022556</c:v>
                </c:pt>
                <c:pt idx="3885">
                  <c:v>0.47761194029850701</c:v>
                </c:pt>
                <c:pt idx="3886">
                  <c:v>0.47764334560757499</c:v>
                </c:pt>
                <c:pt idx="3887">
                  <c:v>0.47766990291262101</c:v>
                </c:pt>
                <c:pt idx="3888">
                  <c:v>0.47767857142857101</c:v>
                </c:pt>
                <c:pt idx="3889">
                  <c:v>0.47786259541984699</c:v>
                </c:pt>
                <c:pt idx="3890">
                  <c:v>0.47794117647058798</c:v>
                </c:pt>
                <c:pt idx="3891">
                  <c:v>0.47794117647058798</c:v>
                </c:pt>
                <c:pt idx="3892">
                  <c:v>0.47811158798283299</c:v>
                </c:pt>
                <c:pt idx="3893">
                  <c:v>0.47811447811447799</c:v>
                </c:pt>
                <c:pt idx="3894">
                  <c:v>0.47814910025706903</c:v>
                </c:pt>
                <c:pt idx="3895">
                  <c:v>0.47814910025706903</c:v>
                </c:pt>
                <c:pt idx="3896">
                  <c:v>0.47814910025706903</c:v>
                </c:pt>
                <c:pt idx="3897">
                  <c:v>0.47826086956521702</c:v>
                </c:pt>
                <c:pt idx="3898">
                  <c:v>0.47826086956521702</c:v>
                </c:pt>
                <c:pt idx="3899">
                  <c:v>0.47826086956521702</c:v>
                </c:pt>
                <c:pt idx="3900">
                  <c:v>0.47826086956521702</c:v>
                </c:pt>
                <c:pt idx="3901">
                  <c:v>0.47851650836725501</c:v>
                </c:pt>
                <c:pt idx="3902">
                  <c:v>0.47857142857142898</c:v>
                </c:pt>
                <c:pt idx="3903">
                  <c:v>0.47887323943662002</c:v>
                </c:pt>
                <c:pt idx="3904">
                  <c:v>0.47887323943662002</c:v>
                </c:pt>
                <c:pt idx="3905">
                  <c:v>0.47897623400365602</c:v>
                </c:pt>
                <c:pt idx="3906">
                  <c:v>0.47899159663865498</c:v>
                </c:pt>
                <c:pt idx="3907">
                  <c:v>0.47899159663865498</c:v>
                </c:pt>
                <c:pt idx="3908">
                  <c:v>0.47909024211298601</c:v>
                </c:pt>
                <c:pt idx="3909">
                  <c:v>0.47913188647746202</c:v>
                </c:pt>
                <c:pt idx="3910">
                  <c:v>0.47916666666666702</c:v>
                </c:pt>
                <c:pt idx="3911">
                  <c:v>0.47928994082840198</c:v>
                </c:pt>
                <c:pt idx="3912">
                  <c:v>0.47938144329896898</c:v>
                </c:pt>
                <c:pt idx="3913">
                  <c:v>0.47945205479452002</c:v>
                </c:pt>
                <c:pt idx="3914">
                  <c:v>0.47953216374268998</c:v>
                </c:pt>
                <c:pt idx="3915">
                  <c:v>0.47953216374268998</c:v>
                </c:pt>
                <c:pt idx="3916">
                  <c:v>0.47957198443579802</c:v>
                </c:pt>
                <c:pt idx="3917">
                  <c:v>0.479784366576819</c:v>
                </c:pt>
                <c:pt idx="3918">
                  <c:v>0.47983870967741898</c:v>
                </c:pt>
                <c:pt idx="3919">
                  <c:v>0.47988505747126398</c:v>
                </c:pt>
                <c:pt idx="3920">
                  <c:v>0.47991543340380499</c:v>
                </c:pt>
                <c:pt idx="3921">
                  <c:v>0.48</c:v>
                </c:pt>
                <c:pt idx="3922">
                  <c:v>0.48</c:v>
                </c:pt>
                <c:pt idx="3923">
                  <c:v>0.48</c:v>
                </c:pt>
                <c:pt idx="3924">
                  <c:v>0.48010973936899898</c:v>
                </c:pt>
                <c:pt idx="3925">
                  <c:v>0.48016701461377898</c:v>
                </c:pt>
                <c:pt idx="3926">
                  <c:v>0.48017621145374401</c:v>
                </c:pt>
                <c:pt idx="3927">
                  <c:v>0.48019401778496401</c:v>
                </c:pt>
                <c:pt idx="3928">
                  <c:v>0.48019801980198001</c:v>
                </c:pt>
                <c:pt idx="3929">
                  <c:v>0.48022598870056499</c:v>
                </c:pt>
                <c:pt idx="3930">
                  <c:v>0.48022598870056499</c:v>
                </c:pt>
                <c:pt idx="3931">
                  <c:v>0.480349344978166</c:v>
                </c:pt>
                <c:pt idx="3932">
                  <c:v>0.480349344978166</c:v>
                </c:pt>
                <c:pt idx="3933">
                  <c:v>0.48036529680365297</c:v>
                </c:pt>
                <c:pt idx="3934">
                  <c:v>0.48042704626334498</c:v>
                </c:pt>
                <c:pt idx="3935">
                  <c:v>0.48048048048047998</c:v>
                </c:pt>
                <c:pt idx="3936">
                  <c:v>0.480572597137014</c:v>
                </c:pt>
                <c:pt idx="3937">
                  <c:v>0.48068669527897001</c:v>
                </c:pt>
                <c:pt idx="3938">
                  <c:v>0.48071548351034099</c:v>
                </c:pt>
                <c:pt idx="3939">
                  <c:v>0.48071979434447298</c:v>
                </c:pt>
                <c:pt idx="3940">
                  <c:v>0.48073022312373198</c:v>
                </c:pt>
                <c:pt idx="3941">
                  <c:v>0.480769230769231</c:v>
                </c:pt>
                <c:pt idx="3942">
                  <c:v>0.48085106382978698</c:v>
                </c:pt>
                <c:pt idx="3943">
                  <c:v>0.48097826086956502</c:v>
                </c:pt>
                <c:pt idx="3944">
                  <c:v>0.48113207547169801</c:v>
                </c:pt>
                <c:pt idx="3945">
                  <c:v>0.48114630467571601</c:v>
                </c:pt>
                <c:pt idx="3946">
                  <c:v>0.48120300751879702</c:v>
                </c:pt>
                <c:pt idx="3947">
                  <c:v>0.48134328358209</c:v>
                </c:pt>
                <c:pt idx="3948">
                  <c:v>0.48135593220339001</c:v>
                </c:pt>
                <c:pt idx="3949">
                  <c:v>0.48139534883720903</c:v>
                </c:pt>
                <c:pt idx="3950">
                  <c:v>0.48139797068771101</c:v>
                </c:pt>
                <c:pt idx="3951">
                  <c:v>0.48148148148148101</c:v>
                </c:pt>
                <c:pt idx="3952">
                  <c:v>0.48148148148148101</c:v>
                </c:pt>
                <c:pt idx="3953">
                  <c:v>0.48148148148148101</c:v>
                </c:pt>
                <c:pt idx="3954">
                  <c:v>0.48165137614678899</c:v>
                </c:pt>
                <c:pt idx="3955">
                  <c:v>0.48166259168704201</c:v>
                </c:pt>
                <c:pt idx="3956">
                  <c:v>0.48181818181818198</c:v>
                </c:pt>
                <c:pt idx="3957">
                  <c:v>0.48192771084337299</c:v>
                </c:pt>
                <c:pt idx="3958">
                  <c:v>0.48203592814371299</c:v>
                </c:pt>
                <c:pt idx="3959">
                  <c:v>0.48203592814371299</c:v>
                </c:pt>
                <c:pt idx="3960">
                  <c:v>0.48207171314740999</c:v>
                </c:pt>
                <c:pt idx="3961">
                  <c:v>0.48226950354609899</c:v>
                </c:pt>
                <c:pt idx="3962">
                  <c:v>0.48231511254019299</c:v>
                </c:pt>
                <c:pt idx="3963">
                  <c:v>0.48231511254019299</c:v>
                </c:pt>
                <c:pt idx="3964">
                  <c:v>0.48235294117647098</c:v>
                </c:pt>
                <c:pt idx="3965">
                  <c:v>0.48235294117647098</c:v>
                </c:pt>
                <c:pt idx="3966">
                  <c:v>0.482517482517482</c:v>
                </c:pt>
                <c:pt idx="3967">
                  <c:v>0.48255813953488402</c:v>
                </c:pt>
                <c:pt idx="3968">
                  <c:v>0.482562854825629</c:v>
                </c:pt>
                <c:pt idx="3969">
                  <c:v>0.48258706467661699</c:v>
                </c:pt>
                <c:pt idx="3970">
                  <c:v>0.48275862068965503</c:v>
                </c:pt>
                <c:pt idx="3971">
                  <c:v>0.48275862068965503</c:v>
                </c:pt>
                <c:pt idx="3972">
                  <c:v>0.48275862068965503</c:v>
                </c:pt>
                <c:pt idx="3973">
                  <c:v>0.48275862068965503</c:v>
                </c:pt>
                <c:pt idx="3974">
                  <c:v>0.48288973384030398</c:v>
                </c:pt>
                <c:pt idx="3975">
                  <c:v>0.48290598290598302</c:v>
                </c:pt>
                <c:pt idx="3976">
                  <c:v>0.48291925465838498</c:v>
                </c:pt>
                <c:pt idx="3977">
                  <c:v>0.48295454545454503</c:v>
                </c:pt>
                <c:pt idx="3978">
                  <c:v>0.48295454545454503</c:v>
                </c:pt>
                <c:pt idx="3979">
                  <c:v>0.48323471400394502</c:v>
                </c:pt>
                <c:pt idx="3980">
                  <c:v>0.483333333333333</c:v>
                </c:pt>
                <c:pt idx="3981">
                  <c:v>0.483333333333333</c:v>
                </c:pt>
                <c:pt idx="3982">
                  <c:v>0.483333333333333</c:v>
                </c:pt>
                <c:pt idx="3983">
                  <c:v>0.48344370860927199</c:v>
                </c:pt>
                <c:pt idx="3984">
                  <c:v>0.48344370860927199</c:v>
                </c:pt>
                <c:pt idx="3985">
                  <c:v>0.48351648351648302</c:v>
                </c:pt>
                <c:pt idx="3986">
                  <c:v>0.48356807511737099</c:v>
                </c:pt>
                <c:pt idx="3987">
                  <c:v>0.48363636363636398</c:v>
                </c:pt>
                <c:pt idx="3988">
                  <c:v>0.483783783783784</c:v>
                </c:pt>
                <c:pt idx="3989">
                  <c:v>0.48385300668151399</c:v>
                </c:pt>
                <c:pt idx="3990">
                  <c:v>0.483870967741935</c:v>
                </c:pt>
                <c:pt idx="3991">
                  <c:v>0.483870967741935</c:v>
                </c:pt>
                <c:pt idx="3992">
                  <c:v>0.48401826484018301</c:v>
                </c:pt>
                <c:pt idx="3993">
                  <c:v>0.48404255319148898</c:v>
                </c:pt>
                <c:pt idx="3994">
                  <c:v>0.48412698412698402</c:v>
                </c:pt>
                <c:pt idx="3995">
                  <c:v>0.48412698412698402</c:v>
                </c:pt>
                <c:pt idx="3996">
                  <c:v>0.48429319371727703</c:v>
                </c:pt>
                <c:pt idx="3997">
                  <c:v>0.484375</c:v>
                </c:pt>
                <c:pt idx="3998">
                  <c:v>0.48442906574394501</c:v>
                </c:pt>
                <c:pt idx="3999">
                  <c:v>0.48445595854922302</c:v>
                </c:pt>
                <c:pt idx="4000">
                  <c:v>0.48448687350835301</c:v>
                </c:pt>
                <c:pt idx="4001">
                  <c:v>0.484732824427481</c:v>
                </c:pt>
                <c:pt idx="4002">
                  <c:v>0.48484848484848497</c:v>
                </c:pt>
                <c:pt idx="4003">
                  <c:v>0.48494983277592002</c:v>
                </c:pt>
                <c:pt idx="4004">
                  <c:v>0.48497267759562801</c:v>
                </c:pt>
                <c:pt idx="4005">
                  <c:v>0.48501362397820202</c:v>
                </c:pt>
                <c:pt idx="4006">
                  <c:v>0.48502994011975997</c:v>
                </c:pt>
                <c:pt idx="4007">
                  <c:v>0.48509763617677298</c:v>
                </c:pt>
                <c:pt idx="4008">
                  <c:v>0.48520710059171601</c:v>
                </c:pt>
                <c:pt idx="4009">
                  <c:v>0.48535564853556501</c:v>
                </c:pt>
                <c:pt idx="4010">
                  <c:v>0.485401459854015</c:v>
                </c:pt>
                <c:pt idx="4011">
                  <c:v>0.48542600896860999</c:v>
                </c:pt>
                <c:pt idx="4012">
                  <c:v>0.485436893203883</c:v>
                </c:pt>
                <c:pt idx="4013">
                  <c:v>0.485436893203883</c:v>
                </c:pt>
                <c:pt idx="4014">
                  <c:v>0.48546511627907002</c:v>
                </c:pt>
                <c:pt idx="4015">
                  <c:v>0.48547328959700098</c:v>
                </c:pt>
                <c:pt idx="4016">
                  <c:v>0.48554913294797702</c:v>
                </c:pt>
                <c:pt idx="4017">
                  <c:v>0.48561759729272402</c:v>
                </c:pt>
                <c:pt idx="4018">
                  <c:v>0.48571428571428599</c:v>
                </c:pt>
                <c:pt idx="4019">
                  <c:v>0.48571428571428599</c:v>
                </c:pt>
                <c:pt idx="4020">
                  <c:v>0.48571428571428599</c:v>
                </c:pt>
                <c:pt idx="4021">
                  <c:v>0.48575498575498599</c:v>
                </c:pt>
                <c:pt idx="4022">
                  <c:v>0.48576078112286403</c:v>
                </c:pt>
                <c:pt idx="4023">
                  <c:v>0.48582995951417002</c:v>
                </c:pt>
                <c:pt idx="4024">
                  <c:v>0.48587570621468901</c:v>
                </c:pt>
                <c:pt idx="4025">
                  <c:v>0.48587570621468901</c:v>
                </c:pt>
                <c:pt idx="4026">
                  <c:v>0.485915492957746</c:v>
                </c:pt>
                <c:pt idx="4027">
                  <c:v>0.48594377510040199</c:v>
                </c:pt>
                <c:pt idx="4028">
                  <c:v>0.48598130841121501</c:v>
                </c:pt>
                <c:pt idx="4029">
                  <c:v>0.48598130841121501</c:v>
                </c:pt>
                <c:pt idx="4030">
                  <c:v>0.48598130841121501</c:v>
                </c:pt>
                <c:pt idx="4031">
                  <c:v>0.486033519553073</c:v>
                </c:pt>
                <c:pt idx="4032">
                  <c:v>0.48611111111111099</c:v>
                </c:pt>
                <c:pt idx="4033">
                  <c:v>0.48623853211009199</c:v>
                </c:pt>
                <c:pt idx="4034">
                  <c:v>0.48623853211009199</c:v>
                </c:pt>
                <c:pt idx="4035">
                  <c:v>0.48630136986301398</c:v>
                </c:pt>
                <c:pt idx="4036">
                  <c:v>0.48631578947368398</c:v>
                </c:pt>
                <c:pt idx="4037">
                  <c:v>0.48633879781420802</c:v>
                </c:pt>
                <c:pt idx="4038">
                  <c:v>0.48641304347826098</c:v>
                </c:pt>
                <c:pt idx="4039">
                  <c:v>0.48648648648648601</c:v>
                </c:pt>
                <c:pt idx="4040">
                  <c:v>0.48648648648648601</c:v>
                </c:pt>
                <c:pt idx="4041">
                  <c:v>0.48663101604278097</c:v>
                </c:pt>
                <c:pt idx="4042">
                  <c:v>0.486784140969163</c:v>
                </c:pt>
                <c:pt idx="4043">
                  <c:v>0.487084870848708</c:v>
                </c:pt>
                <c:pt idx="4044">
                  <c:v>0.48712446351931299</c:v>
                </c:pt>
                <c:pt idx="4045">
                  <c:v>0.487179487179487</c:v>
                </c:pt>
                <c:pt idx="4046">
                  <c:v>0.487179487179487</c:v>
                </c:pt>
                <c:pt idx="4047">
                  <c:v>0.487179487179487</c:v>
                </c:pt>
                <c:pt idx="4048">
                  <c:v>0.487179487179487</c:v>
                </c:pt>
                <c:pt idx="4049">
                  <c:v>0.48722316865417398</c:v>
                </c:pt>
                <c:pt idx="4050">
                  <c:v>0.487341772151899</c:v>
                </c:pt>
                <c:pt idx="4051">
                  <c:v>0.48736462093862798</c:v>
                </c:pt>
                <c:pt idx="4052">
                  <c:v>0.48749999999999999</c:v>
                </c:pt>
                <c:pt idx="4053">
                  <c:v>0.487554904831625</c:v>
                </c:pt>
                <c:pt idx="4054">
                  <c:v>0.48760330578512401</c:v>
                </c:pt>
                <c:pt idx="4055">
                  <c:v>0.48764415156507401</c:v>
                </c:pt>
                <c:pt idx="4056">
                  <c:v>0.48765432098765399</c:v>
                </c:pt>
                <c:pt idx="4057">
                  <c:v>0.48780487804877998</c:v>
                </c:pt>
                <c:pt idx="4058">
                  <c:v>0.48780487804877998</c:v>
                </c:pt>
                <c:pt idx="4059">
                  <c:v>0.48787878787878802</c:v>
                </c:pt>
                <c:pt idx="4060">
                  <c:v>0.48789571694599598</c:v>
                </c:pt>
                <c:pt idx="4061">
                  <c:v>0.48792270531401</c:v>
                </c:pt>
                <c:pt idx="4062">
                  <c:v>0.48792270531401</c:v>
                </c:pt>
                <c:pt idx="4063">
                  <c:v>0.48795180722891601</c:v>
                </c:pt>
                <c:pt idx="4064">
                  <c:v>0.48799999999999999</c:v>
                </c:pt>
                <c:pt idx="4065">
                  <c:v>0.48803827751196199</c:v>
                </c:pt>
                <c:pt idx="4066">
                  <c:v>0.48826291079812201</c:v>
                </c:pt>
                <c:pt idx="4067">
                  <c:v>0.48837209302325602</c:v>
                </c:pt>
                <c:pt idx="4068">
                  <c:v>0.48843537414965998</c:v>
                </c:pt>
                <c:pt idx="4069">
                  <c:v>0.488549618320611</c:v>
                </c:pt>
                <c:pt idx="4070">
                  <c:v>0.48868778280543002</c:v>
                </c:pt>
                <c:pt idx="4071">
                  <c:v>0.48868778280543002</c:v>
                </c:pt>
                <c:pt idx="4072">
                  <c:v>0.48876404494381998</c:v>
                </c:pt>
                <c:pt idx="4073">
                  <c:v>0.48888888888888898</c:v>
                </c:pt>
                <c:pt idx="4074">
                  <c:v>0.48913043478260898</c:v>
                </c:pt>
                <c:pt idx="4075">
                  <c:v>0.48927038626609398</c:v>
                </c:pt>
                <c:pt idx="4076">
                  <c:v>0.48936170212766</c:v>
                </c:pt>
                <c:pt idx="4077">
                  <c:v>0.48936170212766</c:v>
                </c:pt>
                <c:pt idx="4078">
                  <c:v>0.48947368421052601</c:v>
                </c:pt>
                <c:pt idx="4079">
                  <c:v>0.48951048951048898</c:v>
                </c:pt>
                <c:pt idx="4080">
                  <c:v>0.48958333333333298</c:v>
                </c:pt>
                <c:pt idx="4081">
                  <c:v>0.48958333333333298</c:v>
                </c:pt>
                <c:pt idx="4082">
                  <c:v>0.48958333333333298</c:v>
                </c:pt>
                <c:pt idx="4083">
                  <c:v>0.48962655601659699</c:v>
                </c:pt>
                <c:pt idx="4084">
                  <c:v>0.48965517241379303</c:v>
                </c:pt>
                <c:pt idx="4085">
                  <c:v>0.489887640449438</c:v>
                </c:pt>
                <c:pt idx="4086">
                  <c:v>0.49003984063744999</c:v>
                </c:pt>
                <c:pt idx="4087">
                  <c:v>0.49019607843137197</c:v>
                </c:pt>
                <c:pt idx="4088">
                  <c:v>0.49035812672176299</c:v>
                </c:pt>
                <c:pt idx="4089">
                  <c:v>0.49036777583187402</c:v>
                </c:pt>
                <c:pt idx="4090">
                  <c:v>0.49038461538461497</c:v>
                </c:pt>
                <c:pt idx="4091">
                  <c:v>0.49038461538461497</c:v>
                </c:pt>
                <c:pt idx="4092">
                  <c:v>0.49042145593869702</c:v>
                </c:pt>
                <c:pt idx="4093">
                  <c:v>0.490566037735849</c:v>
                </c:pt>
                <c:pt idx="4094">
                  <c:v>0.49074074074074098</c:v>
                </c:pt>
                <c:pt idx="4095">
                  <c:v>0.49079754601226999</c:v>
                </c:pt>
                <c:pt idx="4096">
                  <c:v>0.49081364829396301</c:v>
                </c:pt>
                <c:pt idx="4097">
                  <c:v>0.49083503054989802</c:v>
                </c:pt>
                <c:pt idx="4098">
                  <c:v>0.49090909090909102</c:v>
                </c:pt>
                <c:pt idx="4099">
                  <c:v>0.49090909090909102</c:v>
                </c:pt>
                <c:pt idx="4100">
                  <c:v>0.49099099099099103</c:v>
                </c:pt>
                <c:pt idx="4101">
                  <c:v>0.49103942652329702</c:v>
                </c:pt>
                <c:pt idx="4102">
                  <c:v>0.49107142857142899</c:v>
                </c:pt>
                <c:pt idx="4103">
                  <c:v>0.49110320284697501</c:v>
                </c:pt>
                <c:pt idx="4104">
                  <c:v>0.49114703618167799</c:v>
                </c:pt>
                <c:pt idx="4105">
                  <c:v>0.49115044247787598</c:v>
                </c:pt>
                <c:pt idx="4106">
                  <c:v>0.49122807017543901</c:v>
                </c:pt>
                <c:pt idx="4107">
                  <c:v>0.49122807017543901</c:v>
                </c:pt>
                <c:pt idx="4108">
                  <c:v>0.49122807017543901</c:v>
                </c:pt>
                <c:pt idx="4109">
                  <c:v>0.49130434782608701</c:v>
                </c:pt>
                <c:pt idx="4110">
                  <c:v>0.49130434782608701</c:v>
                </c:pt>
                <c:pt idx="4111">
                  <c:v>0.49132947976878599</c:v>
                </c:pt>
                <c:pt idx="4112">
                  <c:v>0.491442542787286</c:v>
                </c:pt>
                <c:pt idx="4113">
                  <c:v>0.49150141643059497</c:v>
                </c:pt>
                <c:pt idx="4114">
                  <c:v>0.49152542372881403</c:v>
                </c:pt>
                <c:pt idx="4115">
                  <c:v>0.49152542372881403</c:v>
                </c:pt>
                <c:pt idx="4116">
                  <c:v>0.49152542372881403</c:v>
                </c:pt>
                <c:pt idx="4117">
                  <c:v>0.49154228855721399</c:v>
                </c:pt>
                <c:pt idx="4118">
                  <c:v>0.49184149184149201</c:v>
                </c:pt>
                <c:pt idx="4119">
                  <c:v>0.491869918699187</c:v>
                </c:pt>
                <c:pt idx="4120">
                  <c:v>0.49189189189189197</c:v>
                </c:pt>
                <c:pt idx="4121">
                  <c:v>0.4921875</c:v>
                </c:pt>
                <c:pt idx="4122">
                  <c:v>0.492307692307692</c:v>
                </c:pt>
                <c:pt idx="4123">
                  <c:v>0.49233128834355799</c:v>
                </c:pt>
                <c:pt idx="4124">
                  <c:v>0.49242424242424199</c:v>
                </c:pt>
                <c:pt idx="4125">
                  <c:v>0.49246231155778902</c:v>
                </c:pt>
                <c:pt idx="4126">
                  <c:v>0.49253731343283602</c:v>
                </c:pt>
                <c:pt idx="4127">
                  <c:v>0.49270072992700698</c:v>
                </c:pt>
                <c:pt idx="4128">
                  <c:v>0.49270072992700698</c:v>
                </c:pt>
                <c:pt idx="4129">
                  <c:v>0.49275362318840599</c:v>
                </c:pt>
                <c:pt idx="4130">
                  <c:v>0.49275362318840599</c:v>
                </c:pt>
                <c:pt idx="4131">
                  <c:v>0.493087557603687</c:v>
                </c:pt>
                <c:pt idx="4132">
                  <c:v>0.49315068493150699</c:v>
                </c:pt>
                <c:pt idx="4133">
                  <c:v>0.49315068493150699</c:v>
                </c:pt>
                <c:pt idx="4134">
                  <c:v>0.49315068493150699</c:v>
                </c:pt>
                <c:pt idx="4135">
                  <c:v>0.49324324324324298</c:v>
                </c:pt>
                <c:pt idx="4136">
                  <c:v>0.49328859060402702</c:v>
                </c:pt>
                <c:pt idx="4137">
                  <c:v>0.49342105263157898</c:v>
                </c:pt>
                <c:pt idx="4138">
                  <c:v>0.49344978165938902</c:v>
                </c:pt>
                <c:pt idx="4139">
                  <c:v>0.49347826086956498</c:v>
                </c:pt>
                <c:pt idx="4140">
                  <c:v>0.49356548069644202</c:v>
                </c:pt>
                <c:pt idx="4141">
                  <c:v>0.493589743589744</c:v>
                </c:pt>
                <c:pt idx="4142">
                  <c:v>0.49369747899159699</c:v>
                </c:pt>
                <c:pt idx="4143">
                  <c:v>0.49371633752244198</c:v>
                </c:pt>
                <c:pt idx="4144">
                  <c:v>0.49375000000000002</c:v>
                </c:pt>
                <c:pt idx="4145">
                  <c:v>0.49382716049382702</c:v>
                </c:pt>
                <c:pt idx="4146">
                  <c:v>0.49382716049382702</c:v>
                </c:pt>
                <c:pt idx="4147">
                  <c:v>0.49408983451536598</c:v>
                </c:pt>
                <c:pt idx="4148">
                  <c:v>0.49425287356321801</c:v>
                </c:pt>
                <c:pt idx="4149">
                  <c:v>0.49438202247190999</c:v>
                </c:pt>
                <c:pt idx="4150">
                  <c:v>0.494413407821229</c:v>
                </c:pt>
                <c:pt idx="4151">
                  <c:v>0.49447513812154698</c:v>
                </c:pt>
                <c:pt idx="4152">
                  <c:v>0.494584837545126</c:v>
                </c:pt>
                <c:pt idx="4153">
                  <c:v>0.494623655913978</c:v>
                </c:pt>
                <c:pt idx="4154">
                  <c:v>0.49473684210526298</c:v>
                </c:pt>
                <c:pt idx="4155">
                  <c:v>0.49482163406214003</c:v>
                </c:pt>
                <c:pt idx="4156">
                  <c:v>0.494871794871795</c:v>
                </c:pt>
                <c:pt idx="4157">
                  <c:v>0.49490538573507997</c:v>
                </c:pt>
                <c:pt idx="4158">
                  <c:v>0.49502487562189101</c:v>
                </c:pt>
                <c:pt idx="4159">
                  <c:v>0.495145631067961</c:v>
                </c:pt>
                <c:pt idx="4160">
                  <c:v>0.495166487647691</c:v>
                </c:pt>
                <c:pt idx="4161">
                  <c:v>0.49528301886792397</c:v>
                </c:pt>
                <c:pt idx="4162">
                  <c:v>0.49529780564263298</c:v>
                </c:pt>
                <c:pt idx="4163">
                  <c:v>0.495337995337995</c:v>
                </c:pt>
                <c:pt idx="4164">
                  <c:v>0.495412844036697</c:v>
                </c:pt>
                <c:pt idx="4165">
                  <c:v>0.49544072948328299</c:v>
                </c:pt>
                <c:pt idx="4166">
                  <c:v>0.49553571428571402</c:v>
                </c:pt>
                <c:pt idx="4167">
                  <c:v>0.49555950266429799</c:v>
                </c:pt>
                <c:pt idx="4168">
                  <c:v>0.49561403508771901</c:v>
                </c:pt>
                <c:pt idx="4169">
                  <c:v>0.49572649572649602</c:v>
                </c:pt>
                <c:pt idx="4170">
                  <c:v>0.495867768595041</c:v>
                </c:pt>
                <c:pt idx="4171">
                  <c:v>0.49593495934959297</c:v>
                </c:pt>
                <c:pt idx="4172">
                  <c:v>0.49593495934959297</c:v>
                </c:pt>
                <c:pt idx="4173">
                  <c:v>0.49593495934959297</c:v>
                </c:pt>
                <c:pt idx="4174">
                  <c:v>0.495981087470449</c:v>
                </c:pt>
                <c:pt idx="4175">
                  <c:v>0.496</c:v>
                </c:pt>
                <c:pt idx="4176">
                  <c:v>0.49606299212598398</c:v>
                </c:pt>
                <c:pt idx="4177">
                  <c:v>0.49610389610389599</c:v>
                </c:pt>
                <c:pt idx="4178">
                  <c:v>0.49612403100775199</c:v>
                </c:pt>
                <c:pt idx="4179">
                  <c:v>0.49616368286445001</c:v>
                </c:pt>
                <c:pt idx="4180">
                  <c:v>0.49628008752735198</c:v>
                </c:pt>
                <c:pt idx="4181">
                  <c:v>0.49629629629629601</c:v>
                </c:pt>
                <c:pt idx="4182">
                  <c:v>0.49632653061224502</c:v>
                </c:pt>
                <c:pt idx="4183">
                  <c:v>0.49635036496350399</c:v>
                </c:pt>
                <c:pt idx="4184">
                  <c:v>0.49640287769784203</c:v>
                </c:pt>
                <c:pt idx="4185">
                  <c:v>0.49640287769784203</c:v>
                </c:pt>
                <c:pt idx="4186">
                  <c:v>0.49641319942611201</c:v>
                </c:pt>
                <c:pt idx="4187">
                  <c:v>0.49650349650349601</c:v>
                </c:pt>
                <c:pt idx="4188">
                  <c:v>0.49664429530201298</c:v>
                </c:pt>
                <c:pt idx="4189">
                  <c:v>0.49685534591195002</c:v>
                </c:pt>
                <c:pt idx="4190">
                  <c:v>0.496863237139272</c:v>
                </c:pt>
                <c:pt idx="4191">
                  <c:v>0.49691358024691401</c:v>
                </c:pt>
                <c:pt idx="4192">
                  <c:v>0.496932515337423</c:v>
                </c:pt>
                <c:pt idx="4193">
                  <c:v>0.49700598802395202</c:v>
                </c:pt>
                <c:pt idx="4194">
                  <c:v>0.497076023391813</c:v>
                </c:pt>
                <c:pt idx="4195">
                  <c:v>0.49718093285494602</c:v>
                </c:pt>
                <c:pt idx="4196">
                  <c:v>0.497300539892022</c:v>
                </c:pt>
                <c:pt idx="4197">
                  <c:v>0.49735449735449699</c:v>
                </c:pt>
                <c:pt idx="4198">
                  <c:v>0.497435897435897</c:v>
                </c:pt>
                <c:pt idx="4199">
                  <c:v>0.49744897959183698</c:v>
                </c:pt>
                <c:pt idx="4200">
                  <c:v>0.49746192893400998</c:v>
                </c:pt>
                <c:pt idx="4201">
                  <c:v>0.497497497497497</c:v>
                </c:pt>
                <c:pt idx="4202">
                  <c:v>0.49756493506493499</c:v>
                </c:pt>
                <c:pt idx="4203">
                  <c:v>0.497674418604651</c:v>
                </c:pt>
                <c:pt idx="4204">
                  <c:v>0.49786324786324798</c:v>
                </c:pt>
                <c:pt idx="4205">
                  <c:v>0.49800796812748999</c:v>
                </c:pt>
                <c:pt idx="4206">
                  <c:v>0.49806949806949802</c:v>
                </c:pt>
                <c:pt idx="4207">
                  <c:v>0.49824561403508799</c:v>
                </c:pt>
                <c:pt idx="4208">
                  <c:v>0.49827467218771598</c:v>
                </c:pt>
                <c:pt idx="4209">
                  <c:v>0.49833887043189401</c:v>
                </c:pt>
                <c:pt idx="4210">
                  <c:v>0.498349834983498</c:v>
                </c:pt>
                <c:pt idx="4211">
                  <c:v>0.498607242339833</c:v>
                </c:pt>
                <c:pt idx="4212">
                  <c:v>0.498607242339833</c:v>
                </c:pt>
                <c:pt idx="4213">
                  <c:v>0.49886449659349003</c:v>
                </c:pt>
                <c:pt idx="4214">
                  <c:v>0.49892008639308799</c:v>
                </c:pt>
                <c:pt idx="4215">
                  <c:v>0.49895615866388299</c:v>
                </c:pt>
                <c:pt idx="4216">
                  <c:v>0.49897750511247402</c:v>
                </c:pt>
                <c:pt idx="4217">
                  <c:v>0.49904761904761902</c:v>
                </c:pt>
                <c:pt idx="4218">
                  <c:v>0.49922720247295199</c:v>
                </c:pt>
                <c:pt idx="4219">
                  <c:v>0.49934640522875801</c:v>
                </c:pt>
                <c:pt idx="4220">
                  <c:v>0.49951124144672499</c:v>
                </c:pt>
                <c:pt idx="4221">
                  <c:v>0.5</c:v>
                </c:pt>
                <c:pt idx="4222">
                  <c:v>0.5</c:v>
                </c:pt>
                <c:pt idx="4223">
                  <c:v>0.5</c:v>
                </c:pt>
                <c:pt idx="4224">
                  <c:v>0.5</c:v>
                </c:pt>
                <c:pt idx="4225">
                  <c:v>0.5</c:v>
                </c:pt>
                <c:pt idx="4226">
                  <c:v>0.5</c:v>
                </c:pt>
                <c:pt idx="4227">
                  <c:v>0.5</c:v>
                </c:pt>
                <c:pt idx="4228">
                  <c:v>0.5</c:v>
                </c:pt>
                <c:pt idx="4229">
                  <c:v>0.5</c:v>
                </c:pt>
                <c:pt idx="4230">
                  <c:v>0.5</c:v>
                </c:pt>
                <c:pt idx="4231">
                  <c:v>0.5</c:v>
                </c:pt>
                <c:pt idx="4232">
                  <c:v>0.5</c:v>
                </c:pt>
                <c:pt idx="4233">
                  <c:v>0.5</c:v>
                </c:pt>
                <c:pt idx="4234">
                  <c:v>0.5</c:v>
                </c:pt>
                <c:pt idx="4235">
                  <c:v>0.5</c:v>
                </c:pt>
                <c:pt idx="4236">
                  <c:v>0.5</c:v>
                </c:pt>
                <c:pt idx="4237">
                  <c:v>0.5</c:v>
                </c:pt>
                <c:pt idx="4238">
                  <c:v>0.5</c:v>
                </c:pt>
                <c:pt idx="4239">
                  <c:v>0.5</c:v>
                </c:pt>
                <c:pt idx="4240">
                  <c:v>0.5</c:v>
                </c:pt>
                <c:pt idx="4241">
                  <c:v>0.5</c:v>
                </c:pt>
                <c:pt idx="4242">
                  <c:v>0.5</c:v>
                </c:pt>
                <c:pt idx="4243">
                  <c:v>0.5</c:v>
                </c:pt>
                <c:pt idx="4244">
                  <c:v>0.5</c:v>
                </c:pt>
                <c:pt idx="4245">
                  <c:v>0.5</c:v>
                </c:pt>
                <c:pt idx="4246">
                  <c:v>0.5</c:v>
                </c:pt>
                <c:pt idx="4247">
                  <c:v>0.5</c:v>
                </c:pt>
                <c:pt idx="4248">
                  <c:v>0.5</c:v>
                </c:pt>
                <c:pt idx="4249">
                  <c:v>0.5</c:v>
                </c:pt>
                <c:pt idx="4250">
                  <c:v>0.5</c:v>
                </c:pt>
                <c:pt idx="4251">
                  <c:v>0.5</c:v>
                </c:pt>
                <c:pt idx="4252">
                  <c:v>0.5</c:v>
                </c:pt>
                <c:pt idx="4253">
                  <c:v>0.5</c:v>
                </c:pt>
                <c:pt idx="4254">
                  <c:v>0.5</c:v>
                </c:pt>
                <c:pt idx="4255">
                  <c:v>0.5</c:v>
                </c:pt>
                <c:pt idx="4256">
                  <c:v>0.5</c:v>
                </c:pt>
                <c:pt idx="4257">
                  <c:v>0.5</c:v>
                </c:pt>
                <c:pt idx="4258">
                  <c:v>0.5</c:v>
                </c:pt>
                <c:pt idx="4259">
                  <c:v>0.5</c:v>
                </c:pt>
                <c:pt idx="4260">
                  <c:v>0.50017439832577604</c:v>
                </c:pt>
                <c:pt idx="4261">
                  <c:v>0.50083056478405297</c:v>
                </c:pt>
                <c:pt idx="4262">
                  <c:v>0.50094517958412099</c:v>
                </c:pt>
                <c:pt idx="4263">
                  <c:v>0.50096711798839499</c:v>
                </c:pt>
                <c:pt idx="4264">
                  <c:v>0.50097465886939596</c:v>
                </c:pt>
                <c:pt idx="4265">
                  <c:v>0.50098619329388605</c:v>
                </c:pt>
                <c:pt idx="4266">
                  <c:v>0.50103950103950101</c:v>
                </c:pt>
                <c:pt idx="4267">
                  <c:v>0.50104821802934996</c:v>
                </c:pt>
                <c:pt idx="4268">
                  <c:v>0.50112359550561802</c:v>
                </c:pt>
                <c:pt idx="4269">
                  <c:v>0.50116550116550096</c:v>
                </c:pt>
                <c:pt idx="4270">
                  <c:v>0.50135501355013501</c:v>
                </c:pt>
                <c:pt idx="4271">
                  <c:v>0.50138121546961301</c:v>
                </c:pt>
                <c:pt idx="4272">
                  <c:v>0.50144927536231898</c:v>
                </c:pt>
                <c:pt idx="4273">
                  <c:v>0.50169875424688604</c:v>
                </c:pt>
                <c:pt idx="4274">
                  <c:v>0.50174216027874596</c:v>
                </c:pt>
                <c:pt idx="4275">
                  <c:v>0.50183823529411797</c:v>
                </c:pt>
                <c:pt idx="4276">
                  <c:v>0.50195160031225605</c:v>
                </c:pt>
                <c:pt idx="4277">
                  <c:v>0.50196850393700798</c:v>
                </c:pt>
                <c:pt idx="4278">
                  <c:v>0.50200803212851397</c:v>
                </c:pt>
                <c:pt idx="4279">
                  <c:v>0.50230414746543794</c:v>
                </c:pt>
                <c:pt idx="4280">
                  <c:v>0.50234741784037595</c:v>
                </c:pt>
                <c:pt idx="4281">
                  <c:v>0.50236966824644502</c:v>
                </c:pt>
                <c:pt idx="4282">
                  <c:v>0.50239234449760795</c:v>
                </c:pt>
                <c:pt idx="4283">
                  <c:v>0.50248756218905499</c:v>
                </c:pt>
                <c:pt idx="4284">
                  <c:v>0.50248756218905499</c:v>
                </c:pt>
                <c:pt idx="4285">
                  <c:v>0.50252525252525204</c:v>
                </c:pt>
                <c:pt idx="4286">
                  <c:v>0.50253807106599002</c:v>
                </c:pt>
                <c:pt idx="4287">
                  <c:v>0.50264550264550301</c:v>
                </c:pt>
                <c:pt idx="4288">
                  <c:v>0.50264550264550301</c:v>
                </c:pt>
                <c:pt idx="4289">
                  <c:v>0.50267639902676398</c:v>
                </c:pt>
                <c:pt idx="4290">
                  <c:v>0.502717391304348</c:v>
                </c:pt>
                <c:pt idx="4291">
                  <c:v>0.50276243093922701</c:v>
                </c:pt>
                <c:pt idx="4292">
                  <c:v>0.50291262135922299</c:v>
                </c:pt>
                <c:pt idx="4293">
                  <c:v>0.50295857988165704</c:v>
                </c:pt>
                <c:pt idx="4294">
                  <c:v>0.50302571860816903</c:v>
                </c:pt>
                <c:pt idx="4295">
                  <c:v>0.50313479623824497</c:v>
                </c:pt>
                <c:pt idx="4296">
                  <c:v>0.50338294993234101</c:v>
                </c:pt>
                <c:pt idx="4297">
                  <c:v>0.50354609929077998</c:v>
                </c:pt>
                <c:pt idx="4298">
                  <c:v>0.50364963503649596</c:v>
                </c:pt>
                <c:pt idx="4299">
                  <c:v>0.50375939849624096</c:v>
                </c:pt>
                <c:pt idx="4300">
                  <c:v>0.50377073906485703</c:v>
                </c:pt>
                <c:pt idx="4301">
                  <c:v>0.50381679389313005</c:v>
                </c:pt>
                <c:pt idx="4302">
                  <c:v>0.50387596899224796</c:v>
                </c:pt>
                <c:pt idx="4303">
                  <c:v>0.50387596899224796</c:v>
                </c:pt>
                <c:pt idx="4304">
                  <c:v>0.50393700787401596</c:v>
                </c:pt>
                <c:pt idx="4305">
                  <c:v>0.50406504065040603</c:v>
                </c:pt>
                <c:pt idx="4306">
                  <c:v>0.50408719346049002</c:v>
                </c:pt>
                <c:pt idx="4307">
                  <c:v>0.50410958904109604</c:v>
                </c:pt>
                <c:pt idx="4308">
                  <c:v>0.504132231404959</c:v>
                </c:pt>
                <c:pt idx="4309">
                  <c:v>0.50424448217317497</c:v>
                </c:pt>
                <c:pt idx="4310">
                  <c:v>0.50435365036838598</c:v>
                </c:pt>
                <c:pt idx="4311">
                  <c:v>0.50436300174520099</c:v>
                </c:pt>
                <c:pt idx="4312">
                  <c:v>0.50442477876106195</c:v>
                </c:pt>
                <c:pt idx="4313">
                  <c:v>0.50458715596330295</c:v>
                </c:pt>
                <c:pt idx="4314">
                  <c:v>0.50467289719626196</c:v>
                </c:pt>
                <c:pt idx="4315">
                  <c:v>0.50467289719626196</c:v>
                </c:pt>
                <c:pt idx="4316">
                  <c:v>0.50484261501210703</c:v>
                </c:pt>
                <c:pt idx="4317">
                  <c:v>0.50485436893203905</c:v>
                </c:pt>
                <c:pt idx="4318">
                  <c:v>0.50491803278688496</c:v>
                </c:pt>
                <c:pt idx="4319">
                  <c:v>0.50493096646942803</c:v>
                </c:pt>
                <c:pt idx="4320">
                  <c:v>0.50497017892644103</c:v>
                </c:pt>
                <c:pt idx="4321">
                  <c:v>0.505</c:v>
                </c:pt>
                <c:pt idx="4322">
                  <c:v>0.50505050505050497</c:v>
                </c:pt>
                <c:pt idx="4323">
                  <c:v>0.50505050505050497</c:v>
                </c:pt>
                <c:pt idx="4324">
                  <c:v>0.50505050505050497</c:v>
                </c:pt>
                <c:pt idx="4325">
                  <c:v>0.50515463917525805</c:v>
                </c:pt>
                <c:pt idx="4326">
                  <c:v>0.505169867060561</c:v>
                </c:pt>
                <c:pt idx="4327">
                  <c:v>0.50520059435363995</c:v>
                </c:pt>
                <c:pt idx="4328">
                  <c:v>0.50537634408602095</c:v>
                </c:pt>
                <c:pt idx="4329">
                  <c:v>0.50547945205479405</c:v>
                </c:pt>
                <c:pt idx="4330">
                  <c:v>0.50549450549450503</c:v>
                </c:pt>
                <c:pt idx="4331">
                  <c:v>0.50554323725055395</c:v>
                </c:pt>
                <c:pt idx="4332">
                  <c:v>0.50557620817843896</c:v>
                </c:pt>
                <c:pt idx="4333">
                  <c:v>0.50568181818181801</c:v>
                </c:pt>
                <c:pt idx="4334">
                  <c:v>0.50574712643678199</c:v>
                </c:pt>
                <c:pt idx="4335">
                  <c:v>0.50592885375494101</c:v>
                </c:pt>
                <c:pt idx="4336">
                  <c:v>0.50595238095238104</c:v>
                </c:pt>
                <c:pt idx="4337">
                  <c:v>0.50602409638554202</c:v>
                </c:pt>
                <c:pt idx="4338">
                  <c:v>0.50617283950617298</c:v>
                </c:pt>
                <c:pt idx="4339">
                  <c:v>0.50626566416040097</c:v>
                </c:pt>
                <c:pt idx="4340">
                  <c:v>0.50638297872340399</c:v>
                </c:pt>
                <c:pt idx="4341">
                  <c:v>0.50643776824034303</c:v>
                </c:pt>
                <c:pt idx="4342">
                  <c:v>0.506493506493506</c:v>
                </c:pt>
                <c:pt idx="4343">
                  <c:v>0.50659133709981197</c:v>
                </c:pt>
                <c:pt idx="4344">
                  <c:v>0.50666666666666704</c:v>
                </c:pt>
                <c:pt idx="4345">
                  <c:v>0.50666666666666704</c:v>
                </c:pt>
                <c:pt idx="4346">
                  <c:v>0.50681536555142503</c:v>
                </c:pt>
                <c:pt idx="4347">
                  <c:v>0.50684931506849296</c:v>
                </c:pt>
                <c:pt idx="4348">
                  <c:v>0.50684931506849296</c:v>
                </c:pt>
                <c:pt idx="4349">
                  <c:v>0.50699300699300698</c:v>
                </c:pt>
                <c:pt idx="4350">
                  <c:v>0.50704225352112697</c:v>
                </c:pt>
                <c:pt idx="4351">
                  <c:v>0.50704225352112697</c:v>
                </c:pt>
                <c:pt idx="4352">
                  <c:v>0.50712250712250695</c:v>
                </c:pt>
                <c:pt idx="4353">
                  <c:v>0.50724637681159401</c:v>
                </c:pt>
                <c:pt idx="4354">
                  <c:v>0.50724637681159401</c:v>
                </c:pt>
                <c:pt idx="4355">
                  <c:v>0.50732600732600697</c:v>
                </c:pt>
                <c:pt idx="4356">
                  <c:v>0.50735294117647101</c:v>
                </c:pt>
                <c:pt idx="4357">
                  <c:v>0.50741163055872296</c:v>
                </c:pt>
                <c:pt idx="4358">
                  <c:v>0.50746268656716398</c:v>
                </c:pt>
                <c:pt idx="4359">
                  <c:v>0.50746268656716398</c:v>
                </c:pt>
                <c:pt idx="4360">
                  <c:v>0.50748752079866899</c:v>
                </c:pt>
                <c:pt idx="4361">
                  <c:v>0.50751879699248104</c:v>
                </c:pt>
                <c:pt idx="4362">
                  <c:v>0.50758251561106205</c:v>
                </c:pt>
                <c:pt idx="4363">
                  <c:v>0.50759734093067399</c:v>
                </c:pt>
                <c:pt idx="4364">
                  <c:v>0.50763358778626</c:v>
                </c:pt>
                <c:pt idx="4365">
                  <c:v>0.50772200772200804</c:v>
                </c:pt>
                <c:pt idx="4366">
                  <c:v>0.50777202072538896</c:v>
                </c:pt>
                <c:pt idx="4367">
                  <c:v>0.50793650793650802</c:v>
                </c:pt>
                <c:pt idx="4368">
                  <c:v>0.50793650793650802</c:v>
                </c:pt>
                <c:pt idx="4369">
                  <c:v>0.50793650793650802</c:v>
                </c:pt>
                <c:pt idx="4370">
                  <c:v>0.50802139037433203</c:v>
                </c:pt>
                <c:pt idx="4371">
                  <c:v>0.50814332247557004</c:v>
                </c:pt>
                <c:pt idx="4372">
                  <c:v>0.50815850815850805</c:v>
                </c:pt>
                <c:pt idx="4373">
                  <c:v>0.50819672131147497</c:v>
                </c:pt>
                <c:pt idx="4374">
                  <c:v>0.50823045267489697</c:v>
                </c:pt>
                <c:pt idx="4375">
                  <c:v>0.50824175824175799</c:v>
                </c:pt>
                <c:pt idx="4376">
                  <c:v>0.50847457627118597</c:v>
                </c:pt>
                <c:pt idx="4377">
                  <c:v>0.50857142857142901</c:v>
                </c:pt>
                <c:pt idx="4378">
                  <c:v>0.50857142857142901</c:v>
                </c:pt>
                <c:pt idx="4379">
                  <c:v>0.50860927152317903</c:v>
                </c:pt>
                <c:pt idx="4380">
                  <c:v>0.508650519031142</c:v>
                </c:pt>
                <c:pt idx="4381">
                  <c:v>0.50877192982456099</c:v>
                </c:pt>
                <c:pt idx="4382">
                  <c:v>0.50900900900900903</c:v>
                </c:pt>
                <c:pt idx="4383">
                  <c:v>0.50905797101449302</c:v>
                </c:pt>
                <c:pt idx="4384">
                  <c:v>0.50909090909090904</c:v>
                </c:pt>
                <c:pt idx="4385">
                  <c:v>0.50915750915750901</c:v>
                </c:pt>
                <c:pt idx="4386">
                  <c:v>0.50916617386162</c:v>
                </c:pt>
                <c:pt idx="4387">
                  <c:v>0.50925925925925897</c:v>
                </c:pt>
                <c:pt idx="4388">
                  <c:v>0.509299781181619</c:v>
                </c:pt>
                <c:pt idx="4389">
                  <c:v>0.50943396226415105</c:v>
                </c:pt>
                <c:pt idx="4390">
                  <c:v>0.50943396226415105</c:v>
                </c:pt>
                <c:pt idx="4391">
                  <c:v>0.50943396226415105</c:v>
                </c:pt>
                <c:pt idx="4392">
                  <c:v>0.50943396226415105</c:v>
                </c:pt>
                <c:pt idx="4393">
                  <c:v>0.50946643717728102</c:v>
                </c:pt>
                <c:pt idx="4394">
                  <c:v>0.50980392156862697</c:v>
                </c:pt>
                <c:pt idx="4395">
                  <c:v>0.50997782705099803</c:v>
                </c:pt>
                <c:pt idx="4396">
                  <c:v>0.51</c:v>
                </c:pt>
                <c:pt idx="4397">
                  <c:v>0.51005484460694706</c:v>
                </c:pt>
                <c:pt idx="4398">
                  <c:v>0.51006711409395999</c:v>
                </c:pt>
                <c:pt idx="4399">
                  <c:v>0.51006711409395999</c:v>
                </c:pt>
                <c:pt idx="4400">
                  <c:v>0.51020408163265296</c:v>
                </c:pt>
                <c:pt idx="4401">
                  <c:v>0.51020408163265296</c:v>
                </c:pt>
                <c:pt idx="4402">
                  <c:v>0.51025056947608205</c:v>
                </c:pt>
                <c:pt idx="4403">
                  <c:v>0.51026392961876799</c:v>
                </c:pt>
                <c:pt idx="4404">
                  <c:v>0.51030017657445603</c:v>
                </c:pt>
                <c:pt idx="4405">
                  <c:v>0.51035502958579904</c:v>
                </c:pt>
                <c:pt idx="4406">
                  <c:v>0.51036269430051795</c:v>
                </c:pt>
                <c:pt idx="4407">
                  <c:v>0.51038575667655794</c:v>
                </c:pt>
                <c:pt idx="4408">
                  <c:v>0.51041666666666696</c:v>
                </c:pt>
                <c:pt idx="4409">
                  <c:v>0.51041666666666696</c:v>
                </c:pt>
                <c:pt idx="4410">
                  <c:v>0.51046025104602499</c:v>
                </c:pt>
                <c:pt idx="4411">
                  <c:v>0.51063829787234005</c:v>
                </c:pt>
                <c:pt idx="4412">
                  <c:v>0.51063829787234005</c:v>
                </c:pt>
                <c:pt idx="4413">
                  <c:v>0.510752688172043</c:v>
                </c:pt>
                <c:pt idx="4414">
                  <c:v>0.51079136690647498</c:v>
                </c:pt>
                <c:pt idx="4415">
                  <c:v>0.51097328244274798</c:v>
                </c:pt>
                <c:pt idx="4416">
                  <c:v>0.511041009463722</c:v>
                </c:pt>
                <c:pt idx="4417">
                  <c:v>0.51105797967722699</c:v>
                </c:pt>
                <c:pt idx="4418">
                  <c:v>0.51106894370651501</c:v>
                </c:pt>
                <c:pt idx="4419">
                  <c:v>0.51107828655834597</c:v>
                </c:pt>
                <c:pt idx="4420">
                  <c:v>0.51111111111111096</c:v>
                </c:pt>
                <c:pt idx="4421">
                  <c:v>0.51111111111111096</c:v>
                </c:pt>
                <c:pt idx="4422">
                  <c:v>0.51111111111111096</c:v>
                </c:pt>
                <c:pt idx="4423">
                  <c:v>0.51111111111111096</c:v>
                </c:pt>
                <c:pt idx="4424">
                  <c:v>0.51111111111111096</c:v>
                </c:pt>
                <c:pt idx="4425">
                  <c:v>0.51126516464471405</c:v>
                </c:pt>
                <c:pt idx="4426">
                  <c:v>0.51140065146579805</c:v>
                </c:pt>
                <c:pt idx="4427">
                  <c:v>0.51145038167938905</c:v>
                </c:pt>
                <c:pt idx="4428">
                  <c:v>0.51149425287356298</c:v>
                </c:pt>
                <c:pt idx="4429">
                  <c:v>0.51151315789473695</c:v>
                </c:pt>
                <c:pt idx="4430">
                  <c:v>0.51162790697674398</c:v>
                </c:pt>
                <c:pt idx="4431">
                  <c:v>0.511811023622047</c:v>
                </c:pt>
                <c:pt idx="4432">
                  <c:v>0.51196172248803795</c:v>
                </c:pt>
                <c:pt idx="4433">
                  <c:v>0.51204819277108404</c:v>
                </c:pt>
                <c:pt idx="4434">
                  <c:v>0.51227678571428603</c:v>
                </c:pt>
                <c:pt idx="4435">
                  <c:v>0.51232876712328801</c:v>
                </c:pt>
                <c:pt idx="4436">
                  <c:v>0.51234567901234596</c:v>
                </c:pt>
                <c:pt idx="4437">
                  <c:v>0.51234567901234596</c:v>
                </c:pt>
                <c:pt idx="4438">
                  <c:v>0.51236749116607805</c:v>
                </c:pt>
                <c:pt idx="4439">
                  <c:v>0.51243781094527396</c:v>
                </c:pt>
                <c:pt idx="4440">
                  <c:v>0.51249999999999996</c:v>
                </c:pt>
                <c:pt idx="4441">
                  <c:v>0.51260053619302903</c:v>
                </c:pt>
                <c:pt idx="4442">
                  <c:v>0.512658227848101</c:v>
                </c:pt>
                <c:pt idx="4443">
                  <c:v>0.512820512820513</c:v>
                </c:pt>
                <c:pt idx="4444">
                  <c:v>0.51293759512937598</c:v>
                </c:pt>
                <c:pt idx="4445">
                  <c:v>0.51296829971181601</c:v>
                </c:pt>
                <c:pt idx="4446">
                  <c:v>0.51319648093841597</c:v>
                </c:pt>
                <c:pt idx="4447">
                  <c:v>0.51322751322751303</c:v>
                </c:pt>
                <c:pt idx="4448">
                  <c:v>0.51327433628318597</c:v>
                </c:pt>
                <c:pt idx="4449">
                  <c:v>0.51333333333333298</c:v>
                </c:pt>
                <c:pt idx="4450">
                  <c:v>0.51333333333333298</c:v>
                </c:pt>
                <c:pt idx="4451">
                  <c:v>0.51351351351351304</c:v>
                </c:pt>
                <c:pt idx="4452">
                  <c:v>0.51351351351351304</c:v>
                </c:pt>
                <c:pt idx="4453">
                  <c:v>0.51351351351351304</c:v>
                </c:pt>
                <c:pt idx="4454">
                  <c:v>0.51351351351351304</c:v>
                </c:pt>
                <c:pt idx="4455">
                  <c:v>0.51351351351351304</c:v>
                </c:pt>
                <c:pt idx="4456">
                  <c:v>0.51372212692967401</c:v>
                </c:pt>
                <c:pt idx="4457">
                  <c:v>0.51376146788990795</c:v>
                </c:pt>
                <c:pt idx="4458">
                  <c:v>0.51376146788990795</c:v>
                </c:pt>
                <c:pt idx="4459">
                  <c:v>0.51378446115288201</c:v>
                </c:pt>
                <c:pt idx="4460">
                  <c:v>0.51384615384615395</c:v>
                </c:pt>
                <c:pt idx="4461">
                  <c:v>0.51396648044692705</c:v>
                </c:pt>
                <c:pt idx="4462">
                  <c:v>0.51401869158878499</c:v>
                </c:pt>
                <c:pt idx="4463">
                  <c:v>0.51401869158878499</c:v>
                </c:pt>
                <c:pt idx="4464">
                  <c:v>0.51401869158878499</c:v>
                </c:pt>
                <c:pt idx="4465">
                  <c:v>0.51408450704225295</c:v>
                </c:pt>
                <c:pt idx="4466">
                  <c:v>0.51420454545454497</c:v>
                </c:pt>
                <c:pt idx="4467">
                  <c:v>0.51428571428571401</c:v>
                </c:pt>
                <c:pt idx="4468">
                  <c:v>0.51449275362318803</c:v>
                </c:pt>
                <c:pt idx="4469">
                  <c:v>0.51450892857142905</c:v>
                </c:pt>
                <c:pt idx="4470">
                  <c:v>0.51461988304093598</c:v>
                </c:pt>
                <c:pt idx="4471">
                  <c:v>0.51470588235294101</c:v>
                </c:pt>
                <c:pt idx="4472">
                  <c:v>0.51473922902494296</c:v>
                </c:pt>
                <c:pt idx="4473">
                  <c:v>0.51476014760147604</c:v>
                </c:pt>
                <c:pt idx="4474">
                  <c:v>0.514798802793482</c:v>
                </c:pt>
                <c:pt idx="4475">
                  <c:v>0.51486988847583604</c:v>
                </c:pt>
                <c:pt idx="4476">
                  <c:v>0.51490066225165598</c:v>
                </c:pt>
                <c:pt idx="4477">
                  <c:v>0.51500000000000001</c:v>
                </c:pt>
                <c:pt idx="4478">
                  <c:v>0.51510204081632605</c:v>
                </c:pt>
                <c:pt idx="4479">
                  <c:v>0.51515151515151503</c:v>
                </c:pt>
                <c:pt idx="4480">
                  <c:v>0.51515151515151503</c:v>
                </c:pt>
                <c:pt idx="4481">
                  <c:v>0.51515151515151503</c:v>
                </c:pt>
                <c:pt idx="4482">
                  <c:v>0.51515151515151503</c:v>
                </c:pt>
                <c:pt idx="4483">
                  <c:v>0.51528384279476003</c:v>
                </c:pt>
                <c:pt idx="4484">
                  <c:v>0.515350877192982</c:v>
                </c:pt>
                <c:pt idx="4485">
                  <c:v>0.51537216828479004</c:v>
                </c:pt>
                <c:pt idx="4486">
                  <c:v>0.51544117647058796</c:v>
                </c:pt>
                <c:pt idx="4487">
                  <c:v>0.51546391752577303</c:v>
                </c:pt>
                <c:pt idx="4488">
                  <c:v>0.51549295774647896</c:v>
                </c:pt>
                <c:pt idx="4489">
                  <c:v>0.51552795031055898</c:v>
                </c:pt>
                <c:pt idx="4490">
                  <c:v>0.51558441558441603</c:v>
                </c:pt>
                <c:pt idx="4491">
                  <c:v>0.515625</c:v>
                </c:pt>
                <c:pt idx="4492">
                  <c:v>0.51566265060241001</c:v>
                </c:pt>
                <c:pt idx="4493">
                  <c:v>0.51568627450980398</c:v>
                </c:pt>
                <c:pt idx="4494">
                  <c:v>0.51587301587301604</c:v>
                </c:pt>
                <c:pt idx="4495">
                  <c:v>0.51604573957949096</c:v>
                </c:pt>
                <c:pt idx="4496">
                  <c:v>0.51612903225806395</c:v>
                </c:pt>
                <c:pt idx="4497">
                  <c:v>0.51612903225806395</c:v>
                </c:pt>
                <c:pt idx="4498">
                  <c:v>0.51620370370370405</c:v>
                </c:pt>
                <c:pt idx="4499">
                  <c:v>0.51630434782608703</c:v>
                </c:pt>
                <c:pt idx="4500">
                  <c:v>0.51632047477744802</c:v>
                </c:pt>
                <c:pt idx="4501">
                  <c:v>0.51633986928104603</c:v>
                </c:pt>
                <c:pt idx="4502">
                  <c:v>0.51641414141414099</c:v>
                </c:pt>
                <c:pt idx="4503">
                  <c:v>0.51648351648351698</c:v>
                </c:pt>
                <c:pt idx="4504">
                  <c:v>0.51655629139072801</c:v>
                </c:pt>
                <c:pt idx="4505">
                  <c:v>0.51680672268907601</c:v>
                </c:pt>
                <c:pt idx="4506">
                  <c:v>0.51683168316831696</c:v>
                </c:pt>
                <c:pt idx="4507">
                  <c:v>0.51706484641638195</c:v>
                </c:pt>
                <c:pt idx="4508">
                  <c:v>0.51709401709401703</c:v>
                </c:pt>
                <c:pt idx="4509">
                  <c:v>0.51719394773039895</c:v>
                </c:pt>
                <c:pt idx="4510">
                  <c:v>0.51724137931034497</c:v>
                </c:pt>
                <c:pt idx="4511">
                  <c:v>0.51727447216890599</c:v>
                </c:pt>
                <c:pt idx="4512">
                  <c:v>0.51741293532338295</c:v>
                </c:pt>
                <c:pt idx="4513">
                  <c:v>0.51742160278745597</c:v>
                </c:pt>
                <c:pt idx="4514">
                  <c:v>0.51744186046511598</c:v>
                </c:pt>
                <c:pt idx="4515">
                  <c:v>0.51744186046511598</c:v>
                </c:pt>
                <c:pt idx="4516">
                  <c:v>0.51744885679903696</c:v>
                </c:pt>
                <c:pt idx="4517">
                  <c:v>0.51754385964912297</c:v>
                </c:pt>
                <c:pt idx="4518">
                  <c:v>0.51754385964912297</c:v>
                </c:pt>
                <c:pt idx="4519">
                  <c:v>0.517625231910946</c:v>
                </c:pt>
                <c:pt idx="4520">
                  <c:v>0.51767151767151798</c:v>
                </c:pt>
                <c:pt idx="4521">
                  <c:v>0.51779359430604999</c:v>
                </c:pt>
                <c:pt idx="4522">
                  <c:v>0.51780415430267102</c:v>
                </c:pt>
                <c:pt idx="4523">
                  <c:v>0.51785714285714302</c:v>
                </c:pt>
                <c:pt idx="4524">
                  <c:v>0.51797040169133202</c:v>
                </c:pt>
                <c:pt idx="4525">
                  <c:v>0.51797862001943595</c:v>
                </c:pt>
                <c:pt idx="4526">
                  <c:v>0.51804670912951201</c:v>
                </c:pt>
                <c:pt idx="4527">
                  <c:v>0.51807228915662695</c:v>
                </c:pt>
                <c:pt idx="4528">
                  <c:v>0.51807228915662695</c:v>
                </c:pt>
                <c:pt idx="4529">
                  <c:v>0.51818181818181797</c:v>
                </c:pt>
                <c:pt idx="4530">
                  <c:v>0.51839464882943098</c:v>
                </c:pt>
                <c:pt idx="4531">
                  <c:v>0.51851851851851805</c:v>
                </c:pt>
                <c:pt idx="4532">
                  <c:v>0.51861702127659604</c:v>
                </c:pt>
                <c:pt idx="4533">
                  <c:v>0.51865332120109198</c:v>
                </c:pt>
                <c:pt idx="4534">
                  <c:v>0.51867219917012497</c:v>
                </c:pt>
                <c:pt idx="4535">
                  <c:v>0.518987341772152</c:v>
                </c:pt>
                <c:pt idx="4536">
                  <c:v>0.51923076923076905</c:v>
                </c:pt>
                <c:pt idx="4537">
                  <c:v>0.51923076923076905</c:v>
                </c:pt>
                <c:pt idx="4538">
                  <c:v>0.51940850277264305</c:v>
                </c:pt>
                <c:pt idx="4539">
                  <c:v>0.51949860724233998</c:v>
                </c:pt>
                <c:pt idx="4540">
                  <c:v>0.51960784313725505</c:v>
                </c:pt>
                <c:pt idx="4541">
                  <c:v>0.51982378854625599</c:v>
                </c:pt>
                <c:pt idx="4542">
                  <c:v>0.51982378854625599</c:v>
                </c:pt>
                <c:pt idx="4543">
                  <c:v>0.52</c:v>
                </c:pt>
                <c:pt idx="4544">
                  <c:v>0.52</c:v>
                </c:pt>
                <c:pt idx="4545">
                  <c:v>0.52024922118380101</c:v>
                </c:pt>
                <c:pt idx="4546">
                  <c:v>0.52032520325203302</c:v>
                </c:pt>
                <c:pt idx="4547">
                  <c:v>0.52037037037037004</c:v>
                </c:pt>
                <c:pt idx="4548">
                  <c:v>0.52040816326530603</c:v>
                </c:pt>
                <c:pt idx="4549">
                  <c:v>0.52043596730245201</c:v>
                </c:pt>
                <c:pt idx="4550">
                  <c:v>0.52044609665427499</c:v>
                </c:pt>
                <c:pt idx="4551">
                  <c:v>0.52054794520547898</c:v>
                </c:pt>
                <c:pt idx="4552">
                  <c:v>0.52060737527114997</c:v>
                </c:pt>
                <c:pt idx="4553">
                  <c:v>0.52061855670103097</c:v>
                </c:pt>
                <c:pt idx="4554">
                  <c:v>0.52063492063492101</c:v>
                </c:pt>
                <c:pt idx="4555">
                  <c:v>0.52066115702479299</c:v>
                </c:pt>
                <c:pt idx="4556">
                  <c:v>0.52076677316293896</c:v>
                </c:pt>
                <c:pt idx="4557">
                  <c:v>0.52083333333333304</c:v>
                </c:pt>
                <c:pt idx="4558">
                  <c:v>0.52083333333333304</c:v>
                </c:pt>
                <c:pt idx="4559">
                  <c:v>0.52090032154340804</c:v>
                </c:pt>
                <c:pt idx="4560">
                  <c:v>0.52091254752851701</c:v>
                </c:pt>
                <c:pt idx="4561">
                  <c:v>0.52108433734939796</c:v>
                </c:pt>
                <c:pt idx="4562">
                  <c:v>0.52118644067796605</c:v>
                </c:pt>
                <c:pt idx="4563">
                  <c:v>0.521229868228404</c:v>
                </c:pt>
                <c:pt idx="4564">
                  <c:v>0.52127659574468099</c:v>
                </c:pt>
                <c:pt idx="4565">
                  <c:v>0.52142857142857102</c:v>
                </c:pt>
                <c:pt idx="4566">
                  <c:v>0.521505376344086</c:v>
                </c:pt>
                <c:pt idx="4567">
                  <c:v>0.52162849872773498</c:v>
                </c:pt>
                <c:pt idx="4568">
                  <c:v>0.52164655784244096</c:v>
                </c:pt>
                <c:pt idx="4569">
                  <c:v>0.52164948453608295</c:v>
                </c:pt>
                <c:pt idx="4570">
                  <c:v>0.52173913043478304</c:v>
                </c:pt>
                <c:pt idx="4571">
                  <c:v>0.52173913043478304</c:v>
                </c:pt>
                <c:pt idx="4572">
                  <c:v>0.52173913043478304</c:v>
                </c:pt>
                <c:pt idx="4573">
                  <c:v>0.52182952182952203</c:v>
                </c:pt>
                <c:pt idx="4574">
                  <c:v>0.52205882352941202</c:v>
                </c:pt>
                <c:pt idx="4575">
                  <c:v>0.52209492635024501</c:v>
                </c:pt>
                <c:pt idx="4576">
                  <c:v>0.52212389380530999</c:v>
                </c:pt>
                <c:pt idx="4577">
                  <c:v>0.52214452214452201</c:v>
                </c:pt>
                <c:pt idx="4578">
                  <c:v>0.52217741935483897</c:v>
                </c:pt>
                <c:pt idx="4579">
                  <c:v>0.52222222222222203</c:v>
                </c:pt>
                <c:pt idx="4580">
                  <c:v>0.52224824355971899</c:v>
                </c:pt>
                <c:pt idx="4581">
                  <c:v>0.522260273972603</c:v>
                </c:pt>
                <c:pt idx="4582">
                  <c:v>0.52263374485596703</c:v>
                </c:pt>
                <c:pt idx="4583">
                  <c:v>0.52264808362369297</c:v>
                </c:pt>
                <c:pt idx="4584">
                  <c:v>0.52272727272727304</c:v>
                </c:pt>
                <c:pt idx="4585">
                  <c:v>0.52272727272727304</c:v>
                </c:pt>
                <c:pt idx="4586">
                  <c:v>0.52272727272727304</c:v>
                </c:pt>
                <c:pt idx="4587">
                  <c:v>0.52272727272727304</c:v>
                </c:pt>
                <c:pt idx="4588">
                  <c:v>0.52281368821292795</c:v>
                </c:pt>
                <c:pt idx="4589">
                  <c:v>0.52282157676348595</c:v>
                </c:pt>
                <c:pt idx="4590">
                  <c:v>0.52307692307692299</c:v>
                </c:pt>
                <c:pt idx="4591">
                  <c:v>0.523316062176166</c:v>
                </c:pt>
                <c:pt idx="4592">
                  <c:v>0.523316062176166</c:v>
                </c:pt>
                <c:pt idx="4593">
                  <c:v>0.523316062176166</c:v>
                </c:pt>
                <c:pt idx="4594">
                  <c:v>0.52338129496402896</c:v>
                </c:pt>
                <c:pt idx="4595">
                  <c:v>0.52359108781127095</c:v>
                </c:pt>
                <c:pt idx="4596">
                  <c:v>0.52364864864864902</c:v>
                </c:pt>
                <c:pt idx="4597">
                  <c:v>0.52366565961732103</c:v>
                </c:pt>
                <c:pt idx="4598">
                  <c:v>0.52380952380952395</c:v>
                </c:pt>
                <c:pt idx="4599">
                  <c:v>0.52380952380952395</c:v>
                </c:pt>
                <c:pt idx="4600">
                  <c:v>0.52380952380952395</c:v>
                </c:pt>
                <c:pt idx="4601">
                  <c:v>0.52380952380952395</c:v>
                </c:pt>
                <c:pt idx="4602">
                  <c:v>0.52380952380952395</c:v>
                </c:pt>
                <c:pt idx="4603">
                  <c:v>0.52380952380952395</c:v>
                </c:pt>
                <c:pt idx="4604">
                  <c:v>0.52380952380952395</c:v>
                </c:pt>
                <c:pt idx="4605">
                  <c:v>0.52402745995423305</c:v>
                </c:pt>
                <c:pt idx="4606">
                  <c:v>0.52422480620154999</c:v>
                </c:pt>
                <c:pt idx="4607">
                  <c:v>0.52439024390243905</c:v>
                </c:pt>
                <c:pt idx="4608">
                  <c:v>0.52447552447552404</c:v>
                </c:pt>
                <c:pt idx="4609">
                  <c:v>0.52454780361757103</c:v>
                </c:pt>
                <c:pt idx="4610">
                  <c:v>0.52459016393442603</c:v>
                </c:pt>
                <c:pt idx="4611">
                  <c:v>0.52459016393442603</c:v>
                </c:pt>
                <c:pt idx="4612">
                  <c:v>0.52466367713004503</c:v>
                </c:pt>
                <c:pt idx="4613">
                  <c:v>0.52472089314194603</c:v>
                </c:pt>
                <c:pt idx="4614">
                  <c:v>0.52484342379958204</c:v>
                </c:pt>
                <c:pt idx="4615">
                  <c:v>0.52485089463220702</c:v>
                </c:pt>
                <c:pt idx="4616">
                  <c:v>0.52485659655831696</c:v>
                </c:pt>
                <c:pt idx="4617">
                  <c:v>0.524861878453039</c:v>
                </c:pt>
                <c:pt idx="4618">
                  <c:v>0.52487562189054704</c:v>
                </c:pt>
                <c:pt idx="4619">
                  <c:v>0.52500000000000002</c:v>
                </c:pt>
                <c:pt idx="4620">
                  <c:v>0.52500000000000002</c:v>
                </c:pt>
                <c:pt idx="4621">
                  <c:v>0.52511415525114202</c:v>
                </c:pt>
                <c:pt idx="4622">
                  <c:v>0.52525252525252497</c:v>
                </c:pt>
                <c:pt idx="4623">
                  <c:v>0.52542372881355903</c:v>
                </c:pt>
                <c:pt idx="4624">
                  <c:v>0.52542372881355903</c:v>
                </c:pt>
                <c:pt idx="4625">
                  <c:v>0.52549575070821497</c:v>
                </c:pt>
                <c:pt idx="4626">
                  <c:v>0.52550231839258099</c:v>
                </c:pt>
                <c:pt idx="4627">
                  <c:v>0.525525525525526</c:v>
                </c:pt>
                <c:pt idx="4628">
                  <c:v>0.52564102564102599</c:v>
                </c:pt>
                <c:pt idx="4629">
                  <c:v>0.52564102564102599</c:v>
                </c:pt>
                <c:pt idx="4630">
                  <c:v>0.52564102564102599</c:v>
                </c:pt>
                <c:pt idx="4631">
                  <c:v>0.52565564424173306</c:v>
                </c:pt>
                <c:pt idx="4632">
                  <c:v>0.52571428571428602</c:v>
                </c:pt>
                <c:pt idx="4633">
                  <c:v>0.52577319587628901</c:v>
                </c:pt>
                <c:pt idx="4634">
                  <c:v>0.52580645161290296</c:v>
                </c:pt>
                <c:pt idx="4635">
                  <c:v>0.52582159624413105</c:v>
                </c:pt>
                <c:pt idx="4636">
                  <c:v>0.52582159624413105</c:v>
                </c:pt>
                <c:pt idx="4637">
                  <c:v>0.52595338983050799</c:v>
                </c:pt>
                <c:pt idx="4638">
                  <c:v>0.52609603340292299</c:v>
                </c:pt>
                <c:pt idx="4639">
                  <c:v>0.52613240418118501</c:v>
                </c:pt>
                <c:pt idx="4640">
                  <c:v>0.52616279069767402</c:v>
                </c:pt>
                <c:pt idx="4641">
                  <c:v>0.52619047619047599</c:v>
                </c:pt>
                <c:pt idx="4642">
                  <c:v>0.52631578947368396</c:v>
                </c:pt>
                <c:pt idx="4643">
                  <c:v>0.52631578947368396</c:v>
                </c:pt>
                <c:pt idx="4644">
                  <c:v>0.52649228705566697</c:v>
                </c:pt>
                <c:pt idx="4645">
                  <c:v>0.52649769585253503</c:v>
                </c:pt>
                <c:pt idx="4646">
                  <c:v>0.52650822669104203</c:v>
                </c:pt>
                <c:pt idx="4647">
                  <c:v>0.52671755725190805</c:v>
                </c:pt>
                <c:pt idx="4648">
                  <c:v>0.52678571428571397</c:v>
                </c:pt>
                <c:pt idx="4649">
                  <c:v>0.52678571428571397</c:v>
                </c:pt>
                <c:pt idx="4650">
                  <c:v>0.52682338758288105</c:v>
                </c:pt>
                <c:pt idx="4651">
                  <c:v>0.52690582959641297</c:v>
                </c:pt>
                <c:pt idx="4652">
                  <c:v>0.52695652173912999</c:v>
                </c:pt>
                <c:pt idx="4653">
                  <c:v>0.52696456086286603</c:v>
                </c:pt>
                <c:pt idx="4654">
                  <c:v>0.52702702702702697</c:v>
                </c:pt>
                <c:pt idx="4655">
                  <c:v>0.52738095238095195</c:v>
                </c:pt>
                <c:pt idx="4656">
                  <c:v>0.52751091703056796</c:v>
                </c:pt>
                <c:pt idx="4657">
                  <c:v>0.52752293577981602</c:v>
                </c:pt>
                <c:pt idx="4658">
                  <c:v>0.52754237288135597</c:v>
                </c:pt>
                <c:pt idx="4659">
                  <c:v>0.52758132956152803</c:v>
                </c:pt>
                <c:pt idx="4660">
                  <c:v>0.52762430939226501</c:v>
                </c:pt>
                <c:pt idx="4661">
                  <c:v>0.52766798418972305</c:v>
                </c:pt>
                <c:pt idx="4662">
                  <c:v>0.52769230769230802</c:v>
                </c:pt>
                <c:pt idx="4663">
                  <c:v>0.52777777777777801</c:v>
                </c:pt>
                <c:pt idx="4664">
                  <c:v>0.52777777777777801</c:v>
                </c:pt>
                <c:pt idx="4665">
                  <c:v>0.52787162162162204</c:v>
                </c:pt>
                <c:pt idx="4666">
                  <c:v>0.52791878172588802</c:v>
                </c:pt>
                <c:pt idx="4667">
                  <c:v>0.52800000000000002</c:v>
                </c:pt>
                <c:pt idx="4668">
                  <c:v>0.52818991097922896</c:v>
                </c:pt>
                <c:pt idx="4669">
                  <c:v>0.52822580645161299</c:v>
                </c:pt>
                <c:pt idx="4670">
                  <c:v>0.52830188679245305</c:v>
                </c:pt>
                <c:pt idx="4671">
                  <c:v>0.52844036697247698</c:v>
                </c:pt>
                <c:pt idx="4672">
                  <c:v>0.52845528455284596</c:v>
                </c:pt>
                <c:pt idx="4673">
                  <c:v>0.52854511970534102</c:v>
                </c:pt>
                <c:pt idx="4674">
                  <c:v>0.52857142857142903</c:v>
                </c:pt>
                <c:pt idx="4675">
                  <c:v>0.52857142857142903</c:v>
                </c:pt>
                <c:pt idx="4676">
                  <c:v>0.52857142857142903</c:v>
                </c:pt>
                <c:pt idx="4677">
                  <c:v>0.52862453531598497</c:v>
                </c:pt>
                <c:pt idx="4678">
                  <c:v>0.52871287128712896</c:v>
                </c:pt>
                <c:pt idx="4679">
                  <c:v>0.52873563218390796</c:v>
                </c:pt>
                <c:pt idx="4680">
                  <c:v>0.52873563218390796</c:v>
                </c:pt>
                <c:pt idx="4681">
                  <c:v>0.528795811518325</c:v>
                </c:pt>
                <c:pt idx="4682">
                  <c:v>0.52893674293405102</c:v>
                </c:pt>
                <c:pt idx="4683">
                  <c:v>0.52910052910052896</c:v>
                </c:pt>
                <c:pt idx="4684">
                  <c:v>0.52911813643926797</c:v>
                </c:pt>
                <c:pt idx="4685">
                  <c:v>0.52941176470588203</c:v>
                </c:pt>
                <c:pt idx="4686">
                  <c:v>0.52941176470588203</c:v>
                </c:pt>
                <c:pt idx="4687">
                  <c:v>0.52947259565667004</c:v>
                </c:pt>
                <c:pt idx="4688">
                  <c:v>0.52969502407704605</c:v>
                </c:pt>
                <c:pt idx="4689">
                  <c:v>0.52970297029702995</c:v>
                </c:pt>
                <c:pt idx="4690">
                  <c:v>0.52972972972972998</c:v>
                </c:pt>
                <c:pt idx="4691">
                  <c:v>0.52976190476190499</c:v>
                </c:pt>
                <c:pt idx="4692">
                  <c:v>0.52976190476190499</c:v>
                </c:pt>
                <c:pt idx="4693">
                  <c:v>0.52980132450331097</c:v>
                </c:pt>
                <c:pt idx="4694">
                  <c:v>0.52991452991453003</c:v>
                </c:pt>
                <c:pt idx="4695">
                  <c:v>0.529968454258675</c:v>
                </c:pt>
                <c:pt idx="4696">
                  <c:v>0.53</c:v>
                </c:pt>
                <c:pt idx="4697">
                  <c:v>0.53005865102639305</c:v>
                </c:pt>
                <c:pt idx="4698">
                  <c:v>0.53007518796992503</c:v>
                </c:pt>
                <c:pt idx="4699">
                  <c:v>0.530120481927711</c:v>
                </c:pt>
                <c:pt idx="4700">
                  <c:v>0.53019323671497598</c:v>
                </c:pt>
                <c:pt idx="4701">
                  <c:v>0.53022452504317796</c:v>
                </c:pt>
                <c:pt idx="4702">
                  <c:v>0.53024911032028499</c:v>
                </c:pt>
                <c:pt idx="4703">
                  <c:v>0.53030303030303005</c:v>
                </c:pt>
                <c:pt idx="4704">
                  <c:v>0.53043478260869603</c:v>
                </c:pt>
                <c:pt idx="4705">
                  <c:v>0.53048780487804903</c:v>
                </c:pt>
                <c:pt idx="4706">
                  <c:v>0.53051643192488296</c:v>
                </c:pt>
                <c:pt idx="4707">
                  <c:v>0.53067993366500799</c:v>
                </c:pt>
                <c:pt idx="4708">
                  <c:v>0.53083109919571003</c:v>
                </c:pt>
                <c:pt idx="4709">
                  <c:v>0.530864197530864</c:v>
                </c:pt>
                <c:pt idx="4710">
                  <c:v>0.530949105914718</c:v>
                </c:pt>
                <c:pt idx="4711">
                  <c:v>0.53103448275862097</c:v>
                </c:pt>
                <c:pt idx="4712">
                  <c:v>0.53103448275862097</c:v>
                </c:pt>
                <c:pt idx="4713">
                  <c:v>0.53125</c:v>
                </c:pt>
                <c:pt idx="4714">
                  <c:v>0.53125</c:v>
                </c:pt>
                <c:pt idx="4715">
                  <c:v>0.53125</c:v>
                </c:pt>
                <c:pt idx="4716">
                  <c:v>0.53125</c:v>
                </c:pt>
                <c:pt idx="4717">
                  <c:v>0.53125</c:v>
                </c:pt>
                <c:pt idx="4718">
                  <c:v>0.53125</c:v>
                </c:pt>
                <c:pt idx="4719">
                  <c:v>0.53130384836301003</c:v>
                </c:pt>
                <c:pt idx="4720">
                  <c:v>0.53135888501742201</c:v>
                </c:pt>
                <c:pt idx="4721">
                  <c:v>0.53138686131386903</c:v>
                </c:pt>
                <c:pt idx="4722">
                  <c:v>0.53142857142857103</c:v>
                </c:pt>
                <c:pt idx="4723">
                  <c:v>0.53144016227180502</c:v>
                </c:pt>
                <c:pt idx="4724">
                  <c:v>0.53145695364238399</c:v>
                </c:pt>
                <c:pt idx="4725">
                  <c:v>0.53146853146853101</c:v>
                </c:pt>
                <c:pt idx="4726">
                  <c:v>0.53152732368052302</c:v>
                </c:pt>
                <c:pt idx="4727">
                  <c:v>0.531645569620253</c:v>
                </c:pt>
                <c:pt idx="4728">
                  <c:v>0.53174603174603197</c:v>
                </c:pt>
                <c:pt idx="4729">
                  <c:v>0.53179190751445105</c:v>
                </c:pt>
                <c:pt idx="4730">
                  <c:v>0.53181818181818197</c:v>
                </c:pt>
                <c:pt idx="4731">
                  <c:v>0.531835205992509</c:v>
                </c:pt>
                <c:pt idx="4732">
                  <c:v>0.53191489361702105</c:v>
                </c:pt>
                <c:pt idx="4733">
                  <c:v>0.532019704433498</c:v>
                </c:pt>
                <c:pt idx="4734">
                  <c:v>0.53205128205128205</c:v>
                </c:pt>
                <c:pt idx="4735">
                  <c:v>0.53205128205128205</c:v>
                </c:pt>
                <c:pt idx="4736">
                  <c:v>0.53237410071942404</c:v>
                </c:pt>
                <c:pt idx="4737">
                  <c:v>0.53246753246753198</c:v>
                </c:pt>
                <c:pt idx="4738">
                  <c:v>0.53260869565217395</c:v>
                </c:pt>
                <c:pt idx="4739">
                  <c:v>0.53260869565217395</c:v>
                </c:pt>
                <c:pt idx="4740">
                  <c:v>0.53264604810996596</c:v>
                </c:pt>
                <c:pt idx="4741">
                  <c:v>0.53265306122448997</c:v>
                </c:pt>
                <c:pt idx="4742">
                  <c:v>0.53278688524590201</c:v>
                </c:pt>
                <c:pt idx="4743">
                  <c:v>0.53284671532846695</c:v>
                </c:pt>
                <c:pt idx="4744">
                  <c:v>0.53289473684210498</c:v>
                </c:pt>
                <c:pt idx="4745">
                  <c:v>0.53289473684210498</c:v>
                </c:pt>
                <c:pt idx="4746">
                  <c:v>0.53293413173652704</c:v>
                </c:pt>
                <c:pt idx="4747">
                  <c:v>0.53304904051172697</c:v>
                </c:pt>
                <c:pt idx="4748">
                  <c:v>0.53307543520309497</c:v>
                </c:pt>
                <c:pt idx="4749">
                  <c:v>0.53314917127071804</c:v>
                </c:pt>
                <c:pt idx="4750">
                  <c:v>0.53333333333333299</c:v>
                </c:pt>
                <c:pt idx="4751">
                  <c:v>0.53333333333333299</c:v>
                </c:pt>
                <c:pt idx="4752">
                  <c:v>0.53338762214983704</c:v>
                </c:pt>
                <c:pt idx="4753">
                  <c:v>0.53345388788426795</c:v>
                </c:pt>
                <c:pt idx="4754">
                  <c:v>0.53346456692913402</c:v>
                </c:pt>
                <c:pt idx="4755">
                  <c:v>0.53353658536585402</c:v>
                </c:pt>
                <c:pt idx="4756">
                  <c:v>0.53354134165366596</c:v>
                </c:pt>
                <c:pt idx="4757">
                  <c:v>0.53366583541147095</c:v>
                </c:pt>
                <c:pt idx="4758">
                  <c:v>0.53376906318082795</c:v>
                </c:pt>
                <c:pt idx="4759">
                  <c:v>0.53378378378378399</c:v>
                </c:pt>
                <c:pt idx="4760">
                  <c:v>0.53398058252427205</c:v>
                </c:pt>
                <c:pt idx="4761">
                  <c:v>0.53398058252427205</c:v>
                </c:pt>
                <c:pt idx="4762">
                  <c:v>0.53411764705882303</c:v>
                </c:pt>
                <c:pt idx="4763">
                  <c:v>0.53413654618473905</c:v>
                </c:pt>
                <c:pt idx="4764">
                  <c:v>0.53418803418803396</c:v>
                </c:pt>
                <c:pt idx="4765">
                  <c:v>0.534246575342466</c:v>
                </c:pt>
                <c:pt idx="4766">
                  <c:v>0.534246575342466</c:v>
                </c:pt>
                <c:pt idx="4767">
                  <c:v>0.53435114503816805</c:v>
                </c:pt>
                <c:pt idx="4768">
                  <c:v>0.53437500000000004</c:v>
                </c:pt>
                <c:pt idx="4769">
                  <c:v>0.53437500000000004</c:v>
                </c:pt>
                <c:pt idx="4770">
                  <c:v>0.53443258971871999</c:v>
                </c:pt>
                <c:pt idx="4771">
                  <c:v>0.53444881889763796</c:v>
                </c:pt>
                <c:pt idx="4772">
                  <c:v>0.53448275862068995</c:v>
                </c:pt>
                <c:pt idx="4773">
                  <c:v>0.53460381143430302</c:v>
                </c:pt>
                <c:pt idx="4774">
                  <c:v>0.53465346534653502</c:v>
                </c:pt>
                <c:pt idx="4775">
                  <c:v>0.53468433359314105</c:v>
                </c:pt>
                <c:pt idx="4776">
                  <c:v>0.53472222222222199</c:v>
                </c:pt>
                <c:pt idx="4777">
                  <c:v>0.53475935828876997</c:v>
                </c:pt>
                <c:pt idx="4778">
                  <c:v>0.53488372093023295</c:v>
                </c:pt>
                <c:pt idx="4779">
                  <c:v>0.53488372093023295</c:v>
                </c:pt>
                <c:pt idx="4780">
                  <c:v>0.53500000000000003</c:v>
                </c:pt>
                <c:pt idx="4781">
                  <c:v>0.53500000000000003</c:v>
                </c:pt>
                <c:pt idx="4782">
                  <c:v>0.53500897666068203</c:v>
                </c:pt>
                <c:pt idx="4783">
                  <c:v>0.53508771929824595</c:v>
                </c:pt>
                <c:pt idx="4784">
                  <c:v>0.53518518518518499</c:v>
                </c:pt>
                <c:pt idx="4785">
                  <c:v>0.53542234332425098</c:v>
                </c:pt>
                <c:pt idx="4786">
                  <c:v>0.535433070866142</c:v>
                </c:pt>
                <c:pt idx="4787">
                  <c:v>0.53544165757906204</c:v>
                </c:pt>
                <c:pt idx="4788">
                  <c:v>0.53545232273838606</c:v>
                </c:pt>
                <c:pt idx="4789">
                  <c:v>0.535545023696682</c:v>
                </c:pt>
                <c:pt idx="4790">
                  <c:v>0.53571428571428603</c:v>
                </c:pt>
                <c:pt idx="4791">
                  <c:v>0.53582089552238799</c:v>
                </c:pt>
                <c:pt idx="4792">
                  <c:v>0.53586497890295404</c:v>
                </c:pt>
                <c:pt idx="4793">
                  <c:v>0.53591160220994505</c:v>
                </c:pt>
                <c:pt idx="4794">
                  <c:v>0.53594771241830097</c:v>
                </c:pt>
                <c:pt idx="4795">
                  <c:v>0.53605015673981204</c:v>
                </c:pt>
                <c:pt idx="4796">
                  <c:v>0.53623188405797095</c:v>
                </c:pt>
                <c:pt idx="4797">
                  <c:v>0.53636363636363604</c:v>
                </c:pt>
                <c:pt idx="4798">
                  <c:v>0.53636363636363604</c:v>
                </c:pt>
                <c:pt idx="4799">
                  <c:v>0.53639846743295005</c:v>
                </c:pt>
                <c:pt idx="4800">
                  <c:v>0.53651685393258397</c:v>
                </c:pt>
                <c:pt idx="4801">
                  <c:v>0.53651685393258397</c:v>
                </c:pt>
                <c:pt idx="4802">
                  <c:v>0.536523929471033</c:v>
                </c:pt>
                <c:pt idx="4803">
                  <c:v>0.53658536585365901</c:v>
                </c:pt>
                <c:pt idx="4804">
                  <c:v>0.53658536585365901</c:v>
                </c:pt>
                <c:pt idx="4805">
                  <c:v>0.53658536585365901</c:v>
                </c:pt>
                <c:pt idx="4806">
                  <c:v>0.53665689149560103</c:v>
                </c:pt>
                <c:pt idx="4807">
                  <c:v>0.53668478260869601</c:v>
                </c:pt>
                <c:pt idx="4808">
                  <c:v>0.53669724770642202</c:v>
                </c:pt>
                <c:pt idx="4809">
                  <c:v>0.53676470588235303</c:v>
                </c:pt>
                <c:pt idx="4810">
                  <c:v>0.53684210526315801</c:v>
                </c:pt>
                <c:pt idx="4811">
                  <c:v>0.53691275167785202</c:v>
                </c:pt>
                <c:pt idx="4812">
                  <c:v>0.53703703703703698</c:v>
                </c:pt>
                <c:pt idx="4813">
                  <c:v>0.53703703703703698</c:v>
                </c:pt>
                <c:pt idx="4814">
                  <c:v>0.53706199460916404</c:v>
                </c:pt>
                <c:pt idx="4815">
                  <c:v>0.53706754530477796</c:v>
                </c:pt>
                <c:pt idx="4816">
                  <c:v>0.53708439897698201</c:v>
                </c:pt>
                <c:pt idx="4817">
                  <c:v>0.53711790393013104</c:v>
                </c:pt>
                <c:pt idx="4818">
                  <c:v>0.53719008264462798</c:v>
                </c:pt>
                <c:pt idx="4819">
                  <c:v>0.53736654804270501</c:v>
                </c:pt>
                <c:pt idx="4820">
                  <c:v>0.537523452157598</c:v>
                </c:pt>
                <c:pt idx="4821">
                  <c:v>0.53759398496240596</c:v>
                </c:pt>
                <c:pt idx="4822">
                  <c:v>0.53768844221105505</c:v>
                </c:pt>
                <c:pt idx="4823">
                  <c:v>0.53775322283609595</c:v>
                </c:pt>
                <c:pt idx="4824">
                  <c:v>0.53777777777777802</c:v>
                </c:pt>
                <c:pt idx="4825">
                  <c:v>0.53781512605042003</c:v>
                </c:pt>
                <c:pt idx="4826">
                  <c:v>0.537974683544304</c:v>
                </c:pt>
                <c:pt idx="4827">
                  <c:v>0.538017324350337</c:v>
                </c:pt>
                <c:pt idx="4828">
                  <c:v>0.53809523809523796</c:v>
                </c:pt>
                <c:pt idx="4829">
                  <c:v>0.53811659192825101</c:v>
                </c:pt>
                <c:pt idx="4830">
                  <c:v>0.538167938931298</c:v>
                </c:pt>
                <c:pt idx="4831">
                  <c:v>0.53817733990147798</c:v>
                </c:pt>
                <c:pt idx="4832">
                  <c:v>0.53846153846153799</c:v>
                </c:pt>
                <c:pt idx="4833">
                  <c:v>0.53846153846153799</c:v>
                </c:pt>
                <c:pt idx="4834">
                  <c:v>0.53846153846153799</c:v>
                </c:pt>
                <c:pt idx="4835">
                  <c:v>0.53846153846153799</c:v>
                </c:pt>
                <c:pt idx="4836">
                  <c:v>0.53846153846153799</c:v>
                </c:pt>
                <c:pt idx="4837">
                  <c:v>0.53856942496493698</c:v>
                </c:pt>
                <c:pt idx="4838">
                  <c:v>0.53858520900321505</c:v>
                </c:pt>
                <c:pt idx="4839">
                  <c:v>0.53864278982092395</c:v>
                </c:pt>
                <c:pt idx="4840">
                  <c:v>0.53896103896103897</c:v>
                </c:pt>
                <c:pt idx="4841">
                  <c:v>0.53907496012759204</c:v>
                </c:pt>
                <c:pt idx="4842">
                  <c:v>0.53913894324853195</c:v>
                </c:pt>
                <c:pt idx="4843">
                  <c:v>0.53915662650602403</c:v>
                </c:pt>
                <c:pt idx="4844">
                  <c:v>0.53926701570680602</c:v>
                </c:pt>
                <c:pt idx="4845">
                  <c:v>0.53932584269662898</c:v>
                </c:pt>
                <c:pt idx="4846">
                  <c:v>0.53941120607787296</c:v>
                </c:pt>
                <c:pt idx="4847">
                  <c:v>0.53953871499176298</c:v>
                </c:pt>
                <c:pt idx="4848">
                  <c:v>0.53955375253549698</c:v>
                </c:pt>
                <c:pt idx="4849">
                  <c:v>0.53968253968253999</c:v>
                </c:pt>
                <c:pt idx="4850">
                  <c:v>0.53973509933774799</c:v>
                </c:pt>
                <c:pt idx="4851">
                  <c:v>0.53978494623655904</c:v>
                </c:pt>
                <c:pt idx="4852">
                  <c:v>0.539906103286385</c:v>
                </c:pt>
                <c:pt idx="4853">
                  <c:v>0.53991416309012896</c:v>
                </c:pt>
                <c:pt idx="4854">
                  <c:v>0.54</c:v>
                </c:pt>
                <c:pt idx="4855">
                  <c:v>0.54</c:v>
                </c:pt>
                <c:pt idx="4856">
                  <c:v>0.54010695187165803</c:v>
                </c:pt>
                <c:pt idx="4857">
                  <c:v>0.54022988505747105</c:v>
                </c:pt>
                <c:pt idx="4858">
                  <c:v>0.54025218234723604</c:v>
                </c:pt>
                <c:pt idx="4859">
                  <c:v>0.54027504911591395</c:v>
                </c:pt>
                <c:pt idx="4860">
                  <c:v>0.54028436018957304</c:v>
                </c:pt>
                <c:pt idx="4861">
                  <c:v>0.54034229828850899</c:v>
                </c:pt>
                <c:pt idx="4862">
                  <c:v>0.54038461538461502</c:v>
                </c:pt>
                <c:pt idx="4863">
                  <c:v>0.54047619047619</c:v>
                </c:pt>
                <c:pt idx="4864">
                  <c:v>0.54048964218455697</c:v>
                </c:pt>
                <c:pt idx="4865">
                  <c:v>0.54054054054054101</c:v>
                </c:pt>
                <c:pt idx="4866">
                  <c:v>0.54098360655737698</c:v>
                </c:pt>
                <c:pt idx="4867">
                  <c:v>0.54098360655737698</c:v>
                </c:pt>
                <c:pt idx="4868">
                  <c:v>0.54098360655737698</c:v>
                </c:pt>
                <c:pt idx="4869">
                  <c:v>0.54101995565410199</c:v>
                </c:pt>
                <c:pt idx="4870">
                  <c:v>0.54109589041095896</c:v>
                </c:pt>
                <c:pt idx="4871">
                  <c:v>0.54117647058823504</c:v>
                </c:pt>
                <c:pt idx="4872">
                  <c:v>0.54128440366972497</c:v>
                </c:pt>
                <c:pt idx="4873">
                  <c:v>0.54135338345864703</c:v>
                </c:pt>
                <c:pt idx="4874">
                  <c:v>0.54144241119483305</c:v>
                </c:pt>
                <c:pt idx="4875">
                  <c:v>0.54147104851330197</c:v>
                </c:pt>
                <c:pt idx="4876">
                  <c:v>0.54158607350096699</c:v>
                </c:pt>
                <c:pt idx="4877">
                  <c:v>0.54160789844851898</c:v>
                </c:pt>
                <c:pt idx="4878">
                  <c:v>0.54166666666666696</c:v>
                </c:pt>
                <c:pt idx="4879">
                  <c:v>0.54166666666666696</c:v>
                </c:pt>
                <c:pt idx="4880">
                  <c:v>0.54166666666666696</c:v>
                </c:pt>
                <c:pt idx="4881">
                  <c:v>0.54166666666666696</c:v>
                </c:pt>
                <c:pt idx="4882">
                  <c:v>0.54180602006689005</c:v>
                </c:pt>
                <c:pt idx="4883">
                  <c:v>0.54183266932270902</c:v>
                </c:pt>
                <c:pt idx="4884">
                  <c:v>0.541922290388548</c:v>
                </c:pt>
                <c:pt idx="4885">
                  <c:v>0.54205607476635498</c:v>
                </c:pt>
                <c:pt idx="4886">
                  <c:v>0.54210526315789498</c:v>
                </c:pt>
                <c:pt idx="4887">
                  <c:v>0.54216867469879504</c:v>
                </c:pt>
                <c:pt idx="4888">
                  <c:v>0.54223433242506802</c:v>
                </c:pt>
                <c:pt idx="4889">
                  <c:v>0.542263610315186</c:v>
                </c:pt>
                <c:pt idx="4890">
                  <c:v>0.54237288135593198</c:v>
                </c:pt>
                <c:pt idx="4891">
                  <c:v>0.54238258877434098</c:v>
                </c:pt>
                <c:pt idx="4892">
                  <c:v>0.54243542435424397</c:v>
                </c:pt>
                <c:pt idx="4893">
                  <c:v>0.54248366013071903</c:v>
                </c:pt>
                <c:pt idx="4894">
                  <c:v>0.54249547920434005</c:v>
                </c:pt>
                <c:pt idx="4895">
                  <c:v>0.54255319148936199</c:v>
                </c:pt>
                <c:pt idx="4896">
                  <c:v>0.54265402843601895</c:v>
                </c:pt>
                <c:pt idx="4897">
                  <c:v>0.542682926829268</c:v>
                </c:pt>
                <c:pt idx="4898">
                  <c:v>0.54285714285714304</c:v>
                </c:pt>
                <c:pt idx="4899">
                  <c:v>0.54285714285714304</c:v>
                </c:pt>
                <c:pt idx="4900">
                  <c:v>0.54292084726867296</c:v>
                </c:pt>
                <c:pt idx="4901">
                  <c:v>0.54293628808864303</c:v>
                </c:pt>
                <c:pt idx="4902">
                  <c:v>0.543010752688172</c:v>
                </c:pt>
                <c:pt idx="4903">
                  <c:v>0.54318618042226496</c:v>
                </c:pt>
                <c:pt idx="4904">
                  <c:v>0.543333333333333</c:v>
                </c:pt>
                <c:pt idx="4905">
                  <c:v>0.54335260115606898</c:v>
                </c:pt>
                <c:pt idx="4906">
                  <c:v>0.54336283185840695</c:v>
                </c:pt>
                <c:pt idx="4907">
                  <c:v>0.54347826086956497</c:v>
                </c:pt>
                <c:pt idx="4908">
                  <c:v>0.54362416107382505</c:v>
                </c:pt>
                <c:pt idx="4909">
                  <c:v>0.54375970999482104</c:v>
                </c:pt>
                <c:pt idx="4910">
                  <c:v>0.54377880184331795</c:v>
                </c:pt>
                <c:pt idx="4911">
                  <c:v>0.54385964912280704</c:v>
                </c:pt>
                <c:pt idx="4912">
                  <c:v>0.54408060453400497</c:v>
                </c:pt>
                <c:pt idx="4913">
                  <c:v>0.54411764705882304</c:v>
                </c:pt>
                <c:pt idx="4914">
                  <c:v>0.544262295081967</c:v>
                </c:pt>
                <c:pt idx="4915">
                  <c:v>0.544303797468354</c:v>
                </c:pt>
                <c:pt idx="4916">
                  <c:v>0.54435483870967705</c:v>
                </c:pt>
                <c:pt idx="4917">
                  <c:v>0.54444444444444395</c:v>
                </c:pt>
                <c:pt idx="4918">
                  <c:v>0.54460966542750899</c:v>
                </c:pt>
                <c:pt idx="4919">
                  <c:v>0.54462659380692202</c:v>
                </c:pt>
                <c:pt idx="4920">
                  <c:v>0.54464285714285698</c:v>
                </c:pt>
                <c:pt idx="4921">
                  <c:v>0.54471544715447195</c:v>
                </c:pt>
                <c:pt idx="4922">
                  <c:v>0.54477611940298498</c:v>
                </c:pt>
                <c:pt idx="4923">
                  <c:v>0.54482071713147395</c:v>
                </c:pt>
                <c:pt idx="4924">
                  <c:v>0.54482758620689697</c:v>
                </c:pt>
                <c:pt idx="4925">
                  <c:v>0.54487179487179505</c:v>
                </c:pt>
                <c:pt idx="4926">
                  <c:v>0.54494382022471899</c:v>
                </c:pt>
                <c:pt idx="4927">
                  <c:v>0.544973544973545</c:v>
                </c:pt>
                <c:pt idx="4928">
                  <c:v>0.54515050167224099</c:v>
                </c:pt>
                <c:pt idx="4929">
                  <c:v>0.54518950437317804</c:v>
                </c:pt>
                <c:pt idx="4930">
                  <c:v>0.545325779036827</c:v>
                </c:pt>
                <c:pt idx="4931">
                  <c:v>0.54545454545454497</c:v>
                </c:pt>
                <c:pt idx="4932">
                  <c:v>0.54545454545454497</c:v>
                </c:pt>
                <c:pt idx="4933">
                  <c:v>0.54545454545454497</c:v>
                </c:pt>
                <c:pt idx="4934">
                  <c:v>0.54545454545454497</c:v>
                </c:pt>
                <c:pt idx="4935">
                  <c:v>0.54545454545454497</c:v>
                </c:pt>
                <c:pt idx="4936">
                  <c:v>0.54554973821989505</c:v>
                </c:pt>
                <c:pt idx="4937">
                  <c:v>0.545654565456546</c:v>
                </c:pt>
                <c:pt idx="4938">
                  <c:v>0.54568854568854597</c:v>
                </c:pt>
                <c:pt idx="4939">
                  <c:v>0.54578754578754596</c:v>
                </c:pt>
                <c:pt idx="4940">
                  <c:v>0.545801526717557</c:v>
                </c:pt>
                <c:pt idx="4941">
                  <c:v>0.54581673306772904</c:v>
                </c:pt>
                <c:pt idx="4942">
                  <c:v>0.54585152838427997</c:v>
                </c:pt>
                <c:pt idx="4943">
                  <c:v>0.54605263157894701</c:v>
                </c:pt>
                <c:pt idx="4944">
                  <c:v>0.546082949308756</c:v>
                </c:pt>
                <c:pt idx="4945">
                  <c:v>0.54620462046204599</c:v>
                </c:pt>
                <c:pt idx="4946">
                  <c:v>0.54626334519572906</c:v>
                </c:pt>
                <c:pt idx="4947">
                  <c:v>0.54639175257731998</c:v>
                </c:pt>
                <c:pt idx="4948">
                  <c:v>0.54642313546423105</c:v>
                </c:pt>
                <c:pt idx="4949">
                  <c:v>0.54651162790697705</c:v>
                </c:pt>
                <c:pt idx="4950">
                  <c:v>0.54651162790697705</c:v>
                </c:pt>
                <c:pt idx="4951">
                  <c:v>0.54651162790697705</c:v>
                </c:pt>
                <c:pt idx="4952">
                  <c:v>0.546546546546547</c:v>
                </c:pt>
                <c:pt idx="4953">
                  <c:v>0.54666666666666697</c:v>
                </c:pt>
                <c:pt idx="4954">
                  <c:v>0.54667354306343496</c:v>
                </c:pt>
                <c:pt idx="4955">
                  <c:v>0.54674220963172804</c:v>
                </c:pt>
                <c:pt idx="4956">
                  <c:v>0.54676258992805804</c:v>
                </c:pt>
                <c:pt idx="4957">
                  <c:v>0.54683544303797504</c:v>
                </c:pt>
                <c:pt idx="4958">
                  <c:v>0.546875</c:v>
                </c:pt>
                <c:pt idx="4959">
                  <c:v>0.547069271758437</c:v>
                </c:pt>
                <c:pt idx="4960">
                  <c:v>0.54715510522213595</c:v>
                </c:pt>
                <c:pt idx="4961">
                  <c:v>0.54729729729729704</c:v>
                </c:pt>
                <c:pt idx="4962">
                  <c:v>0.54736842105263195</c:v>
                </c:pt>
                <c:pt idx="4963">
                  <c:v>0.54743390357698296</c:v>
                </c:pt>
                <c:pt idx="4964">
                  <c:v>0.54749999999999999</c:v>
                </c:pt>
                <c:pt idx="4965">
                  <c:v>0.54751131221719496</c:v>
                </c:pt>
                <c:pt idx="4966">
                  <c:v>0.54752066115702502</c:v>
                </c:pt>
                <c:pt idx="4967">
                  <c:v>0.54765100671140898</c:v>
                </c:pt>
                <c:pt idx="4968">
                  <c:v>0.54773869346733695</c:v>
                </c:pt>
                <c:pt idx="4969">
                  <c:v>0.547770700636943</c:v>
                </c:pt>
                <c:pt idx="4970">
                  <c:v>0.54782608695652202</c:v>
                </c:pt>
                <c:pt idx="4971">
                  <c:v>0.54793786823781498</c:v>
                </c:pt>
                <c:pt idx="4972">
                  <c:v>0.54794520547945202</c:v>
                </c:pt>
                <c:pt idx="4973">
                  <c:v>0.54801536491677305</c:v>
                </c:pt>
                <c:pt idx="4974">
                  <c:v>0.54817275747508298</c:v>
                </c:pt>
                <c:pt idx="4975">
                  <c:v>0.54838709677419295</c:v>
                </c:pt>
                <c:pt idx="4976">
                  <c:v>0.54862385321100904</c:v>
                </c:pt>
                <c:pt idx="4977">
                  <c:v>0.54870129870129902</c:v>
                </c:pt>
                <c:pt idx="4978">
                  <c:v>0.54878048780487798</c:v>
                </c:pt>
                <c:pt idx="4979">
                  <c:v>0.54878048780487798</c:v>
                </c:pt>
                <c:pt idx="4980">
                  <c:v>0.54878048780487798</c:v>
                </c:pt>
                <c:pt idx="4981">
                  <c:v>0.54880952380952397</c:v>
                </c:pt>
                <c:pt idx="4982">
                  <c:v>0.54901960784313697</c:v>
                </c:pt>
                <c:pt idx="4983">
                  <c:v>0.54901960784313697</c:v>
                </c:pt>
                <c:pt idx="4984">
                  <c:v>0.54902962206332995</c:v>
                </c:pt>
                <c:pt idx="4985">
                  <c:v>0.54909090909090896</c:v>
                </c:pt>
                <c:pt idx="4986">
                  <c:v>0.54909706546275405</c:v>
                </c:pt>
                <c:pt idx="4987">
                  <c:v>0.54910179640718604</c:v>
                </c:pt>
                <c:pt idx="4988">
                  <c:v>0.54910714285714302</c:v>
                </c:pt>
                <c:pt idx="4989">
                  <c:v>0.54910714285714302</c:v>
                </c:pt>
                <c:pt idx="4990">
                  <c:v>0.54920634920634903</c:v>
                </c:pt>
                <c:pt idx="4991">
                  <c:v>0.54928457869634295</c:v>
                </c:pt>
                <c:pt idx="4992">
                  <c:v>0.54929577464788704</c:v>
                </c:pt>
                <c:pt idx="4993">
                  <c:v>0.54936708860759498</c:v>
                </c:pt>
                <c:pt idx="4994">
                  <c:v>0.54945054945054905</c:v>
                </c:pt>
                <c:pt idx="4995">
                  <c:v>0.54945054945054905</c:v>
                </c:pt>
                <c:pt idx="4996">
                  <c:v>0.54957507082153001</c:v>
                </c:pt>
                <c:pt idx="4997">
                  <c:v>0.54964539007092195</c:v>
                </c:pt>
                <c:pt idx="4998">
                  <c:v>0.54973821989528804</c:v>
                </c:pt>
                <c:pt idx="4999">
                  <c:v>0.54975124378109497</c:v>
                </c:pt>
                <c:pt idx="5000">
                  <c:v>0.54981549815498199</c:v>
                </c:pt>
                <c:pt idx="5001">
                  <c:v>0.55000000000000004</c:v>
                </c:pt>
                <c:pt idx="5002">
                  <c:v>0.55000000000000004</c:v>
                </c:pt>
                <c:pt idx="5003">
                  <c:v>0.55000000000000004</c:v>
                </c:pt>
                <c:pt idx="5004">
                  <c:v>0.55007473841554599</c:v>
                </c:pt>
                <c:pt idx="5005">
                  <c:v>0.550218340611354</c:v>
                </c:pt>
                <c:pt idx="5006">
                  <c:v>0.55027932960893899</c:v>
                </c:pt>
                <c:pt idx="5007">
                  <c:v>0.55045871559632997</c:v>
                </c:pt>
                <c:pt idx="5008">
                  <c:v>0.550632911392405</c:v>
                </c:pt>
                <c:pt idx="5009">
                  <c:v>0.55072463768115898</c:v>
                </c:pt>
                <c:pt idx="5010">
                  <c:v>0.55072463768115898</c:v>
                </c:pt>
                <c:pt idx="5011">
                  <c:v>0.55081967213114802</c:v>
                </c:pt>
                <c:pt idx="5012">
                  <c:v>0.55082742316784905</c:v>
                </c:pt>
                <c:pt idx="5013">
                  <c:v>0.55084745762711895</c:v>
                </c:pt>
                <c:pt idx="5014">
                  <c:v>0.55089820359281405</c:v>
                </c:pt>
                <c:pt idx="5015">
                  <c:v>0.55098389982110896</c:v>
                </c:pt>
                <c:pt idx="5016">
                  <c:v>0.55102040816326503</c:v>
                </c:pt>
                <c:pt idx="5017">
                  <c:v>0.55102040816326503</c:v>
                </c:pt>
                <c:pt idx="5018">
                  <c:v>0.55112651646447097</c:v>
                </c:pt>
                <c:pt idx="5019">
                  <c:v>0.55114503816793903</c:v>
                </c:pt>
                <c:pt idx="5020">
                  <c:v>0.55120481927710796</c:v>
                </c:pt>
                <c:pt idx="5021">
                  <c:v>0.55126953125</c:v>
                </c:pt>
                <c:pt idx="5022">
                  <c:v>0.55128205128205099</c:v>
                </c:pt>
                <c:pt idx="5023">
                  <c:v>0.55140186915887801</c:v>
                </c:pt>
                <c:pt idx="5024">
                  <c:v>0.55141843971631199</c:v>
                </c:pt>
                <c:pt idx="5025">
                  <c:v>0.55144337527757203</c:v>
                </c:pt>
                <c:pt idx="5026">
                  <c:v>0.55152671755725202</c:v>
                </c:pt>
                <c:pt idx="5027">
                  <c:v>0.55156950672645699</c:v>
                </c:pt>
                <c:pt idx="5028">
                  <c:v>0.55162659123055202</c:v>
                </c:pt>
                <c:pt idx="5029">
                  <c:v>0.55164319248826299</c:v>
                </c:pt>
                <c:pt idx="5030">
                  <c:v>0.55172413793103403</c:v>
                </c:pt>
                <c:pt idx="5031">
                  <c:v>0.55172413793103403</c:v>
                </c:pt>
                <c:pt idx="5032">
                  <c:v>0.55179934569247502</c:v>
                </c:pt>
                <c:pt idx="5033">
                  <c:v>0.55200000000000005</c:v>
                </c:pt>
                <c:pt idx="5034">
                  <c:v>0.55222337125129295</c:v>
                </c:pt>
                <c:pt idx="5035">
                  <c:v>0.55242566510172098</c:v>
                </c:pt>
                <c:pt idx="5036">
                  <c:v>0.55252918287937702</c:v>
                </c:pt>
                <c:pt idx="5037">
                  <c:v>0.55263157894736803</c:v>
                </c:pt>
                <c:pt idx="5038">
                  <c:v>0.55267804590935798</c:v>
                </c:pt>
                <c:pt idx="5039">
                  <c:v>0.55269922879177402</c:v>
                </c:pt>
                <c:pt idx="5040">
                  <c:v>0.55274261603375496</c:v>
                </c:pt>
                <c:pt idx="5041">
                  <c:v>0.55281690140845097</c:v>
                </c:pt>
                <c:pt idx="5042">
                  <c:v>0.55288461538461497</c:v>
                </c:pt>
                <c:pt idx="5043">
                  <c:v>0.552927927927928</c:v>
                </c:pt>
                <c:pt idx="5044">
                  <c:v>0.55294117647058805</c:v>
                </c:pt>
                <c:pt idx="5045">
                  <c:v>0.55298651252408504</c:v>
                </c:pt>
                <c:pt idx="5046">
                  <c:v>0.55303030303030298</c:v>
                </c:pt>
                <c:pt idx="5047">
                  <c:v>0.553097345132743</c:v>
                </c:pt>
                <c:pt idx="5048">
                  <c:v>0.55312499999999998</c:v>
                </c:pt>
                <c:pt idx="5049">
                  <c:v>0.55319148936170204</c:v>
                </c:pt>
                <c:pt idx="5050">
                  <c:v>0.55319148936170204</c:v>
                </c:pt>
                <c:pt idx="5051">
                  <c:v>0.55319148936170204</c:v>
                </c:pt>
                <c:pt idx="5052">
                  <c:v>0.55322338830584705</c:v>
                </c:pt>
                <c:pt idx="5053">
                  <c:v>0.55348837209302304</c:v>
                </c:pt>
                <c:pt idx="5054">
                  <c:v>0.55352112676056298</c:v>
                </c:pt>
                <c:pt idx="5055">
                  <c:v>0.55352480417754601</c:v>
                </c:pt>
                <c:pt idx="5056">
                  <c:v>0.55361050328227601</c:v>
                </c:pt>
                <c:pt idx="5057">
                  <c:v>0.55365853658536601</c:v>
                </c:pt>
                <c:pt idx="5058">
                  <c:v>0.55369127516778505</c:v>
                </c:pt>
                <c:pt idx="5059">
                  <c:v>0.55376344086021501</c:v>
                </c:pt>
                <c:pt idx="5060">
                  <c:v>0.55384615384615399</c:v>
                </c:pt>
                <c:pt idx="5061">
                  <c:v>0.55389221556886203</c:v>
                </c:pt>
                <c:pt idx="5062">
                  <c:v>0.55395683453237399</c:v>
                </c:pt>
                <c:pt idx="5063">
                  <c:v>0.55405405405405395</c:v>
                </c:pt>
                <c:pt idx="5064">
                  <c:v>0.55419222903885501</c:v>
                </c:pt>
                <c:pt idx="5065">
                  <c:v>0.55434782608695699</c:v>
                </c:pt>
                <c:pt idx="5066">
                  <c:v>0.55434782608695699</c:v>
                </c:pt>
                <c:pt idx="5067">
                  <c:v>0.55443548387096797</c:v>
                </c:pt>
                <c:pt idx="5068">
                  <c:v>0.55454545454545501</c:v>
                </c:pt>
                <c:pt idx="5069">
                  <c:v>0.55467196819085496</c:v>
                </c:pt>
                <c:pt idx="5070">
                  <c:v>0.55471698113207502</c:v>
                </c:pt>
                <c:pt idx="5071">
                  <c:v>0.55474452554744502</c:v>
                </c:pt>
                <c:pt idx="5072">
                  <c:v>0.55481727574750805</c:v>
                </c:pt>
                <c:pt idx="5073">
                  <c:v>0.55506607929515395</c:v>
                </c:pt>
                <c:pt idx="5074">
                  <c:v>0.555172413793103</c:v>
                </c:pt>
                <c:pt idx="5075">
                  <c:v>0.555172413793103</c:v>
                </c:pt>
                <c:pt idx="5076">
                  <c:v>0.55517826825127303</c:v>
                </c:pt>
                <c:pt idx="5077">
                  <c:v>0.55524861878453002</c:v>
                </c:pt>
                <c:pt idx="5078">
                  <c:v>0.55528554070473901</c:v>
                </c:pt>
                <c:pt idx="5079">
                  <c:v>0.55533199195171001</c:v>
                </c:pt>
                <c:pt idx="5080">
                  <c:v>0.55543478260869605</c:v>
                </c:pt>
                <c:pt idx="5081">
                  <c:v>0.55555555555555602</c:v>
                </c:pt>
                <c:pt idx="5082">
                  <c:v>0.55555555555555602</c:v>
                </c:pt>
                <c:pt idx="5083">
                  <c:v>0.55555555555555602</c:v>
                </c:pt>
                <c:pt idx="5084">
                  <c:v>0.55555555555555602</c:v>
                </c:pt>
                <c:pt idx="5085">
                  <c:v>0.55555555555555602</c:v>
                </c:pt>
                <c:pt idx="5086">
                  <c:v>0.55555555555555602</c:v>
                </c:pt>
                <c:pt idx="5087">
                  <c:v>0.55555555555555602</c:v>
                </c:pt>
                <c:pt idx="5088">
                  <c:v>0.55555555555555602</c:v>
                </c:pt>
                <c:pt idx="5089">
                  <c:v>0.55555555555555602</c:v>
                </c:pt>
                <c:pt idx="5090">
                  <c:v>0.55555555555555602</c:v>
                </c:pt>
                <c:pt idx="5091">
                  <c:v>0.55555555555555602</c:v>
                </c:pt>
                <c:pt idx="5092">
                  <c:v>0.55555555555555602</c:v>
                </c:pt>
                <c:pt idx="5093">
                  <c:v>0.55555555555555602</c:v>
                </c:pt>
                <c:pt idx="5094">
                  <c:v>0.55555555555555602</c:v>
                </c:pt>
                <c:pt idx="5095">
                  <c:v>0.55555555555555602</c:v>
                </c:pt>
                <c:pt idx="5096">
                  <c:v>0.55555555555555602</c:v>
                </c:pt>
                <c:pt idx="5097">
                  <c:v>0.55555555555555602</c:v>
                </c:pt>
                <c:pt idx="5098">
                  <c:v>0.55572597137014301</c:v>
                </c:pt>
                <c:pt idx="5099">
                  <c:v>0.55578947368420994</c:v>
                </c:pt>
                <c:pt idx="5100">
                  <c:v>0.555873925501433</c:v>
                </c:pt>
                <c:pt idx="5101">
                  <c:v>0.55595026642984002</c:v>
                </c:pt>
                <c:pt idx="5102">
                  <c:v>0.55613126079447295</c:v>
                </c:pt>
                <c:pt idx="5103">
                  <c:v>0.55617128463476095</c:v>
                </c:pt>
                <c:pt idx="5104">
                  <c:v>0.55617977528089901</c:v>
                </c:pt>
                <c:pt idx="5105">
                  <c:v>0.55621301775147902</c:v>
                </c:pt>
                <c:pt idx="5106">
                  <c:v>0.55621301775147902</c:v>
                </c:pt>
                <c:pt idx="5107">
                  <c:v>0.55633802816901401</c:v>
                </c:pt>
                <c:pt idx="5108">
                  <c:v>0.55637982195845703</c:v>
                </c:pt>
                <c:pt idx="5109">
                  <c:v>0.55641025641025599</c:v>
                </c:pt>
                <c:pt idx="5110">
                  <c:v>0.55647668393782401</c:v>
                </c:pt>
                <c:pt idx="5111">
                  <c:v>0.55648038049940596</c:v>
                </c:pt>
                <c:pt idx="5112">
                  <c:v>0.55650929899856905</c:v>
                </c:pt>
                <c:pt idx="5113">
                  <c:v>0.55656108597285103</c:v>
                </c:pt>
                <c:pt idx="5114">
                  <c:v>0.55662983425414403</c:v>
                </c:pt>
                <c:pt idx="5115">
                  <c:v>0.55663430420712001</c:v>
                </c:pt>
                <c:pt idx="5116">
                  <c:v>0.55670103092783496</c:v>
                </c:pt>
                <c:pt idx="5117">
                  <c:v>0.55679287305122505</c:v>
                </c:pt>
                <c:pt idx="5118">
                  <c:v>0.55681818181818199</c:v>
                </c:pt>
                <c:pt idx="5119">
                  <c:v>0.55685618729096997</c:v>
                </c:pt>
                <c:pt idx="5120">
                  <c:v>0.55691056910569103</c:v>
                </c:pt>
                <c:pt idx="5121">
                  <c:v>0.556962025316456</c:v>
                </c:pt>
                <c:pt idx="5122">
                  <c:v>0.556962025316456</c:v>
                </c:pt>
                <c:pt idx="5123">
                  <c:v>0.55703211517164997</c:v>
                </c:pt>
                <c:pt idx="5124">
                  <c:v>0.55711775043936695</c:v>
                </c:pt>
                <c:pt idx="5125">
                  <c:v>0.55714285714285705</c:v>
                </c:pt>
                <c:pt idx="5126">
                  <c:v>0.55737704918032804</c:v>
                </c:pt>
                <c:pt idx="5127">
                  <c:v>0.55752212389380496</c:v>
                </c:pt>
                <c:pt idx="5128">
                  <c:v>0.55756578947368396</c:v>
                </c:pt>
                <c:pt idx="5129">
                  <c:v>0.55760368663594495</c:v>
                </c:pt>
                <c:pt idx="5130">
                  <c:v>0.55764705882352905</c:v>
                </c:pt>
                <c:pt idx="5131">
                  <c:v>0.55774647887323903</c:v>
                </c:pt>
                <c:pt idx="5132">
                  <c:v>0.55777777777777804</c:v>
                </c:pt>
                <c:pt idx="5133">
                  <c:v>0.557894736842105</c:v>
                </c:pt>
                <c:pt idx="5134">
                  <c:v>0.55791190864600304</c:v>
                </c:pt>
                <c:pt idx="5135">
                  <c:v>0.55793573515092498</c:v>
                </c:pt>
                <c:pt idx="5136">
                  <c:v>0.55797101449275399</c:v>
                </c:pt>
                <c:pt idx="5137">
                  <c:v>0.55800293685756197</c:v>
                </c:pt>
                <c:pt idx="5138">
                  <c:v>0.55805243445692898</c:v>
                </c:pt>
                <c:pt idx="5139">
                  <c:v>0.55813953488372103</c:v>
                </c:pt>
                <c:pt idx="5140">
                  <c:v>0.55825242718446599</c:v>
                </c:pt>
                <c:pt idx="5141">
                  <c:v>0.55831037649219495</c:v>
                </c:pt>
                <c:pt idx="5142">
                  <c:v>0.55840455840455805</c:v>
                </c:pt>
                <c:pt idx="5143">
                  <c:v>0.55844155844155796</c:v>
                </c:pt>
                <c:pt idx="5144">
                  <c:v>0.55844155844155796</c:v>
                </c:pt>
                <c:pt idx="5145">
                  <c:v>0.55844155844155796</c:v>
                </c:pt>
                <c:pt idx="5146">
                  <c:v>0.55849889624724103</c:v>
                </c:pt>
                <c:pt idx="5147">
                  <c:v>0.55855855855855896</c:v>
                </c:pt>
                <c:pt idx="5148">
                  <c:v>0.55862068965517198</c:v>
                </c:pt>
                <c:pt idx="5149">
                  <c:v>0.55877034358046995</c:v>
                </c:pt>
                <c:pt idx="5150">
                  <c:v>0.55882352941176505</c:v>
                </c:pt>
                <c:pt idx="5151">
                  <c:v>0.55882352941176505</c:v>
                </c:pt>
                <c:pt idx="5152">
                  <c:v>0.55882352941176505</c:v>
                </c:pt>
                <c:pt idx="5153">
                  <c:v>0.55885363357216</c:v>
                </c:pt>
                <c:pt idx="5154">
                  <c:v>0.55887850467289701</c:v>
                </c:pt>
                <c:pt idx="5155">
                  <c:v>0.55898876404494402</c:v>
                </c:pt>
                <c:pt idx="5156">
                  <c:v>0.55903614457831297</c:v>
                </c:pt>
                <c:pt idx="5157">
                  <c:v>0.559055118110236</c:v>
                </c:pt>
                <c:pt idx="5158">
                  <c:v>0.559055118110236</c:v>
                </c:pt>
                <c:pt idx="5159">
                  <c:v>0.559055118110236</c:v>
                </c:pt>
                <c:pt idx="5160">
                  <c:v>0.55913978494623595</c:v>
                </c:pt>
                <c:pt idx="5161">
                  <c:v>0.55921052631578905</c:v>
                </c:pt>
                <c:pt idx="5162">
                  <c:v>0.55921855921855901</c:v>
                </c:pt>
                <c:pt idx="5163">
                  <c:v>0.55932203389830504</c:v>
                </c:pt>
                <c:pt idx="5164">
                  <c:v>0.55932203389830504</c:v>
                </c:pt>
                <c:pt idx="5165">
                  <c:v>0.55937499999999996</c:v>
                </c:pt>
                <c:pt idx="5166">
                  <c:v>0.55944055944055904</c:v>
                </c:pt>
                <c:pt idx="5167">
                  <c:v>0.55944055944055904</c:v>
                </c:pt>
                <c:pt idx="5168">
                  <c:v>0.55957446808510602</c:v>
                </c:pt>
                <c:pt idx="5169">
                  <c:v>0.55961538461538496</c:v>
                </c:pt>
                <c:pt idx="5170">
                  <c:v>0.55964214711729598</c:v>
                </c:pt>
                <c:pt idx="5171">
                  <c:v>0.559880239520958</c:v>
                </c:pt>
                <c:pt idx="5172">
                  <c:v>0.56000000000000005</c:v>
                </c:pt>
                <c:pt idx="5173">
                  <c:v>0.56000000000000005</c:v>
                </c:pt>
                <c:pt idx="5174">
                  <c:v>0.56000000000000005</c:v>
                </c:pt>
                <c:pt idx="5175">
                  <c:v>0.56009615384615397</c:v>
                </c:pt>
                <c:pt idx="5176">
                  <c:v>0.56022727272727302</c:v>
                </c:pt>
                <c:pt idx="5177">
                  <c:v>0.56032171581769397</c:v>
                </c:pt>
                <c:pt idx="5178">
                  <c:v>0.56040609137055797</c:v>
                </c:pt>
                <c:pt idx="5179">
                  <c:v>0.560606060606061</c:v>
                </c:pt>
                <c:pt idx="5180">
                  <c:v>0.560606060606061</c:v>
                </c:pt>
                <c:pt idx="5181">
                  <c:v>0.56063618290258499</c:v>
                </c:pt>
                <c:pt idx="5182">
                  <c:v>0.56086956521739095</c:v>
                </c:pt>
                <c:pt idx="5183">
                  <c:v>0.560878243512974</c:v>
                </c:pt>
                <c:pt idx="5184">
                  <c:v>0.56097560975609795</c:v>
                </c:pt>
                <c:pt idx="5185">
                  <c:v>0.56097560975609795</c:v>
                </c:pt>
                <c:pt idx="5186">
                  <c:v>0.56097560975609795</c:v>
                </c:pt>
                <c:pt idx="5187">
                  <c:v>0.56115107913669104</c:v>
                </c:pt>
                <c:pt idx="5188">
                  <c:v>0.56134969325153405</c:v>
                </c:pt>
                <c:pt idx="5189">
                  <c:v>0.56140350877193002</c:v>
                </c:pt>
                <c:pt idx="5190">
                  <c:v>0.56144067796610198</c:v>
                </c:pt>
                <c:pt idx="5191">
                  <c:v>0.56166219839142095</c:v>
                </c:pt>
                <c:pt idx="5192">
                  <c:v>0.56170212765957395</c:v>
                </c:pt>
                <c:pt idx="5193">
                  <c:v>0.56179775280898903</c:v>
                </c:pt>
                <c:pt idx="5194">
                  <c:v>0.56181015452538596</c:v>
                </c:pt>
                <c:pt idx="5195">
                  <c:v>0.56206896551724095</c:v>
                </c:pt>
                <c:pt idx="5196">
                  <c:v>0.56214689265536699</c:v>
                </c:pt>
                <c:pt idx="5197">
                  <c:v>0.56220095693779903</c:v>
                </c:pt>
                <c:pt idx="5198">
                  <c:v>0.56228373702422096</c:v>
                </c:pt>
                <c:pt idx="5199">
                  <c:v>0.5625</c:v>
                </c:pt>
                <c:pt idx="5200">
                  <c:v>0.5625</c:v>
                </c:pt>
                <c:pt idx="5201">
                  <c:v>0.5625</c:v>
                </c:pt>
                <c:pt idx="5202">
                  <c:v>0.5625</c:v>
                </c:pt>
                <c:pt idx="5203">
                  <c:v>0.56271186440678</c:v>
                </c:pt>
                <c:pt idx="5204">
                  <c:v>0.56272401433691799</c:v>
                </c:pt>
                <c:pt idx="5205">
                  <c:v>0.56275303643724695</c:v>
                </c:pt>
                <c:pt idx="5206">
                  <c:v>0.56279069767441903</c:v>
                </c:pt>
                <c:pt idx="5207">
                  <c:v>0.56279508970727099</c:v>
                </c:pt>
                <c:pt idx="5208">
                  <c:v>0.56280587275693295</c:v>
                </c:pt>
                <c:pt idx="5209">
                  <c:v>0.56280587275693295</c:v>
                </c:pt>
                <c:pt idx="5210">
                  <c:v>0.56281407035175901</c:v>
                </c:pt>
                <c:pt idx="5211">
                  <c:v>0.56287425149700598</c:v>
                </c:pt>
                <c:pt idx="5212">
                  <c:v>0.56291390728476798</c:v>
                </c:pt>
                <c:pt idx="5213">
                  <c:v>0.56291390728476798</c:v>
                </c:pt>
                <c:pt idx="5214">
                  <c:v>0.56305506216696299</c:v>
                </c:pt>
                <c:pt idx="5215">
                  <c:v>0.56306306306306297</c:v>
                </c:pt>
                <c:pt idx="5216">
                  <c:v>0.56321839080459801</c:v>
                </c:pt>
                <c:pt idx="5217">
                  <c:v>0.563291139240506</c:v>
                </c:pt>
                <c:pt idx="5218">
                  <c:v>0.56334231805929902</c:v>
                </c:pt>
                <c:pt idx="5219">
                  <c:v>0.56338028169014098</c:v>
                </c:pt>
                <c:pt idx="5220">
                  <c:v>0.56343283582089598</c:v>
                </c:pt>
                <c:pt idx="5221">
                  <c:v>0.56352459016393397</c:v>
                </c:pt>
                <c:pt idx="5222">
                  <c:v>0.56359102244389003</c:v>
                </c:pt>
                <c:pt idx="5223">
                  <c:v>0.56359102244389003</c:v>
                </c:pt>
                <c:pt idx="5224">
                  <c:v>0.56363636363636405</c:v>
                </c:pt>
                <c:pt idx="5225">
                  <c:v>0.563786008230453</c:v>
                </c:pt>
                <c:pt idx="5226">
                  <c:v>0.56381381381381401</c:v>
                </c:pt>
                <c:pt idx="5227">
                  <c:v>0.56396148555708403</c:v>
                </c:pt>
                <c:pt idx="5228">
                  <c:v>0.56401384083045003</c:v>
                </c:pt>
                <c:pt idx="5229">
                  <c:v>0.56404230317273796</c:v>
                </c:pt>
                <c:pt idx="5230">
                  <c:v>0.56408020924150004</c:v>
                </c:pt>
                <c:pt idx="5231">
                  <c:v>0.56410256410256399</c:v>
                </c:pt>
                <c:pt idx="5232">
                  <c:v>0.56415929203539805</c:v>
                </c:pt>
                <c:pt idx="5233">
                  <c:v>0.56424581005586605</c:v>
                </c:pt>
                <c:pt idx="5234">
                  <c:v>0.56424581005586605</c:v>
                </c:pt>
                <c:pt idx="5235">
                  <c:v>0.56427015250544699</c:v>
                </c:pt>
                <c:pt idx="5236">
                  <c:v>0.56432246998284696</c:v>
                </c:pt>
                <c:pt idx="5237">
                  <c:v>0.56435643564356397</c:v>
                </c:pt>
                <c:pt idx="5238">
                  <c:v>0.56438356164383596</c:v>
                </c:pt>
                <c:pt idx="5239">
                  <c:v>0.564393939393939</c:v>
                </c:pt>
                <c:pt idx="5240">
                  <c:v>0.56451612903225801</c:v>
                </c:pt>
                <c:pt idx="5241">
                  <c:v>0.56451612903225801</c:v>
                </c:pt>
                <c:pt idx="5242">
                  <c:v>0.564599483204134</c:v>
                </c:pt>
                <c:pt idx="5243">
                  <c:v>0.56470588235294095</c:v>
                </c:pt>
                <c:pt idx="5244">
                  <c:v>0.56472795497185702</c:v>
                </c:pt>
                <c:pt idx="5245">
                  <c:v>0.564781675017895</c:v>
                </c:pt>
                <c:pt idx="5246">
                  <c:v>0.56488011283497896</c:v>
                </c:pt>
                <c:pt idx="5247">
                  <c:v>0.56490384615384603</c:v>
                </c:pt>
                <c:pt idx="5248">
                  <c:v>0.56514084507042195</c:v>
                </c:pt>
                <c:pt idx="5249">
                  <c:v>0.565217391304348</c:v>
                </c:pt>
                <c:pt idx="5250">
                  <c:v>0.565217391304348</c:v>
                </c:pt>
                <c:pt idx="5251">
                  <c:v>0.56528417818740395</c:v>
                </c:pt>
                <c:pt idx="5252">
                  <c:v>0.56546929316338401</c:v>
                </c:pt>
                <c:pt idx="5253">
                  <c:v>0.56557377049180302</c:v>
                </c:pt>
                <c:pt idx="5254">
                  <c:v>0.56558363417569202</c:v>
                </c:pt>
                <c:pt idx="5255">
                  <c:v>0.56561461794019896</c:v>
                </c:pt>
                <c:pt idx="5256">
                  <c:v>0.56571428571428595</c:v>
                </c:pt>
                <c:pt idx="5257">
                  <c:v>0.56571428571428595</c:v>
                </c:pt>
                <c:pt idx="5258">
                  <c:v>0.56573705179282896</c:v>
                </c:pt>
                <c:pt idx="5259">
                  <c:v>0.56579873328641805</c:v>
                </c:pt>
                <c:pt idx="5260">
                  <c:v>0.56589147286821695</c:v>
                </c:pt>
                <c:pt idx="5261">
                  <c:v>0.56600660066006603</c:v>
                </c:pt>
                <c:pt idx="5262">
                  <c:v>0.56603773584905703</c:v>
                </c:pt>
                <c:pt idx="5263">
                  <c:v>0.56621004566209998</c:v>
                </c:pt>
                <c:pt idx="5264">
                  <c:v>0.56631578947368399</c:v>
                </c:pt>
                <c:pt idx="5265">
                  <c:v>0.56635514018691602</c:v>
                </c:pt>
                <c:pt idx="5266">
                  <c:v>0.56653992395437303</c:v>
                </c:pt>
                <c:pt idx="5267">
                  <c:v>0.56666666666666698</c:v>
                </c:pt>
                <c:pt idx="5268">
                  <c:v>0.56676557863501498</c:v>
                </c:pt>
                <c:pt idx="5269">
                  <c:v>0.56682027649769595</c:v>
                </c:pt>
                <c:pt idx="5270">
                  <c:v>0.56723716381418099</c:v>
                </c:pt>
                <c:pt idx="5271">
                  <c:v>0.56732495511669701</c:v>
                </c:pt>
                <c:pt idx="5272">
                  <c:v>0.56738391845979597</c:v>
                </c:pt>
                <c:pt idx="5273">
                  <c:v>0.56756756756756799</c:v>
                </c:pt>
                <c:pt idx="5274">
                  <c:v>0.56770833333333304</c:v>
                </c:pt>
                <c:pt idx="5275">
                  <c:v>0.56771545827633396</c:v>
                </c:pt>
                <c:pt idx="5276">
                  <c:v>0.56772760917838605</c:v>
                </c:pt>
                <c:pt idx="5277">
                  <c:v>0.56779661016949201</c:v>
                </c:pt>
                <c:pt idx="5278">
                  <c:v>0.56788079470198705</c:v>
                </c:pt>
                <c:pt idx="5279">
                  <c:v>0.56789444749862605</c:v>
                </c:pt>
                <c:pt idx="5280">
                  <c:v>0.56790123456790098</c:v>
                </c:pt>
                <c:pt idx="5281">
                  <c:v>0.56790123456790098</c:v>
                </c:pt>
                <c:pt idx="5282">
                  <c:v>0.56840620592383595</c:v>
                </c:pt>
                <c:pt idx="5283">
                  <c:v>0.56842105263157905</c:v>
                </c:pt>
                <c:pt idx="5284">
                  <c:v>0.56855345911949695</c:v>
                </c:pt>
                <c:pt idx="5285">
                  <c:v>0.56862745098039202</c:v>
                </c:pt>
                <c:pt idx="5286">
                  <c:v>0.56880733944954098</c:v>
                </c:pt>
                <c:pt idx="5287">
                  <c:v>0.56884057971014501</c:v>
                </c:pt>
                <c:pt idx="5288">
                  <c:v>0.568965517241379</c:v>
                </c:pt>
                <c:pt idx="5289">
                  <c:v>0.568965517241379</c:v>
                </c:pt>
                <c:pt idx="5290">
                  <c:v>0.569105691056911</c:v>
                </c:pt>
                <c:pt idx="5291">
                  <c:v>0.569105691056911</c:v>
                </c:pt>
                <c:pt idx="5292">
                  <c:v>0.56919739696312399</c:v>
                </c:pt>
                <c:pt idx="5293">
                  <c:v>0.56942823803967302</c:v>
                </c:pt>
                <c:pt idx="5294">
                  <c:v>0.56944444444444398</c:v>
                </c:pt>
                <c:pt idx="5295">
                  <c:v>0.56949806949806903</c:v>
                </c:pt>
                <c:pt idx="5296">
                  <c:v>0.56958762886597902</c:v>
                </c:pt>
                <c:pt idx="5297">
                  <c:v>0.56981981981981999</c:v>
                </c:pt>
                <c:pt idx="5298">
                  <c:v>0.56989247311827995</c:v>
                </c:pt>
                <c:pt idx="5299">
                  <c:v>0.57005141388174796</c:v>
                </c:pt>
                <c:pt idx="5300">
                  <c:v>0.57022471910112404</c:v>
                </c:pt>
                <c:pt idx="5301">
                  <c:v>0.57024793388429795</c:v>
                </c:pt>
                <c:pt idx="5302">
                  <c:v>0.57024793388429795</c:v>
                </c:pt>
                <c:pt idx="5303">
                  <c:v>0.57027027027027</c:v>
                </c:pt>
                <c:pt idx="5304">
                  <c:v>0.57029177718832902</c:v>
                </c:pt>
                <c:pt idx="5305">
                  <c:v>0.5703125</c:v>
                </c:pt>
                <c:pt idx="5306">
                  <c:v>0.57037943696450399</c:v>
                </c:pt>
                <c:pt idx="5307">
                  <c:v>0.57039711191335696</c:v>
                </c:pt>
                <c:pt idx="5308">
                  <c:v>0.57064220183486203</c:v>
                </c:pt>
                <c:pt idx="5309">
                  <c:v>0.570754716981132</c:v>
                </c:pt>
                <c:pt idx="5310">
                  <c:v>0.57081807081807101</c:v>
                </c:pt>
                <c:pt idx="5311">
                  <c:v>0.57088122605364</c:v>
                </c:pt>
                <c:pt idx="5312">
                  <c:v>0.57104377104377102</c:v>
                </c:pt>
                <c:pt idx="5313">
                  <c:v>0.57142857142857095</c:v>
                </c:pt>
                <c:pt idx="5314">
                  <c:v>0.57142857142857095</c:v>
                </c:pt>
                <c:pt idx="5315">
                  <c:v>0.57142857142857095</c:v>
                </c:pt>
                <c:pt idx="5316">
                  <c:v>0.57142857142857095</c:v>
                </c:pt>
                <c:pt idx="5317">
                  <c:v>0.57142857142857095</c:v>
                </c:pt>
                <c:pt idx="5318">
                  <c:v>0.57142857142857095</c:v>
                </c:pt>
                <c:pt idx="5319">
                  <c:v>0.57142857142857095</c:v>
                </c:pt>
                <c:pt idx="5320">
                  <c:v>0.57142857142857095</c:v>
                </c:pt>
                <c:pt idx="5321">
                  <c:v>0.57142857142857095</c:v>
                </c:pt>
                <c:pt idx="5322">
                  <c:v>0.57142857142857095</c:v>
                </c:pt>
                <c:pt idx="5323">
                  <c:v>0.57142857142857095</c:v>
                </c:pt>
                <c:pt idx="5324">
                  <c:v>0.57153338224504802</c:v>
                </c:pt>
                <c:pt idx="5325">
                  <c:v>0.57172557172557203</c:v>
                </c:pt>
                <c:pt idx="5326">
                  <c:v>0.571984435797665</c:v>
                </c:pt>
                <c:pt idx="5327">
                  <c:v>0.57212475633528304</c:v>
                </c:pt>
                <c:pt idx="5328">
                  <c:v>0.57219251336898402</c:v>
                </c:pt>
                <c:pt idx="5329">
                  <c:v>0.57236842105263197</c:v>
                </c:pt>
                <c:pt idx="5330">
                  <c:v>0.57241379310344798</c:v>
                </c:pt>
                <c:pt idx="5331">
                  <c:v>0.57243816254417001</c:v>
                </c:pt>
                <c:pt idx="5332">
                  <c:v>0.572490706319703</c:v>
                </c:pt>
                <c:pt idx="5333">
                  <c:v>0.57258064516129004</c:v>
                </c:pt>
                <c:pt idx="5334">
                  <c:v>0.57291215923842498</c:v>
                </c:pt>
                <c:pt idx="5335">
                  <c:v>0.57297551789077195</c:v>
                </c:pt>
                <c:pt idx="5336">
                  <c:v>0.57303370786516805</c:v>
                </c:pt>
                <c:pt idx="5337">
                  <c:v>0.57312925170067996</c:v>
                </c:pt>
                <c:pt idx="5338">
                  <c:v>0.57322175732217595</c:v>
                </c:pt>
                <c:pt idx="5339">
                  <c:v>0.57329192546583896</c:v>
                </c:pt>
                <c:pt idx="5340">
                  <c:v>0.57330827067669199</c:v>
                </c:pt>
                <c:pt idx="5341">
                  <c:v>0.57335907335907299</c:v>
                </c:pt>
                <c:pt idx="5342">
                  <c:v>0.57361376673040199</c:v>
                </c:pt>
                <c:pt idx="5343">
                  <c:v>0.57372654155495995</c:v>
                </c:pt>
                <c:pt idx="5344">
                  <c:v>0.57377049180327899</c:v>
                </c:pt>
                <c:pt idx="5345">
                  <c:v>0.57381615598885805</c:v>
                </c:pt>
                <c:pt idx="5346">
                  <c:v>0.57383419689119197</c:v>
                </c:pt>
                <c:pt idx="5347">
                  <c:v>0.57394084732214201</c:v>
                </c:pt>
                <c:pt idx="5348">
                  <c:v>0.57402234636871496</c:v>
                </c:pt>
                <c:pt idx="5349">
                  <c:v>0.57407407407407396</c:v>
                </c:pt>
                <c:pt idx="5350">
                  <c:v>0.57411273486430103</c:v>
                </c:pt>
                <c:pt idx="5351">
                  <c:v>0.57435897435897398</c:v>
                </c:pt>
                <c:pt idx="5352">
                  <c:v>0.57446808510638303</c:v>
                </c:pt>
                <c:pt idx="5353">
                  <c:v>0.57462686567164201</c:v>
                </c:pt>
                <c:pt idx="5354">
                  <c:v>0.57482185273159103</c:v>
                </c:pt>
                <c:pt idx="5355">
                  <c:v>0.57499999999999996</c:v>
                </c:pt>
                <c:pt idx="5356">
                  <c:v>0.57499999999999996</c:v>
                </c:pt>
                <c:pt idx="5357">
                  <c:v>0.57503152585119799</c:v>
                </c:pt>
                <c:pt idx="5358">
                  <c:v>0.57507987220447299</c:v>
                </c:pt>
                <c:pt idx="5359">
                  <c:v>0.57507987220447299</c:v>
                </c:pt>
                <c:pt idx="5360">
                  <c:v>0.57509157509157505</c:v>
                </c:pt>
                <c:pt idx="5361">
                  <c:v>0.57516339869280997</c:v>
                </c:pt>
                <c:pt idx="5362">
                  <c:v>0.575277337559429</c:v>
                </c:pt>
                <c:pt idx="5363">
                  <c:v>0.57528957528957503</c:v>
                </c:pt>
                <c:pt idx="5364">
                  <c:v>0.57535885167464096</c:v>
                </c:pt>
                <c:pt idx="5365">
                  <c:v>0.57553956834532405</c:v>
                </c:pt>
                <c:pt idx="5366">
                  <c:v>0.57556270096463003</c:v>
                </c:pt>
                <c:pt idx="5367">
                  <c:v>0.57575757575757602</c:v>
                </c:pt>
                <c:pt idx="5368">
                  <c:v>0.57575757575757602</c:v>
                </c:pt>
                <c:pt idx="5369">
                  <c:v>0.57587548638132302</c:v>
                </c:pt>
                <c:pt idx="5370">
                  <c:v>0.57599999999999996</c:v>
                </c:pt>
                <c:pt idx="5371">
                  <c:v>0.57599999999999996</c:v>
                </c:pt>
                <c:pt idx="5372">
                  <c:v>0.57613168724279795</c:v>
                </c:pt>
                <c:pt idx="5373">
                  <c:v>0.57613168724279795</c:v>
                </c:pt>
                <c:pt idx="5374">
                  <c:v>0.57627118644067798</c:v>
                </c:pt>
                <c:pt idx="5375">
                  <c:v>0.57627118644067798</c:v>
                </c:pt>
                <c:pt idx="5376">
                  <c:v>0.576291549859832</c:v>
                </c:pt>
                <c:pt idx="5377">
                  <c:v>0.57643549589858301</c:v>
                </c:pt>
                <c:pt idx="5378">
                  <c:v>0.57645259938837901</c:v>
                </c:pt>
                <c:pt idx="5379">
                  <c:v>0.57653061224489799</c:v>
                </c:pt>
                <c:pt idx="5380">
                  <c:v>0.57664233576642299</c:v>
                </c:pt>
                <c:pt idx="5381">
                  <c:v>0.57664233576642299</c:v>
                </c:pt>
                <c:pt idx="5382">
                  <c:v>0.57680250783699105</c:v>
                </c:pt>
                <c:pt idx="5383">
                  <c:v>0.57683101962661598</c:v>
                </c:pt>
                <c:pt idx="5384">
                  <c:v>0.57692307692307698</c:v>
                </c:pt>
                <c:pt idx="5385">
                  <c:v>0.57692307692307698</c:v>
                </c:pt>
                <c:pt idx="5386">
                  <c:v>0.57692307692307698</c:v>
                </c:pt>
                <c:pt idx="5387">
                  <c:v>0.57692307692307698</c:v>
                </c:pt>
                <c:pt idx="5388">
                  <c:v>0.57692307692307698</c:v>
                </c:pt>
                <c:pt idx="5389">
                  <c:v>0.57692307692307698</c:v>
                </c:pt>
                <c:pt idx="5390">
                  <c:v>0.57696969696969702</c:v>
                </c:pt>
                <c:pt idx="5391">
                  <c:v>0.57699805068226095</c:v>
                </c:pt>
                <c:pt idx="5392">
                  <c:v>0.57708628005657703</c:v>
                </c:pt>
                <c:pt idx="5393">
                  <c:v>0.57710125744539997</c:v>
                </c:pt>
                <c:pt idx="5394">
                  <c:v>0.577380952380952</c:v>
                </c:pt>
                <c:pt idx="5395">
                  <c:v>0.577380952380952</c:v>
                </c:pt>
                <c:pt idx="5396">
                  <c:v>0.57743785850860396</c:v>
                </c:pt>
                <c:pt idx="5397">
                  <c:v>0.57746478873239404</c:v>
                </c:pt>
                <c:pt idx="5398">
                  <c:v>0.57746478873239404</c:v>
                </c:pt>
                <c:pt idx="5399">
                  <c:v>0.57746478873239404</c:v>
                </c:pt>
                <c:pt idx="5400">
                  <c:v>0.577656675749319</c:v>
                </c:pt>
                <c:pt idx="5401">
                  <c:v>0.57777777777777795</c:v>
                </c:pt>
                <c:pt idx="5402">
                  <c:v>0.57777777777777795</c:v>
                </c:pt>
                <c:pt idx="5403">
                  <c:v>0.57777777777777795</c:v>
                </c:pt>
                <c:pt idx="5404">
                  <c:v>0.57798165137614699</c:v>
                </c:pt>
                <c:pt idx="5405">
                  <c:v>0.57800511508951402</c:v>
                </c:pt>
                <c:pt idx="5406">
                  <c:v>0.57819548872180404</c:v>
                </c:pt>
                <c:pt idx="5407">
                  <c:v>0.578347578347578</c:v>
                </c:pt>
                <c:pt idx="5408">
                  <c:v>0.57835820895522405</c:v>
                </c:pt>
                <c:pt idx="5409">
                  <c:v>0.57843137254902</c:v>
                </c:pt>
                <c:pt idx="5410">
                  <c:v>0.57843137254902</c:v>
                </c:pt>
                <c:pt idx="5411">
                  <c:v>0.57846153846153803</c:v>
                </c:pt>
                <c:pt idx="5412">
                  <c:v>0.57846153846153803</c:v>
                </c:pt>
                <c:pt idx="5413">
                  <c:v>0.57851239669421495</c:v>
                </c:pt>
                <c:pt idx="5414">
                  <c:v>0.57857142857142896</c:v>
                </c:pt>
                <c:pt idx="5415">
                  <c:v>0.57865409344191998</c:v>
                </c:pt>
                <c:pt idx="5416">
                  <c:v>0.578666666666667</c:v>
                </c:pt>
                <c:pt idx="5417">
                  <c:v>0.578666666666667</c:v>
                </c:pt>
                <c:pt idx="5418">
                  <c:v>0.57874015748031504</c:v>
                </c:pt>
                <c:pt idx="5419">
                  <c:v>0.57894736842105299</c:v>
                </c:pt>
                <c:pt idx="5420">
                  <c:v>0.57894736842105299</c:v>
                </c:pt>
                <c:pt idx="5421">
                  <c:v>0.57894736842105299</c:v>
                </c:pt>
                <c:pt idx="5422">
                  <c:v>0.57894736842105299</c:v>
                </c:pt>
                <c:pt idx="5423">
                  <c:v>0.57894736842105299</c:v>
                </c:pt>
                <c:pt idx="5424">
                  <c:v>0.579059829059829</c:v>
                </c:pt>
                <c:pt idx="5425">
                  <c:v>0.57910447761193995</c:v>
                </c:pt>
                <c:pt idx="5426">
                  <c:v>0.57912457912457904</c:v>
                </c:pt>
                <c:pt idx="5427">
                  <c:v>0.57928802588996797</c:v>
                </c:pt>
                <c:pt idx="5428">
                  <c:v>0.57931034482758603</c:v>
                </c:pt>
                <c:pt idx="5429">
                  <c:v>0.579439252336449</c:v>
                </c:pt>
                <c:pt idx="5430">
                  <c:v>0.57947976878612695</c:v>
                </c:pt>
                <c:pt idx="5431">
                  <c:v>0.57948717948717998</c:v>
                </c:pt>
                <c:pt idx="5432">
                  <c:v>0.57954545454545503</c:v>
                </c:pt>
                <c:pt idx="5433">
                  <c:v>0.57954545454545503</c:v>
                </c:pt>
                <c:pt idx="5434">
                  <c:v>0.57967667436489601</c:v>
                </c:pt>
                <c:pt idx="5435">
                  <c:v>0.57984496124031004</c:v>
                </c:pt>
                <c:pt idx="5436">
                  <c:v>0.57986111111111105</c:v>
                </c:pt>
                <c:pt idx="5437">
                  <c:v>0.579908675799087</c:v>
                </c:pt>
                <c:pt idx="5438">
                  <c:v>0.57993730407523503</c:v>
                </c:pt>
                <c:pt idx="5439">
                  <c:v>0.57996934082779805</c:v>
                </c:pt>
                <c:pt idx="5440">
                  <c:v>0.57999999999999996</c:v>
                </c:pt>
                <c:pt idx="5441">
                  <c:v>0.58015267175572505</c:v>
                </c:pt>
                <c:pt idx="5442">
                  <c:v>0.58016877637130804</c:v>
                </c:pt>
                <c:pt idx="5443">
                  <c:v>0.58024118738404395</c:v>
                </c:pt>
                <c:pt idx="5444">
                  <c:v>0.58028616852146298</c:v>
                </c:pt>
                <c:pt idx="5445">
                  <c:v>0.58039215686274503</c:v>
                </c:pt>
                <c:pt idx="5446">
                  <c:v>0.58047016274864405</c:v>
                </c:pt>
                <c:pt idx="5447">
                  <c:v>0.58055555555555605</c:v>
                </c:pt>
                <c:pt idx="5448">
                  <c:v>0.58064516129032295</c:v>
                </c:pt>
                <c:pt idx="5449">
                  <c:v>0.58064516129032295</c:v>
                </c:pt>
                <c:pt idx="5450">
                  <c:v>0.580838323353293</c:v>
                </c:pt>
                <c:pt idx="5451">
                  <c:v>0.580838323353293</c:v>
                </c:pt>
                <c:pt idx="5452">
                  <c:v>0.58102766798419003</c:v>
                </c:pt>
                <c:pt idx="5453">
                  <c:v>0.58133333333333304</c:v>
                </c:pt>
                <c:pt idx="5454">
                  <c:v>0.58134490238611702</c:v>
                </c:pt>
                <c:pt idx="5455">
                  <c:v>0.581395348837209</c:v>
                </c:pt>
                <c:pt idx="5456">
                  <c:v>0.58169934640522902</c:v>
                </c:pt>
                <c:pt idx="5457">
                  <c:v>0.58173076923076905</c:v>
                </c:pt>
                <c:pt idx="5458">
                  <c:v>0.58181818181818201</c:v>
                </c:pt>
                <c:pt idx="5459">
                  <c:v>0.58190709046454803</c:v>
                </c:pt>
                <c:pt idx="5460">
                  <c:v>0.58193979933110396</c:v>
                </c:pt>
                <c:pt idx="5461">
                  <c:v>0.58205689277899297</c:v>
                </c:pt>
                <c:pt idx="5462">
                  <c:v>0.58208955223880599</c:v>
                </c:pt>
                <c:pt idx="5463">
                  <c:v>0.582118561710398</c:v>
                </c:pt>
                <c:pt idx="5464">
                  <c:v>0.58219178082191803</c:v>
                </c:pt>
                <c:pt idx="5465">
                  <c:v>0.58222222222222197</c:v>
                </c:pt>
                <c:pt idx="5466">
                  <c:v>0.582278481012658</c:v>
                </c:pt>
                <c:pt idx="5467">
                  <c:v>0.582278481012658</c:v>
                </c:pt>
                <c:pt idx="5468">
                  <c:v>0.58235294117647096</c:v>
                </c:pt>
                <c:pt idx="5469">
                  <c:v>0.58241758241758201</c:v>
                </c:pt>
                <c:pt idx="5470">
                  <c:v>0.58249158249158195</c:v>
                </c:pt>
                <c:pt idx="5471">
                  <c:v>0.58256880733944905</c:v>
                </c:pt>
                <c:pt idx="5472">
                  <c:v>0.58258928571428603</c:v>
                </c:pt>
                <c:pt idx="5473">
                  <c:v>0.58260869565217399</c:v>
                </c:pt>
                <c:pt idx="5474">
                  <c:v>0.58278145695364203</c:v>
                </c:pt>
                <c:pt idx="5475">
                  <c:v>0.58282208588957096</c:v>
                </c:pt>
                <c:pt idx="5476">
                  <c:v>0.58285714285714296</c:v>
                </c:pt>
                <c:pt idx="5477">
                  <c:v>0.58286516853932602</c:v>
                </c:pt>
                <c:pt idx="5478">
                  <c:v>0.58308157099697899</c:v>
                </c:pt>
                <c:pt idx="5479">
                  <c:v>0.583098591549296</c:v>
                </c:pt>
                <c:pt idx="5480">
                  <c:v>0.58320126782884296</c:v>
                </c:pt>
                <c:pt idx="5481">
                  <c:v>0.58333333333333304</c:v>
                </c:pt>
                <c:pt idx="5482">
                  <c:v>0.58333333333333304</c:v>
                </c:pt>
                <c:pt idx="5483">
                  <c:v>0.58351409978308</c:v>
                </c:pt>
                <c:pt idx="5484">
                  <c:v>0.58352402745995402</c:v>
                </c:pt>
                <c:pt idx="5485">
                  <c:v>0.58366533864541803</c:v>
                </c:pt>
                <c:pt idx="5486">
                  <c:v>0.58381502890173398</c:v>
                </c:pt>
                <c:pt idx="5487">
                  <c:v>0.58391608391608396</c:v>
                </c:pt>
                <c:pt idx="5488">
                  <c:v>0.58392434988179698</c:v>
                </c:pt>
                <c:pt idx="5489">
                  <c:v>0.58396533044420396</c:v>
                </c:pt>
                <c:pt idx="5490">
                  <c:v>0.58418367346938804</c:v>
                </c:pt>
                <c:pt idx="5491">
                  <c:v>0.58426966292134797</c:v>
                </c:pt>
                <c:pt idx="5492">
                  <c:v>0.58441558441558406</c:v>
                </c:pt>
                <c:pt idx="5493">
                  <c:v>0.58441558441558406</c:v>
                </c:pt>
                <c:pt idx="5494">
                  <c:v>0.58455882352941202</c:v>
                </c:pt>
                <c:pt idx="5495">
                  <c:v>0.58459869848156198</c:v>
                </c:pt>
                <c:pt idx="5496">
                  <c:v>0.584738243123336</c:v>
                </c:pt>
                <c:pt idx="5497">
                  <c:v>0.58474576271186396</c:v>
                </c:pt>
                <c:pt idx="5498">
                  <c:v>0.58486238532110102</c:v>
                </c:pt>
                <c:pt idx="5499">
                  <c:v>0.58487084870848705</c:v>
                </c:pt>
                <c:pt idx="5500">
                  <c:v>0.58490566037735803</c:v>
                </c:pt>
                <c:pt idx="5501">
                  <c:v>0.58495528669121499</c:v>
                </c:pt>
                <c:pt idx="5502">
                  <c:v>0.5850622406639</c:v>
                </c:pt>
                <c:pt idx="5503">
                  <c:v>0.5850622406639</c:v>
                </c:pt>
                <c:pt idx="5504">
                  <c:v>0.58509263248599697</c:v>
                </c:pt>
                <c:pt idx="5505">
                  <c:v>0.58525345622119795</c:v>
                </c:pt>
                <c:pt idx="5506">
                  <c:v>0.58536585365853699</c:v>
                </c:pt>
                <c:pt idx="5507">
                  <c:v>0.58536585365853699</c:v>
                </c:pt>
                <c:pt idx="5508">
                  <c:v>0.585443037974684</c:v>
                </c:pt>
                <c:pt idx="5509">
                  <c:v>0.58553546592489603</c:v>
                </c:pt>
                <c:pt idx="5510">
                  <c:v>0.58558558558558604</c:v>
                </c:pt>
                <c:pt idx="5511">
                  <c:v>0.58565737051792799</c:v>
                </c:pt>
                <c:pt idx="5512">
                  <c:v>0.58571428571428596</c:v>
                </c:pt>
                <c:pt idx="5513">
                  <c:v>0.58571428571428596</c:v>
                </c:pt>
                <c:pt idx="5514">
                  <c:v>0.58571428571428596</c:v>
                </c:pt>
                <c:pt idx="5515">
                  <c:v>0.58578052550231796</c:v>
                </c:pt>
                <c:pt idx="5516">
                  <c:v>0.585798816568047</c:v>
                </c:pt>
                <c:pt idx="5517">
                  <c:v>0.5859375</c:v>
                </c:pt>
                <c:pt idx="5518">
                  <c:v>0.58603491271820396</c:v>
                </c:pt>
                <c:pt idx="5519">
                  <c:v>0.58605664488017395</c:v>
                </c:pt>
                <c:pt idx="5520">
                  <c:v>0.58611825192802103</c:v>
                </c:pt>
                <c:pt idx="5521">
                  <c:v>0.58620689655172398</c:v>
                </c:pt>
                <c:pt idx="5522">
                  <c:v>0.58620689655172398</c:v>
                </c:pt>
                <c:pt idx="5523">
                  <c:v>0.58620689655172398</c:v>
                </c:pt>
                <c:pt idx="5524">
                  <c:v>0.58620689655172398</c:v>
                </c:pt>
                <c:pt idx="5525">
                  <c:v>0.58631921824104205</c:v>
                </c:pt>
                <c:pt idx="5526">
                  <c:v>0.58644859813084105</c:v>
                </c:pt>
                <c:pt idx="5527">
                  <c:v>0.58646616541353402</c:v>
                </c:pt>
                <c:pt idx="5528">
                  <c:v>0.58651685393258401</c:v>
                </c:pt>
                <c:pt idx="5529">
                  <c:v>0.58656330749354002</c:v>
                </c:pt>
                <c:pt idx="5530">
                  <c:v>0.58702064896755202</c:v>
                </c:pt>
                <c:pt idx="5531">
                  <c:v>0.58702243784111596</c:v>
                </c:pt>
                <c:pt idx="5532">
                  <c:v>0.58704453441295501</c:v>
                </c:pt>
                <c:pt idx="5533">
                  <c:v>0.58704453441295501</c:v>
                </c:pt>
                <c:pt idx="5534">
                  <c:v>0.58705357142857095</c:v>
                </c:pt>
                <c:pt idx="5535">
                  <c:v>0.58712715855573006</c:v>
                </c:pt>
                <c:pt idx="5536">
                  <c:v>0.58715596330275199</c:v>
                </c:pt>
                <c:pt idx="5537">
                  <c:v>0.58730158730158699</c:v>
                </c:pt>
                <c:pt idx="5538">
                  <c:v>0.58737864077669899</c:v>
                </c:pt>
                <c:pt idx="5539">
                  <c:v>0.58750000000000002</c:v>
                </c:pt>
                <c:pt idx="5540">
                  <c:v>0.58755760368663601</c:v>
                </c:pt>
                <c:pt idx="5541">
                  <c:v>0.58760107816711604</c:v>
                </c:pt>
                <c:pt idx="5542">
                  <c:v>0.58762886597938102</c:v>
                </c:pt>
                <c:pt idx="5543">
                  <c:v>0.58762886597938102</c:v>
                </c:pt>
                <c:pt idx="5544">
                  <c:v>0.58786446020488603</c:v>
                </c:pt>
                <c:pt idx="5545">
                  <c:v>0.58792650918635203</c:v>
                </c:pt>
                <c:pt idx="5546">
                  <c:v>0.58793969849246197</c:v>
                </c:pt>
                <c:pt idx="5547">
                  <c:v>0.58793969849246197</c:v>
                </c:pt>
                <c:pt idx="5548">
                  <c:v>0.58812615955473102</c:v>
                </c:pt>
                <c:pt idx="5549">
                  <c:v>0.58823529411764697</c:v>
                </c:pt>
                <c:pt idx="5550">
                  <c:v>0.58823529411764697</c:v>
                </c:pt>
                <c:pt idx="5551">
                  <c:v>0.58823529411764697</c:v>
                </c:pt>
                <c:pt idx="5552">
                  <c:v>0.58823529411764697</c:v>
                </c:pt>
                <c:pt idx="5553">
                  <c:v>0.58823529411764697</c:v>
                </c:pt>
                <c:pt idx="5554">
                  <c:v>0.58823529411764697</c:v>
                </c:pt>
                <c:pt idx="5555">
                  <c:v>0.58832565284178195</c:v>
                </c:pt>
                <c:pt idx="5556">
                  <c:v>0.58833922261484095</c:v>
                </c:pt>
                <c:pt idx="5557">
                  <c:v>0.58836689038031298</c:v>
                </c:pt>
                <c:pt idx="5558">
                  <c:v>0.58847184986595202</c:v>
                </c:pt>
                <c:pt idx="5559">
                  <c:v>0.58849557522123896</c:v>
                </c:pt>
                <c:pt idx="5560">
                  <c:v>0.58852867830423905</c:v>
                </c:pt>
                <c:pt idx="5561">
                  <c:v>0.58854166666666696</c:v>
                </c:pt>
                <c:pt idx="5562">
                  <c:v>0.58859470468431796</c:v>
                </c:pt>
                <c:pt idx="5563">
                  <c:v>0.588607594936709</c:v>
                </c:pt>
                <c:pt idx="5564">
                  <c:v>0.58866995073891604</c:v>
                </c:pt>
                <c:pt idx="5565">
                  <c:v>0.58867924528301896</c:v>
                </c:pt>
                <c:pt idx="5566">
                  <c:v>0.58870588235294097</c:v>
                </c:pt>
                <c:pt idx="5567">
                  <c:v>0.58876889848812097</c:v>
                </c:pt>
                <c:pt idx="5568">
                  <c:v>0.58878504672897203</c:v>
                </c:pt>
                <c:pt idx="5569">
                  <c:v>0.58892307692307699</c:v>
                </c:pt>
                <c:pt idx="5570">
                  <c:v>0.58893280632411105</c:v>
                </c:pt>
                <c:pt idx="5571">
                  <c:v>0.58899999999999997</c:v>
                </c:pt>
                <c:pt idx="5572">
                  <c:v>0.58904109589041098</c:v>
                </c:pt>
                <c:pt idx="5573">
                  <c:v>0.58904109589041098</c:v>
                </c:pt>
                <c:pt idx="5574">
                  <c:v>0.58915662650602396</c:v>
                </c:pt>
                <c:pt idx="5575">
                  <c:v>0.58922558922558899</c:v>
                </c:pt>
                <c:pt idx="5576">
                  <c:v>0.58922914466737097</c:v>
                </c:pt>
                <c:pt idx="5577">
                  <c:v>0.58935574229691901</c:v>
                </c:pt>
                <c:pt idx="5578">
                  <c:v>0.58937198067632801</c:v>
                </c:pt>
                <c:pt idx="5579">
                  <c:v>0.58942632170978604</c:v>
                </c:pt>
                <c:pt idx="5580">
                  <c:v>0.58955223880596996</c:v>
                </c:pt>
                <c:pt idx="5581">
                  <c:v>0.589622641509434</c:v>
                </c:pt>
                <c:pt idx="5582">
                  <c:v>0.58968206358728303</c:v>
                </c:pt>
                <c:pt idx="5583">
                  <c:v>0.58999037536092402</c:v>
                </c:pt>
                <c:pt idx="5584">
                  <c:v>0.59001782531194302</c:v>
                </c:pt>
                <c:pt idx="5585">
                  <c:v>0.59007832898172297</c:v>
                </c:pt>
                <c:pt idx="5586">
                  <c:v>0.59018691588784999</c:v>
                </c:pt>
                <c:pt idx="5587">
                  <c:v>0.59020618556700999</c:v>
                </c:pt>
                <c:pt idx="5588">
                  <c:v>0.59025032938076405</c:v>
                </c:pt>
                <c:pt idx="5589">
                  <c:v>0.59036144578313299</c:v>
                </c:pt>
                <c:pt idx="5590">
                  <c:v>0.59037558685446001</c:v>
                </c:pt>
                <c:pt idx="5591">
                  <c:v>0.59037900874635596</c:v>
                </c:pt>
                <c:pt idx="5592">
                  <c:v>0.59052453468697097</c:v>
                </c:pt>
                <c:pt idx="5593">
                  <c:v>0.59058988764044895</c:v>
                </c:pt>
                <c:pt idx="5594">
                  <c:v>0.59069767441860499</c:v>
                </c:pt>
                <c:pt idx="5595">
                  <c:v>0.590753424657534</c:v>
                </c:pt>
                <c:pt idx="5596">
                  <c:v>0.59082892416225696</c:v>
                </c:pt>
                <c:pt idx="5597">
                  <c:v>0.59090909090909105</c:v>
                </c:pt>
                <c:pt idx="5598">
                  <c:v>0.59090909090909105</c:v>
                </c:pt>
                <c:pt idx="5599">
                  <c:v>0.59090909090909105</c:v>
                </c:pt>
                <c:pt idx="5600">
                  <c:v>0.59099804305283798</c:v>
                </c:pt>
                <c:pt idx="5601">
                  <c:v>0.59104477611940298</c:v>
                </c:pt>
                <c:pt idx="5602">
                  <c:v>0.59113300492610799</c:v>
                </c:pt>
                <c:pt idx="5603">
                  <c:v>0.59130434782608698</c:v>
                </c:pt>
                <c:pt idx="5604">
                  <c:v>0.59141104294478497</c:v>
                </c:pt>
                <c:pt idx="5605">
                  <c:v>0.59143968871595298</c:v>
                </c:pt>
                <c:pt idx="5606">
                  <c:v>0.59146341463414598</c:v>
                </c:pt>
                <c:pt idx="5607">
                  <c:v>0.59148936170212796</c:v>
                </c:pt>
                <c:pt idx="5608">
                  <c:v>0.59154929577464799</c:v>
                </c:pt>
                <c:pt idx="5609">
                  <c:v>0.59166666666666701</c:v>
                </c:pt>
                <c:pt idx="5610">
                  <c:v>0.59166666666666701</c:v>
                </c:pt>
                <c:pt idx="5611">
                  <c:v>0.59168704156479202</c:v>
                </c:pt>
                <c:pt idx="5612">
                  <c:v>0.59178082191780801</c:v>
                </c:pt>
                <c:pt idx="5613">
                  <c:v>0.59183673469387799</c:v>
                </c:pt>
                <c:pt idx="5614">
                  <c:v>0.59183673469387799</c:v>
                </c:pt>
                <c:pt idx="5615">
                  <c:v>0.59186046511627899</c:v>
                </c:pt>
                <c:pt idx="5616">
                  <c:v>0.59188544152744604</c:v>
                </c:pt>
                <c:pt idx="5617">
                  <c:v>0.59197324414715702</c:v>
                </c:pt>
                <c:pt idx="5618">
                  <c:v>0.59215686274509804</c:v>
                </c:pt>
                <c:pt idx="5619">
                  <c:v>0.59235668789808904</c:v>
                </c:pt>
                <c:pt idx="5620">
                  <c:v>0.59235668789808904</c:v>
                </c:pt>
                <c:pt idx="5621">
                  <c:v>0.592592592592593</c:v>
                </c:pt>
                <c:pt idx="5622">
                  <c:v>0.592592592592593</c:v>
                </c:pt>
                <c:pt idx="5623">
                  <c:v>0.592592592592593</c:v>
                </c:pt>
                <c:pt idx="5624">
                  <c:v>0.59272300469483596</c:v>
                </c:pt>
                <c:pt idx="5625">
                  <c:v>0.59273422562141498</c:v>
                </c:pt>
                <c:pt idx="5626">
                  <c:v>0.59294871794871795</c:v>
                </c:pt>
                <c:pt idx="5627">
                  <c:v>0.59296482412060303</c:v>
                </c:pt>
                <c:pt idx="5628">
                  <c:v>0.59313215400624397</c:v>
                </c:pt>
                <c:pt idx="5629">
                  <c:v>0.59322033898305104</c:v>
                </c:pt>
                <c:pt idx="5630">
                  <c:v>0.593301435406699</c:v>
                </c:pt>
                <c:pt idx="5631">
                  <c:v>0.59336099585062196</c:v>
                </c:pt>
                <c:pt idx="5632">
                  <c:v>0.59354838709677404</c:v>
                </c:pt>
                <c:pt idx="5633">
                  <c:v>0.593639575971731</c:v>
                </c:pt>
                <c:pt idx="5634">
                  <c:v>0.593639575971731</c:v>
                </c:pt>
                <c:pt idx="5635">
                  <c:v>0.59370199692780301</c:v>
                </c:pt>
                <c:pt idx="5636">
                  <c:v>0.59379310344827596</c:v>
                </c:pt>
                <c:pt idx="5637">
                  <c:v>0.59385290889132802</c:v>
                </c:pt>
                <c:pt idx="5638">
                  <c:v>0.59393939393939399</c:v>
                </c:pt>
                <c:pt idx="5639">
                  <c:v>0.59410703547805199</c:v>
                </c:pt>
                <c:pt idx="5640">
                  <c:v>0.59420289855072495</c:v>
                </c:pt>
                <c:pt idx="5641">
                  <c:v>0.59420289855072495</c:v>
                </c:pt>
                <c:pt idx="5642">
                  <c:v>0.59428571428571397</c:v>
                </c:pt>
                <c:pt idx="5643">
                  <c:v>0.59450726978998403</c:v>
                </c:pt>
                <c:pt idx="5644">
                  <c:v>0.59459459459459496</c:v>
                </c:pt>
                <c:pt idx="5645">
                  <c:v>0.594763092269327</c:v>
                </c:pt>
                <c:pt idx="5646">
                  <c:v>0.594805194805195</c:v>
                </c:pt>
                <c:pt idx="5647">
                  <c:v>0.594936708860759</c:v>
                </c:pt>
                <c:pt idx="5648">
                  <c:v>0.59504132231405005</c:v>
                </c:pt>
                <c:pt idx="5649">
                  <c:v>0.59510357815442605</c:v>
                </c:pt>
                <c:pt idx="5650">
                  <c:v>0.59515570934256101</c:v>
                </c:pt>
                <c:pt idx="5651">
                  <c:v>0.59523809523809501</c:v>
                </c:pt>
                <c:pt idx="5652">
                  <c:v>0.59543230016313198</c:v>
                </c:pt>
                <c:pt idx="5653">
                  <c:v>0.59544159544159503</c:v>
                </c:pt>
                <c:pt idx="5654">
                  <c:v>0.59574468085106402</c:v>
                </c:pt>
                <c:pt idx="5655">
                  <c:v>0.59587020648967504</c:v>
                </c:pt>
                <c:pt idx="5656">
                  <c:v>0.59607843137254901</c:v>
                </c:pt>
                <c:pt idx="5657">
                  <c:v>0.59610027855153203</c:v>
                </c:pt>
                <c:pt idx="5658">
                  <c:v>0.59615384615384603</c:v>
                </c:pt>
                <c:pt idx="5659">
                  <c:v>0.59615384615384603</c:v>
                </c:pt>
                <c:pt idx="5660">
                  <c:v>0.59622641509434005</c:v>
                </c:pt>
                <c:pt idx="5661">
                  <c:v>0.59629629629629599</c:v>
                </c:pt>
                <c:pt idx="5662">
                  <c:v>0.596330275229358</c:v>
                </c:pt>
                <c:pt idx="5663">
                  <c:v>0.596330275229358</c:v>
                </c:pt>
                <c:pt idx="5664">
                  <c:v>0.59643916913946604</c:v>
                </c:pt>
                <c:pt idx="5665">
                  <c:v>0.59645464025026096</c:v>
                </c:pt>
                <c:pt idx="5666">
                  <c:v>0.59645669291338599</c:v>
                </c:pt>
                <c:pt idx="5667">
                  <c:v>0.59649122807017496</c:v>
                </c:pt>
                <c:pt idx="5668">
                  <c:v>0.59654178674351599</c:v>
                </c:pt>
                <c:pt idx="5669">
                  <c:v>0.59683794466403195</c:v>
                </c:pt>
                <c:pt idx="5670">
                  <c:v>0.59710743801652899</c:v>
                </c:pt>
                <c:pt idx="5671">
                  <c:v>0.597122302158273</c:v>
                </c:pt>
                <c:pt idx="5672">
                  <c:v>0.59715639810426502</c:v>
                </c:pt>
                <c:pt idx="5673">
                  <c:v>0.59720534629404598</c:v>
                </c:pt>
                <c:pt idx="5674">
                  <c:v>0.59728506787330304</c:v>
                </c:pt>
                <c:pt idx="5675">
                  <c:v>0.59742765273311904</c:v>
                </c:pt>
                <c:pt idx="5676">
                  <c:v>0.59745762711864403</c:v>
                </c:pt>
                <c:pt idx="5677">
                  <c:v>0.59748427672955995</c:v>
                </c:pt>
                <c:pt idx="5678">
                  <c:v>0.59750390015600596</c:v>
                </c:pt>
                <c:pt idx="5679">
                  <c:v>0.59782608695652195</c:v>
                </c:pt>
                <c:pt idx="5680">
                  <c:v>0.59782608695652195</c:v>
                </c:pt>
                <c:pt idx="5681">
                  <c:v>0.59787108219988205</c:v>
                </c:pt>
                <c:pt idx="5682">
                  <c:v>0.59798994974874398</c:v>
                </c:pt>
                <c:pt idx="5683">
                  <c:v>0.598101265822785</c:v>
                </c:pt>
                <c:pt idx="5684">
                  <c:v>0.59813084112149495</c:v>
                </c:pt>
                <c:pt idx="5685">
                  <c:v>0.59813084112149495</c:v>
                </c:pt>
                <c:pt idx="5686">
                  <c:v>0.59815950920245398</c:v>
                </c:pt>
                <c:pt idx="5687">
                  <c:v>0.59833506763787703</c:v>
                </c:pt>
                <c:pt idx="5688">
                  <c:v>0.59839357429718898</c:v>
                </c:pt>
                <c:pt idx="5689">
                  <c:v>0.59839357429718898</c:v>
                </c:pt>
                <c:pt idx="5690">
                  <c:v>0.59848484848484795</c:v>
                </c:pt>
                <c:pt idx="5691">
                  <c:v>0.59856630824372803</c:v>
                </c:pt>
                <c:pt idx="5692">
                  <c:v>0.59859154929577496</c:v>
                </c:pt>
                <c:pt idx="5693">
                  <c:v>0.59874389392882099</c:v>
                </c:pt>
                <c:pt idx="5694">
                  <c:v>0.59876543209876498</c:v>
                </c:pt>
                <c:pt idx="5695">
                  <c:v>0.59878419452887499</c:v>
                </c:pt>
                <c:pt idx="5696">
                  <c:v>0.59883720930232598</c:v>
                </c:pt>
                <c:pt idx="5697">
                  <c:v>0.59889502762430902</c:v>
                </c:pt>
                <c:pt idx="5698">
                  <c:v>0.59894921190893202</c:v>
                </c:pt>
                <c:pt idx="5699">
                  <c:v>0.59895833333333304</c:v>
                </c:pt>
                <c:pt idx="5700">
                  <c:v>0.59900166389351095</c:v>
                </c:pt>
                <c:pt idx="5701">
                  <c:v>0.59926470588235303</c:v>
                </c:pt>
                <c:pt idx="5702">
                  <c:v>0.59926695174098998</c:v>
                </c:pt>
                <c:pt idx="5703">
                  <c:v>0.59951456310679596</c:v>
                </c:pt>
                <c:pt idx="5704">
                  <c:v>0.59952606635071104</c:v>
                </c:pt>
                <c:pt idx="5705">
                  <c:v>0.59962406015037595</c:v>
                </c:pt>
                <c:pt idx="5706">
                  <c:v>0.59968847352024901</c:v>
                </c:pt>
                <c:pt idx="5707">
                  <c:v>0.5997599759976</c:v>
                </c:pt>
                <c:pt idx="5708">
                  <c:v>0.6</c:v>
                </c:pt>
                <c:pt idx="5709">
                  <c:v>0.6</c:v>
                </c:pt>
                <c:pt idx="5710">
                  <c:v>0.6</c:v>
                </c:pt>
                <c:pt idx="5711">
                  <c:v>0.6</c:v>
                </c:pt>
                <c:pt idx="5712">
                  <c:v>0.6</c:v>
                </c:pt>
                <c:pt idx="5713">
                  <c:v>0.6</c:v>
                </c:pt>
                <c:pt idx="5714">
                  <c:v>0.6</c:v>
                </c:pt>
                <c:pt idx="5715">
                  <c:v>0.6</c:v>
                </c:pt>
                <c:pt idx="5716">
                  <c:v>0.6</c:v>
                </c:pt>
                <c:pt idx="5717">
                  <c:v>0.6</c:v>
                </c:pt>
                <c:pt idx="5718">
                  <c:v>0.6</c:v>
                </c:pt>
                <c:pt idx="5719">
                  <c:v>0.6</c:v>
                </c:pt>
                <c:pt idx="5720">
                  <c:v>0.60021134202183901</c:v>
                </c:pt>
                <c:pt idx="5721">
                  <c:v>0.60022522522522503</c:v>
                </c:pt>
                <c:pt idx="5722">
                  <c:v>0.60036607687614396</c:v>
                </c:pt>
                <c:pt idx="5723">
                  <c:v>0.600414078674948</c:v>
                </c:pt>
                <c:pt idx="5724">
                  <c:v>0.60049627791563298</c:v>
                </c:pt>
                <c:pt idx="5725">
                  <c:v>0.60050890585241701</c:v>
                </c:pt>
                <c:pt idx="5726">
                  <c:v>0.60066006600660105</c:v>
                </c:pt>
                <c:pt idx="5727">
                  <c:v>0.60075187969924804</c:v>
                </c:pt>
                <c:pt idx="5728">
                  <c:v>0.60079575596817003</c:v>
                </c:pt>
                <c:pt idx="5729">
                  <c:v>0.60084033613445398</c:v>
                </c:pt>
                <c:pt idx="5730">
                  <c:v>0.60096153846153799</c:v>
                </c:pt>
                <c:pt idx="5731">
                  <c:v>0.600985221674877</c:v>
                </c:pt>
                <c:pt idx="5732">
                  <c:v>0.60106382978723405</c:v>
                </c:pt>
                <c:pt idx="5733">
                  <c:v>0.60109289617486295</c:v>
                </c:pt>
                <c:pt idx="5734">
                  <c:v>0.60110803324099704</c:v>
                </c:pt>
                <c:pt idx="5735">
                  <c:v>0.60110803324099704</c:v>
                </c:pt>
                <c:pt idx="5736">
                  <c:v>0.60135135135135098</c:v>
                </c:pt>
                <c:pt idx="5737">
                  <c:v>0.60137931034482806</c:v>
                </c:pt>
                <c:pt idx="5738">
                  <c:v>0.60140845070422499</c:v>
                </c:pt>
                <c:pt idx="5739">
                  <c:v>0.60153256704980795</c:v>
                </c:pt>
                <c:pt idx="5740">
                  <c:v>0.60159716060337198</c:v>
                </c:pt>
                <c:pt idx="5741">
                  <c:v>0.60162601626016299</c:v>
                </c:pt>
                <c:pt idx="5742">
                  <c:v>0.60162601626016299</c:v>
                </c:pt>
                <c:pt idx="5743">
                  <c:v>0.60166468489892999</c:v>
                </c:pt>
                <c:pt idx="5744">
                  <c:v>0.60189573459715595</c:v>
                </c:pt>
                <c:pt idx="5745">
                  <c:v>0.601918465227818</c:v>
                </c:pt>
                <c:pt idx="5746">
                  <c:v>0.60194174757281504</c:v>
                </c:pt>
                <c:pt idx="5747">
                  <c:v>0.60204081632653095</c:v>
                </c:pt>
                <c:pt idx="5748">
                  <c:v>0.60227272727272696</c:v>
                </c:pt>
                <c:pt idx="5749">
                  <c:v>0.60227272727272696</c:v>
                </c:pt>
                <c:pt idx="5750">
                  <c:v>0.60235798499464099</c:v>
                </c:pt>
                <c:pt idx="5751">
                  <c:v>0.60254083484573495</c:v>
                </c:pt>
                <c:pt idx="5752">
                  <c:v>0.60256410256410198</c:v>
                </c:pt>
                <c:pt idx="5753">
                  <c:v>0.60264900662251597</c:v>
                </c:pt>
                <c:pt idx="5754">
                  <c:v>0.602739726027397</c:v>
                </c:pt>
                <c:pt idx="5755">
                  <c:v>0.602739726027397</c:v>
                </c:pt>
                <c:pt idx="5756">
                  <c:v>0.60275229357798199</c:v>
                </c:pt>
                <c:pt idx="5757">
                  <c:v>0.602775368603643</c:v>
                </c:pt>
                <c:pt idx="5758">
                  <c:v>0.60294117647058798</c:v>
                </c:pt>
                <c:pt idx="5759">
                  <c:v>0.60307692307692295</c:v>
                </c:pt>
                <c:pt idx="5760">
                  <c:v>0.60317460317460303</c:v>
                </c:pt>
                <c:pt idx="5761">
                  <c:v>0.603369065849923</c:v>
                </c:pt>
                <c:pt idx="5762">
                  <c:v>0.60340314136125595</c:v>
                </c:pt>
                <c:pt idx="5763">
                  <c:v>0.60344827586206895</c:v>
                </c:pt>
                <c:pt idx="5764">
                  <c:v>0.60360360360360399</c:v>
                </c:pt>
                <c:pt idx="5765">
                  <c:v>0.60393258426966301</c:v>
                </c:pt>
                <c:pt idx="5766">
                  <c:v>0.60415122312824299</c:v>
                </c:pt>
                <c:pt idx="5767">
                  <c:v>0.60427807486631002</c:v>
                </c:pt>
                <c:pt idx="5768">
                  <c:v>0.60428849902534099</c:v>
                </c:pt>
                <c:pt idx="5769">
                  <c:v>0.60429447852760698</c:v>
                </c:pt>
                <c:pt idx="5770">
                  <c:v>0.60438222763238003</c:v>
                </c:pt>
                <c:pt idx="5771">
                  <c:v>0.60459770114942502</c:v>
                </c:pt>
                <c:pt idx="5772">
                  <c:v>0.60465116279069797</c:v>
                </c:pt>
                <c:pt idx="5773">
                  <c:v>0.60465116279069797</c:v>
                </c:pt>
                <c:pt idx="5774">
                  <c:v>0.60466956865848798</c:v>
                </c:pt>
                <c:pt idx="5775">
                  <c:v>0.60469667318982401</c:v>
                </c:pt>
                <c:pt idx="5776">
                  <c:v>0.60471567267683801</c:v>
                </c:pt>
                <c:pt idx="5777">
                  <c:v>0.60491071428571397</c:v>
                </c:pt>
                <c:pt idx="5778">
                  <c:v>0.60500963391136797</c:v>
                </c:pt>
                <c:pt idx="5779">
                  <c:v>0.60509554140127397</c:v>
                </c:pt>
                <c:pt idx="5780">
                  <c:v>0.60515021459227503</c:v>
                </c:pt>
                <c:pt idx="5781">
                  <c:v>0.60526315789473695</c:v>
                </c:pt>
                <c:pt idx="5782">
                  <c:v>0.60526315789473695</c:v>
                </c:pt>
                <c:pt idx="5783">
                  <c:v>0.60528893241919701</c:v>
                </c:pt>
                <c:pt idx="5784">
                  <c:v>0.60529801324503296</c:v>
                </c:pt>
                <c:pt idx="5785">
                  <c:v>0.60531697341513302</c:v>
                </c:pt>
                <c:pt idx="5786">
                  <c:v>0.60555555555555496</c:v>
                </c:pt>
                <c:pt idx="5787">
                  <c:v>0.60563380281690105</c:v>
                </c:pt>
                <c:pt idx="5788">
                  <c:v>0.60563380281690105</c:v>
                </c:pt>
                <c:pt idx="5789">
                  <c:v>0.60567823343848604</c:v>
                </c:pt>
                <c:pt idx="5790">
                  <c:v>0.60567823343848604</c:v>
                </c:pt>
                <c:pt idx="5791">
                  <c:v>0.60569105691056901</c:v>
                </c:pt>
                <c:pt idx="5792">
                  <c:v>0.60580912863070502</c:v>
                </c:pt>
                <c:pt idx="5793">
                  <c:v>0.60595065312046403</c:v>
                </c:pt>
                <c:pt idx="5794">
                  <c:v>0.60598290598290605</c:v>
                </c:pt>
                <c:pt idx="5795">
                  <c:v>0.60624370594159105</c:v>
                </c:pt>
                <c:pt idx="5796">
                  <c:v>0.60645161290322602</c:v>
                </c:pt>
                <c:pt idx="5797">
                  <c:v>0.60646900269541804</c:v>
                </c:pt>
                <c:pt idx="5798">
                  <c:v>0.60648148148148096</c:v>
                </c:pt>
                <c:pt idx="5799">
                  <c:v>0.60664112388250302</c:v>
                </c:pt>
                <c:pt idx="5800">
                  <c:v>0.60666666666666702</c:v>
                </c:pt>
                <c:pt idx="5801">
                  <c:v>0.60666666666666702</c:v>
                </c:pt>
                <c:pt idx="5802">
                  <c:v>0.60681114551083604</c:v>
                </c:pt>
                <c:pt idx="5803">
                  <c:v>0.60681520314547799</c:v>
                </c:pt>
                <c:pt idx="5804">
                  <c:v>0.60701754385964901</c:v>
                </c:pt>
                <c:pt idx="5805">
                  <c:v>0.60714285714285698</c:v>
                </c:pt>
                <c:pt idx="5806">
                  <c:v>0.60714285714285698</c:v>
                </c:pt>
                <c:pt idx="5807">
                  <c:v>0.60726072607260695</c:v>
                </c:pt>
                <c:pt idx="5808">
                  <c:v>0.607299270072993</c:v>
                </c:pt>
                <c:pt idx="5809">
                  <c:v>0.60757453666398098</c:v>
                </c:pt>
                <c:pt idx="5810">
                  <c:v>0.607594936708861</c:v>
                </c:pt>
                <c:pt idx="5811">
                  <c:v>0.60769230769230798</c:v>
                </c:pt>
                <c:pt idx="5812">
                  <c:v>0.60784313725490202</c:v>
                </c:pt>
                <c:pt idx="5813">
                  <c:v>0.60784313725490202</c:v>
                </c:pt>
                <c:pt idx="5814">
                  <c:v>0.60784313725490202</c:v>
                </c:pt>
                <c:pt idx="5815">
                  <c:v>0.60790273556231</c:v>
                </c:pt>
                <c:pt idx="5816">
                  <c:v>0.60797342192690995</c:v>
                </c:pt>
                <c:pt idx="5817">
                  <c:v>0.608108108108108</c:v>
                </c:pt>
                <c:pt idx="5818">
                  <c:v>0.60818713450292405</c:v>
                </c:pt>
                <c:pt idx="5819">
                  <c:v>0.60824742268041199</c:v>
                </c:pt>
                <c:pt idx="5820">
                  <c:v>0.60840707964601803</c:v>
                </c:pt>
                <c:pt idx="5821">
                  <c:v>0.60846560846560804</c:v>
                </c:pt>
                <c:pt idx="5822">
                  <c:v>0.608510638297872</c:v>
                </c:pt>
                <c:pt idx="5823">
                  <c:v>0.60855784469096696</c:v>
                </c:pt>
                <c:pt idx="5824">
                  <c:v>0.60856269113149797</c:v>
                </c:pt>
                <c:pt idx="5825">
                  <c:v>0.60869565217391297</c:v>
                </c:pt>
                <c:pt idx="5826">
                  <c:v>0.60869565217391297</c:v>
                </c:pt>
                <c:pt idx="5827">
                  <c:v>0.60893854748603304</c:v>
                </c:pt>
                <c:pt idx="5828">
                  <c:v>0.60909090909090902</c:v>
                </c:pt>
                <c:pt idx="5829">
                  <c:v>0.60928270042194099</c:v>
                </c:pt>
                <c:pt idx="5830">
                  <c:v>0.60934891485809695</c:v>
                </c:pt>
                <c:pt idx="5831">
                  <c:v>0.609375</c:v>
                </c:pt>
                <c:pt idx="5832">
                  <c:v>0.60960960960960997</c:v>
                </c:pt>
                <c:pt idx="5833">
                  <c:v>0.60963855421686697</c:v>
                </c:pt>
                <c:pt idx="5834">
                  <c:v>0.60969387755102</c:v>
                </c:pt>
                <c:pt idx="5835">
                  <c:v>0.60995184590690199</c:v>
                </c:pt>
                <c:pt idx="5836">
                  <c:v>0.61006289308176098</c:v>
                </c:pt>
                <c:pt idx="5837">
                  <c:v>0.61016949152542399</c:v>
                </c:pt>
                <c:pt idx="5838">
                  <c:v>0.61028277634961403</c:v>
                </c:pt>
                <c:pt idx="5839">
                  <c:v>0.61029411764705899</c:v>
                </c:pt>
                <c:pt idx="5840">
                  <c:v>0.61052631578947403</c:v>
                </c:pt>
                <c:pt idx="5841">
                  <c:v>0.61052631578947403</c:v>
                </c:pt>
                <c:pt idx="5842">
                  <c:v>0.61058451816745596</c:v>
                </c:pt>
                <c:pt idx="5843">
                  <c:v>0.610759493670886</c:v>
                </c:pt>
                <c:pt idx="5844">
                  <c:v>0.61108926464805302</c:v>
                </c:pt>
                <c:pt idx="5845">
                  <c:v>0.61111111111111105</c:v>
                </c:pt>
                <c:pt idx="5846">
                  <c:v>0.61111111111111105</c:v>
                </c:pt>
                <c:pt idx="5847">
                  <c:v>0.61128526645768</c:v>
                </c:pt>
                <c:pt idx="5848">
                  <c:v>0.611353711790393</c:v>
                </c:pt>
                <c:pt idx="5849">
                  <c:v>0.61152882205513803</c:v>
                </c:pt>
                <c:pt idx="5850">
                  <c:v>0.61160714285714302</c:v>
                </c:pt>
                <c:pt idx="5851">
                  <c:v>0.61162483487450403</c:v>
                </c:pt>
                <c:pt idx="5852">
                  <c:v>0.61176470588235299</c:v>
                </c:pt>
                <c:pt idx="5853">
                  <c:v>0.61187214611872098</c:v>
                </c:pt>
                <c:pt idx="5854">
                  <c:v>0.61196319018404899</c:v>
                </c:pt>
                <c:pt idx="5855">
                  <c:v>0.61204013377926403</c:v>
                </c:pt>
                <c:pt idx="5856">
                  <c:v>0.61212814645308899</c:v>
                </c:pt>
                <c:pt idx="5857">
                  <c:v>0.61215932914046101</c:v>
                </c:pt>
                <c:pt idx="5858">
                  <c:v>0.61224489795918402</c:v>
                </c:pt>
                <c:pt idx="5859">
                  <c:v>0.61224489795918402</c:v>
                </c:pt>
                <c:pt idx="5860">
                  <c:v>0.61233480176211397</c:v>
                </c:pt>
                <c:pt idx="5861">
                  <c:v>0.61277283751010503</c:v>
                </c:pt>
                <c:pt idx="5862">
                  <c:v>0.61290322580645196</c:v>
                </c:pt>
                <c:pt idx="5863">
                  <c:v>0.61290322580645196</c:v>
                </c:pt>
                <c:pt idx="5864">
                  <c:v>0.61309523809523803</c:v>
                </c:pt>
                <c:pt idx="5865">
                  <c:v>0.61319073083778997</c:v>
                </c:pt>
                <c:pt idx="5866">
                  <c:v>0.61320754716981096</c:v>
                </c:pt>
                <c:pt idx="5867">
                  <c:v>0.61326658322903604</c:v>
                </c:pt>
                <c:pt idx="5868">
                  <c:v>0.61328125</c:v>
                </c:pt>
                <c:pt idx="5869">
                  <c:v>0.61331775700934599</c:v>
                </c:pt>
                <c:pt idx="5870">
                  <c:v>0.61347517730496404</c:v>
                </c:pt>
                <c:pt idx="5871">
                  <c:v>0.61352657004830902</c:v>
                </c:pt>
                <c:pt idx="5872">
                  <c:v>0.61366459627329195</c:v>
                </c:pt>
                <c:pt idx="5873">
                  <c:v>0.61367753623188404</c:v>
                </c:pt>
                <c:pt idx="5874">
                  <c:v>0.61376404494381998</c:v>
                </c:pt>
                <c:pt idx="5875">
                  <c:v>0.61379310344827598</c:v>
                </c:pt>
                <c:pt idx="5876">
                  <c:v>0.61386138613861396</c:v>
                </c:pt>
                <c:pt idx="5877">
                  <c:v>0.61393692777212605</c:v>
                </c:pt>
                <c:pt idx="5878">
                  <c:v>0.61416184971098298</c:v>
                </c:pt>
                <c:pt idx="5879">
                  <c:v>0.61434977578475303</c:v>
                </c:pt>
                <c:pt idx="5880">
                  <c:v>0.614518147684606</c:v>
                </c:pt>
                <c:pt idx="5881">
                  <c:v>0.61460101867572103</c:v>
                </c:pt>
                <c:pt idx="5882">
                  <c:v>0.61461318051575897</c:v>
                </c:pt>
                <c:pt idx="5883">
                  <c:v>0.61475409836065598</c:v>
                </c:pt>
                <c:pt idx="5884">
                  <c:v>0.61512491559756899</c:v>
                </c:pt>
                <c:pt idx="5885">
                  <c:v>0.61538461538461497</c:v>
                </c:pt>
                <c:pt idx="5886">
                  <c:v>0.61538461538461497</c:v>
                </c:pt>
                <c:pt idx="5887">
                  <c:v>0.61538461538461497</c:v>
                </c:pt>
                <c:pt idx="5888">
                  <c:v>0.61559139784946204</c:v>
                </c:pt>
                <c:pt idx="5889">
                  <c:v>0.61559888579387201</c:v>
                </c:pt>
                <c:pt idx="5890">
                  <c:v>0.61568123393316199</c:v>
                </c:pt>
                <c:pt idx="5891">
                  <c:v>0.615751789976134</c:v>
                </c:pt>
                <c:pt idx="5892">
                  <c:v>0.61576354679802903</c:v>
                </c:pt>
                <c:pt idx="5893">
                  <c:v>0.61583577712610005</c:v>
                </c:pt>
                <c:pt idx="5894">
                  <c:v>0.61598609904430901</c:v>
                </c:pt>
                <c:pt idx="5895">
                  <c:v>0.61598746081504696</c:v>
                </c:pt>
                <c:pt idx="5896">
                  <c:v>0.61605206073752705</c:v>
                </c:pt>
                <c:pt idx="5897">
                  <c:v>0.61607142857142905</c:v>
                </c:pt>
                <c:pt idx="5898">
                  <c:v>0.61607875307629201</c:v>
                </c:pt>
                <c:pt idx="5899">
                  <c:v>0.61612903225806404</c:v>
                </c:pt>
                <c:pt idx="5900">
                  <c:v>0.61613691931540304</c:v>
                </c:pt>
                <c:pt idx="5901">
                  <c:v>0.61616161616161602</c:v>
                </c:pt>
                <c:pt idx="5902">
                  <c:v>0.61627906976744196</c:v>
                </c:pt>
                <c:pt idx="5903">
                  <c:v>0.61650485436893199</c:v>
                </c:pt>
                <c:pt idx="5904">
                  <c:v>0.61651376146789005</c:v>
                </c:pt>
                <c:pt idx="5905">
                  <c:v>0.61655773420479298</c:v>
                </c:pt>
                <c:pt idx="5906">
                  <c:v>0.61661341853035101</c:v>
                </c:pt>
                <c:pt idx="5907">
                  <c:v>0.61664190193164903</c:v>
                </c:pt>
                <c:pt idx="5908">
                  <c:v>0.61666666666666703</c:v>
                </c:pt>
                <c:pt idx="5909">
                  <c:v>0.61670761670761698</c:v>
                </c:pt>
                <c:pt idx="5910">
                  <c:v>0.61675579322638097</c:v>
                </c:pt>
                <c:pt idx="5911">
                  <c:v>0.61709401709401701</c:v>
                </c:pt>
                <c:pt idx="5912">
                  <c:v>0.61714285714285699</c:v>
                </c:pt>
                <c:pt idx="5913">
                  <c:v>0.61714285714285699</c:v>
                </c:pt>
                <c:pt idx="5914">
                  <c:v>0.61734693877550995</c:v>
                </c:pt>
                <c:pt idx="5915">
                  <c:v>0.61744966442952998</c:v>
                </c:pt>
                <c:pt idx="5916">
                  <c:v>0.61764705882352899</c:v>
                </c:pt>
                <c:pt idx="5917">
                  <c:v>0.61764705882352899</c:v>
                </c:pt>
                <c:pt idx="5918">
                  <c:v>0.61773255813953498</c:v>
                </c:pt>
                <c:pt idx="5919">
                  <c:v>0.61774744027303696</c:v>
                </c:pt>
                <c:pt idx="5920">
                  <c:v>0.61839651957737696</c:v>
                </c:pt>
                <c:pt idx="5921">
                  <c:v>0.61842105263157898</c:v>
                </c:pt>
                <c:pt idx="5922">
                  <c:v>0.61883408071748902</c:v>
                </c:pt>
                <c:pt idx="5923">
                  <c:v>0.61899999999999999</c:v>
                </c:pt>
                <c:pt idx="5924">
                  <c:v>0.61916878710771805</c:v>
                </c:pt>
                <c:pt idx="5925">
                  <c:v>0.61928934010152303</c:v>
                </c:pt>
                <c:pt idx="5926">
                  <c:v>0.619354838709677</c:v>
                </c:pt>
                <c:pt idx="5927">
                  <c:v>0.619360902255639</c:v>
                </c:pt>
                <c:pt idx="5928">
                  <c:v>0.61938278289117499</c:v>
                </c:pt>
                <c:pt idx="5929">
                  <c:v>0.61956521739130399</c:v>
                </c:pt>
                <c:pt idx="5930">
                  <c:v>0.61956521739130399</c:v>
                </c:pt>
                <c:pt idx="5931">
                  <c:v>0.61961722488038296</c:v>
                </c:pt>
                <c:pt idx="5932">
                  <c:v>0.61971830985915499</c:v>
                </c:pt>
                <c:pt idx="5933">
                  <c:v>0.61977186311787102</c:v>
                </c:pt>
                <c:pt idx="5934">
                  <c:v>0.61988304093567204</c:v>
                </c:pt>
                <c:pt idx="5935">
                  <c:v>0.62003665241295003</c:v>
                </c:pt>
                <c:pt idx="5936">
                  <c:v>0.62011674898967195</c:v>
                </c:pt>
                <c:pt idx="5937">
                  <c:v>0.62027491408934698</c:v>
                </c:pt>
                <c:pt idx="5938">
                  <c:v>0.62034239677744196</c:v>
                </c:pt>
                <c:pt idx="5939">
                  <c:v>0.62036659877800404</c:v>
                </c:pt>
                <c:pt idx="5940">
                  <c:v>0.62060506950122596</c:v>
                </c:pt>
                <c:pt idx="5941">
                  <c:v>0.62061636556854405</c:v>
                </c:pt>
                <c:pt idx="5942">
                  <c:v>0.62075471698113205</c:v>
                </c:pt>
                <c:pt idx="5943">
                  <c:v>0.62091503267973802</c:v>
                </c:pt>
                <c:pt idx="5944">
                  <c:v>0.62098138747884901</c:v>
                </c:pt>
                <c:pt idx="5945">
                  <c:v>0.62114537444933904</c:v>
                </c:pt>
                <c:pt idx="5946">
                  <c:v>0.62114537444933904</c:v>
                </c:pt>
                <c:pt idx="5947">
                  <c:v>0.62126245847176098</c:v>
                </c:pt>
                <c:pt idx="5948">
                  <c:v>0.621428571428571</c:v>
                </c:pt>
                <c:pt idx="5949">
                  <c:v>0.62158469945355199</c:v>
                </c:pt>
                <c:pt idx="5950">
                  <c:v>0.62162162162162204</c:v>
                </c:pt>
                <c:pt idx="5951">
                  <c:v>0.62162162162162204</c:v>
                </c:pt>
                <c:pt idx="5952">
                  <c:v>0.62162162162162204</c:v>
                </c:pt>
                <c:pt idx="5953">
                  <c:v>0.62173913043478202</c:v>
                </c:pt>
                <c:pt idx="5954">
                  <c:v>0.62204724409448797</c:v>
                </c:pt>
                <c:pt idx="5955">
                  <c:v>0.62204724409448797</c:v>
                </c:pt>
                <c:pt idx="5956">
                  <c:v>0.62207357859531798</c:v>
                </c:pt>
                <c:pt idx="5957">
                  <c:v>0.62209302325581395</c:v>
                </c:pt>
                <c:pt idx="5958">
                  <c:v>0.62215477996965096</c:v>
                </c:pt>
                <c:pt idx="5959">
                  <c:v>0.62217194570135703</c:v>
                </c:pt>
                <c:pt idx="5960">
                  <c:v>0.62225969645868495</c:v>
                </c:pt>
                <c:pt idx="5961">
                  <c:v>0.62231759656652397</c:v>
                </c:pt>
                <c:pt idx="5962">
                  <c:v>0.622529644268775</c:v>
                </c:pt>
                <c:pt idx="5963">
                  <c:v>0.62260343087790104</c:v>
                </c:pt>
                <c:pt idx="5964">
                  <c:v>0.62264150943396201</c:v>
                </c:pt>
                <c:pt idx="5965">
                  <c:v>0.62269503546099303</c:v>
                </c:pt>
                <c:pt idx="5966">
                  <c:v>0.62280701754386003</c:v>
                </c:pt>
                <c:pt idx="5967">
                  <c:v>0.62286324786324798</c:v>
                </c:pt>
                <c:pt idx="5968">
                  <c:v>0.623188405797101</c:v>
                </c:pt>
                <c:pt idx="5969">
                  <c:v>0.62326869806094198</c:v>
                </c:pt>
                <c:pt idx="5970">
                  <c:v>0.62337662337662303</c:v>
                </c:pt>
                <c:pt idx="5971">
                  <c:v>0.62350936967631998</c:v>
                </c:pt>
                <c:pt idx="5972">
                  <c:v>0.62353401094605199</c:v>
                </c:pt>
                <c:pt idx="5973">
                  <c:v>0.62361111111111101</c:v>
                </c:pt>
                <c:pt idx="5974">
                  <c:v>0.624</c:v>
                </c:pt>
                <c:pt idx="5975">
                  <c:v>0.62409288824383202</c:v>
                </c:pt>
                <c:pt idx="5976">
                  <c:v>0.62433706540954603</c:v>
                </c:pt>
                <c:pt idx="5977">
                  <c:v>0.62445414847161596</c:v>
                </c:pt>
                <c:pt idx="5978">
                  <c:v>0.62451361867704303</c:v>
                </c:pt>
                <c:pt idx="5979">
                  <c:v>0.62451361867704303</c:v>
                </c:pt>
                <c:pt idx="5980">
                  <c:v>0.62464985994397704</c:v>
                </c:pt>
                <c:pt idx="5981">
                  <c:v>0.62486248624862495</c:v>
                </c:pt>
                <c:pt idx="5982">
                  <c:v>0.625</c:v>
                </c:pt>
                <c:pt idx="5983">
                  <c:v>0.625</c:v>
                </c:pt>
                <c:pt idx="5984">
                  <c:v>0.625</c:v>
                </c:pt>
                <c:pt idx="5985">
                  <c:v>0.625</c:v>
                </c:pt>
                <c:pt idx="5986">
                  <c:v>0.625</c:v>
                </c:pt>
                <c:pt idx="5987">
                  <c:v>0.62507720815318102</c:v>
                </c:pt>
                <c:pt idx="5988">
                  <c:v>0.62514156285390698</c:v>
                </c:pt>
                <c:pt idx="5989">
                  <c:v>0.62520193861066198</c:v>
                </c:pt>
                <c:pt idx="5990">
                  <c:v>0.62537947783849401</c:v>
                </c:pt>
                <c:pt idx="5991">
                  <c:v>0.62555066079295096</c:v>
                </c:pt>
                <c:pt idx="5992">
                  <c:v>0.62587412587412605</c:v>
                </c:pt>
                <c:pt idx="5993">
                  <c:v>0.62595419847328204</c:v>
                </c:pt>
                <c:pt idx="5994">
                  <c:v>0.62596259625962603</c:v>
                </c:pt>
                <c:pt idx="5995">
                  <c:v>0.62603305785123997</c:v>
                </c:pt>
                <c:pt idx="5996">
                  <c:v>0.62604340567612704</c:v>
                </c:pt>
                <c:pt idx="5997">
                  <c:v>0.62606577344701597</c:v>
                </c:pt>
                <c:pt idx="5998">
                  <c:v>0.62608695652173896</c:v>
                </c:pt>
                <c:pt idx="5999">
                  <c:v>0.62608695652173896</c:v>
                </c:pt>
                <c:pt idx="6000">
                  <c:v>0.62626262626262597</c:v>
                </c:pt>
                <c:pt idx="6001">
                  <c:v>0.62637362637362604</c:v>
                </c:pt>
                <c:pt idx="6002">
                  <c:v>0.62677725118483396</c:v>
                </c:pt>
                <c:pt idx="6003">
                  <c:v>0.62705667276051202</c:v>
                </c:pt>
                <c:pt idx="6004">
                  <c:v>0.62711864406779705</c:v>
                </c:pt>
                <c:pt idx="6005">
                  <c:v>0.62732919254658404</c:v>
                </c:pt>
                <c:pt idx="6006">
                  <c:v>0.62732919254658404</c:v>
                </c:pt>
                <c:pt idx="6007">
                  <c:v>0.62732919254658404</c:v>
                </c:pt>
                <c:pt idx="6008">
                  <c:v>0.62745098039215697</c:v>
                </c:pt>
                <c:pt idx="6009">
                  <c:v>0.62765957446808496</c:v>
                </c:pt>
                <c:pt idx="6010">
                  <c:v>0.62780269058296001</c:v>
                </c:pt>
                <c:pt idx="6011">
                  <c:v>0.62783171521035597</c:v>
                </c:pt>
                <c:pt idx="6012">
                  <c:v>0.62784349408553197</c:v>
                </c:pt>
                <c:pt idx="6013">
                  <c:v>0.62790697674418605</c:v>
                </c:pt>
                <c:pt idx="6014">
                  <c:v>0.62790697674418605</c:v>
                </c:pt>
                <c:pt idx="6015">
                  <c:v>0.62798634812286702</c:v>
                </c:pt>
                <c:pt idx="6016">
                  <c:v>0.62820512820512797</c:v>
                </c:pt>
                <c:pt idx="6017">
                  <c:v>0.62840385421030598</c:v>
                </c:pt>
                <c:pt idx="6018">
                  <c:v>0.628536285362854</c:v>
                </c:pt>
                <c:pt idx="6019">
                  <c:v>0.628571428571428</c:v>
                </c:pt>
                <c:pt idx="6020">
                  <c:v>0.62869198312236296</c:v>
                </c:pt>
                <c:pt idx="6021">
                  <c:v>0.62879205736348598</c:v>
                </c:pt>
                <c:pt idx="6022">
                  <c:v>0.62880886426592797</c:v>
                </c:pt>
                <c:pt idx="6023">
                  <c:v>0.62893081761006298</c:v>
                </c:pt>
                <c:pt idx="6024">
                  <c:v>0.62903225806451601</c:v>
                </c:pt>
                <c:pt idx="6025">
                  <c:v>0.629130966952264</c:v>
                </c:pt>
                <c:pt idx="6026">
                  <c:v>0.62918964785744602</c:v>
                </c:pt>
                <c:pt idx="6027">
                  <c:v>0.62931034482758597</c:v>
                </c:pt>
                <c:pt idx="6028">
                  <c:v>0.629411764705882</c:v>
                </c:pt>
                <c:pt idx="6029">
                  <c:v>0.629411764705882</c:v>
                </c:pt>
                <c:pt idx="6030">
                  <c:v>0.629422718808194</c:v>
                </c:pt>
                <c:pt idx="6031">
                  <c:v>0.62946428571428603</c:v>
                </c:pt>
                <c:pt idx="6032">
                  <c:v>0.62962962962962998</c:v>
                </c:pt>
                <c:pt idx="6033">
                  <c:v>0.62982456140350895</c:v>
                </c:pt>
                <c:pt idx="6034">
                  <c:v>0.62984913793103403</c:v>
                </c:pt>
                <c:pt idx="6035">
                  <c:v>0.63006923837784401</c:v>
                </c:pt>
                <c:pt idx="6036">
                  <c:v>0.630252100840336</c:v>
                </c:pt>
                <c:pt idx="6037">
                  <c:v>0.63040791100123605</c:v>
                </c:pt>
                <c:pt idx="6038">
                  <c:v>0.63043478260869601</c:v>
                </c:pt>
                <c:pt idx="6039">
                  <c:v>0.63088057901085604</c:v>
                </c:pt>
                <c:pt idx="6040">
                  <c:v>0.63094209161624903</c:v>
                </c:pt>
                <c:pt idx="6041">
                  <c:v>0.63095238095238104</c:v>
                </c:pt>
                <c:pt idx="6042">
                  <c:v>0.63095238095238104</c:v>
                </c:pt>
                <c:pt idx="6043">
                  <c:v>0.63095238095238104</c:v>
                </c:pt>
                <c:pt idx="6044">
                  <c:v>0.63106796116504904</c:v>
                </c:pt>
                <c:pt idx="6045">
                  <c:v>0.63124999999999998</c:v>
                </c:pt>
                <c:pt idx="6046">
                  <c:v>0.63133640552995396</c:v>
                </c:pt>
                <c:pt idx="6047">
                  <c:v>0.63154929577464802</c:v>
                </c:pt>
                <c:pt idx="6048">
                  <c:v>0.63157894736842102</c:v>
                </c:pt>
                <c:pt idx="6049">
                  <c:v>0.63157894736842102</c:v>
                </c:pt>
                <c:pt idx="6050">
                  <c:v>0.63157894736842102</c:v>
                </c:pt>
                <c:pt idx="6051">
                  <c:v>0.63175534143276102</c:v>
                </c:pt>
                <c:pt idx="6052">
                  <c:v>0.63179001093692999</c:v>
                </c:pt>
                <c:pt idx="6053">
                  <c:v>0.63184079601989995</c:v>
                </c:pt>
                <c:pt idx="6054">
                  <c:v>0.63186813186813195</c:v>
                </c:pt>
                <c:pt idx="6055">
                  <c:v>0.63194444444444398</c:v>
                </c:pt>
                <c:pt idx="6056">
                  <c:v>0.63212435233160602</c:v>
                </c:pt>
                <c:pt idx="6057">
                  <c:v>0.63217576187101299</c:v>
                </c:pt>
                <c:pt idx="6058">
                  <c:v>0.63218390804597702</c:v>
                </c:pt>
                <c:pt idx="6059">
                  <c:v>0.63235294117647001</c:v>
                </c:pt>
                <c:pt idx="6060">
                  <c:v>0.63235294117647001</c:v>
                </c:pt>
                <c:pt idx="6061">
                  <c:v>0.63239875389408096</c:v>
                </c:pt>
                <c:pt idx="6062">
                  <c:v>0.63247863247863201</c:v>
                </c:pt>
                <c:pt idx="6063">
                  <c:v>0.63253012048192803</c:v>
                </c:pt>
                <c:pt idx="6064">
                  <c:v>0.632637277648878</c:v>
                </c:pt>
                <c:pt idx="6065">
                  <c:v>0.63265306122449005</c:v>
                </c:pt>
                <c:pt idx="6066">
                  <c:v>0.63288521199586301</c:v>
                </c:pt>
                <c:pt idx="6067">
                  <c:v>0.63290229885057503</c:v>
                </c:pt>
                <c:pt idx="6068">
                  <c:v>0.632911392405063</c:v>
                </c:pt>
                <c:pt idx="6069">
                  <c:v>0.63309352517985595</c:v>
                </c:pt>
                <c:pt idx="6070">
                  <c:v>0.633136094674556</c:v>
                </c:pt>
                <c:pt idx="6071">
                  <c:v>0.63317757009345799</c:v>
                </c:pt>
                <c:pt idx="6072">
                  <c:v>0.63323353293413198</c:v>
                </c:pt>
                <c:pt idx="6073">
                  <c:v>0.63333333333333297</c:v>
                </c:pt>
                <c:pt idx="6074">
                  <c:v>0.63337893296853598</c:v>
                </c:pt>
                <c:pt idx="6075">
                  <c:v>0.63340563991323195</c:v>
                </c:pt>
                <c:pt idx="6076">
                  <c:v>0.63345864661654105</c:v>
                </c:pt>
                <c:pt idx="6077">
                  <c:v>0.63354037267080698</c:v>
                </c:pt>
                <c:pt idx="6078">
                  <c:v>0.63390663390663404</c:v>
                </c:pt>
                <c:pt idx="6079">
                  <c:v>0.63398692810457502</c:v>
                </c:pt>
                <c:pt idx="6080">
                  <c:v>0.63414634146341498</c:v>
                </c:pt>
                <c:pt idx="6081">
                  <c:v>0.63414634146341498</c:v>
                </c:pt>
                <c:pt idx="6082">
                  <c:v>0.63440860215053796</c:v>
                </c:pt>
                <c:pt idx="6083">
                  <c:v>0.63440860215053796</c:v>
                </c:pt>
                <c:pt idx="6084">
                  <c:v>0.63440860215053796</c:v>
                </c:pt>
                <c:pt idx="6085">
                  <c:v>0.63440860215053796</c:v>
                </c:pt>
                <c:pt idx="6086">
                  <c:v>0.63442622950819705</c:v>
                </c:pt>
                <c:pt idx="6087">
                  <c:v>0.63473053892215603</c:v>
                </c:pt>
                <c:pt idx="6088">
                  <c:v>0.63478260869565195</c:v>
                </c:pt>
                <c:pt idx="6089">
                  <c:v>0.63480392156862697</c:v>
                </c:pt>
                <c:pt idx="6090">
                  <c:v>0.63483523873570902</c:v>
                </c:pt>
                <c:pt idx="6091">
                  <c:v>0.63489499192245502</c:v>
                </c:pt>
                <c:pt idx="6092">
                  <c:v>0.634920634920635</c:v>
                </c:pt>
                <c:pt idx="6093">
                  <c:v>0.634920634920635</c:v>
                </c:pt>
                <c:pt idx="6094">
                  <c:v>0.63503649635036497</c:v>
                </c:pt>
                <c:pt idx="6095">
                  <c:v>0.63506063947078295</c:v>
                </c:pt>
                <c:pt idx="6096">
                  <c:v>0.63509471585244304</c:v>
                </c:pt>
                <c:pt idx="6097">
                  <c:v>0.63525835866261404</c:v>
                </c:pt>
                <c:pt idx="6098">
                  <c:v>0.63537513591881101</c:v>
                </c:pt>
                <c:pt idx="6099">
                  <c:v>0.63544303797468304</c:v>
                </c:pt>
                <c:pt idx="6100">
                  <c:v>0.635587655942219</c:v>
                </c:pt>
                <c:pt idx="6101">
                  <c:v>0.63571428571428601</c:v>
                </c:pt>
                <c:pt idx="6102">
                  <c:v>0.63573883161512001</c:v>
                </c:pt>
                <c:pt idx="6103">
                  <c:v>0.636065573770492</c:v>
                </c:pt>
                <c:pt idx="6104">
                  <c:v>0.63636363636363602</c:v>
                </c:pt>
                <c:pt idx="6105">
                  <c:v>0.63636363636363602</c:v>
                </c:pt>
                <c:pt idx="6106">
                  <c:v>0.63636363636363602</c:v>
                </c:pt>
                <c:pt idx="6107">
                  <c:v>0.63654822335025396</c:v>
                </c:pt>
                <c:pt idx="6108">
                  <c:v>0.63658969804618104</c:v>
                </c:pt>
                <c:pt idx="6109">
                  <c:v>0.63698630136986301</c:v>
                </c:pt>
                <c:pt idx="6110">
                  <c:v>0.63698630136986301</c:v>
                </c:pt>
                <c:pt idx="6111">
                  <c:v>0.63700000000000001</c:v>
                </c:pt>
                <c:pt idx="6112">
                  <c:v>0.63703703703703696</c:v>
                </c:pt>
                <c:pt idx="6113">
                  <c:v>0.63706763035622105</c:v>
                </c:pt>
                <c:pt idx="6114">
                  <c:v>0.637119113573407</c:v>
                </c:pt>
                <c:pt idx="6115">
                  <c:v>0.63725490196078405</c:v>
                </c:pt>
                <c:pt idx="6116">
                  <c:v>0.63736263736263699</c:v>
                </c:pt>
                <c:pt idx="6117">
                  <c:v>0.637383177570093</c:v>
                </c:pt>
                <c:pt idx="6118">
                  <c:v>0.63743676222597001</c:v>
                </c:pt>
                <c:pt idx="6119">
                  <c:v>0.63752276867030999</c:v>
                </c:pt>
                <c:pt idx="6120">
                  <c:v>0.63762102351313998</c:v>
                </c:pt>
                <c:pt idx="6121">
                  <c:v>0.63768115942029002</c:v>
                </c:pt>
                <c:pt idx="6122">
                  <c:v>0.63784665579119104</c:v>
                </c:pt>
                <c:pt idx="6123">
                  <c:v>0.63793103448275901</c:v>
                </c:pt>
                <c:pt idx="6124">
                  <c:v>0.63794683776352001</c:v>
                </c:pt>
                <c:pt idx="6125">
                  <c:v>0.63797468354430398</c:v>
                </c:pt>
                <c:pt idx="6126">
                  <c:v>0.63800904977375605</c:v>
                </c:pt>
                <c:pt idx="6127">
                  <c:v>0.638190954773869</c:v>
                </c:pt>
                <c:pt idx="6128">
                  <c:v>0.63823227132579596</c:v>
                </c:pt>
                <c:pt idx="6129">
                  <c:v>0.63824884792626702</c:v>
                </c:pt>
                <c:pt idx="6130">
                  <c:v>0.63833477883781398</c:v>
                </c:pt>
                <c:pt idx="6131">
                  <c:v>0.63836477987421403</c:v>
                </c:pt>
                <c:pt idx="6132">
                  <c:v>0.638489208633093</c:v>
                </c:pt>
                <c:pt idx="6133">
                  <c:v>0.63864491844416604</c:v>
                </c:pt>
                <c:pt idx="6134">
                  <c:v>0.63888888888888895</c:v>
                </c:pt>
                <c:pt idx="6135">
                  <c:v>0.63888888888888895</c:v>
                </c:pt>
                <c:pt idx="6136">
                  <c:v>0.63909774436090205</c:v>
                </c:pt>
                <c:pt idx="6137">
                  <c:v>0.63909774436090205</c:v>
                </c:pt>
                <c:pt idx="6138">
                  <c:v>0.63915857605177995</c:v>
                </c:pt>
                <c:pt idx="6139">
                  <c:v>0.63940520446096605</c:v>
                </c:pt>
                <c:pt idx="6140">
                  <c:v>0.63946015424164504</c:v>
                </c:pt>
                <c:pt idx="6141">
                  <c:v>0.63955119214586198</c:v>
                </c:pt>
                <c:pt idx="6142">
                  <c:v>0.63963963963963999</c:v>
                </c:pt>
                <c:pt idx="6143">
                  <c:v>0.63970588235294101</c:v>
                </c:pt>
                <c:pt idx="6144">
                  <c:v>0.63975155279503104</c:v>
                </c:pt>
                <c:pt idx="6145">
                  <c:v>0.63996554694229102</c:v>
                </c:pt>
                <c:pt idx="6146">
                  <c:v>0.64</c:v>
                </c:pt>
                <c:pt idx="6147">
                  <c:v>0.64</c:v>
                </c:pt>
                <c:pt idx="6148">
                  <c:v>0.64011379800853496</c:v>
                </c:pt>
                <c:pt idx="6149">
                  <c:v>0.640132669983416</c:v>
                </c:pt>
                <c:pt idx="6150">
                  <c:v>0.64039408866995096</c:v>
                </c:pt>
                <c:pt idx="6151">
                  <c:v>0.64040404040403998</c:v>
                </c:pt>
                <c:pt idx="6152">
                  <c:v>0.64080944350758795</c:v>
                </c:pt>
                <c:pt idx="6153">
                  <c:v>0.64084507042253502</c:v>
                </c:pt>
                <c:pt idx="6154">
                  <c:v>0.640866873065015</c:v>
                </c:pt>
                <c:pt idx="6155">
                  <c:v>0.64090909090909098</c:v>
                </c:pt>
                <c:pt idx="6156">
                  <c:v>0.64114832535885202</c:v>
                </c:pt>
                <c:pt idx="6157">
                  <c:v>0.64125200642054603</c:v>
                </c:pt>
                <c:pt idx="6158">
                  <c:v>0.64132553606237797</c:v>
                </c:pt>
                <c:pt idx="6159">
                  <c:v>0.64135021097046396</c:v>
                </c:pt>
                <c:pt idx="6160">
                  <c:v>0.64142538975501096</c:v>
                </c:pt>
                <c:pt idx="6161">
                  <c:v>0.64143426294820705</c:v>
                </c:pt>
                <c:pt idx="6162">
                  <c:v>0.64143920595533499</c:v>
                </c:pt>
                <c:pt idx="6163">
                  <c:v>0.64150943396226401</c:v>
                </c:pt>
                <c:pt idx="6164">
                  <c:v>0.641541038525963</c:v>
                </c:pt>
                <c:pt idx="6165">
                  <c:v>0.64161849710982599</c:v>
                </c:pt>
                <c:pt idx="6166">
                  <c:v>0.64179104477611904</c:v>
                </c:pt>
                <c:pt idx="6167">
                  <c:v>0.641891891891892</c:v>
                </c:pt>
                <c:pt idx="6168">
                  <c:v>0.64207650273224004</c:v>
                </c:pt>
                <c:pt idx="6169">
                  <c:v>0.64220183486238502</c:v>
                </c:pt>
                <c:pt idx="6170">
                  <c:v>0.64224872231686503</c:v>
                </c:pt>
                <c:pt idx="6171">
                  <c:v>0.64243614931237703</c:v>
                </c:pt>
                <c:pt idx="6172">
                  <c:v>0.64253393665158398</c:v>
                </c:pt>
                <c:pt idx="6173">
                  <c:v>0.64261168384879697</c:v>
                </c:pt>
                <c:pt idx="6174">
                  <c:v>0.64262295081967202</c:v>
                </c:pt>
                <c:pt idx="6175">
                  <c:v>0.64264264264264204</c:v>
                </c:pt>
                <c:pt idx="6176">
                  <c:v>0.64265927977839299</c:v>
                </c:pt>
                <c:pt idx="6177">
                  <c:v>0.64285714285714302</c:v>
                </c:pt>
                <c:pt idx="6178">
                  <c:v>0.64285714285714302</c:v>
                </c:pt>
                <c:pt idx="6179">
                  <c:v>0.64285714285714302</c:v>
                </c:pt>
                <c:pt idx="6180">
                  <c:v>0.64285714285714302</c:v>
                </c:pt>
                <c:pt idx="6181">
                  <c:v>0.64285714285714302</c:v>
                </c:pt>
                <c:pt idx="6182">
                  <c:v>0.64292497625830902</c:v>
                </c:pt>
                <c:pt idx="6183">
                  <c:v>0.64296081277213302</c:v>
                </c:pt>
                <c:pt idx="6184">
                  <c:v>0.64328358208955205</c:v>
                </c:pt>
                <c:pt idx="6185">
                  <c:v>0.64358108108108103</c:v>
                </c:pt>
                <c:pt idx="6186">
                  <c:v>0.64369747899159702</c:v>
                </c:pt>
                <c:pt idx="6187">
                  <c:v>0.64379562043795602</c:v>
                </c:pt>
                <c:pt idx="6188">
                  <c:v>0.644067796610169</c:v>
                </c:pt>
                <c:pt idx="6189">
                  <c:v>0.64409368635437902</c:v>
                </c:pt>
                <c:pt idx="6190">
                  <c:v>0.64423076923076905</c:v>
                </c:pt>
                <c:pt idx="6191">
                  <c:v>0.64435946462715099</c:v>
                </c:pt>
                <c:pt idx="6192">
                  <c:v>0.64452015900056803</c:v>
                </c:pt>
                <c:pt idx="6193">
                  <c:v>0.64462809917355401</c:v>
                </c:pt>
                <c:pt idx="6194">
                  <c:v>0.64462809917355401</c:v>
                </c:pt>
                <c:pt idx="6195">
                  <c:v>0.64473684210526305</c:v>
                </c:pt>
                <c:pt idx="6196">
                  <c:v>0.644880174291939</c:v>
                </c:pt>
                <c:pt idx="6197">
                  <c:v>0.64495114006514598</c:v>
                </c:pt>
                <c:pt idx="6198">
                  <c:v>0.64499349804941497</c:v>
                </c:pt>
                <c:pt idx="6199">
                  <c:v>0.64500000000000002</c:v>
                </c:pt>
                <c:pt idx="6200">
                  <c:v>0.64501448076127399</c:v>
                </c:pt>
                <c:pt idx="6201">
                  <c:v>0.64503311258278095</c:v>
                </c:pt>
                <c:pt idx="6202">
                  <c:v>0.64508928571428603</c:v>
                </c:pt>
                <c:pt idx="6203">
                  <c:v>0.64521739130434796</c:v>
                </c:pt>
                <c:pt idx="6204">
                  <c:v>0.64529058116232496</c:v>
                </c:pt>
                <c:pt idx="6205">
                  <c:v>0.64543889845094604</c:v>
                </c:pt>
                <c:pt idx="6206">
                  <c:v>0.645569620253164</c:v>
                </c:pt>
                <c:pt idx="6207">
                  <c:v>0.645569620253164</c:v>
                </c:pt>
                <c:pt idx="6208">
                  <c:v>0.64583333333333304</c:v>
                </c:pt>
                <c:pt idx="6209">
                  <c:v>0.64583333333333304</c:v>
                </c:pt>
                <c:pt idx="6210">
                  <c:v>0.64583333333333304</c:v>
                </c:pt>
                <c:pt idx="6211">
                  <c:v>0.64612676056338003</c:v>
                </c:pt>
                <c:pt idx="6212">
                  <c:v>0.64615384615384597</c:v>
                </c:pt>
                <c:pt idx="6213">
                  <c:v>0.64634692962796902</c:v>
                </c:pt>
                <c:pt idx="6214">
                  <c:v>0.64635010630758305</c:v>
                </c:pt>
                <c:pt idx="6215">
                  <c:v>0.64649681528662395</c:v>
                </c:pt>
                <c:pt idx="6216">
                  <c:v>0.64661654135338298</c:v>
                </c:pt>
                <c:pt idx="6217">
                  <c:v>0.64671410632063597</c:v>
                </c:pt>
                <c:pt idx="6218">
                  <c:v>0.64689265536723195</c:v>
                </c:pt>
                <c:pt idx="6219">
                  <c:v>0.64690026954177904</c:v>
                </c:pt>
                <c:pt idx="6220">
                  <c:v>0.64694280078895505</c:v>
                </c:pt>
                <c:pt idx="6221">
                  <c:v>0.64697609001406498</c:v>
                </c:pt>
                <c:pt idx="6222">
                  <c:v>0.64705882352941202</c:v>
                </c:pt>
                <c:pt idx="6223">
                  <c:v>0.64705882352941202</c:v>
                </c:pt>
                <c:pt idx="6224">
                  <c:v>0.64705882352941202</c:v>
                </c:pt>
                <c:pt idx="6225">
                  <c:v>0.64708785784797596</c:v>
                </c:pt>
                <c:pt idx="6226">
                  <c:v>0.64715447154471495</c:v>
                </c:pt>
                <c:pt idx="6227">
                  <c:v>0.64720705585888305</c:v>
                </c:pt>
                <c:pt idx="6228">
                  <c:v>0.64726631393298095</c:v>
                </c:pt>
                <c:pt idx="6229">
                  <c:v>0.647272727272727</c:v>
                </c:pt>
                <c:pt idx="6230">
                  <c:v>0.64732142857142905</c:v>
                </c:pt>
                <c:pt idx="6231">
                  <c:v>0.64736842105263104</c:v>
                </c:pt>
                <c:pt idx="6232">
                  <c:v>0.64739884393063596</c:v>
                </c:pt>
                <c:pt idx="6233">
                  <c:v>0.64757709251101303</c:v>
                </c:pt>
                <c:pt idx="6234">
                  <c:v>0.64761904761904798</c:v>
                </c:pt>
                <c:pt idx="6235">
                  <c:v>0.64777327935222695</c:v>
                </c:pt>
                <c:pt idx="6236">
                  <c:v>0.64779161947904895</c:v>
                </c:pt>
                <c:pt idx="6237">
                  <c:v>0.64814814814814803</c:v>
                </c:pt>
                <c:pt idx="6238">
                  <c:v>0.64815549385164595</c:v>
                </c:pt>
                <c:pt idx="6239">
                  <c:v>0.64818024263431495</c:v>
                </c:pt>
                <c:pt idx="6240">
                  <c:v>0.64823717948717896</c:v>
                </c:pt>
                <c:pt idx="6241">
                  <c:v>0.64826175869120595</c:v>
                </c:pt>
                <c:pt idx="6242">
                  <c:v>0.64831261101243298</c:v>
                </c:pt>
                <c:pt idx="6243">
                  <c:v>0.64855072463768104</c:v>
                </c:pt>
                <c:pt idx="6244">
                  <c:v>0.64858199753390899</c:v>
                </c:pt>
                <c:pt idx="6245">
                  <c:v>0.64864864864864902</c:v>
                </c:pt>
                <c:pt idx="6246">
                  <c:v>0.64864864864864902</c:v>
                </c:pt>
                <c:pt idx="6247">
                  <c:v>0.64864864864864902</c:v>
                </c:pt>
                <c:pt idx="6248">
                  <c:v>0.64885496183206104</c:v>
                </c:pt>
                <c:pt idx="6249">
                  <c:v>0.64889336016096599</c:v>
                </c:pt>
                <c:pt idx="6250">
                  <c:v>0.64892344497607601</c:v>
                </c:pt>
                <c:pt idx="6251">
                  <c:v>0.64935064935064901</c:v>
                </c:pt>
                <c:pt idx="6252">
                  <c:v>0.64953040039545196</c:v>
                </c:pt>
                <c:pt idx="6253">
                  <c:v>0.64957264957264904</c:v>
                </c:pt>
                <c:pt idx="6254">
                  <c:v>0.64965986394557795</c:v>
                </c:pt>
                <c:pt idx="6255">
                  <c:v>0.64972320080523405</c:v>
                </c:pt>
                <c:pt idx="6256">
                  <c:v>0.65005417118093201</c:v>
                </c:pt>
                <c:pt idx="6257">
                  <c:v>0.65026246719160097</c:v>
                </c:pt>
                <c:pt idx="6258">
                  <c:v>0.65034965034964998</c:v>
                </c:pt>
                <c:pt idx="6259">
                  <c:v>0.65048543689320404</c:v>
                </c:pt>
                <c:pt idx="6260">
                  <c:v>0.65053763440860202</c:v>
                </c:pt>
                <c:pt idx="6261">
                  <c:v>0.65087908144958695</c:v>
                </c:pt>
                <c:pt idx="6262">
                  <c:v>0.65087956698240901</c:v>
                </c:pt>
                <c:pt idx="6263">
                  <c:v>0.65121951219512197</c:v>
                </c:pt>
                <c:pt idx="6264">
                  <c:v>0.65135135135135103</c:v>
                </c:pt>
                <c:pt idx="6265">
                  <c:v>0.65155131264916499</c:v>
                </c:pt>
                <c:pt idx="6266">
                  <c:v>0.65161290322580601</c:v>
                </c:pt>
                <c:pt idx="6267">
                  <c:v>0.65163934426229497</c:v>
                </c:pt>
                <c:pt idx="6268">
                  <c:v>0.65172855313700395</c:v>
                </c:pt>
                <c:pt idx="6269">
                  <c:v>0.65179856115107904</c:v>
                </c:pt>
                <c:pt idx="6270">
                  <c:v>0.65182186234817796</c:v>
                </c:pt>
                <c:pt idx="6271">
                  <c:v>0.65200000000000002</c:v>
                </c:pt>
                <c:pt idx="6272">
                  <c:v>0.65207373271889402</c:v>
                </c:pt>
                <c:pt idx="6273">
                  <c:v>0.65217391304347805</c:v>
                </c:pt>
                <c:pt idx="6274">
                  <c:v>0.65223399355135903</c:v>
                </c:pt>
                <c:pt idx="6275">
                  <c:v>0.65232304334268798</c:v>
                </c:pt>
                <c:pt idx="6276">
                  <c:v>0.65250236071765799</c:v>
                </c:pt>
                <c:pt idx="6277">
                  <c:v>0.65271493212669696</c:v>
                </c:pt>
                <c:pt idx="6278">
                  <c:v>0.65282392026578095</c:v>
                </c:pt>
                <c:pt idx="6279">
                  <c:v>0.65321477428180597</c:v>
                </c:pt>
                <c:pt idx="6280">
                  <c:v>0.65335051546391698</c:v>
                </c:pt>
                <c:pt idx="6281">
                  <c:v>0.65337423312883403</c:v>
                </c:pt>
                <c:pt idx="6282">
                  <c:v>0.65347885402455697</c:v>
                </c:pt>
                <c:pt idx="6283">
                  <c:v>0.65357142857142803</c:v>
                </c:pt>
                <c:pt idx="6284">
                  <c:v>0.65384615384615397</c:v>
                </c:pt>
                <c:pt idx="6285">
                  <c:v>0.65384615384615397</c:v>
                </c:pt>
                <c:pt idx="6286">
                  <c:v>0.65384615384615397</c:v>
                </c:pt>
                <c:pt idx="6287">
                  <c:v>0.65415244596132005</c:v>
                </c:pt>
                <c:pt idx="6288">
                  <c:v>0.654292343387471</c:v>
                </c:pt>
                <c:pt idx="6289">
                  <c:v>0.65432098765432101</c:v>
                </c:pt>
                <c:pt idx="6290">
                  <c:v>0.65440115440115398</c:v>
                </c:pt>
                <c:pt idx="6291">
                  <c:v>0.65445026178010501</c:v>
                </c:pt>
                <c:pt idx="6292">
                  <c:v>0.65467625899280601</c:v>
                </c:pt>
                <c:pt idx="6293">
                  <c:v>0.65482233502538101</c:v>
                </c:pt>
                <c:pt idx="6294">
                  <c:v>0.65486725663716805</c:v>
                </c:pt>
                <c:pt idx="6295">
                  <c:v>0.65490196078431395</c:v>
                </c:pt>
                <c:pt idx="6296">
                  <c:v>0.65492957746478897</c:v>
                </c:pt>
                <c:pt idx="6297">
                  <c:v>0.65495867768594995</c:v>
                </c:pt>
                <c:pt idx="6298">
                  <c:v>0.65503875968992198</c:v>
                </c:pt>
                <c:pt idx="6299">
                  <c:v>0.65536277602523696</c:v>
                </c:pt>
                <c:pt idx="6300">
                  <c:v>0.65551839464882899</c:v>
                </c:pt>
                <c:pt idx="6301">
                  <c:v>0.65553235908142005</c:v>
                </c:pt>
                <c:pt idx="6302">
                  <c:v>0.65556076959174103</c:v>
                </c:pt>
                <c:pt idx="6303">
                  <c:v>0.65578231292516997</c:v>
                </c:pt>
                <c:pt idx="6304">
                  <c:v>0.65613382899628203</c:v>
                </c:pt>
                <c:pt idx="6305">
                  <c:v>0.65621079046424102</c:v>
                </c:pt>
                <c:pt idx="6306">
                  <c:v>0.65625</c:v>
                </c:pt>
                <c:pt idx="6307">
                  <c:v>0.65671641791044799</c:v>
                </c:pt>
                <c:pt idx="6308">
                  <c:v>0.65678627145085799</c:v>
                </c:pt>
                <c:pt idx="6309">
                  <c:v>0.65680473372781101</c:v>
                </c:pt>
                <c:pt idx="6310">
                  <c:v>0.65688073394495405</c:v>
                </c:pt>
                <c:pt idx="6311">
                  <c:v>0.65690376569037601</c:v>
                </c:pt>
                <c:pt idx="6312">
                  <c:v>0.65700483091787398</c:v>
                </c:pt>
                <c:pt idx="6313">
                  <c:v>0.65710616438356195</c:v>
                </c:pt>
                <c:pt idx="6314">
                  <c:v>0.65712713263621303</c:v>
                </c:pt>
                <c:pt idx="6315">
                  <c:v>0.65714285714285703</c:v>
                </c:pt>
                <c:pt idx="6316">
                  <c:v>0.65714285714285703</c:v>
                </c:pt>
                <c:pt idx="6317">
                  <c:v>0.65714285714285703</c:v>
                </c:pt>
                <c:pt idx="6318">
                  <c:v>0.65723793677204601</c:v>
                </c:pt>
                <c:pt idx="6319">
                  <c:v>0.65728900255754497</c:v>
                </c:pt>
                <c:pt idx="6320">
                  <c:v>0.65728900255754497</c:v>
                </c:pt>
                <c:pt idx="6321">
                  <c:v>0.65733540694660397</c:v>
                </c:pt>
                <c:pt idx="6322">
                  <c:v>0.65734265734265696</c:v>
                </c:pt>
                <c:pt idx="6323">
                  <c:v>0.65764705882352903</c:v>
                </c:pt>
                <c:pt idx="6324">
                  <c:v>0.65779467680608406</c:v>
                </c:pt>
                <c:pt idx="6325">
                  <c:v>0.65789473684210498</c:v>
                </c:pt>
                <c:pt idx="6326">
                  <c:v>0.65801253357206801</c:v>
                </c:pt>
                <c:pt idx="6327">
                  <c:v>0.658227848101266</c:v>
                </c:pt>
                <c:pt idx="6328">
                  <c:v>0.658385093167702</c:v>
                </c:pt>
                <c:pt idx="6329">
                  <c:v>0.658496732026144</c:v>
                </c:pt>
                <c:pt idx="6330">
                  <c:v>0.65878378378378399</c:v>
                </c:pt>
                <c:pt idx="6331">
                  <c:v>0.65898617511520696</c:v>
                </c:pt>
                <c:pt idx="6332">
                  <c:v>0.65947611710323595</c:v>
                </c:pt>
                <c:pt idx="6333">
                  <c:v>0.65952380952380896</c:v>
                </c:pt>
                <c:pt idx="6334">
                  <c:v>0.659574468085106</c:v>
                </c:pt>
                <c:pt idx="6335">
                  <c:v>0.659574468085106</c:v>
                </c:pt>
                <c:pt idx="6336">
                  <c:v>0.65959498553519802</c:v>
                </c:pt>
                <c:pt idx="6337">
                  <c:v>0.65970961887477297</c:v>
                </c:pt>
                <c:pt idx="6338">
                  <c:v>0.65971187282662702</c:v>
                </c:pt>
                <c:pt idx="6339">
                  <c:v>0.65972222222222199</c:v>
                </c:pt>
                <c:pt idx="6340">
                  <c:v>0.65991902834008098</c:v>
                </c:pt>
                <c:pt idx="6341">
                  <c:v>0.66019417475728104</c:v>
                </c:pt>
                <c:pt idx="6342">
                  <c:v>0.66021765417170497</c:v>
                </c:pt>
                <c:pt idx="6343">
                  <c:v>0.660377358490566</c:v>
                </c:pt>
                <c:pt idx="6344">
                  <c:v>0.660377358490566</c:v>
                </c:pt>
                <c:pt idx="6345">
                  <c:v>0.66071428571428603</c:v>
                </c:pt>
                <c:pt idx="6346">
                  <c:v>0.66086956521739104</c:v>
                </c:pt>
                <c:pt idx="6347">
                  <c:v>0.66089613034623196</c:v>
                </c:pt>
                <c:pt idx="6348">
                  <c:v>0.66096256684492005</c:v>
                </c:pt>
                <c:pt idx="6349">
                  <c:v>0.66101694915254205</c:v>
                </c:pt>
                <c:pt idx="6350">
                  <c:v>0.66101694915254205</c:v>
                </c:pt>
                <c:pt idx="6351">
                  <c:v>0.66129032258064502</c:v>
                </c:pt>
                <c:pt idx="6352">
                  <c:v>0.66145181476846004</c:v>
                </c:pt>
                <c:pt idx="6353">
                  <c:v>0.66159695817490505</c:v>
                </c:pt>
                <c:pt idx="6354">
                  <c:v>0.66162065894924305</c:v>
                </c:pt>
                <c:pt idx="6355">
                  <c:v>0.66165413533834605</c:v>
                </c:pt>
                <c:pt idx="6356">
                  <c:v>0.66176470588235303</c:v>
                </c:pt>
                <c:pt idx="6357">
                  <c:v>0.66193181818181801</c:v>
                </c:pt>
                <c:pt idx="6358">
                  <c:v>0.66206896551724104</c:v>
                </c:pt>
                <c:pt idx="6359">
                  <c:v>0.66209262435677496</c:v>
                </c:pt>
                <c:pt idx="6360">
                  <c:v>0.66216216216216195</c:v>
                </c:pt>
                <c:pt idx="6361">
                  <c:v>0.66216216216216195</c:v>
                </c:pt>
                <c:pt idx="6362">
                  <c:v>0.66249999999999998</c:v>
                </c:pt>
                <c:pt idx="6363">
                  <c:v>0.66265060240963802</c:v>
                </c:pt>
                <c:pt idx="6364">
                  <c:v>0.66292134831460703</c:v>
                </c:pt>
                <c:pt idx="6365">
                  <c:v>0.66292134831460703</c:v>
                </c:pt>
                <c:pt idx="6366">
                  <c:v>0.66334991708126001</c:v>
                </c:pt>
                <c:pt idx="6367">
                  <c:v>0.66363636363636402</c:v>
                </c:pt>
                <c:pt idx="6368">
                  <c:v>0.66371681415929196</c:v>
                </c:pt>
                <c:pt idx="6369">
                  <c:v>0.66371681415929196</c:v>
                </c:pt>
                <c:pt idx="6370">
                  <c:v>0.66379310344827602</c:v>
                </c:pt>
                <c:pt idx="6371">
                  <c:v>0.66390728476821204</c:v>
                </c:pt>
                <c:pt idx="6372">
                  <c:v>0.66393442622950805</c:v>
                </c:pt>
                <c:pt idx="6373">
                  <c:v>0.66393442622950805</c:v>
                </c:pt>
                <c:pt idx="6374">
                  <c:v>0.66394557823129197</c:v>
                </c:pt>
                <c:pt idx="6375">
                  <c:v>0.66406858924395895</c:v>
                </c:pt>
                <c:pt idx="6376">
                  <c:v>0.66407119021134597</c:v>
                </c:pt>
                <c:pt idx="6377">
                  <c:v>0.66424682395644297</c:v>
                </c:pt>
                <c:pt idx="6378">
                  <c:v>0.66424986056887902</c:v>
                </c:pt>
                <c:pt idx="6379">
                  <c:v>0.66453162530024001</c:v>
                </c:pt>
                <c:pt idx="6380">
                  <c:v>0.66456692913385795</c:v>
                </c:pt>
                <c:pt idx="6381">
                  <c:v>0.66469719350073797</c:v>
                </c:pt>
                <c:pt idx="6382">
                  <c:v>0.66507177033492804</c:v>
                </c:pt>
                <c:pt idx="6383">
                  <c:v>0.66512702078521901</c:v>
                </c:pt>
                <c:pt idx="6384">
                  <c:v>0.66558616963803297</c:v>
                </c:pt>
                <c:pt idx="6385">
                  <c:v>0.66580811332904</c:v>
                </c:pt>
                <c:pt idx="6386">
                  <c:v>0.66585956416464898</c:v>
                </c:pt>
                <c:pt idx="6387">
                  <c:v>0.66648501362397805</c:v>
                </c:pt>
                <c:pt idx="6388">
                  <c:v>0.66666666666666696</c:v>
                </c:pt>
                <c:pt idx="6389">
                  <c:v>0.66666666666666696</c:v>
                </c:pt>
                <c:pt idx="6390">
                  <c:v>0.66666666666666696</c:v>
                </c:pt>
                <c:pt idx="6391">
                  <c:v>0.66666666666666696</c:v>
                </c:pt>
                <c:pt idx="6392">
                  <c:v>0.66666666666666696</c:v>
                </c:pt>
                <c:pt idx="6393">
                  <c:v>0.66666666666666696</c:v>
                </c:pt>
                <c:pt idx="6394">
                  <c:v>0.66666666666666696</c:v>
                </c:pt>
                <c:pt idx="6395">
                  <c:v>0.66666666666666696</c:v>
                </c:pt>
                <c:pt idx="6396">
                  <c:v>0.66666666666666696</c:v>
                </c:pt>
                <c:pt idx="6397">
                  <c:v>0.66666666666666696</c:v>
                </c:pt>
                <c:pt idx="6398">
                  <c:v>0.66680851063829805</c:v>
                </c:pt>
                <c:pt idx="6399">
                  <c:v>0.66702014846235402</c:v>
                </c:pt>
                <c:pt idx="6400">
                  <c:v>0.66717791411042904</c:v>
                </c:pt>
                <c:pt idx="6401">
                  <c:v>0.66727941176470595</c:v>
                </c:pt>
                <c:pt idx="6402">
                  <c:v>0.66731016731016701</c:v>
                </c:pt>
                <c:pt idx="6403">
                  <c:v>0.66738197424892698</c:v>
                </c:pt>
                <c:pt idx="6404">
                  <c:v>0.66748869708179204</c:v>
                </c:pt>
                <c:pt idx="6405">
                  <c:v>0.66752577319587603</c:v>
                </c:pt>
                <c:pt idx="6406">
                  <c:v>0.66771159874608099</c:v>
                </c:pt>
                <c:pt idx="6407">
                  <c:v>0.66776315789473695</c:v>
                </c:pt>
                <c:pt idx="6408">
                  <c:v>0.66785714285714304</c:v>
                </c:pt>
                <c:pt idx="6409">
                  <c:v>0.66785714285714304</c:v>
                </c:pt>
                <c:pt idx="6410">
                  <c:v>0.66794380587484004</c:v>
                </c:pt>
                <c:pt idx="6411">
                  <c:v>0.66831683168316802</c:v>
                </c:pt>
                <c:pt idx="6412">
                  <c:v>0.66842800528401602</c:v>
                </c:pt>
                <c:pt idx="6413">
                  <c:v>0.66864445458694599</c:v>
                </c:pt>
                <c:pt idx="6414">
                  <c:v>0.66873065015479904</c:v>
                </c:pt>
                <c:pt idx="6415">
                  <c:v>0.66887417218542999</c:v>
                </c:pt>
                <c:pt idx="6416">
                  <c:v>0.66887417218542999</c:v>
                </c:pt>
                <c:pt idx="6417">
                  <c:v>0.66923076923076896</c:v>
                </c:pt>
                <c:pt idx="6418">
                  <c:v>0.669550173010381</c:v>
                </c:pt>
                <c:pt idx="6419">
                  <c:v>0.66955579631635997</c:v>
                </c:pt>
                <c:pt idx="6420">
                  <c:v>0.66969147005444596</c:v>
                </c:pt>
                <c:pt idx="6421">
                  <c:v>0.66972477064220204</c:v>
                </c:pt>
                <c:pt idx="6422">
                  <c:v>0.66972477064220204</c:v>
                </c:pt>
                <c:pt idx="6423">
                  <c:v>0.66978922716627598</c:v>
                </c:pt>
                <c:pt idx="6424">
                  <c:v>0.67001675041875997</c:v>
                </c:pt>
                <c:pt idx="6425">
                  <c:v>0.67007672634271098</c:v>
                </c:pt>
                <c:pt idx="6426">
                  <c:v>0.67015706806282704</c:v>
                </c:pt>
                <c:pt idx="6427">
                  <c:v>0.67028985507246397</c:v>
                </c:pt>
                <c:pt idx="6428">
                  <c:v>0.670324189526184</c:v>
                </c:pt>
                <c:pt idx="6429">
                  <c:v>0.67065868263473005</c:v>
                </c:pt>
                <c:pt idx="6430">
                  <c:v>0.67070217917675501</c:v>
                </c:pt>
                <c:pt idx="6431">
                  <c:v>0.67085427135678399</c:v>
                </c:pt>
                <c:pt idx="6432">
                  <c:v>0.670886075949367</c:v>
                </c:pt>
                <c:pt idx="6433">
                  <c:v>0.670886075949367</c:v>
                </c:pt>
                <c:pt idx="6434">
                  <c:v>0.67097701149425304</c:v>
                </c:pt>
                <c:pt idx="6435">
                  <c:v>0.67097966728281</c:v>
                </c:pt>
                <c:pt idx="6436">
                  <c:v>0.67105263157894701</c:v>
                </c:pt>
                <c:pt idx="6437">
                  <c:v>0.67117117117117098</c:v>
                </c:pt>
                <c:pt idx="6438">
                  <c:v>0.67123287671232901</c:v>
                </c:pt>
                <c:pt idx="6439">
                  <c:v>0.67132116004296505</c:v>
                </c:pt>
                <c:pt idx="6440">
                  <c:v>0.67136150234741798</c:v>
                </c:pt>
                <c:pt idx="6441">
                  <c:v>0.67147335423197496</c:v>
                </c:pt>
                <c:pt idx="6442">
                  <c:v>0.67150170648464202</c:v>
                </c:pt>
                <c:pt idx="6443">
                  <c:v>0.67159090909090902</c:v>
                </c:pt>
                <c:pt idx="6444">
                  <c:v>0.67167381974248896</c:v>
                </c:pt>
                <c:pt idx="6445">
                  <c:v>0.67173252279635198</c:v>
                </c:pt>
                <c:pt idx="6446">
                  <c:v>0.671772428884026</c:v>
                </c:pt>
                <c:pt idx="6447">
                  <c:v>0.67184035476718396</c:v>
                </c:pt>
                <c:pt idx="6448">
                  <c:v>0.671875</c:v>
                </c:pt>
                <c:pt idx="6449">
                  <c:v>0.67219291635267497</c:v>
                </c:pt>
                <c:pt idx="6450">
                  <c:v>0.67224080267558495</c:v>
                </c:pt>
                <c:pt idx="6451">
                  <c:v>0.67241379310344795</c:v>
                </c:pt>
                <c:pt idx="6452">
                  <c:v>0.67263843648208499</c:v>
                </c:pt>
                <c:pt idx="6453">
                  <c:v>0.67268041237113396</c:v>
                </c:pt>
                <c:pt idx="6454">
                  <c:v>0.67274233637116798</c:v>
                </c:pt>
                <c:pt idx="6455">
                  <c:v>0.67277167277167305</c:v>
                </c:pt>
                <c:pt idx="6456">
                  <c:v>0.67285382830626395</c:v>
                </c:pt>
                <c:pt idx="6457">
                  <c:v>0.67285714285714304</c:v>
                </c:pt>
                <c:pt idx="6458">
                  <c:v>0.67320261437908502</c:v>
                </c:pt>
                <c:pt idx="6459">
                  <c:v>0.67343750000000002</c:v>
                </c:pt>
                <c:pt idx="6460">
                  <c:v>0.67346938775510201</c:v>
                </c:pt>
                <c:pt idx="6461">
                  <c:v>0.67350037965072096</c:v>
                </c:pt>
                <c:pt idx="6462">
                  <c:v>0.67361111111111105</c:v>
                </c:pt>
                <c:pt idx="6463">
                  <c:v>0.673684210526316</c:v>
                </c:pt>
                <c:pt idx="6464">
                  <c:v>0.673684210526316</c:v>
                </c:pt>
                <c:pt idx="6465">
                  <c:v>0.67375886524822703</c:v>
                </c:pt>
                <c:pt idx="6466">
                  <c:v>0.67377049180327897</c:v>
                </c:pt>
                <c:pt idx="6467">
                  <c:v>0.67377398720682302</c:v>
                </c:pt>
                <c:pt idx="6468">
                  <c:v>0.67380952380952397</c:v>
                </c:pt>
                <c:pt idx="6469">
                  <c:v>0.67391304347826098</c:v>
                </c:pt>
                <c:pt idx="6470">
                  <c:v>0.67391304347826098</c:v>
                </c:pt>
                <c:pt idx="6471">
                  <c:v>0.67424242424242398</c:v>
                </c:pt>
                <c:pt idx="6472">
                  <c:v>0.67435158501440895</c:v>
                </c:pt>
                <c:pt idx="6473">
                  <c:v>0.67441860465116299</c:v>
                </c:pt>
                <c:pt idx="6474">
                  <c:v>0.67460317460317498</c:v>
                </c:pt>
                <c:pt idx="6475">
                  <c:v>0.67477203647416395</c:v>
                </c:pt>
                <c:pt idx="6476">
                  <c:v>0.67505470459518602</c:v>
                </c:pt>
                <c:pt idx="6477">
                  <c:v>0.67532467532467499</c:v>
                </c:pt>
                <c:pt idx="6478">
                  <c:v>0.67549668874172197</c:v>
                </c:pt>
                <c:pt idx="6479">
                  <c:v>0.67553191489361697</c:v>
                </c:pt>
                <c:pt idx="6480">
                  <c:v>0.67567567567567599</c:v>
                </c:pt>
                <c:pt idx="6481">
                  <c:v>0.67567567567567599</c:v>
                </c:pt>
                <c:pt idx="6482">
                  <c:v>0.675757575757576</c:v>
                </c:pt>
                <c:pt idx="6483">
                  <c:v>0.67590027700831001</c:v>
                </c:pt>
                <c:pt idx="6484">
                  <c:v>0.67592592592592604</c:v>
                </c:pt>
                <c:pt idx="6485">
                  <c:v>0.67600000000000005</c:v>
                </c:pt>
                <c:pt idx="6486">
                  <c:v>0.67609427609427597</c:v>
                </c:pt>
                <c:pt idx="6487">
                  <c:v>0.67612903225806398</c:v>
                </c:pt>
                <c:pt idx="6488">
                  <c:v>0.67622950819672101</c:v>
                </c:pt>
                <c:pt idx="6489">
                  <c:v>0.67629482071713098</c:v>
                </c:pt>
                <c:pt idx="6490">
                  <c:v>0.67659574468085104</c:v>
                </c:pt>
                <c:pt idx="6491">
                  <c:v>0.67669172932330801</c:v>
                </c:pt>
                <c:pt idx="6492">
                  <c:v>0.67680608365019002</c:v>
                </c:pt>
                <c:pt idx="6493">
                  <c:v>0.67692307692307696</c:v>
                </c:pt>
                <c:pt idx="6494">
                  <c:v>0.67695961995249399</c:v>
                </c:pt>
                <c:pt idx="6495">
                  <c:v>0.67699938003719795</c:v>
                </c:pt>
                <c:pt idx="6496">
                  <c:v>0.67711598746081503</c:v>
                </c:pt>
                <c:pt idx="6497">
                  <c:v>0.677215189873418</c:v>
                </c:pt>
                <c:pt idx="6498">
                  <c:v>0.677215189873418</c:v>
                </c:pt>
                <c:pt idx="6499">
                  <c:v>0.67727272727272703</c:v>
                </c:pt>
                <c:pt idx="6500">
                  <c:v>0.67736883320281904</c:v>
                </c:pt>
                <c:pt idx="6501">
                  <c:v>0.67741935483870996</c:v>
                </c:pt>
                <c:pt idx="6502">
                  <c:v>0.67741935483870996</c:v>
                </c:pt>
                <c:pt idx="6503">
                  <c:v>0.67745664739884404</c:v>
                </c:pt>
                <c:pt idx="6504">
                  <c:v>0.67757774140752902</c:v>
                </c:pt>
                <c:pt idx="6505">
                  <c:v>0.67758846657929195</c:v>
                </c:pt>
                <c:pt idx="6506">
                  <c:v>0.67777777777777803</c:v>
                </c:pt>
                <c:pt idx="6507">
                  <c:v>0.67779390420899799</c:v>
                </c:pt>
                <c:pt idx="6508">
                  <c:v>0.678181818181818</c:v>
                </c:pt>
                <c:pt idx="6509">
                  <c:v>0.67857142857142905</c:v>
                </c:pt>
                <c:pt idx="6510">
                  <c:v>0.67857142857142905</c:v>
                </c:pt>
                <c:pt idx="6511">
                  <c:v>0.67864271457085801</c:v>
                </c:pt>
                <c:pt idx="6512">
                  <c:v>0.67897727272727304</c:v>
                </c:pt>
                <c:pt idx="6513">
                  <c:v>0.67915309446254102</c:v>
                </c:pt>
                <c:pt idx="6514">
                  <c:v>0.67930125247198403</c:v>
                </c:pt>
                <c:pt idx="6515">
                  <c:v>0.67930489731437604</c:v>
                </c:pt>
                <c:pt idx="6516">
                  <c:v>0.67932489451476796</c:v>
                </c:pt>
                <c:pt idx="6517">
                  <c:v>0.67952249770431605</c:v>
                </c:pt>
                <c:pt idx="6518">
                  <c:v>0.68011527377521597</c:v>
                </c:pt>
                <c:pt idx="6519">
                  <c:v>0.68032786885245899</c:v>
                </c:pt>
                <c:pt idx="6520">
                  <c:v>0.680851063829787</c:v>
                </c:pt>
                <c:pt idx="6521">
                  <c:v>0.68112244897959195</c:v>
                </c:pt>
                <c:pt idx="6522">
                  <c:v>0.68135593220338997</c:v>
                </c:pt>
                <c:pt idx="6523">
                  <c:v>0.68136272545090204</c:v>
                </c:pt>
                <c:pt idx="6524">
                  <c:v>0.68152866242038201</c:v>
                </c:pt>
                <c:pt idx="6525">
                  <c:v>0.68156424581005604</c:v>
                </c:pt>
                <c:pt idx="6526">
                  <c:v>0.68171021377672203</c:v>
                </c:pt>
                <c:pt idx="6527">
                  <c:v>0.68181818181818199</c:v>
                </c:pt>
                <c:pt idx="6528">
                  <c:v>0.68221734357848496</c:v>
                </c:pt>
                <c:pt idx="6529">
                  <c:v>0.68243243243243201</c:v>
                </c:pt>
                <c:pt idx="6530">
                  <c:v>0.68263473053892199</c:v>
                </c:pt>
                <c:pt idx="6531">
                  <c:v>0.68275862068965498</c:v>
                </c:pt>
                <c:pt idx="6532">
                  <c:v>0.68276473194506004</c:v>
                </c:pt>
                <c:pt idx="6533">
                  <c:v>0.68320278503046095</c:v>
                </c:pt>
                <c:pt idx="6534">
                  <c:v>0.68322981366459601</c:v>
                </c:pt>
                <c:pt idx="6535">
                  <c:v>0.68351648351648298</c:v>
                </c:pt>
                <c:pt idx="6536">
                  <c:v>0.68352490421455903</c:v>
                </c:pt>
                <c:pt idx="6537">
                  <c:v>0.68358038768529095</c:v>
                </c:pt>
                <c:pt idx="6538">
                  <c:v>0.683760683760684</c:v>
                </c:pt>
                <c:pt idx="6539">
                  <c:v>0.68380743982494496</c:v>
                </c:pt>
                <c:pt idx="6540">
                  <c:v>0.68390804597701105</c:v>
                </c:pt>
                <c:pt idx="6541">
                  <c:v>0.68404588112617304</c:v>
                </c:pt>
                <c:pt idx="6542">
                  <c:v>0.68415051311288499</c:v>
                </c:pt>
                <c:pt idx="6543">
                  <c:v>0.68421052631578905</c:v>
                </c:pt>
                <c:pt idx="6544">
                  <c:v>0.68421052631578905</c:v>
                </c:pt>
                <c:pt idx="6545">
                  <c:v>0.68437499999999996</c:v>
                </c:pt>
                <c:pt idx="6546">
                  <c:v>0.68437664387164598</c:v>
                </c:pt>
                <c:pt idx="6547">
                  <c:v>0.68460388639760805</c:v>
                </c:pt>
                <c:pt idx="6548">
                  <c:v>0.68498942917547601</c:v>
                </c:pt>
                <c:pt idx="6549">
                  <c:v>0.68501529051987797</c:v>
                </c:pt>
                <c:pt idx="6550">
                  <c:v>0.685053380782918</c:v>
                </c:pt>
                <c:pt idx="6551">
                  <c:v>0.685144124168514</c:v>
                </c:pt>
                <c:pt idx="6552">
                  <c:v>0.68518518518518501</c:v>
                </c:pt>
                <c:pt idx="6553">
                  <c:v>0.68541905855338703</c:v>
                </c:pt>
                <c:pt idx="6554">
                  <c:v>0.68550034036759699</c:v>
                </c:pt>
                <c:pt idx="6555">
                  <c:v>0.68576709796672797</c:v>
                </c:pt>
                <c:pt idx="6556">
                  <c:v>0.68589743589743601</c:v>
                </c:pt>
                <c:pt idx="6557">
                  <c:v>0.68593955321944799</c:v>
                </c:pt>
                <c:pt idx="6558">
                  <c:v>0.68601437258153697</c:v>
                </c:pt>
                <c:pt idx="6559">
                  <c:v>0.68604651162790697</c:v>
                </c:pt>
                <c:pt idx="6560">
                  <c:v>0.68617472434266302</c:v>
                </c:pt>
                <c:pt idx="6561">
                  <c:v>0.68636911942098899</c:v>
                </c:pt>
                <c:pt idx="6562">
                  <c:v>0.686795994993742</c:v>
                </c:pt>
                <c:pt idx="6563">
                  <c:v>0.68687500000000001</c:v>
                </c:pt>
                <c:pt idx="6564">
                  <c:v>0.68698347107437996</c:v>
                </c:pt>
                <c:pt idx="6565">
                  <c:v>0.68700959023539698</c:v>
                </c:pt>
                <c:pt idx="6566">
                  <c:v>0.68714011516314799</c:v>
                </c:pt>
                <c:pt idx="6567">
                  <c:v>0.68716577540106905</c:v>
                </c:pt>
                <c:pt idx="6568">
                  <c:v>0.687306501547988</c:v>
                </c:pt>
                <c:pt idx="6569">
                  <c:v>0.68741633199464502</c:v>
                </c:pt>
                <c:pt idx="6570">
                  <c:v>0.6875</c:v>
                </c:pt>
                <c:pt idx="6571">
                  <c:v>0.6875</c:v>
                </c:pt>
                <c:pt idx="6572">
                  <c:v>0.68786127167630096</c:v>
                </c:pt>
                <c:pt idx="6573">
                  <c:v>0.68788598574821802</c:v>
                </c:pt>
                <c:pt idx="6574">
                  <c:v>0.687906371911573</c:v>
                </c:pt>
                <c:pt idx="6575">
                  <c:v>0.68810289389067503</c:v>
                </c:pt>
                <c:pt idx="6576">
                  <c:v>0.68813131313131304</c:v>
                </c:pt>
                <c:pt idx="6577">
                  <c:v>0.68844984802431597</c:v>
                </c:pt>
                <c:pt idx="6578">
                  <c:v>0.68852459016393397</c:v>
                </c:pt>
                <c:pt idx="6579">
                  <c:v>0.68874172185430405</c:v>
                </c:pt>
                <c:pt idx="6580">
                  <c:v>0.68888888888888899</c:v>
                </c:pt>
                <c:pt idx="6581">
                  <c:v>0.68899082568807302</c:v>
                </c:pt>
                <c:pt idx="6582">
                  <c:v>0.68900126422250296</c:v>
                </c:pt>
                <c:pt idx="6583">
                  <c:v>0.68904593639575995</c:v>
                </c:pt>
                <c:pt idx="6584">
                  <c:v>0.68915662650602405</c:v>
                </c:pt>
                <c:pt idx="6585">
                  <c:v>0.68983957219251302</c:v>
                </c:pt>
                <c:pt idx="6586">
                  <c:v>0.68992248062015504</c:v>
                </c:pt>
                <c:pt idx="6587">
                  <c:v>0.68999186330349904</c:v>
                </c:pt>
                <c:pt idx="6588">
                  <c:v>0.69011725293132298</c:v>
                </c:pt>
                <c:pt idx="6589">
                  <c:v>0.69013386217154205</c:v>
                </c:pt>
                <c:pt idx="6590">
                  <c:v>0.69014084507042195</c:v>
                </c:pt>
                <c:pt idx="6591">
                  <c:v>0.69014830508474601</c:v>
                </c:pt>
                <c:pt idx="6592">
                  <c:v>0.69024856596558304</c:v>
                </c:pt>
                <c:pt idx="6593">
                  <c:v>0.69043321299639004</c:v>
                </c:pt>
                <c:pt idx="6594">
                  <c:v>0.69051959890610703</c:v>
                </c:pt>
                <c:pt idx="6595">
                  <c:v>0.69052558782849205</c:v>
                </c:pt>
                <c:pt idx="6596">
                  <c:v>0.69075630252100795</c:v>
                </c:pt>
                <c:pt idx="6597">
                  <c:v>0.69083969465648798</c:v>
                </c:pt>
                <c:pt idx="6598">
                  <c:v>0.69117647058823495</c:v>
                </c:pt>
                <c:pt idx="6599">
                  <c:v>0.69121338912133901</c:v>
                </c:pt>
                <c:pt idx="6600">
                  <c:v>0.69131832797427595</c:v>
                </c:pt>
                <c:pt idx="6601">
                  <c:v>0.69135802469135799</c:v>
                </c:pt>
                <c:pt idx="6602">
                  <c:v>0.69142857142857095</c:v>
                </c:pt>
                <c:pt idx="6603">
                  <c:v>0.69149797570850202</c:v>
                </c:pt>
                <c:pt idx="6604">
                  <c:v>0.69161290322580604</c:v>
                </c:pt>
                <c:pt idx="6605">
                  <c:v>0.69183359013867496</c:v>
                </c:pt>
                <c:pt idx="6606">
                  <c:v>0.69190140845070403</c:v>
                </c:pt>
                <c:pt idx="6607">
                  <c:v>0.69193154034229798</c:v>
                </c:pt>
                <c:pt idx="6608">
                  <c:v>0.69263783426873504</c:v>
                </c:pt>
                <c:pt idx="6609">
                  <c:v>0.69282136894824697</c:v>
                </c:pt>
                <c:pt idx="6610">
                  <c:v>0.69285714285714295</c:v>
                </c:pt>
                <c:pt idx="6611">
                  <c:v>0.69286754002911199</c:v>
                </c:pt>
                <c:pt idx="6612">
                  <c:v>0.69289340101522801</c:v>
                </c:pt>
                <c:pt idx="6613">
                  <c:v>0.69385964912280695</c:v>
                </c:pt>
                <c:pt idx="6614">
                  <c:v>0.69387755102040805</c:v>
                </c:pt>
                <c:pt idx="6615">
                  <c:v>0.69418386491557205</c:v>
                </c:pt>
                <c:pt idx="6616">
                  <c:v>0.69438877755510997</c:v>
                </c:pt>
                <c:pt idx="6617">
                  <c:v>0.69444444444444398</c:v>
                </c:pt>
                <c:pt idx="6618">
                  <c:v>0.69491525423728795</c:v>
                </c:pt>
                <c:pt idx="6619">
                  <c:v>0.69551282051282004</c:v>
                </c:pt>
                <c:pt idx="6620">
                  <c:v>0.69552238805970101</c:v>
                </c:pt>
                <c:pt idx="6621">
                  <c:v>0.69554300062774599</c:v>
                </c:pt>
                <c:pt idx="6622">
                  <c:v>0.69565217391304301</c:v>
                </c:pt>
                <c:pt idx="6623">
                  <c:v>0.69605142332415004</c:v>
                </c:pt>
                <c:pt idx="6624">
                  <c:v>0.69625520110956995</c:v>
                </c:pt>
                <c:pt idx="6625">
                  <c:v>0.69627507163323799</c:v>
                </c:pt>
                <c:pt idx="6626">
                  <c:v>0.69628339140534301</c:v>
                </c:pt>
                <c:pt idx="6627">
                  <c:v>0.69639210347174896</c:v>
                </c:pt>
                <c:pt idx="6628">
                  <c:v>0.69662921348314599</c:v>
                </c:pt>
                <c:pt idx="6629">
                  <c:v>0.696741854636591</c:v>
                </c:pt>
                <c:pt idx="6630">
                  <c:v>0.69717138103161402</c:v>
                </c:pt>
                <c:pt idx="6631">
                  <c:v>0.69738339021615503</c:v>
                </c:pt>
                <c:pt idx="6632">
                  <c:v>0.69752694990488295</c:v>
                </c:pt>
                <c:pt idx="6633">
                  <c:v>0.69758064516129004</c:v>
                </c:pt>
                <c:pt idx="6634">
                  <c:v>0.69759316770186297</c:v>
                </c:pt>
                <c:pt idx="6635">
                  <c:v>0.6976</c:v>
                </c:pt>
                <c:pt idx="6636">
                  <c:v>0.69795221843003397</c:v>
                </c:pt>
                <c:pt idx="6637">
                  <c:v>0.69805194805194803</c:v>
                </c:pt>
                <c:pt idx="6638">
                  <c:v>0.69808743169398901</c:v>
                </c:pt>
                <c:pt idx="6639">
                  <c:v>0.69832402234636903</c:v>
                </c:pt>
                <c:pt idx="6640">
                  <c:v>0.698375870069605</c:v>
                </c:pt>
                <c:pt idx="6641">
                  <c:v>0.69845360824742297</c:v>
                </c:pt>
                <c:pt idx="6642">
                  <c:v>0.69848771266540599</c:v>
                </c:pt>
                <c:pt idx="6643">
                  <c:v>0.69852941176470595</c:v>
                </c:pt>
                <c:pt idx="6644">
                  <c:v>0.69855967078189296</c:v>
                </c:pt>
                <c:pt idx="6645">
                  <c:v>0.69863013698630105</c:v>
                </c:pt>
                <c:pt idx="6646">
                  <c:v>0.69870129870129905</c:v>
                </c:pt>
                <c:pt idx="6647">
                  <c:v>0.69879518072289104</c:v>
                </c:pt>
                <c:pt idx="6648">
                  <c:v>0.69907407407407396</c:v>
                </c:pt>
                <c:pt idx="6649">
                  <c:v>0.69939879759518997</c:v>
                </c:pt>
                <c:pt idx="6650">
                  <c:v>0.69941060903732799</c:v>
                </c:pt>
                <c:pt idx="6651">
                  <c:v>0.69956772334293904</c:v>
                </c:pt>
                <c:pt idx="6652">
                  <c:v>0.69960124058484696</c:v>
                </c:pt>
                <c:pt idx="6653">
                  <c:v>0.69973890339425604</c:v>
                </c:pt>
                <c:pt idx="6654">
                  <c:v>0.69978858350951401</c:v>
                </c:pt>
                <c:pt idx="6655">
                  <c:v>0.7</c:v>
                </c:pt>
                <c:pt idx="6656">
                  <c:v>0.70025463805020005</c:v>
                </c:pt>
                <c:pt idx="6657">
                  <c:v>0.70056497175141197</c:v>
                </c:pt>
                <c:pt idx="6658">
                  <c:v>0.70114543561263398</c:v>
                </c:pt>
                <c:pt idx="6659">
                  <c:v>0.70121951219512202</c:v>
                </c:pt>
                <c:pt idx="6660">
                  <c:v>0.70159078442128398</c:v>
                </c:pt>
                <c:pt idx="6661">
                  <c:v>0.70210526315789501</c:v>
                </c:pt>
                <c:pt idx="6662">
                  <c:v>0.70212765957446799</c:v>
                </c:pt>
                <c:pt idx="6663">
                  <c:v>0.70217917675544805</c:v>
                </c:pt>
                <c:pt idx="6664">
                  <c:v>0.70233463035019394</c:v>
                </c:pt>
                <c:pt idx="6665">
                  <c:v>0.70234113712374602</c:v>
                </c:pt>
                <c:pt idx="6666">
                  <c:v>0.70251030348445098</c:v>
                </c:pt>
                <c:pt idx="6667">
                  <c:v>0.70255863539445595</c:v>
                </c:pt>
                <c:pt idx="6668">
                  <c:v>0.70259067357512905</c:v>
                </c:pt>
                <c:pt idx="6669">
                  <c:v>0.70305907172995796</c:v>
                </c:pt>
                <c:pt idx="6670">
                  <c:v>0.70327868852458997</c:v>
                </c:pt>
                <c:pt idx="6671">
                  <c:v>0.70336391437308898</c:v>
                </c:pt>
                <c:pt idx="6672">
                  <c:v>0.70353982300884899</c:v>
                </c:pt>
                <c:pt idx="6673">
                  <c:v>0.70370370370370405</c:v>
                </c:pt>
                <c:pt idx="6674">
                  <c:v>0.70378042465044</c:v>
                </c:pt>
                <c:pt idx="6675">
                  <c:v>0.70383912248628899</c:v>
                </c:pt>
                <c:pt idx="6676">
                  <c:v>0.70391061452514003</c:v>
                </c:pt>
                <c:pt idx="6677">
                  <c:v>0.70395290159798096</c:v>
                </c:pt>
                <c:pt idx="6678">
                  <c:v>0.70397489539749003</c:v>
                </c:pt>
                <c:pt idx="6679">
                  <c:v>0.70408163265306101</c:v>
                </c:pt>
                <c:pt idx="6680">
                  <c:v>0.704109589041096</c:v>
                </c:pt>
                <c:pt idx="6681">
                  <c:v>0.70434782608695601</c:v>
                </c:pt>
                <c:pt idx="6682">
                  <c:v>0.70439663236669803</c:v>
                </c:pt>
                <c:pt idx="6683">
                  <c:v>0.70469798657718097</c:v>
                </c:pt>
                <c:pt idx="6684">
                  <c:v>0.70471464019851104</c:v>
                </c:pt>
                <c:pt idx="6685">
                  <c:v>0.70490286771507904</c:v>
                </c:pt>
                <c:pt idx="6686">
                  <c:v>0.70498084291187701</c:v>
                </c:pt>
                <c:pt idx="6687">
                  <c:v>0.70505050505050504</c:v>
                </c:pt>
                <c:pt idx="6688">
                  <c:v>0.70542635658914699</c:v>
                </c:pt>
                <c:pt idx="6689">
                  <c:v>0.70555555555555605</c:v>
                </c:pt>
                <c:pt idx="6690">
                  <c:v>0.70599613152804597</c:v>
                </c:pt>
                <c:pt idx="6691">
                  <c:v>0.70608108108108103</c:v>
                </c:pt>
                <c:pt idx="6692">
                  <c:v>0.70633693972179301</c:v>
                </c:pt>
                <c:pt idx="6693">
                  <c:v>0.70642201834862395</c:v>
                </c:pt>
                <c:pt idx="6694">
                  <c:v>0.70669291338582696</c:v>
                </c:pt>
                <c:pt idx="6695">
                  <c:v>0.70670391061452498</c:v>
                </c:pt>
                <c:pt idx="6696">
                  <c:v>0.70677451971688598</c:v>
                </c:pt>
                <c:pt idx="6697">
                  <c:v>0.706783369803063</c:v>
                </c:pt>
                <c:pt idx="6698">
                  <c:v>0.70692431561996805</c:v>
                </c:pt>
                <c:pt idx="6699">
                  <c:v>0.706989247311828</c:v>
                </c:pt>
                <c:pt idx="6700">
                  <c:v>0.70709382151029698</c:v>
                </c:pt>
                <c:pt idx="6701">
                  <c:v>0.707317073170732</c:v>
                </c:pt>
                <c:pt idx="6702">
                  <c:v>0.70738556585228896</c:v>
                </c:pt>
                <c:pt idx="6703">
                  <c:v>0.70760233918128601</c:v>
                </c:pt>
                <c:pt idx="6704">
                  <c:v>0.70762711864406802</c:v>
                </c:pt>
                <c:pt idx="6705">
                  <c:v>0.70804195804195802</c:v>
                </c:pt>
                <c:pt idx="6706">
                  <c:v>0.70813397129186595</c:v>
                </c:pt>
                <c:pt idx="6707">
                  <c:v>0.708595387840671</c:v>
                </c:pt>
                <c:pt idx="6708">
                  <c:v>0.70867768595041303</c:v>
                </c:pt>
                <c:pt idx="6709">
                  <c:v>0.708860759493671</c:v>
                </c:pt>
                <c:pt idx="6710">
                  <c:v>0.70892018779342703</c:v>
                </c:pt>
                <c:pt idx="6711">
                  <c:v>0.70905172413793105</c:v>
                </c:pt>
                <c:pt idx="6712">
                  <c:v>0.70944992947813801</c:v>
                </c:pt>
                <c:pt idx="6713">
                  <c:v>0.71010962241169295</c:v>
                </c:pt>
                <c:pt idx="6714">
                  <c:v>0.71031746031746001</c:v>
                </c:pt>
                <c:pt idx="6715">
                  <c:v>0.71034482758620698</c:v>
                </c:pt>
                <c:pt idx="6716">
                  <c:v>0.710485133020344</c:v>
                </c:pt>
                <c:pt idx="6717">
                  <c:v>0.71052631578947401</c:v>
                </c:pt>
                <c:pt idx="6718">
                  <c:v>0.71063829787234001</c:v>
                </c:pt>
                <c:pt idx="6719">
                  <c:v>0.71084337349397597</c:v>
                </c:pt>
                <c:pt idx="6720">
                  <c:v>0.71090047393364897</c:v>
                </c:pt>
                <c:pt idx="6721">
                  <c:v>0.7109375</c:v>
                </c:pt>
                <c:pt idx="6722">
                  <c:v>0.71134020618556704</c:v>
                </c:pt>
                <c:pt idx="6723">
                  <c:v>0.71134020618556704</c:v>
                </c:pt>
                <c:pt idx="6724">
                  <c:v>0.71136549468520005</c:v>
                </c:pt>
                <c:pt idx="6725">
                  <c:v>0.71141781681304905</c:v>
                </c:pt>
                <c:pt idx="6726">
                  <c:v>0.71150097465886897</c:v>
                </c:pt>
                <c:pt idx="6727">
                  <c:v>0.71177944862155396</c:v>
                </c:pt>
                <c:pt idx="6728">
                  <c:v>0.71181556195965401</c:v>
                </c:pt>
                <c:pt idx="6729">
                  <c:v>0.71184631803628595</c:v>
                </c:pt>
                <c:pt idx="6730">
                  <c:v>0.71192758253461097</c:v>
                </c:pt>
                <c:pt idx="6731">
                  <c:v>0.71223021582733803</c:v>
                </c:pt>
                <c:pt idx="6732">
                  <c:v>0.71232876712328796</c:v>
                </c:pt>
                <c:pt idx="6733">
                  <c:v>0.71232876712328796</c:v>
                </c:pt>
                <c:pt idx="6734">
                  <c:v>0.71246819338422396</c:v>
                </c:pt>
                <c:pt idx="6735">
                  <c:v>0.712812960235641</c:v>
                </c:pt>
                <c:pt idx="6736">
                  <c:v>0.71317829457364301</c:v>
                </c:pt>
                <c:pt idx="6737">
                  <c:v>0.71356783919597999</c:v>
                </c:pt>
                <c:pt idx="6738">
                  <c:v>0.71357170319107999</c:v>
                </c:pt>
                <c:pt idx="6739">
                  <c:v>0.71366594360086799</c:v>
                </c:pt>
                <c:pt idx="6740">
                  <c:v>0.713715046604527</c:v>
                </c:pt>
                <c:pt idx="6741">
                  <c:v>0.71378091872791505</c:v>
                </c:pt>
                <c:pt idx="6742">
                  <c:v>0.71384615384615402</c:v>
                </c:pt>
                <c:pt idx="6743">
                  <c:v>0.71389645776566701</c:v>
                </c:pt>
                <c:pt idx="6744">
                  <c:v>0.71396497530309799</c:v>
                </c:pt>
                <c:pt idx="6745">
                  <c:v>0.71396895787139703</c:v>
                </c:pt>
                <c:pt idx="6746">
                  <c:v>0.71401869158878495</c:v>
                </c:pt>
                <c:pt idx="6747">
                  <c:v>0.71428571428571397</c:v>
                </c:pt>
                <c:pt idx="6748">
                  <c:v>0.71460674157303405</c:v>
                </c:pt>
                <c:pt idx="6749">
                  <c:v>0.71483622350674403</c:v>
                </c:pt>
                <c:pt idx="6750">
                  <c:v>0.71492537313432802</c:v>
                </c:pt>
                <c:pt idx="6751">
                  <c:v>0.71506105834463995</c:v>
                </c:pt>
                <c:pt idx="6752">
                  <c:v>0.71525423728813597</c:v>
                </c:pt>
                <c:pt idx="6753">
                  <c:v>0.71553610503282306</c:v>
                </c:pt>
                <c:pt idx="6754">
                  <c:v>0.71553610503282306</c:v>
                </c:pt>
                <c:pt idx="6755">
                  <c:v>0.71553949406298401</c:v>
                </c:pt>
                <c:pt idx="6756">
                  <c:v>0.71573604060913698</c:v>
                </c:pt>
                <c:pt idx="6757">
                  <c:v>0.71587850826605104</c:v>
                </c:pt>
                <c:pt idx="6758">
                  <c:v>0.71588785046728998</c:v>
                </c:pt>
                <c:pt idx="6759">
                  <c:v>0.715935334872979</c:v>
                </c:pt>
                <c:pt idx="6760">
                  <c:v>0.716017316017316</c:v>
                </c:pt>
                <c:pt idx="6761">
                  <c:v>0.71659482758620696</c:v>
                </c:pt>
                <c:pt idx="6762">
                  <c:v>0.71661117277099495</c:v>
                </c:pt>
                <c:pt idx="6763">
                  <c:v>0.71698113207547198</c:v>
                </c:pt>
                <c:pt idx="6764">
                  <c:v>0.71712393566698196</c:v>
                </c:pt>
                <c:pt idx="6765">
                  <c:v>0.71747211895910801</c:v>
                </c:pt>
                <c:pt idx="6766">
                  <c:v>0.71757925072046103</c:v>
                </c:pt>
                <c:pt idx="6767">
                  <c:v>0.71794871794871795</c:v>
                </c:pt>
                <c:pt idx="6768">
                  <c:v>0.71794871794871795</c:v>
                </c:pt>
                <c:pt idx="6769">
                  <c:v>0.71799628942486104</c:v>
                </c:pt>
                <c:pt idx="6770">
                  <c:v>0.71799770729843304</c:v>
                </c:pt>
                <c:pt idx="6771">
                  <c:v>0.71810089020771495</c:v>
                </c:pt>
                <c:pt idx="6772">
                  <c:v>0.71827706635622801</c:v>
                </c:pt>
                <c:pt idx="6773">
                  <c:v>0.71856287425149701</c:v>
                </c:pt>
                <c:pt idx="6774">
                  <c:v>0.71865121180189695</c:v>
                </c:pt>
                <c:pt idx="6775">
                  <c:v>0.71899012074643198</c:v>
                </c:pt>
                <c:pt idx="6776">
                  <c:v>0.71904417089065897</c:v>
                </c:pt>
                <c:pt idx="6777">
                  <c:v>0.71925754060324798</c:v>
                </c:pt>
                <c:pt idx="6778">
                  <c:v>0.71941489361702105</c:v>
                </c:pt>
                <c:pt idx="6779">
                  <c:v>0.71946169772256696</c:v>
                </c:pt>
                <c:pt idx="6780">
                  <c:v>0.71989528795811497</c:v>
                </c:pt>
                <c:pt idx="6781">
                  <c:v>0.72005208333333304</c:v>
                </c:pt>
                <c:pt idx="6782">
                  <c:v>0.72029934518241301</c:v>
                </c:pt>
                <c:pt idx="6783">
                  <c:v>0.72039473684210498</c:v>
                </c:pt>
                <c:pt idx="6784">
                  <c:v>0.72123893805309702</c:v>
                </c:pt>
                <c:pt idx="6785">
                  <c:v>0.72131147540983598</c:v>
                </c:pt>
                <c:pt idx="6786">
                  <c:v>0.72160356347438703</c:v>
                </c:pt>
                <c:pt idx="6787">
                  <c:v>0.72163965681601505</c:v>
                </c:pt>
                <c:pt idx="6788">
                  <c:v>0.72210436996181604</c:v>
                </c:pt>
                <c:pt idx="6789">
                  <c:v>0.72225913621262505</c:v>
                </c:pt>
                <c:pt idx="6790">
                  <c:v>0.72232645403377105</c:v>
                </c:pt>
                <c:pt idx="6791">
                  <c:v>0.722464219041692</c:v>
                </c:pt>
                <c:pt idx="6792">
                  <c:v>0.72254335260115599</c:v>
                </c:pt>
                <c:pt idx="6793">
                  <c:v>0.72266473569876899</c:v>
                </c:pt>
                <c:pt idx="6794">
                  <c:v>0.72270742358078599</c:v>
                </c:pt>
                <c:pt idx="6795">
                  <c:v>0.72277227722772297</c:v>
                </c:pt>
                <c:pt idx="6796">
                  <c:v>0.72340425531914898</c:v>
                </c:pt>
                <c:pt idx="6797">
                  <c:v>0.72350230414746497</c:v>
                </c:pt>
                <c:pt idx="6798">
                  <c:v>0.72356495468277904</c:v>
                </c:pt>
                <c:pt idx="6799">
                  <c:v>0.72399797057331305</c:v>
                </c:pt>
                <c:pt idx="6800">
                  <c:v>0.72401433691756301</c:v>
                </c:pt>
                <c:pt idx="6801">
                  <c:v>0.72405271828665596</c:v>
                </c:pt>
                <c:pt idx="6802">
                  <c:v>0.72413793103448298</c:v>
                </c:pt>
                <c:pt idx="6803">
                  <c:v>0.72437357630979504</c:v>
                </c:pt>
                <c:pt idx="6804">
                  <c:v>0.72439478584729999</c:v>
                </c:pt>
                <c:pt idx="6805">
                  <c:v>0.72463768115941996</c:v>
                </c:pt>
                <c:pt idx="6806">
                  <c:v>0.72471910112359506</c:v>
                </c:pt>
                <c:pt idx="6807">
                  <c:v>0.72490706319702602</c:v>
                </c:pt>
                <c:pt idx="6808">
                  <c:v>0.72499999999999998</c:v>
                </c:pt>
                <c:pt idx="6809">
                  <c:v>0.72533849129593797</c:v>
                </c:pt>
                <c:pt idx="6810">
                  <c:v>0.72544080604534</c:v>
                </c:pt>
                <c:pt idx="6811">
                  <c:v>0.72558139534883703</c:v>
                </c:pt>
                <c:pt idx="6812">
                  <c:v>0.72566371681415898</c:v>
                </c:pt>
                <c:pt idx="6813">
                  <c:v>0.72575847709696595</c:v>
                </c:pt>
                <c:pt idx="6814">
                  <c:v>0.72580645161290303</c:v>
                </c:pt>
                <c:pt idx="6815">
                  <c:v>0.72608695652173905</c:v>
                </c:pt>
                <c:pt idx="6816">
                  <c:v>0.72619047619047605</c:v>
                </c:pt>
                <c:pt idx="6817">
                  <c:v>0.72632944228274998</c:v>
                </c:pt>
                <c:pt idx="6818">
                  <c:v>0.72658610271903301</c:v>
                </c:pt>
                <c:pt idx="6819">
                  <c:v>0.72682926829268302</c:v>
                </c:pt>
                <c:pt idx="6820">
                  <c:v>0.72727272727272696</c:v>
                </c:pt>
                <c:pt idx="6821">
                  <c:v>0.72773109243697498</c:v>
                </c:pt>
                <c:pt idx="6822">
                  <c:v>0.72822966507177</c:v>
                </c:pt>
                <c:pt idx="6823">
                  <c:v>0.72855464159812</c:v>
                </c:pt>
                <c:pt idx="6824">
                  <c:v>0.72894078398665496</c:v>
                </c:pt>
                <c:pt idx="6825">
                  <c:v>0.72907153729071505</c:v>
                </c:pt>
                <c:pt idx="6826">
                  <c:v>0.72930648769574902</c:v>
                </c:pt>
                <c:pt idx="6827">
                  <c:v>0.72948328267477203</c:v>
                </c:pt>
                <c:pt idx="6828">
                  <c:v>0.72968750000000004</c:v>
                </c:pt>
                <c:pt idx="6829">
                  <c:v>0.72992700729926996</c:v>
                </c:pt>
                <c:pt idx="6830">
                  <c:v>0.73006134969325098</c:v>
                </c:pt>
                <c:pt idx="6831">
                  <c:v>0.730227518959913</c:v>
                </c:pt>
                <c:pt idx="6832">
                  <c:v>0.730312362516498</c:v>
                </c:pt>
                <c:pt idx="6833">
                  <c:v>0.73038229376257502</c:v>
                </c:pt>
                <c:pt idx="6834">
                  <c:v>0.73056994818652798</c:v>
                </c:pt>
                <c:pt idx="6835">
                  <c:v>0.73086165465156205</c:v>
                </c:pt>
                <c:pt idx="6836">
                  <c:v>0.73095238095238102</c:v>
                </c:pt>
                <c:pt idx="6837">
                  <c:v>0.730964467005076</c:v>
                </c:pt>
                <c:pt idx="6838">
                  <c:v>0.73098937040065404</c:v>
                </c:pt>
                <c:pt idx="6839">
                  <c:v>0.73124999999999996</c:v>
                </c:pt>
                <c:pt idx="6840">
                  <c:v>0.731343283582089</c:v>
                </c:pt>
                <c:pt idx="6841">
                  <c:v>0.731343283582089</c:v>
                </c:pt>
                <c:pt idx="6842">
                  <c:v>0.73149741824440595</c:v>
                </c:pt>
                <c:pt idx="6843">
                  <c:v>0.731578947368421</c:v>
                </c:pt>
                <c:pt idx="6844">
                  <c:v>0.73193473193473202</c:v>
                </c:pt>
                <c:pt idx="6845">
                  <c:v>0.73199527744982296</c:v>
                </c:pt>
                <c:pt idx="6846">
                  <c:v>0.73205741626794296</c:v>
                </c:pt>
                <c:pt idx="6847">
                  <c:v>0.73206751054852304</c:v>
                </c:pt>
                <c:pt idx="6848">
                  <c:v>0.73214285714285698</c:v>
                </c:pt>
                <c:pt idx="6849">
                  <c:v>0.73256704980842902</c:v>
                </c:pt>
                <c:pt idx="6850">
                  <c:v>0.732871439568899</c:v>
                </c:pt>
                <c:pt idx="6851">
                  <c:v>0.73297002724795601</c:v>
                </c:pt>
                <c:pt idx="6852">
                  <c:v>0.73317865429234297</c:v>
                </c:pt>
                <c:pt idx="6853">
                  <c:v>0.73326248671625904</c:v>
                </c:pt>
                <c:pt idx="6854">
                  <c:v>0.73333333333333295</c:v>
                </c:pt>
                <c:pt idx="6855">
                  <c:v>0.73337292161520196</c:v>
                </c:pt>
                <c:pt idx="6856">
                  <c:v>0.73350923482849595</c:v>
                </c:pt>
                <c:pt idx="6857">
                  <c:v>0.73368388493659098</c:v>
                </c:pt>
                <c:pt idx="6858">
                  <c:v>0.73382473382473401</c:v>
                </c:pt>
                <c:pt idx="6859">
                  <c:v>0.734082397003745</c:v>
                </c:pt>
                <c:pt idx="6860">
                  <c:v>0.73410404624277503</c:v>
                </c:pt>
                <c:pt idx="6861">
                  <c:v>0.73411154345006502</c:v>
                </c:pt>
                <c:pt idx="6862">
                  <c:v>0.73415326395458802</c:v>
                </c:pt>
                <c:pt idx="6863">
                  <c:v>0.73460721868365197</c:v>
                </c:pt>
                <c:pt idx="6864">
                  <c:v>0.73461939520333697</c:v>
                </c:pt>
                <c:pt idx="6865">
                  <c:v>0.73462349109024705</c:v>
                </c:pt>
                <c:pt idx="6866">
                  <c:v>0.73469387755102</c:v>
                </c:pt>
                <c:pt idx="6867">
                  <c:v>0.73488372093023302</c:v>
                </c:pt>
                <c:pt idx="6868">
                  <c:v>0.73488372093023302</c:v>
                </c:pt>
                <c:pt idx="6869">
                  <c:v>0.73536299765808</c:v>
                </c:pt>
                <c:pt idx="6870">
                  <c:v>0.73538461538461497</c:v>
                </c:pt>
                <c:pt idx="6871">
                  <c:v>0.73558648111332003</c:v>
                </c:pt>
                <c:pt idx="6872">
                  <c:v>0.73559822747415105</c:v>
                </c:pt>
                <c:pt idx="6873">
                  <c:v>0.73567708333333304</c:v>
                </c:pt>
                <c:pt idx="6874">
                  <c:v>0.73584905660377298</c:v>
                </c:pt>
                <c:pt idx="6875">
                  <c:v>0.73586612392582496</c:v>
                </c:pt>
                <c:pt idx="6876">
                  <c:v>0.73596673596673601</c:v>
                </c:pt>
                <c:pt idx="6877">
                  <c:v>0.73626373626373598</c:v>
                </c:pt>
                <c:pt idx="6878">
                  <c:v>0.736677115987461</c:v>
                </c:pt>
                <c:pt idx="6879">
                  <c:v>0.73684210526315796</c:v>
                </c:pt>
                <c:pt idx="6880">
                  <c:v>0.73766546329723204</c:v>
                </c:pt>
                <c:pt idx="6881">
                  <c:v>0.73783359497645196</c:v>
                </c:pt>
                <c:pt idx="6882">
                  <c:v>0.73800259403372204</c:v>
                </c:pt>
                <c:pt idx="6883">
                  <c:v>0.73809523809523803</c:v>
                </c:pt>
                <c:pt idx="6884">
                  <c:v>0.73838209982788305</c:v>
                </c:pt>
                <c:pt idx="6885">
                  <c:v>0.73913043478260898</c:v>
                </c:pt>
                <c:pt idx="6886">
                  <c:v>0.73920051579626</c:v>
                </c:pt>
                <c:pt idx="6887">
                  <c:v>0.73958333333333304</c:v>
                </c:pt>
                <c:pt idx="6888">
                  <c:v>0.73987538940810005</c:v>
                </c:pt>
                <c:pt idx="6889">
                  <c:v>0.740126939351199</c:v>
                </c:pt>
                <c:pt idx="6890">
                  <c:v>0.74034334763948495</c:v>
                </c:pt>
                <c:pt idx="6891">
                  <c:v>0.74098360655737705</c:v>
                </c:pt>
                <c:pt idx="6892">
                  <c:v>0.74100719424460404</c:v>
                </c:pt>
                <c:pt idx="6893">
                  <c:v>0.74100719424460404</c:v>
                </c:pt>
                <c:pt idx="6894">
                  <c:v>0.74121405750798697</c:v>
                </c:pt>
                <c:pt idx="6895">
                  <c:v>0.74124999999999996</c:v>
                </c:pt>
                <c:pt idx="6896">
                  <c:v>0.74157303370786498</c:v>
                </c:pt>
                <c:pt idx="6897">
                  <c:v>0.74183976261127604</c:v>
                </c:pt>
                <c:pt idx="6898">
                  <c:v>0.74193548387096797</c:v>
                </c:pt>
                <c:pt idx="6899">
                  <c:v>0.74193548387096797</c:v>
                </c:pt>
                <c:pt idx="6900">
                  <c:v>0.74208144796380104</c:v>
                </c:pt>
                <c:pt idx="6901">
                  <c:v>0.74213836477987405</c:v>
                </c:pt>
                <c:pt idx="6902">
                  <c:v>0.742245989304813</c:v>
                </c:pt>
                <c:pt idx="6903">
                  <c:v>0.74233128834355799</c:v>
                </c:pt>
                <c:pt idx="6904">
                  <c:v>0.74248120300751896</c:v>
                </c:pt>
                <c:pt idx="6905">
                  <c:v>0.74250141482739096</c:v>
                </c:pt>
                <c:pt idx="6906">
                  <c:v>0.74285714285714299</c:v>
                </c:pt>
                <c:pt idx="6907">
                  <c:v>0.74298375184638099</c:v>
                </c:pt>
                <c:pt idx="6908">
                  <c:v>0.74327840416305302</c:v>
                </c:pt>
                <c:pt idx="6909">
                  <c:v>0.74348785871964695</c:v>
                </c:pt>
                <c:pt idx="6910">
                  <c:v>0.743506493506493</c:v>
                </c:pt>
                <c:pt idx="6911">
                  <c:v>0.743654822335025</c:v>
                </c:pt>
                <c:pt idx="6912">
                  <c:v>0.74399494310998704</c:v>
                </c:pt>
                <c:pt idx="6913">
                  <c:v>0.74507531865585197</c:v>
                </c:pt>
                <c:pt idx="6914">
                  <c:v>0.74509803921568596</c:v>
                </c:pt>
                <c:pt idx="6915">
                  <c:v>0.74522292993630601</c:v>
                </c:pt>
                <c:pt idx="6916">
                  <c:v>0.745732255166217</c:v>
                </c:pt>
                <c:pt idx="6917">
                  <c:v>0.74643660915228804</c:v>
                </c:pt>
                <c:pt idx="6918">
                  <c:v>0.74666666666666703</c:v>
                </c:pt>
                <c:pt idx="6919">
                  <c:v>0.74712643678160895</c:v>
                </c:pt>
                <c:pt idx="6920">
                  <c:v>0.74728940783986597</c:v>
                </c:pt>
                <c:pt idx="6921">
                  <c:v>0.74729596853490599</c:v>
                </c:pt>
                <c:pt idx="6922">
                  <c:v>0.74729729729729699</c:v>
                </c:pt>
                <c:pt idx="6923">
                  <c:v>0.74737284573350105</c:v>
                </c:pt>
                <c:pt idx="6924">
                  <c:v>0.74755927475592698</c:v>
                </c:pt>
                <c:pt idx="6925">
                  <c:v>0.74796010879419805</c:v>
                </c:pt>
                <c:pt idx="6926">
                  <c:v>0.74812030075187996</c:v>
                </c:pt>
                <c:pt idx="6927">
                  <c:v>0.74840085287846503</c:v>
                </c:pt>
                <c:pt idx="6928">
                  <c:v>0.74841168996188001</c:v>
                </c:pt>
                <c:pt idx="6929">
                  <c:v>0.74860335195530703</c:v>
                </c:pt>
                <c:pt idx="6930">
                  <c:v>0.74894067796610198</c:v>
                </c:pt>
                <c:pt idx="6931">
                  <c:v>0.74894514767932496</c:v>
                </c:pt>
                <c:pt idx="6932">
                  <c:v>0.74903474903474898</c:v>
                </c:pt>
                <c:pt idx="6933">
                  <c:v>0.749670619235837</c:v>
                </c:pt>
                <c:pt idx="6934">
                  <c:v>0.74970202622169202</c:v>
                </c:pt>
                <c:pt idx="6935">
                  <c:v>0.74979114452798701</c:v>
                </c:pt>
                <c:pt idx="6936">
                  <c:v>0.75</c:v>
                </c:pt>
                <c:pt idx="6937">
                  <c:v>0.75</c:v>
                </c:pt>
                <c:pt idx="6938">
                  <c:v>0.75014979029358897</c:v>
                </c:pt>
                <c:pt idx="6939">
                  <c:v>0.75071225071225101</c:v>
                </c:pt>
                <c:pt idx="6940">
                  <c:v>0.75090252707581195</c:v>
                </c:pt>
                <c:pt idx="6941">
                  <c:v>0.75139305615087904</c:v>
                </c:pt>
                <c:pt idx="6942">
                  <c:v>0.75165562913907302</c:v>
                </c:pt>
                <c:pt idx="6943">
                  <c:v>0.75169376693766898</c:v>
                </c:pt>
                <c:pt idx="6944">
                  <c:v>0.752411575562701</c:v>
                </c:pt>
                <c:pt idx="6945">
                  <c:v>0.75244618395303298</c:v>
                </c:pt>
                <c:pt idx="6946">
                  <c:v>0.75287356321839105</c:v>
                </c:pt>
                <c:pt idx="6947">
                  <c:v>0.75312500000000004</c:v>
                </c:pt>
                <c:pt idx="6948">
                  <c:v>0.75321336760925395</c:v>
                </c:pt>
                <c:pt idx="6949">
                  <c:v>0.753303964757709</c:v>
                </c:pt>
                <c:pt idx="6950">
                  <c:v>0.75340909090909103</c:v>
                </c:pt>
                <c:pt idx="6951">
                  <c:v>0.75352112676056304</c:v>
                </c:pt>
                <c:pt idx="6952">
                  <c:v>0.75362318840579701</c:v>
                </c:pt>
                <c:pt idx="6953">
                  <c:v>0.75370919881305598</c:v>
                </c:pt>
                <c:pt idx="6954">
                  <c:v>0.75375939849624096</c:v>
                </c:pt>
                <c:pt idx="6955">
                  <c:v>0.75396825396825395</c:v>
                </c:pt>
                <c:pt idx="6956">
                  <c:v>0.75400641025641002</c:v>
                </c:pt>
                <c:pt idx="6957">
                  <c:v>0.75401069518716601</c:v>
                </c:pt>
                <c:pt idx="6958">
                  <c:v>0.75411522633744799</c:v>
                </c:pt>
                <c:pt idx="6959">
                  <c:v>0.75441644946423403</c:v>
                </c:pt>
                <c:pt idx="6960">
                  <c:v>0.754601226993865</c:v>
                </c:pt>
                <c:pt idx="6961">
                  <c:v>0.75470278404815605</c:v>
                </c:pt>
                <c:pt idx="6962">
                  <c:v>0.755294117647059</c:v>
                </c:pt>
                <c:pt idx="6963">
                  <c:v>0.75547013601419299</c:v>
                </c:pt>
                <c:pt idx="6964">
                  <c:v>0.75607287449392702</c:v>
                </c:pt>
                <c:pt idx="6965">
                  <c:v>0.75608614232209703</c:v>
                </c:pt>
                <c:pt idx="6966">
                  <c:v>0.75675675675675702</c:v>
                </c:pt>
                <c:pt idx="6967">
                  <c:v>0.75696101829753404</c:v>
                </c:pt>
                <c:pt idx="6968">
                  <c:v>0.75842696629213502</c:v>
                </c:pt>
                <c:pt idx="6969">
                  <c:v>0.75844155844155803</c:v>
                </c:pt>
                <c:pt idx="6970">
                  <c:v>0.75867861142217197</c:v>
                </c:pt>
                <c:pt idx="6971">
                  <c:v>0.759024390243902</c:v>
                </c:pt>
                <c:pt idx="6972">
                  <c:v>0.75945537065052904</c:v>
                </c:pt>
                <c:pt idx="6973">
                  <c:v>0.75968992248061995</c:v>
                </c:pt>
                <c:pt idx="6974">
                  <c:v>0.76</c:v>
                </c:pt>
                <c:pt idx="6975">
                  <c:v>0.76</c:v>
                </c:pt>
                <c:pt idx="6976">
                  <c:v>0.76</c:v>
                </c:pt>
                <c:pt idx="6977">
                  <c:v>0.76026637069922298</c:v>
                </c:pt>
                <c:pt idx="6978">
                  <c:v>0.760479041916168</c:v>
                </c:pt>
                <c:pt idx="6979">
                  <c:v>0.76082130965593797</c:v>
                </c:pt>
                <c:pt idx="6980">
                  <c:v>0.76096491228070196</c:v>
                </c:pt>
                <c:pt idx="6981">
                  <c:v>0.76115485564304497</c:v>
                </c:pt>
                <c:pt idx="6982">
                  <c:v>0.76229508196721296</c:v>
                </c:pt>
                <c:pt idx="6983">
                  <c:v>0.76237623762376205</c:v>
                </c:pt>
                <c:pt idx="6984">
                  <c:v>0.762469135802469</c:v>
                </c:pt>
                <c:pt idx="6985">
                  <c:v>0.76261829652996804</c:v>
                </c:pt>
                <c:pt idx="6986">
                  <c:v>0.76289734236581497</c:v>
                </c:pt>
                <c:pt idx="6987">
                  <c:v>0.76300813008130097</c:v>
                </c:pt>
                <c:pt idx="6988">
                  <c:v>0.76323119777158799</c:v>
                </c:pt>
                <c:pt idx="6989">
                  <c:v>0.76348547717842297</c:v>
                </c:pt>
                <c:pt idx="6990">
                  <c:v>0.76360121513394097</c:v>
                </c:pt>
                <c:pt idx="6991">
                  <c:v>0.76374570446735401</c:v>
                </c:pt>
                <c:pt idx="6992">
                  <c:v>0.76400594942984601</c:v>
                </c:pt>
                <c:pt idx="6993">
                  <c:v>0.76402321083172098</c:v>
                </c:pt>
                <c:pt idx="6994">
                  <c:v>0.76470588235294101</c:v>
                </c:pt>
                <c:pt idx="6995">
                  <c:v>0.76511831726555601</c:v>
                </c:pt>
                <c:pt idx="6996">
                  <c:v>0.76517754868270305</c:v>
                </c:pt>
                <c:pt idx="6997">
                  <c:v>0.76519337016574596</c:v>
                </c:pt>
                <c:pt idx="6998">
                  <c:v>0.76622843056696799</c:v>
                </c:pt>
                <c:pt idx="6999">
                  <c:v>0.76625172890733095</c:v>
                </c:pt>
                <c:pt idx="7000">
                  <c:v>0.766917293233083</c:v>
                </c:pt>
                <c:pt idx="7001">
                  <c:v>0.76715176715176703</c:v>
                </c:pt>
                <c:pt idx="7002">
                  <c:v>0.76722640416907895</c:v>
                </c:pt>
                <c:pt idx="7003">
                  <c:v>0.76744186046511598</c:v>
                </c:pt>
                <c:pt idx="7004">
                  <c:v>0.76762820512820495</c:v>
                </c:pt>
                <c:pt idx="7005">
                  <c:v>0.76811594202898503</c:v>
                </c:pt>
                <c:pt idx="7006">
                  <c:v>0.76851851851851805</c:v>
                </c:pt>
                <c:pt idx="7007">
                  <c:v>0.76862745098039198</c:v>
                </c:pt>
                <c:pt idx="7008">
                  <c:v>0.76886227544910202</c:v>
                </c:pt>
                <c:pt idx="7009">
                  <c:v>0.76892822025565399</c:v>
                </c:pt>
                <c:pt idx="7010">
                  <c:v>0.76900296150049396</c:v>
                </c:pt>
                <c:pt idx="7011">
                  <c:v>0.76934984520123795</c:v>
                </c:pt>
                <c:pt idx="7012">
                  <c:v>0.76983503534956799</c:v>
                </c:pt>
                <c:pt idx="7013">
                  <c:v>0.77015643802647404</c:v>
                </c:pt>
                <c:pt idx="7014">
                  <c:v>0.77035490605428003</c:v>
                </c:pt>
                <c:pt idx="7015">
                  <c:v>0.77040358744394599</c:v>
                </c:pt>
                <c:pt idx="7016">
                  <c:v>0.77096114519427394</c:v>
                </c:pt>
                <c:pt idx="7017">
                  <c:v>0.77105831533477298</c:v>
                </c:pt>
                <c:pt idx="7018">
                  <c:v>0.77119883040935699</c:v>
                </c:pt>
                <c:pt idx="7019">
                  <c:v>0.77136258660508095</c:v>
                </c:pt>
                <c:pt idx="7020">
                  <c:v>0.77142857142857102</c:v>
                </c:pt>
                <c:pt idx="7021">
                  <c:v>0.77157360406091402</c:v>
                </c:pt>
                <c:pt idx="7022">
                  <c:v>0.77190542420027797</c:v>
                </c:pt>
                <c:pt idx="7023">
                  <c:v>0.772151898734177</c:v>
                </c:pt>
                <c:pt idx="7024">
                  <c:v>0.77223926380368102</c:v>
                </c:pt>
                <c:pt idx="7025">
                  <c:v>0.77235772357723598</c:v>
                </c:pt>
                <c:pt idx="7026">
                  <c:v>0.77272727272727304</c:v>
                </c:pt>
                <c:pt idx="7027">
                  <c:v>0.77290836653386397</c:v>
                </c:pt>
                <c:pt idx="7028">
                  <c:v>0.77364864864864902</c:v>
                </c:pt>
                <c:pt idx="7029">
                  <c:v>0.77365491651205898</c:v>
                </c:pt>
                <c:pt idx="7030">
                  <c:v>0.77365819209039499</c:v>
                </c:pt>
                <c:pt idx="7031">
                  <c:v>0.77368421052631597</c:v>
                </c:pt>
                <c:pt idx="7032">
                  <c:v>0.77379480840543902</c:v>
                </c:pt>
                <c:pt idx="7033">
                  <c:v>0.77380952380952395</c:v>
                </c:pt>
                <c:pt idx="7034">
                  <c:v>0.77382875605815804</c:v>
                </c:pt>
                <c:pt idx="7035">
                  <c:v>0.77383437717466896</c:v>
                </c:pt>
                <c:pt idx="7036">
                  <c:v>0.77455716586151402</c:v>
                </c:pt>
                <c:pt idx="7037">
                  <c:v>0.77475867000357501</c:v>
                </c:pt>
                <c:pt idx="7038">
                  <c:v>0.775272161741835</c:v>
                </c:pt>
                <c:pt idx="7039">
                  <c:v>0.77570093457943901</c:v>
                </c:pt>
                <c:pt idx="7040">
                  <c:v>0.77573904179408804</c:v>
                </c:pt>
                <c:pt idx="7041">
                  <c:v>0.77575757575757598</c:v>
                </c:pt>
                <c:pt idx="7042">
                  <c:v>0.77611940298507498</c:v>
                </c:pt>
                <c:pt idx="7043">
                  <c:v>0.77615008995116896</c:v>
                </c:pt>
                <c:pt idx="7044">
                  <c:v>0.77667493796525999</c:v>
                </c:pt>
                <c:pt idx="7045">
                  <c:v>0.77715877437325898</c:v>
                </c:pt>
                <c:pt idx="7046">
                  <c:v>0.77748861418347404</c:v>
                </c:pt>
                <c:pt idx="7047">
                  <c:v>0.77820267686424505</c:v>
                </c:pt>
                <c:pt idx="7048">
                  <c:v>0.77833125778331302</c:v>
                </c:pt>
                <c:pt idx="7049">
                  <c:v>0.77867203219315895</c:v>
                </c:pt>
                <c:pt idx="7050">
                  <c:v>0.77890879478827302</c:v>
                </c:pt>
                <c:pt idx="7051">
                  <c:v>0.77947932618683002</c:v>
                </c:pt>
                <c:pt idx="7052">
                  <c:v>0.78018018018017998</c:v>
                </c:pt>
                <c:pt idx="7053">
                  <c:v>0.78044391121775603</c:v>
                </c:pt>
                <c:pt idx="7054">
                  <c:v>0.78054711246200603</c:v>
                </c:pt>
                <c:pt idx="7055">
                  <c:v>0.78083700440528603</c:v>
                </c:pt>
                <c:pt idx="7056">
                  <c:v>0.78104409528636598</c:v>
                </c:pt>
                <c:pt idx="7057">
                  <c:v>0.78126508932882699</c:v>
                </c:pt>
                <c:pt idx="7058">
                  <c:v>0.78165374677002597</c:v>
                </c:pt>
                <c:pt idx="7059">
                  <c:v>0.78165938864628803</c:v>
                </c:pt>
                <c:pt idx="7060">
                  <c:v>0.78231292517006801</c:v>
                </c:pt>
                <c:pt idx="7061">
                  <c:v>0.78260869565217395</c:v>
                </c:pt>
                <c:pt idx="7062">
                  <c:v>0.782795698924731</c:v>
                </c:pt>
                <c:pt idx="7063">
                  <c:v>0.78285714285714303</c:v>
                </c:pt>
                <c:pt idx="7064">
                  <c:v>0.78308621636463505</c:v>
                </c:pt>
                <c:pt idx="7065">
                  <c:v>0.783549783549783</c:v>
                </c:pt>
                <c:pt idx="7066">
                  <c:v>0.78529411764705903</c:v>
                </c:pt>
                <c:pt idx="7067">
                  <c:v>0.785394932935916</c:v>
                </c:pt>
                <c:pt idx="7068">
                  <c:v>0.78576723498888101</c:v>
                </c:pt>
                <c:pt idx="7069">
                  <c:v>0.78678244090689797</c:v>
                </c:pt>
                <c:pt idx="7070">
                  <c:v>0.78766310794780503</c:v>
                </c:pt>
                <c:pt idx="7071">
                  <c:v>0.78768890527091795</c:v>
                </c:pt>
                <c:pt idx="7072">
                  <c:v>0.78775857183338105</c:v>
                </c:pt>
                <c:pt idx="7073">
                  <c:v>0.78781038374717804</c:v>
                </c:pt>
                <c:pt idx="7074">
                  <c:v>0.78840970350404305</c:v>
                </c:pt>
                <c:pt idx="7075">
                  <c:v>0.78875171467764105</c:v>
                </c:pt>
                <c:pt idx="7076">
                  <c:v>0.78911564625850295</c:v>
                </c:pt>
                <c:pt idx="7077">
                  <c:v>0.78914919852034504</c:v>
                </c:pt>
                <c:pt idx="7078">
                  <c:v>0.78952473326867101</c:v>
                </c:pt>
                <c:pt idx="7079">
                  <c:v>0.78959449120122405</c:v>
                </c:pt>
                <c:pt idx="7080">
                  <c:v>0.78965819456617004</c:v>
                </c:pt>
                <c:pt idx="7081">
                  <c:v>0.78966259870782496</c:v>
                </c:pt>
                <c:pt idx="7082">
                  <c:v>0.79020979020978999</c:v>
                </c:pt>
                <c:pt idx="7083">
                  <c:v>0.79084967320261401</c:v>
                </c:pt>
                <c:pt idx="7084">
                  <c:v>0.79105691056910599</c:v>
                </c:pt>
                <c:pt idx="7085">
                  <c:v>0.79166666666666696</c:v>
                </c:pt>
                <c:pt idx="7086">
                  <c:v>0.79178885630498497</c:v>
                </c:pt>
                <c:pt idx="7087">
                  <c:v>0.79193341869398204</c:v>
                </c:pt>
                <c:pt idx="7088">
                  <c:v>0.79219409282700404</c:v>
                </c:pt>
                <c:pt idx="7089">
                  <c:v>0.79230769230769205</c:v>
                </c:pt>
                <c:pt idx="7090">
                  <c:v>0.79259259259259296</c:v>
                </c:pt>
                <c:pt idx="7091">
                  <c:v>0.792959219240153</c:v>
                </c:pt>
                <c:pt idx="7092">
                  <c:v>0.79298910468971995</c:v>
                </c:pt>
                <c:pt idx="7093">
                  <c:v>0.79310344827586199</c:v>
                </c:pt>
                <c:pt idx="7094">
                  <c:v>0.79310344827586199</c:v>
                </c:pt>
                <c:pt idx="7095">
                  <c:v>0.79355306048533103</c:v>
                </c:pt>
                <c:pt idx="7096">
                  <c:v>0.793755135579293</c:v>
                </c:pt>
                <c:pt idx="7097">
                  <c:v>0.79400000000000004</c:v>
                </c:pt>
                <c:pt idx="7098">
                  <c:v>0.79411764705882304</c:v>
                </c:pt>
                <c:pt idx="7099">
                  <c:v>0.79459459459459403</c:v>
                </c:pt>
                <c:pt idx="7100">
                  <c:v>0.79464285714285698</c:v>
                </c:pt>
                <c:pt idx="7101">
                  <c:v>0.79530516431924902</c:v>
                </c:pt>
                <c:pt idx="7102">
                  <c:v>0.79594790159189599</c:v>
                </c:pt>
                <c:pt idx="7103">
                  <c:v>0.795973154362416</c:v>
                </c:pt>
                <c:pt idx="7104">
                  <c:v>0.79674796747967502</c:v>
                </c:pt>
                <c:pt idx="7105">
                  <c:v>0.796875</c:v>
                </c:pt>
                <c:pt idx="7106">
                  <c:v>0.79702970297029696</c:v>
                </c:pt>
                <c:pt idx="7107">
                  <c:v>0.79722792607802895</c:v>
                </c:pt>
                <c:pt idx="7108">
                  <c:v>0.79759036144578299</c:v>
                </c:pt>
                <c:pt idx="7109">
                  <c:v>0.798029556650246</c:v>
                </c:pt>
                <c:pt idx="7110">
                  <c:v>0.79847908745247098</c:v>
                </c:pt>
                <c:pt idx="7111">
                  <c:v>0.79881656804733703</c:v>
                </c:pt>
                <c:pt idx="7112">
                  <c:v>0.79923664122137394</c:v>
                </c:pt>
                <c:pt idx="7113">
                  <c:v>0.79930795847750902</c:v>
                </c:pt>
                <c:pt idx="7114">
                  <c:v>0.79941002949852502</c:v>
                </c:pt>
                <c:pt idx="7115">
                  <c:v>0.79947229551451204</c:v>
                </c:pt>
                <c:pt idx="7116">
                  <c:v>0.8</c:v>
                </c:pt>
                <c:pt idx="7117">
                  <c:v>0.8</c:v>
                </c:pt>
                <c:pt idx="7118">
                  <c:v>0.8</c:v>
                </c:pt>
                <c:pt idx="7119">
                  <c:v>0.80084745762711895</c:v>
                </c:pt>
                <c:pt idx="7120">
                  <c:v>0.80112044817927197</c:v>
                </c:pt>
                <c:pt idx="7121">
                  <c:v>0.80132850241545905</c:v>
                </c:pt>
                <c:pt idx="7122">
                  <c:v>0.80148423005565905</c:v>
                </c:pt>
                <c:pt idx="7123">
                  <c:v>0.801582069874753</c:v>
                </c:pt>
                <c:pt idx="7124">
                  <c:v>0.80172174396001095</c:v>
                </c:pt>
                <c:pt idx="7125">
                  <c:v>0.80212566427008403</c:v>
                </c:pt>
                <c:pt idx="7126">
                  <c:v>0.80232558139534904</c:v>
                </c:pt>
                <c:pt idx="7127">
                  <c:v>0.80232558139534904</c:v>
                </c:pt>
                <c:pt idx="7128">
                  <c:v>0.80245398773006105</c:v>
                </c:pt>
                <c:pt idx="7129">
                  <c:v>0.80246913580246904</c:v>
                </c:pt>
                <c:pt idx="7130">
                  <c:v>0.80313837375178299</c:v>
                </c:pt>
                <c:pt idx="7131">
                  <c:v>0.80324381813347501</c:v>
                </c:pt>
                <c:pt idx="7132">
                  <c:v>0.80333333333333301</c:v>
                </c:pt>
                <c:pt idx="7133">
                  <c:v>0.80371900826446296</c:v>
                </c:pt>
                <c:pt idx="7134">
                  <c:v>0.80404624277456604</c:v>
                </c:pt>
                <c:pt idx="7135">
                  <c:v>0.80412371134020599</c:v>
                </c:pt>
                <c:pt idx="7136">
                  <c:v>0.80418250950570302</c:v>
                </c:pt>
                <c:pt idx="7137">
                  <c:v>0.80506329113924002</c:v>
                </c:pt>
                <c:pt idx="7138">
                  <c:v>0.80528846153846201</c:v>
                </c:pt>
                <c:pt idx="7139">
                  <c:v>0.80710059171597603</c:v>
                </c:pt>
                <c:pt idx="7140">
                  <c:v>0.80714817572598696</c:v>
                </c:pt>
                <c:pt idx="7141">
                  <c:v>0.80769230769230804</c:v>
                </c:pt>
                <c:pt idx="7142">
                  <c:v>0.808336302101888</c:v>
                </c:pt>
                <c:pt idx="7143">
                  <c:v>0.80902255639097698</c:v>
                </c:pt>
                <c:pt idx="7144">
                  <c:v>0.80973451327433599</c:v>
                </c:pt>
                <c:pt idx="7145">
                  <c:v>0.80991735537190102</c:v>
                </c:pt>
                <c:pt idx="7146">
                  <c:v>0.80991735537190102</c:v>
                </c:pt>
                <c:pt idx="7147">
                  <c:v>0.81085526315789502</c:v>
                </c:pt>
                <c:pt idx="7148">
                  <c:v>0.81330472103004303</c:v>
                </c:pt>
                <c:pt idx="7149">
                  <c:v>0.81341719077568098</c:v>
                </c:pt>
                <c:pt idx="7150">
                  <c:v>0.81375166889185602</c:v>
                </c:pt>
                <c:pt idx="7151">
                  <c:v>0.81395348837209303</c:v>
                </c:pt>
                <c:pt idx="7152">
                  <c:v>0.81449275362318796</c:v>
                </c:pt>
                <c:pt idx="7153">
                  <c:v>0.81465517241379304</c:v>
                </c:pt>
                <c:pt idx="7154">
                  <c:v>0.81561561561561602</c:v>
                </c:pt>
                <c:pt idx="7155">
                  <c:v>0.81609195402298795</c:v>
                </c:pt>
                <c:pt idx="7156">
                  <c:v>0.81609195402298795</c:v>
                </c:pt>
                <c:pt idx="7157">
                  <c:v>0.81670315921176095</c:v>
                </c:pt>
                <c:pt idx="7158">
                  <c:v>0.81686046511627897</c:v>
                </c:pt>
                <c:pt idx="7159">
                  <c:v>0.81690140845070403</c:v>
                </c:pt>
                <c:pt idx="7160">
                  <c:v>0.81698564593301404</c:v>
                </c:pt>
                <c:pt idx="7161">
                  <c:v>0.81800391389432503</c:v>
                </c:pt>
                <c:pt idx="7162">
                  <c:v>0.81818181818181801</c:v>
                </c:pt>
                <c:pt idx="7163">
                  <c:v>0.81818181818181801</c:v>
                </c:pt>
                <c:pt idx="7164">
                  <c:v>0.81894898350594603</c:v>
                </c:pt>
                <c:pt idx="7165">
                  <c:v>0.82051282051282004</c:v>
                </c:pt>
                <c:pt idx="7166">
                  <c:v>0.82072498029944796</c:v>
                </c:pt>
                <c:pt idx="7167">
                  <c:v>0.82111436950146599</c:v>
                </c:pt>
                <c:pt idx="7168">
                  <c:v>0.82142857142857095</c:v>
                </c:pt>
                <c:pt idx="7169">
                  <c:v>0.822033898305085</c:v>
                </c:pt>
                <c:pt idx="7170">
                  <c:v>0.82232200128287403</c:v>
                </c:pt>
                <c:pt idx="7171">
                  <c:v>0.82275390625</c:v>
                </c:pt>
                <c:pt idx="7172">
                  <c:v>0.82313354363827496</c:v>
                </c:pt>
                <c:pt idx="7173">
                  <c:v>0.82372881355932204</c:v>
                </c:pt>
                <c:pt idx="7174">
                  <c:v>0.82382892057026502</c:v>
                </c:pt>
                <c:pt idx="7175">
                  <c:v>0.82421875</c:v>
                </c:pt>
                <c:pt idx="7176">
                  <c:v>0.82425117286178295</c:v>
                </c:pt>
                <c:pt idx="7177">
                  <c:v>0.82481751824817495</c:v>
                </c:pt>
                <c:pt idx="7178">
                  <c:v>0.825357671435619</c:v>
                </c:pt>
                <c:pt idx="7179">
                  <c:v>0.825659914057704</c:v>
                </c:pt>
                <c:pt idx="7180">
                  <c:v>0.82578796561604595</c:v>
                </c:pt>
                <c:pt idx="7181">
                  <c:v>0.82595760505764204</c:v>
                </c:pt>
                <c:pt idx="7182">
                  <c:v>0.82648401826483997</c:v>
                </c:pt>
                <c:pt idx="7183">
                  <c:v>0.83150684931506802</c:v>
                </c:pt>
                <c:pt idx="7184">
                  <c:v>0.83210853589598599</c:v>
                </c:pt>
                <c:pt idx="7185">
                  <c:v>0.83286118980169999</c:v>
                </c:pt>
                <c:pt idx="7186">
                  <c:v>0.83333333333333304</c:v>
                </c:pt>
                <c:pt idx="7187">
                  <c:v>0.833622183708839</c:v>
                </c:pt>
                <c:pt idx="7188">
                  <c:v>0.836203444132959</c:v>
                </c:pt>
                <c:pt idx="7189">
                  <c:v>0.83650190114068401</c:v>
                </c:pt>
                <c:pt idx="7190">
                  <c:v>0.83658008658008598</c:v>
                </c:pt>
                <c:pt idx="7191">
                  <c:v>0.83687615526802195</c:v>
                </c:pt>
                <c:pt idx="7192">
                  <c:v>0.83703287440292196</c:v>
                </c:pt>
                <c:pt idx="7193">
                  <c:v>0.83704572098476004</c:v>
                </c:pt>
                <c:pt idx="7194">
                  <c:v>0.84</c:v>
                </c:pt>
                <c:pt idx="7195">
                  <c:v>0.840353614144566</c:v>
                </c:pt>
                <c:pt idx="7196">
                  <c:v>0.840973630831643</c:v>
                </c:pt>
                <c:pt idx="7197">
                  <c:v>0.84285714285714297</c:v>
                </c:pt>
                <c:pt idx="7198">
                  <c:v>0.84406165004533096</c:v>
                </c:pt>
                <c:pt idx="7199">
                  <c:v>0.844444444444444</c:v>
                </c:pt>
                <c:pt idx="7200">
                  <c:v>0.84508627156789196</c:v>
                </c:pt>
                <c:pt idx="7201">
                  <c:v>0.84615384615384603</c:v>
                </c:pt>
                <c:pt idx="7202">
                  <c:v>0.84664246823956402</c:v>
                </c:pt>
                <c:pt idx="7203">
                  <c:v>0.84676616915422898</c:v>
                </c:pt>
                <c:pt idx="7204">
                  <c:v>0.84818481848184801</c:v>
                </c:pt>
                <c:pt idx="7205">
                  <c:v>0.84828215262997897</c:v>
                </c:pt>
                <c:pt idx="7206">
                  <c:v>0.84873949579831898</c:v>
                </c:pt>
                <c:pt idx="7207">
                  <c:v>0.84931113662456903</c:v>
                </c:pt>
                <c:pt idx="7208">
                  <c:v>0.84947491248541396</c:v>
                </c:pt>
                <c:pt idx="7209">
                  <c:v>0.85051546391752597</c:v>
                </c:pt>
                <c:pt idx="7210">
                  <c:v>0.85060240963855405</c:v>
                </c:pt>
                <c:pt idx="7211">
                  <c:v>0.85106382978723405</c:v>
                </c:pt>
                <c:pt idx="7212">
                  <c:v>0.85116448326055305</c:v>
                </c:pt>
                <c:pt idx="7213">
                  <c:v>0.85118127621991602</c:v>
                </c:pt>
                <c:pt idx="7214">
                  <c:v>0.85158501440922196</c:v>
                </c:pt>
                <c:pt idx="7215">
                  <c:v>0.851706551588858</c:v>
                </c:pt>
                <c:pt idx="7216">
                  <c:v>0.852193995381062</c:v>
                </c:pt>
                <c:pt idx="7217">
                  <c:v>0.85412667946257204</c:v>
                </c:pt>
                <c:pt idx="7218">
                  <c:v>0.85454545454545405</c:v>
                </c:pt>
                <c:pt idx="7219">
                  <c:v>0.85578947368420999</c:v>
                </c:pt>
                <c:pt idx="7220">
                  <c:v>0.85620437956204398</c:v>
                </c:pt>
                <c:pt idx="7221">
                  <c:v>0.85633270321360999</c:v>
                </c:pt>
                <c:pt idx="7222">
                  <c:v>0.85697067095219004</c:v>
                </c:pt>
                <c:pt idx="7223">
                  <c:v>0.85714285714285698</c:v>
                </c:pt>
                <c:pt idx="7224">
                  <c:v>0.85774946921443695</c:v>
                </c:pt>
                <c:pt idx="7225">
                  <c:v>0.85820895522388096</c:v>
                </c:pt>
                <c:pt idx="7226">
                  <c:v>0.85843373493975905</c:v>
                </c:pt>
                <c:pt idx="7227">
                  <c:v>0.859375</c:v>
                </c:pt>
                <c:pt idx="7228">
                  <c:v>0.861155063291139</c:v>
                </c:pt>
                <c:pt idx="7229">
                  <c:v>0.86153846153846203</c:v>
                </c:pt>
                <c:pt idx="7230">
                  <c:v>0.86340206185567003</c:v>
                </c:pt>
                <c:pt idx="7231">
                  <c:v>0.86341463414634101</c:v>
                </c:pt>
                <c:pt idx="7232">
                  <c:v>0.86363636363636398</c:v>
                </c:pt>
                <c:pt idx="7233">
                  <c:v>0.86787564766839398</c:v>
                </c:pt>
                <c:pt idx="7234">
                  <c:v>0.868945868945869</c:v>
                </c:pt>
                <c:pt idx="7235">
                  <c:v>0.86951631046119204</c:v>
                </c:pt>
                <c:pt idx="7236">
                  <c:v>0.86956521739130399</c:v>
                </c:pt>
                <c:pt idx="7237">
                  <c:v>0.870588235294118</c:v>
                </c:pt>
                <c:pt idx="7238">
                  <c:v>0.87071144817623702</c:v>
                </c:pt>
                <c:pt idx="7239">
                  <c:v>0.87319422150882797</c:v>
                </c:pt>
                <c:pt idx="7240">
                  <c:v>0.87412069603850395</c:v>
                </c:pt>
                <c:pt idx="7241">
                  <c:v>0.87490580256216999</c:v>
                </c:pt>
                <c:pt idx="7242">
                  <c:v>0.875</c:v>
                </c:pt>
                <c:pt idx="7243">
                  <c:v>0.875</c:v>
                </c:pt>
                <c:pt idx="7244">
                  <c:v>0.87564766839378205</c:v>
                </c:pt>
                <c:pt idx="7245">
                  <c:v>0.87586000598265001</c:v>
                </c:pt>
                <c:pt idx="7246">
                  <c:v>0.87628865979381398</c:v>
                </c:pt>
                <c:pt idx="7247">
                  <c:v>0.87671232876712302</c:v>
                </c:pt>
                <c:pt idx="7248">
                  <c:v>0.87853107344632797</c:v>
                </c:pt>
                <c:pt idx="7249">
                  <c:v>0.88089005235602102</c:v>
                </c:pt>
                <c:pt idx="7250">
                  <c:v>0.88124547429399003</c:v>
                </c:pt>
                <c:pt idx="7251">
                  <c:v>0.88148148148148098</c:v>
                </c:pt>
                <c:pt idx="7252">
                  <c:v>0.88169014084507003</c:v>
                </c:pt>
                <c:pt idx="7253">
                  <c:v>0.88174882629107998</c:v>
                </c:pt>
                <c:pt idx="7254">
                  <c:v>0.88193832599118904</c:v>
                </c:pt>
                <c:pt idx="7255">
                  <c:v>0.881987577639751</c:v>
                </c:pt>
                <c:pt idx="7256">
                  <c:v>0.88237774030354099</c:v>
                </c:pt>
                <c:pt idx="7257">
                  <c:v>0.88382352941176501</c:v>
                </c:pt>
                <c:pt idx="7258">
                  <c:v>0.88571428571428601</c:v>
                </c:pt>
                <c:pt idx="7259">
                  <c:v>0.88627049180327899</c:v>
                </c:pt>
                <c:pt idx="7260">
                  <c:v>0.88888888888888895</c:v>
                </c:pt>
                <c:pt idx="7261">
                  <c:v>0.89087428206764496</c:v>
                </c:pt>
                <c:pt idx="7262">
                  <c:v>0.89142857142857101</c:v>
                </c:pt>
                <c:pt idx="7263">
                  <c:v>0.891489361702128</c:v>
                </c:pt>
                <c:pt idx="7264">
                  <c:v>0.89361702127659604</c:v>
                </c:pt>
                <c:pt idx="7265">
                  <c:v>0.89473684210526305</c:v>
                </c:pt>
                <c:pt idx="7266">
                  <c:v>0.89473684210526305</c:v>
                </c:pt>
                <c:pt idx="7267">
                  <c:v>0.89552238805970097</c:v>
                </c:pt>
                <c:pt idx="7268">
                  <c:v>0.89565217391304297</c:v>
                </c:pt>
                <c:pt idx="7269">
                  <c:v>0.89573459715639803</c:v>
                </c:pt>
                <c:pt idx="7270">
                  <c:v>0.89583333333333304</c:v>
                </c:pt>
                <c:pt idx="7271">
                  <c:v>0.89763779527558996</c:v>
                </c:pt>
                <c:pt idx="7272">
                  <c:v>0.89820359281437101</c:v>
                </c:pt>
                <c:pt idx="7273">
                  <c:v>0.89852216748768499</c:v>
                </c:pt>
                <c:pt idx="7274">
                  <c:v>0.90073529411764697</c:v>
                </c:pt>
                <c:pt idx="7275">
                  <c:v>0.90256410256410302</c:v>
                </c:pt>
                <c:pt idx="7276">
                  <c:v>0.90374331550802101</c:v>
                </c:pt>
                <c:pt idx="7277">
                  <c:v>0.90517241379310298</c:v>
                </c:pt>
                <c:pt idx="7278">
                  <c:v>0.90557939914163099</c:v>
                </c:pt>
                <c:pt idx="7279">
                  <c:v>0.90666666666666695</c:v>
                </c:pt>
                <c:pt idx="7280">
                  <c:v>0.90670220868240703</c:v>
                </c:pt>
                <c:pt idx="7281">
                  <c:v>0.91237541528239197</c:v>
                </c:pt>
                <c:pt idx="7282">
                  <c:v>0.91307692307692301</c:v>
                </c:pt>
                <c:pt idx="7283">
                  <c:v>0.92015209125475295</c:v>
                </c:pt>
                <c:pt idx="7284">
                  <c:v>0.920382165605096</c:v>
                </c:pt>
                <c:pt idx="7285">
                  <c:v>0.921585523481258</c:v>
                </c:pt>
                <c:pt idx="7286">
                  <c:v>0.92626728110599099</c:v>
                </c:pt>
                <c:pt idx="7287">
                  <c:v>0.92857142857142905</c:v>
                </c:pt>
                <c:pt idx="7288">
                  <c:v>0.93072289156626498</c:v>
                </c:pt>
                <c:pt idx="7289">
                  <c:v>0.933168316831683</c:v>
                </c:pt>
                <c:pt idx="7290">
                  <c:v>0.93333333333333302</c:v>
                </c:pt>
                <c:pt idx="7291">
                  <c:v>0.94029850746268695</c:v>
                </c:pt>
                <c:pt idx="7292">
                  <c:v>0.94594594594594605</c:v>
                </c:pt>
                <c:pt idx="7293">
                  <c:v>0.95679012345679004</c:v>
                </c:pt>
                <c:pt idx="7294">
                  <c:v>0.96425670186839996</c:v>
                </c:pt>
                <c:pt idx="7295">
                  <c:v>0.96808510638297895</c:v>
                </c:pt>
                <c:pt idx="7296">
                  <c:v>0.97660818713450304</c:v>
                </c:pt>
                <c:pt idx="7297">
                  <c:v>0.97674418604651203</c:v>
                </c:pt>
                <c:pt idx="7298">
                  <c:v>0.97682119205298001</c:v>
                </c:pt>
                <c:pt idx="7299">
                  <c:v>0.97897897897897901</c:v>
                </c:pt>
                <c:pt idx="7300">
                  <c:v>0.99136069114470804</c:v>
                </c:pt>
                <c:pt idx="7301">
                  <c:v>0.994285714285714</c:v>
                </c:pt>
                <c:pt idx="7302">
                  <c:v>0.9945848375451260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71905312"/>
        <c:axId val="171905704"/>
      </c:scatterChart>
      <c:valAx>
        <c:axId val="171905312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 dirty="0" smtClean="0">
                    <a:effectLst/>
                  </a:rPr>
                  <a:t>Campus % of Econ. Disadvantaged Students</a:t>
                </a:r>
                <a:endParaRPr lang="en-US" sz="1000" dirty="0" smtClean="0">
                  <a:effectLst/>
                </a:endParaRPr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171905704"/>
        <c:crosses val="autoZero"/>
        <c:crossBetween val="midCat"/>
      </c:valAx>
      <c:valAx>
        <c:axId val="171905704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 dirty="0" smtClean="0">
                    <a:effectLst/>
                  </a:rPr>
                  <a:t>Percentage of Non </a:t>
                </a:r>
                <a:r>
                  <a:rPr lang="en-US" sz="1000" b="1" i="0" baseline="0" dirty="0" err="1" smtClean="0">
                    <a:effectLst/>
                  </a:rPr>
                  <a:t>EcoDis</a:t>
                </a:r>
                <a:r>
                  <a:rPr lang="en-US" sz="1000" b="1" i="0" baseline="0" dirty="0" smtClean="0">
                    <a:effectLst/>
                  </a:rPr>
                  <a:t> Students Meeting Postsecondary Standard</a:t>
                </a:r>
                <a:endParaRPr lang="en-US" sz="1000" dirty="0" smtClean="0">
                  <a:effectLst/>
                </a:endParaRPr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171905312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b="1" i="0" baseline="0" dirty="0" smtClean="0">
                <a:effectLst/>
              </a:rPr>
              <a:t>Student Achievement (Min. Passing Std.) for Economically Disadvantaged Students</a:t>
            </a:r>
            <a:endParaRPr lang="en-US" sz="1200" dirty="0" smtClean="0">
              <a:effectLst/>
            </a:endParaRPr>
          </a:p>
          <a:p>
            <a:pPr>
              <a:defRPr/>
            </a:pPr>
            <a:r>
              <a:rPr lang="en-US" sz="1200" b="1" i="0" baseline="0" dirty="0" smtClean="0">
                <a:effectLst/>
              </a:rPr>
              <a:t>Across </a:t>
            </a:r>
            <a:r>
              <a:rPr lang="en-US" sz="1200" b="1" i="0" u="sng" baseline="0" dirty="0" smtClean="0">
                <a:solidFill>
                  <a:srgbClr val="C00000"/>
                </a:solidFill>
                <a:effectLst/>
              </a:rPr>
              <a:t>Urban</a:t>
            </a:r>
            <a:r>
              <a:rPr lang="en-US" sz="1200" b="1" i="0" baseline="0" dirty="0" smtClean="0">
                <a:effectLst/>
              </a:rPr>
              <a:t> Campuses in Texas</a:t>
            </a:r>
            <a:endParaRPr lang="en-US" sz="1200" dirty="0" smtClean="0"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Urban EcoDis Phase In'!$B$1</c:f>
              <c:strCache>
                <c:ptCount val="1"/>
                <c:pt idx="0">
                  <c:v>EcoDis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Urban EcoDis Phase In'!$B$2:$B$3003</c:f>
              <c:numCache>
                <c:formatCode>0%</c:formatCode>
                <c:ptCount val="3002"/>
                <c:pt idx="0">
                  <c:v>0.93200000000000005</c:v>
                </c:pt>
                <c:pt idx="1">
                  <c:v>0.99399999999999999</c:v>
                </c:pt>
                <c:pt idx="2">
                  <c:v>0.75700000000000001</c:v>
                </c:pt>
                <c:pt idx="3">
                  <c:v>0.61199999999999999</c:v>
                </c:pt>
                <c:pt idx="4">
                  <c:v>1</c:v>
                </c:pt>
                <c:pt idx="5">
                  <c:v>0.88200000000000001</c:v>
                </c:pt>
                <c:pt idx="6">
                  <c:v>0.58599999999999997</c:v>
                </c:pt>
                <c:pt idx="7">
                  <c:v>0.97</c:v>
                </c:pt>
                <c:pt idx="8">
                  <c:v>0.46700000000000003</c:v>
                </c:pt>
                <c:pt idx="9">
                  <c:v>0.92500000000000004</c:v>
                </c:pt>
                <c:pt idx="10">
                  <c:v>1</c:v>
                </c:pt>
                <c:pt idx="11">
                  <c:v>6.3E-2</c:v>
                </c:pt>
                <c:pt idx="12">
                  <c:v>0.75</c:v>
                </c:pt>
                <c:pt idx="13">
                  <c:v>0.9</c:v>
                </c:pt>
                <c:pt idx="14">
                  <c:v>0.56100000000000005</c:v>
                </c:pt>
                <c:pt idx="15">
                  <c:v>0.30499999999999999</c:v>
                </c:pt>
                <c:pt idx="16">
                  <c:v>0.03</c:v>
                </c:pt>
                <c:pt idx="17">
                  <c:v>0.67900000000000005</c:v>
                </c:pt>
                <c:pt idx="18">
                  <c:v>0.33300000000000002</c:v>
                </c:pt>
                <c:pt idx="19">
                  <c:v>0.71399999999999997</c:v>
                </c:pt>
                <c:pt idx="20">
                  <c:v>0.1400000000000000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0.21199999999999999</c:v>
                </c:pt>
                <c:pt idx="25">
                  <c:v>0.04</c:v>
                </c:pt>
                <c:pt idx="26">
                  <c:v>1</c:v>
                </c:pt>
                <c:pt idx="27">
                  <c:v>0.95799999999999996</c:v>
                </c:pt>
                <c:pt idx="28">
                  <c:v>0.38500000000000001</c:v>
                </c:pt>
                <c:pt idx="29">
                  <c:v>0.81899999999999995</c:v>
                </c:pt>
                <c:pt idx="30">
                  <c:v>1</c:v>
                </c:pt>
                <c:pt idx="31">
                  <c:v>0.51500000000000001</c:v>
                </c:pt>
                <c:pt idx="32">
                  <c:v>0.58699999999999997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0.94799999999999995</c:v>
                </c:pt>
                <c:pt idx="37">
                  <c:v>0.53300000000000003</c:v>
                </c:pt>
                <c:pt idx="38">
                  <c:v>0.57299999999999995</c:v>
                </c:pt>
                <c:pt idx="39">
                  <c:v>0.53800000000000003</c:v>
                </c:pt>
                <c:pt idx="40">
                  <c:v>0.86699999999999999</c:v>
                </c:pt>
                <c:pt idx="41">
                  <c:v>1</c:v>
                </c:pt>
                <c:pt idx="42">
                  <c:v>0.52700000000000002</c:v>
                </c:pt>
                <c:pt idx="43">
                  <c:v>0.80700000000000005</c:v>
                </c:pt>
                <c:pt idx="44">
                  <c:v>5.6000000000000001E-2</c:v>
                </c:pt>
                <c:pt idx="45">
                  <c:v>0.69199999999999995</c:v>
                </c:pt>
                <c:pt idx="46">
                  <c:v>0.98099999999999998</c:v>
                </c:pt>
                <c:pt idx="47">
                  <c:v>1</c:v>
                </c:pt>
                <c:pt idx="48">
                  <c:v>0.49299999999999999</c:v>
                </c:pt>
                <c:pt idx="49">
                  <c:v>4.4999999999999998E-2</c:v>
                </c:pt>
                <c:pt idx="50">
                  <c:v>0.92100000000000004</c:v>
                </c:pt>
                <c:pt idx="51">
                  <c:v>1</c:v>
                </c:pt>
                <c:pt idx="52">
                  <c:v>0.79600000000000004</c:v>
                </c:pt>
                <c:pt idx="53">
                  <c:v>0.55200000000000005</c:v>
                </c:pt>
                <c:pt idx="54">
                  <c:v>0.95299999999999996</c:v>
                </c:pt>
                <c:pt idx="55">
                  <c:v>0.05</c:v>
                </c:pt>
                <c:pt idx="56">
                  <c:v>7.6999999999999999E-2</c:v>
                </c:pt>
                <c:pt idx="57">
                  <c:v>0.60799999999999998</c:v>
                </c:pt>
                <c:pt idx="58">
                  <c:v>0.96299999999999997</c:v>
                </c:pt>
                <c:pt idx="59">
                  <c:v>0.85799999999999998</c:v>
                </c:pt>
                <c:pt idx="60">
                  <c:v>0.82899999999999996</c:v>
                </c:pt>
                <c:pt idx="61">
                  <c:v>0.94199999999999995</c:v>
                </c:pt>
                <c:pt idx="62">
                  <c:v>0.95399999999999996</c:v>
                </c:pt>
                <c:pt idx="63">
                  <c:v>0.96499999999999997</c:v>
                </c:pt>
                <c:pt idx="64">
                  <c:v>0.49099999999999999</c:v>
                </c:pt>
                <c:pt idx="65">
                  <c:v>0.85299999999999998</c:v>
                </c:pt>
                <c:pt idx="66">
                  <c:v>0.84</c:v>
                </c:pt>
                <c:pt idx="67">
                  <c:v>0.64700000000000002</c:v>
                </c:pt>
                <c:pt idx="68">
                  <c:v>0.99099999999999999</c:v>
                </c:pt>
                <c:pt idx="69">
                  <c:v>0.66700000000000004</c:v>
                </c:pt>
                <c:pt idx="70">
                  <c:v>7.2999999999999995E-2</c:v>
                </c:pt>
                <c:pt idx="71">
                  <c:v>0.876</c:v>
                </c:pt>
                <c:pt idx="72">
                  <c:v>0.48599999999999999</c:v>
                </c:pt>
                <c:pt idx="73">
                  <c:v>0.48499999999999999</c:v>
                </c:pt>
                <c:pt idx="74">
                  <c:v>0.91700000000000004</c:v>
                </c:pt>
                <c:pt idx="75">
                  <c:v>2.5000000000000001E-2</c:v>
                </c:pt>
                <c:pt idx="76">
                  <c:v>0.40799999999999997</c:v>
                </c:pt>
                <c:pt idx="77">
                  <c:v>0.88</c:v>
                </c:pt>
                <c:pt idx="78">
                  <c:v>0.51100000000000001</c:v>
                </c:pt>
                <c:pt idx="79">
                  <c:v>0.624</c:v>
                </c:pt>
                <c:pt idx="80">
                  <c:v>0.81399999999999995</c:v>
                </c:pt>
                <c:pt idx="81">
                  <c:v>0.67300000000000004</c:v>
                </c:pt>
                <c:pt idx="82">
                  <c:v>0.71699999999999997</c:v>
                </c:pt>
                <c:pt idx="83">
                  <c:v>0.629</c:v>
                </c:pt>
                <c:pt idx="84">
                  <c:v>1</c:v>
                </c:pt>
                <c:pt idx="85">
                  <c:v>1</c:v>
                </c:pt>
                <c:pt idx="86">
                  <c:v>0.65</c:v>
                </c:pt>
                <c:pt idx="87">
                  <c:v>1</c:v>
                </c:pt>
                <c:pt idx="88">
                  <c:v>0.9</c:v>
                </c:pt>
                <c:pt idx="89">
                  <c:v>0.95699999999999996</c:v>
                </c:pt>
                <c:pt idx="90">
                  <c:v>0.90900000000000003</c:v>
                </c:pt>
                <c:pt idx="91">
                  <c:v>0.94099999999999995</c:v>
                </c:pt>
                <c:pt idx="92">
                  <c:v>0.91100000000000003</c:v>
                </c:pt>
                <c:pt idx="93">
                  <c:v>0.85299999999999998</c:v>
                </c:pt>
                <c:pt idx="94">
                  <c:v>0.78200000000000003</c:v>
                </c:pt>
                <c:pt idx="95">
                  <c:v>0.81299999999999994</c:v>
                </c:pt>
                <c:pt idx="96">
                  <c:v>0.875</c:v>
                </c:pt>
                <c:pt idx="97">
                  <c:v>0.71199999999999997</c:v>
                </c:pt>
                <c:pt idx="98">
                  <c:v>0.97799999999999998</c:v>
                </c:pt>
                <c:pt idx="99">
                  <c:v>0.68799999999999994</c:v>
                </c:pt>
                <c:pt idx="100">
                  <c:v>0.59799999999999998</c:v>
                </c:pt>
                <c:pt idx="101">
                  <c:v>0.83299999999999996</c:v>
                </c:pt>
                <c:pt idx="102">
                  <c:v>0.96499999999999997</c:v>
                </c:pt>
                <c:pt idx="103">
                  <c:v>0.52300000000000002</c:v>
                </c:pt>
                <c:pt idx="104">
                  <c:v>0.61799999999999999</c:v>
                </c:pt>
                <c:pt idx="105">
                  <c:v>0.83099999999999996</c:v>
                </c:pt>
                <c:pt idx="106">
                  <c:v>0.58599999999999997</c:v>
                </c:pt>
                <c:pt idx="107">
                  <c:v>0.89900000000000002</c:v>
                </c:pt>
                <c:pt idx="108">
                  <c:v>0.82899999999999996</c:v>
                </c:pt>
                <c:pt idx="109">
                  <c:v>0.84899999999999998</c:v>
                </c:pt>
                <c:pt idx="110">
                  <c:v>0.503</c:v>
                </c:pt>
                <c:pt idx="111">
                  <c:v>0.88300000000000001</c:v>
                </c:pt>
                <c:pt idx="112">
                  <c:v>0.91400000000000003</c:v>
                </c:pt>
                <c:pt idx="113">
                  <c:v>0.94399999999999995</c:v>
                </c:pt>
                <c:pt idx="114">
                  <c:v>0.78800000000000003</c:v>
                </c:pt>
                <c:pt idx="115">
                  <c:v>0.91300000000000003</c:v>
                </c:pt>
                <c:pt idx="116">
                  <c:v>0.86299999999999999</c:v>
                </c:pt>
                <c:pt idx="117">
                  <c:v>0.70699999999999996</c:v>
                </c:pt>
                <c:pt idx="118">
                  <c:v>0.68200000000000005</c:v>
                </c:pt>
                <c:pt idx="119">
                  <c:v>1.6E-2</c:v>
                </c:pt>
                <c:pt idx="120">
                  <c:v>0.85299999999999998</c:v>
                </c:pt>
                <c:pt idx="121">
                  <c:v>1</c:v>
                </c:pt>
                <c:pt idx="122">
                  <c:v>0.66700000000000004</c:v>
                </c:pt>
                <c:pt idx="123">
                  <c:v>0.88500000000000001</c:v>
                </c:pt>
                <c:pt idx="124">
                  <c:v>1</c:v>
                </c:pt>
                <c:pt idx="125">
                  <c:v>0.93600000000000005</c:v>
                </c:pt>
                <c:pt idx="126">
                  <c:v>0.93</c:v>
                </c:pt>
                <c:pt idx="127">
                  <c:v>0.75700000000000001</c:v>
                </c:pt>
                <c:pt idx="128">
                  <c:v>0.91800000000000004</c:v>
                </c:pt>
                <c:pt idx="129">
                  <c:v>0.93400000000000005</c:v>
                </c:pt>
                <c:pt idx="130">
                  <c:v>0.84599999999999997</c:v>
                </c:pt>
                <c:pt idx="131">
                  <c:v>0.94099999999999995</c:v>
                </c:pt>
                <c:pt idx="132">
                  <c:v>0.60399999999999998</c:v>
                </c:pt>
                <c:pt idx="133">
                  <c:v>0.75600000000000001</c:v>
                </c:pt>
                <c:pt idx="134">
                  <c:v>0.66500000000000004</c:v>
                </c:pt>
                <c:pt idx="135">
                  <c:v>0.78800000000000003</c:v>
                </c:pt>
                <c:pt idx="136">
                  <c:v>0.90100000000000002</c:v>
                </c:pt>
                <c:pt idx="137">
                  <c:v>0.70499999999999996</c:v>
                </c:pt>
                <c:pt idx="138">
                  <c:v>0.47399999999999998</c:v>
                </c:pt>
                <c:pt idx="139">
                  <c:v>1</c:v>
                </c:pt>
                <c:pt idx="140">
                  <c:v>0.98899999999999999</c:v>
                </c:pt>
                <c:pt idx="141">
                  <c:v>0.90900000000000003</c:v>
                </c:pt>
                <c:pt idx="142">
                  <c:v>0.71799999999999997</c:v>
                </c:pt>
                <c:pt idx="143">
                  <c:v>0.84899999999999998</c:v>
                </c:pt>
                <c:pt idx="144">
                  <c:v>0.78900000000000003</c:v>
                </c:pt>
                <c:pt idx="145">
                  <c:v>0.54500000000000004</c:v>
                </c:pt>
                <c:pt idx="146">
                  <c:v>0.90400000000000003</c:v>
                </c:pt>
                <c:pt idx="147">
                  <c:v>0.94</c:v>
                </c:pt>
                <c:pt idx="148">
                  <c:v>0.88200000000000001</c:v>
                </c:pt>
                <c:pt idx="149">
                  <c:v>0.90100000000000002</c:v>
                </c:pt>
                <c:pt idx="150">
                  <c:v>0.73399999999999999</c:v>
                </c:pt>
                <c:pt idx="151">
                  <c:v>4.2000000000000003E-2</c:v>
                </c:pt>
                <c:pt idx="152">
                  <c:v>0.61099999999999999</c:v>
                </c:pt>
                <c:pt idx="153">
                  <c:v>2.5000000000000001E-2</c:v>
                </c:pt>
                <c:pt idx="154">
                  <c:v>0.97699999999999998</c:v>
                </c:pt>
                <c:pt idx="155">
                  <c:v>0.88200000000000001</c:v>
                </c:pt>
                <c:pt idx="156">
                  <c:v>0.95099999999999996</c:v>
                </c:pt>
                <c:pt idx="157">
                  <c:v>0.73399999999999999</c:v>
                </c:pt>
                <c:pt idx="158">
                  <c:v>0.59099999999999997</c:v>
                </c:pt>
                <c:pt idx="159">
                  <c:v>0.34399999999999997</c:v>
                </c:pt>
                <c:pt idx="160">
                  <c:v>0.94199999999999995</c:v>
                </c:pt>
                <c:pt idx="161">
                  <c:v>0.81599999999999995</c:v>
                </c:pt>
                <c:pt idx="162">
                  <c:v>0.96799999999999997</c:v>
                </c:pt>
                <c:pt idx="163">
                  <c:v>0.82899999999999996</c:v>
                </c:pt>
                <c:pt idx="164">
                  <c:v>0.52900000000000003</c:v>
                </c:pt>
                <c:pt idx="165">
                  <c:v>0.69499999999999995</c:v>
                </c:pt>
                <c:pt idx="166">
                  <c:v>0.93100000000000005</c:v>
                </c:pt>
                <c:pt idx="167">
                  <c:v>0.79400000000000004</c:v>
                </c:pt>
                <c:pt idx="168">
                  <c:v>0.151</c:v>
                </c:pt>
                <c:pt idx="169">
                  <c:v>0.97399999999999998</c:v>
                </c:pt>
                <c:pt idx="170">
                  <c:v>0.95299999999999996</c:v>
                </c:pt>
                <c:pt idx="171">
                  <c:v>0.96599999999999997</c:v>
                </c:pt>
                <c:pt idx="172">
                  <c:v>0.86</c:v>
                </c:pt>
                <c:pt idx="173">
                  <c:v>0.89</c:v>
                </c:pt>
                <c:pt idx="174">
                  <c:v>0.93400000000000005</c:v>
                </c:pt>
                <c:pt idx="175">
                  <c:v>0.88400000000000001</c:v>
                </c:pt>
                <c:pt idx="176">
                  <c:v>0.81</c:v>
                </c:pt>
                <c:pt idx="177">
                  <c:v>0.98</c:v>
                </c:pt>
                <c:pt idx="178">
                  <c:v>0.55200000000000005</c:v>
                </c:pt>
                <c:pt idx="179">
                  <c:v>0.94399999999999995</c:v>
                </c:pt>
                <c:pt idx="180">
                  <c:v>0.84499999999999997</c:v>
                </c:pt>
                <c:pt idx="181">
                  <c:v>0.80400000000000005</c:v>
                </c:pt>
                <c:pt idx="182">
                  <c:v>0.82599999999999996</c:v>
                </c:pt>
                <c:pt idx="183">
                  <c:v>0.72499999999999998</c:v>
                </c:pt>
                <c:pt idx="184">
                  <c:v>0.505</c:v>
                </c:pt>
                <c:pt idx="185">
                  <c:v>0.71</c:v>
                </c:pt>
                <c:pt idx="186">
                  <c:v>0.97599999999999998</c:v>
                </c:pt>
                <c:pt idx="187">
                  <c:v>0.96799999999999997</c:v>
                </c:pt>
                <c:pt idx="188">
                  <c:v>0.84599999999999997</c:v>
                </c:pt>
                <c:pt idx="189">
                  <c:v>0.94099999999999995</c:v>
                </c:pt>
                <c:pt idx="190">
                  <c:v>0.88200000000000001</c:v>
                </c:pt>
                <c:pt idx="191">
                  <c:v>0.49099999999999999</c:v>
                </c:pt>
                <c:pt idx="192">
                  <c:v>0.64500000000000002</c:v>
                </c:pt>
                <c:pt idx="193">
                  <c:v>0.96099999999999997</c:v>
                </c:pt>
                <c:pt idx="194">
                  <c:v>0.92300000000000004</c:v>
                </c:pt>
                <c:pt idx="195">
                  <c:v>0.88400000000000001</c:v>
                </c:pt>
                <c:pt idx="196">
                  <c:v>0.95299999999999996</c:v>
                </c:pt>
                <c:pt idx="197">
                  <c:v>0.54900000000000004</c:v>
                </c:pt>
                <c:pt idx="198">
                  <c:v>0.92</c:v>
                </c:pt>
                <c:pt idx="199">
                  <c:v>0.85699999999999998</c:v>
                </c:pt>
                <c:pt idx="200">
                  <c:v>0.92100000000000004</c:v>
                </c:pt>
                <c:pt idx="201">
                  <c:v>0.95399999999999996</c:v>
                </c:pt>
                <c:pt idx="202">
                  <c:v>0.96299999999999997</c:v>
                </c:pt>
                <c:pt idx="203">
                  <c:v>0.91500000000000004</c:v>
                </c:pt>
                <c:pt idx="204">
                  <c:v>0.94399999999999995</c:v>
                </c:pt>
                <c:pt idx="205">
                  <c:v>0.98399999999999999</c:v>
                </c:pt>
                <c:pt idx="206">
                  <c:v>0.60899999999999999</c:v>
                </c:pt>
                <c:pt idx="207">
                  <c:v>0.875</c:v>
                </c:pt>
                <c:pt idx="208">
                  <c:v>0.877</c:v>
                </c:pt>
                <c:pt idx="209">
                  <c:v>0.93400000000000005</c:v>
                </c:pt>
                <c:pt idx="210">
                  <c:v>0.79100000000000004</c:v>
                </c:pt>
                <c:pt idx="211">
                  <c:v>0.90300000000000002</c:v>
                </c:pt>
                <c:pt idx="212">
                  <c:v>2.1000000000000001E-2</c:v>
                </c:pt>
                <c:pt idx="213">
                  <c:v>0.93</c:v>
                </c:pt>
                <c:pt idx="214">
                  <c:v>0.85399999999999998</c:v>
                </c:pt>
                <c:pt idx="215">
                  <c:v>0.79400000000000004</c:v>
                </c:pt>
                <c:pt idx="216">
                  <c:v>0.61899999999999999</c:v>
                </c:pt>
                <c:pt idx="217">
                  <c:v>0.89700000000000002</c:v>
                </c:pt>
                <c:pt idx="218">
                  <c:v>0.49</c:v>
                </c:pt>
                <c:pt idx="219">
                  <c:v>0.84</c:v>
                </c:pt>
                <c:pt idx="220">
                  <c:v>0.87</c:v>
                </c:pt>
                <c:pt idx="221">
                  <c:v>0.998</c:v>
                </c:pt>
                <c:pt idx="222">
                  <c:v>0.83499999999999996</c:v>
                </c:pt>
                <c:pt idx="223">
                  <c:v>0.89800000000000002</c:v>
                </c:pt>
                <c:pt idx="224">
                  <c:v>0.82599999999999996</c:v>
                </c:pt>
                <c:pt idx="225">
                  <c:v>0.66600000000000004</c:v>
                </c:pt>
                <c:pt idx="226">
                  <c:v>0.89800000000000002</c:v>
                </c:pt>
                <c:pt idx="227">
                  <c:v>0.98699999999999999</c:v>
                </c:pt>
                <c:pt idx="228">
                  <c:v>0.82199999999999995</c:v>
                </c:pt>
                <c:pt idx="229">
                  <c:v>0.64</c:v>
                </c:pt>
                <c:pt idx="230">
                  <c:v>0.92200000000000004</c:v>
                </c:pt>
                <c:pt idx="231">
                  <c:v>0.85399999999999998</c:v>
                </c:pt>
                <c:pt idx="232">
                  <c:v>0.89800000000000002</c:v>
                </c:pt>
                <c:pt idx="233">
                  <c:v>0.86299999999999999</c:v>
                </c:pt>
                <c:pt idx="234">
                  <c:v>0.68500000000000005</c:v>
                </c:pt>
                <c:pt idx="235">
                  <c:v>0.61799999999999999</c:v>
                </c:pt>
                <c:pt idx="236">
                  <c:v>1.2999999999999999E-2</c:v>
                </c:pt>
                <c:pt idx="237">
                  <c:v>0.85299999999999998</c:v>
                </c:pt>
                <c:pt idx="238">
                  <c:v>0.65</c:v>
                </c:pt>
                <c:pt idx="239">
                  <c:v>0.92800000000000005</c:v>
                </c:pt>
                <c:pt idx="240">
                  <c:v>0.73799999999999999</c:v>
                </c:pt>
                <c:pt idx="241">
                  <c:v>0.92</c:v>
                </c:pt>
                <c:pt idx="242">
                  <c:v>0.88</c:v>
                </c:pt>
                <c:pt idx="243">
                  <c:v>0.86099999999999999</c:v>
                </c:pt>
                <c:pt idx="244">
                  <c:v>0.97</c:v>
                </c:pt>
                <c:pt idx="245">
                  <c:v>0.91900000000000004</c:v>
                </c:pt>
                <c:pt idx="246">
                  <c:v>0.25900000000000001</c:v>
                </c:pt>
                <c:pt idx="247">
                  <c:v>0.67300000000000004</c:v>
                </c:pt>
                <c:pt idx="248">
                  <c:v>0.73299999999999998</c:v>
                </c:pt>
                <c:pt idx="249">
                  <c:v>0.89700000000000002</c:v>
                </c:pt>
                <c:pt idx="250">
                  <c:v>0.90700000000000003</c:v>
                </c:pt>
                <c:pt idx="251">
                  <c:v>0.95599999999999996</c:v>
                </c:pt>
                <c:pt idx="252">
                  <c:v>0.76200000000000001</c:v>
                </c:pt>
                <c:pt idx="253">
                  <c:v>4.5999999999999999E-2</c:v>
                </c:pt>
                <c:pt idx="254">
                  <c:v>0.89900000000000002</c:v>
                </c:pt>
                <c:pt idx="255">
                  <c:v>0.88</c:v>
                </c:pt>
                <c:pt idx="256">
                  <c:v>0.92100000000000004</c:v>
                </c:pt>
                <c:pt idx="257">
                  <c:v>0.92100000000000004</c:v>
                </c:pt>
                <c:pt idx="258">
                  <c:v>0.90100000000000002</c:v>
                </c:pt>
                <c:pt idx="259">
                  <c:v>0.59799999999999998</c:v>
                </c:pt>
                <c:pt idx="260">
                  <c:v>0.93500000000000005</c:v>
                </c:pt>
                <c:pt idx="261">
                  <c:v>0.91400000000000003</c:v>
                </c:pt>
                <c:pt idx="262">
                  <c:v>0.83899999999999997</c:v>
                </c:pt>
                <c:pt idx="263">
                  <c:v>0.79400000000000004</c:v>
                </c:pt>
                <c:pt idx="264">
                  <c:v>0.84199999999999997</c:v>
                </c:pt>
                <c:pt idx="265">
                  <c:v>0.49199999999999999</c:v>
                </c:pt>
                <c:pt idx="266">
                  <c:v>0.68200000000000005</c:v>
                </c:pt>
                <c:pt idx="267">
                  <c:v>0.96599999999999997</c:v>
                </c:pt>
                <c:pt idx="268">
                  <c:v>0.84</c:v>
                </c:pt>
                <c:pt idx="269">
                  <c:v>0.94099999999999995</c:v>
                </c:pt>
                <c:pt idx="270">
                  <c:v>0.78600000000000003</c:v>
                </c:pt>
                <c:pt idx="271">
                  <c:v>0.85599999999999998</c:v>
                </c:pt>
                <c:pt idx="272">
                  <c:v>0.95499999999999996</c:v>
                </c:pt>
                <c:pt idx="273">
                  <c:v>0.76100000000000001</c:v>
                </c:pt>
                <c:pt idx="274">
                  <c:v>0.432</c:v>
                </c:pt>
                <c:pt idx="275">
                  <c:v>0.91100000000000003</c:v>
                </c:pt>
                <c:pt idx="276">
                  <c:v>0.77700000000000002</c:v>
                </c:pt>
                <c:pt idx="277">
                  <c:v>0.90700000000000003</c:v>
                </c:pt>
                <c:pt idx="278">
                  <c:v>0.92200000000000004</c:v>
                </c:pt>
                <c:pt idx="279">
                  <c:v>0.876</c:v>
                </c:pt>
                <c:pt idx="280">
                  <c:v>0.78800000000000003</c:v>
                </c:pt>
                <c:pt idx="281">
                  <c:v>0.68300000000000005</c:v>
                </c:pt>
                <c:pt idx="282">
                  <c:v>0.85</c:v>
                </c:pt>
                <c:pt idx="283">
                  <c:v>0.72299999999999998</c:v>
                </c:pt>
                <c:pt idx="284">
                  <c:v>0.84299999999999997</c:v>
                </c:pt>
                <c:pt idx="285">
                  <c:v>0.93899999999999995</c:v>
                </c:pt>
                <c:pt idx="286">
                  <c:v>1</c:v>
                </c:pt>
                <c:pt idx="287">
                  <c:v>0.50900000000000001</c:v>
                </c:pt>
                <c:pt idx="288">
                  <c:v>0.82199999999999995</c:v>
                </c:pt>
                <c:pt idx="289">
                  <c:v>0.78900000000000003</c:v>
                </c:pt>
                <c:pt idx="290">
                  <c:v>0.89300000000000002</c:v>
                </c:pt>
                <c:pt idx="291">
                  <c:v>0.86599999999999999</c:v>
                </c:pt>
                <c:pt idx="292">
                  <c:v>0.95</c:v>
                </c:pt>
                <c:pt idx="293">
                  <c:v>0.95699999999999996</c:v>
                </c:pt>
                <c:pt idx="294">
                  <c:v>0.78300000000000003</c:v>
                </c:pt>
                <c:pt idx="295">
                  <c:v>0.85799999999999998</c:v>
                </c:pt>
                <c:pt idx="296">
                  <c:v>0.96699999999999997</c:v>
                </c:pt>
                <c:pt idx="297">
                  <c:v>0.92200000000000004</c:v>
                </c:pt>
                <c:pt idx="298">
                  <c:v>0.83299999999999996</c:v>
                </c:pt>
                <c:pt idx="299">
                  <c:v>0.874</c:v>
                </c:pt>
                <c:pt idx="300">
                  <c:v>5.3999999999999999E-2</c:v>
                </c:pt>
                <c:pt idx="301">
                  <c:v>0.435</c:v>
                </c:pt>
                <c:pt idx="302">
                  <c:v>0.61499999999999999</c:v>
                </c:pt>
                <c:pt idx="303">
                  <c:v>6.8000000000000005E-2</c:v>
                </c:pt>
                <c:pt idx="304">
                  <c:v>0.26300000000000001</c:v>
                </c:pt>
                <c:pt idx="305">
                  <c:v>0.40400000000000003</c:v>
                </c:pt>
                <c:pt idx="306">
                  <c:v>0.97399999999999998</c:v>
                </c:pt>
                <c:pt idx="307">
                  <c:v>0.93899999999999995</c:v>
                </c:pt>
                <c:pt idx="308">
                  <c:v>0.86</c:v>
                </c:pt>
                <c:pt idx="309">
                  <c:v>0.95499999999999996</c:v>
                </c:pt>
                <c:pt idx="310">
                  <c:v>0.91300000000000003</c:v>
                </c:pt>
                <c:pt idx="311">
                  <c:v>0.91600000000000004</c:v>
                </c:pt>
                <c:pt idx="312">
                  <c:v>0.66700000000000004</c:v>
                </c:pt>
                <c:pt idx="313">
                  <c:v>0.83799999999999997</c:v>
                </c:pt>
                <c:pt idx="314">
                  <c:v>0.74</c:v>
                </c:pt>
                <c:pt idx="315">
                  <c:v>1</c:v>
                </c:pt>
                <c:pt idx="316">
                  <c:v>0.61</c:v>
                </c:pt>
                <c:pt idx="317">
                  <c:v>0.80300000000000005</c:v>
                </c:pt>
                <c:pt idx="318">
                  <c:v>0.77100000000000002</c:v>
                </c:pt>
                <c:pt idx="319">
                  <c:v>0.91</c:v>
                </c:pt>
                <c:pt idx="320">
                  <c:v>0.874</c:v>
                </c:pt>
                <c:pt idx="321">
                  <c:v>0.69599999999999995</c:v>
                </c:pt>
                <c:pt idx="322">
                  <c:v>0.83199999999999996</c:v>
                </c:pt>
                <c:pt idx="323">
                  <c:v>0.97599999999999998</c:v>
                </c:pt>
                <c:pt idx="324">
                  <c:v>0.68</c:v>
                </c:pt>
                <c:pt idx="325">
                  <c:v>0.92</c:v>
                </c:pt>
                <c:pt idx="326">
                  <c:v>0.98599999999999999</c:v>
                </c:pt>
                <c:pt idx="327">
                  <c:v>0.86799999999999999</c:v>
                </c:pt>
                <c:pt idx="328">
                  <c:v>0.98699999999999999</c:v>
                </c:pt>
                <c:pt idx="329">
                  <c:v>0.60299999999999998</c:v>
                </c:pt>
                <c:pt idx="330">
                  <c:v>0.90300000000000002</c:v>
                </c:pt>
                <c:pt idx="331">
                  <c:v>0.68899999999999995</c:v>
                </c:pt>
                <c:pt idx="332">
                  <c:v>0.96299999999999997</c:v>
                </c:pt>
                <c:pt idx="333">
                  <c:v>0.89200000000000002</c:v>
                </c:pt>
                <c:pt idx="334">
                  <c:v>0.97099999999999997</c:v>
                </c:pt>
                <c:pt idx="335">
                  <c:v>0.88100000000000001</c:v>
                </c:pt>
                <c:pt idx="336">
                  <c:v>0.877</c:v>
                </c:pt>
                <c:pt idx="337">
                  <c:v>0.5</c:v>
                </c:pt>
                <c:pt idx="338">
                  <c:v>0.872</c:v>
                </c:pt>
                <c:pt idx="339">
                  <c:v>0.89</c:v>
                </c:pt>
                <c:pt idx="340">
                  <c:v>0.96</c:v>
                </c:pt>
                <c:pt idx="341">
                  <c:v>0.879</c:v>
                </c:pt>
                <c:pt idx="342">
                  <c:v>0.84499999999999997</c:v>
                </c:pt>
                <c:pt idx="343">
                  <c:v>0.84099999999999997</c:v>
                </c:pt>
                <c:pt idx="344">
                  <c:v>0.80100000000000005</c:v>
                </c:pt>
                <c:pt idx="345">
                  <c:v>0.20799999999999999</c:v>
                </c:pt>
                <c:pt idx="346">
                  <c:v>0.59699999999999998</c:v>
                </c:pt>
                <c:pt idx="347">
                  <c:v>0.72299999999999998</c:v>
                </c:pt>
                <c:pt idx="348">
                  <c:v>0.95899999999999996</c:v>
                </c:pt>
                <c:pt idx="349">
                  <c:v>0.74099999999999999</c:v>
                </c:pt>
                <c:pt idx="350">
                  <c:v>0.81699999999999995</c:v>
                </c:pt>
                <c:pt idx="351">
                  <c:v>0.83899999999999997</c:v>
                </c:pt>
                <c:pt idx="352">
                  <c:v>0.94</c:v>
                </c:pt>
                <c:pt idx="353">
                  <c:v>0.86399999999999999</c:v>
                </c:pt>
                <c:pt idx="354">
                  <c:v>0.88900000000000001</c:v>
                </c:pt>
                <c:pt idx="355">
                  <c:v>0.876</c:v>
                </c:pt>
                <c:pt idx="356">
                  <c:v>0.83899999999999997</c:v>
                </c:pt>
                <c:pt idx="357">
                  <c:v>0.63800000000000001</c:v>
                </c:pt>
                <c:pt idx="358">
                  <c:v>0.96299999999999997</c:v>
                </c:pt>
                <c:pt idx="359">
                  <c:v>0.157</c:v>
                </c:pt>
                <c:pt idx="360">
                  <c:v>0.86299999999999999</c:v>
                </c:pt>
                <c:pt idx="361">
                  <c:v>0.5</c:v>
                </c:pt>
                <c:pt idx="362">
                  <c:v>0.84799999999999998</c:v>
                </c:pt>
                <c:pt idx="363">
                  <c:v>0.86199999999999999</c:v>
                </c:pt>
                <c:pt idx="364">
                  <c:v>0.86099999999999999</c:v>
                </c:pt>
                <c:pt idx="365">
                  <c:v>0.69799999999999995</c:v>
                </c:pt>
                <c:pt idx="366">
                  <c:v>0.625</c:v>
                </c:pt>
                <c:pt idx="367">
                  <c:v>0.71299999999999997</c:v>
                </c:pt>
                <c:pt idx="368">
                  <c:v>0.85699999999999998</c:v>
                </c:pt>
                <c:pt idx="369">
                  <c:v>0.92600000000000005</c:v>
                </c:pt>
                <c:pt idx="370">
                  <c:v>0.95099999999999996</c:v>
                </c:pt>
                <c:pt idx="371">
                  <c:v>0.74199999999999999</c:v>
                </c:pt>
                <c:pt idx="372">
                  <c:v>0.92800000000000005</c:v>
                </c:pt>
                <c:pt idx="373">
                  <c:v>0.72899999999999998</c:v>
                </c:pt>
                <c:pt idx="374">
                  <c:v>0.88300000000000001</c:v>
                </c:pt>
                <c:pt idx="375">
                  <c:v>0.86799999999999999</c:v>
                </c:pt>
                <c:pt idx="376">
                  <c:v>0.93899999999999995</c:v>
                </c:pt>
                <c:pt idx="377">
                  <c:v>0.875</c:v>
                </c:pt>
                <c:pt idx="378">
                  <c:v>0.90900000000000003</c:v>
                </c:pt>
                <c:pt idx="379">
                  <c:v>0.44700000000000001</c:v>
                </c:pt>
                <c:pt idx="380">
                  <c:v>0.92</c:v>
                </c:pt>
                <c:pt idx="381">
                  <c:v>0.03</c:v>
                </c:pt>
                <c:pt idx="382">
                  <c:v>0.90400000000000003</c:v>
                </c:pt>
                <c:pt idx="383">
                  <c:v>0.874</c:v>
                </c:pt>
                <c:pt idx="384">
                  <c:v>0.19</c:v>
                </c:pt>
                <c:pt idx="385">
                  <c:v>0.83899999999999997</c:v>
                </c:pt>
                <c:pt idx="386">
                  <c:v>0.88100000000000001</c:v>
                </c:pt>
                <c:pt idx="387">
                  <c:v>0.93500000000000005</c:v>
                </c:pt>
                <c:pt idx="388">
                  <c:v>0.97</c:v>
                </c:pt>
                <c:pt idx="389">
                  <c:v>0.95699999999999996</c:v>
                </c:pt>
                <c:pt idx="390">
                  <c:v>0.94799999999999995</c:v>
                </c:pt>
                <c:pt idx="391">
                  <c:v>0.35599999999999998</c:v>
                </c:pt>
                <c:pt idx="392">
                  <c:v>0.79300000000000004</c:v>
                </c:pt>
                <c:pt idx="393">
                  <c:v>0.92700000000000005</c:v>
                </c:pt>
                <c:pt idx="394">
                  <c:v>0.70199999999999996</c:v>
                </c:pt>
                <c:pt idx="395">
                  <c:v>0.68899999999999995</c:v>
                </c:pt>
                <c:pt idx="396">
                  <c:v>0.73199999999999998</c:v>
                </c:pt>
                <c:pt idx="397">
                  <c:v>0.93500000000000005</c:v>
                </c:pt>
                <c:pt idx="398">
                  <c:v>0.93700000000000006</c:v>
                </c:pt>
                <c:pt idx="399">
                  <c:v>0.63800000000000001</c:v>
                </c:pt>
                <c:pt idx="400">
                  <c:v>0.33200000000000002</c:v>
                </c:pt>
                <c:pt idx="401">
                  <c:v>0.95099999999999996</c:v>
                </c:pt>
                <c:pt idx="402">
                  <c:v>0.91800000000000004</c:v>
                </c:pt>
                <c:pt idx="403">
                  <c:v>0.89700000000000002</c:v>
                </c:pt>
                <c:pt idx="404">
                  <c:v>0.71499999999999997</c:v>
                </c:pt>
                <c:pt idx="405">
                  <c:v>0.93899999999999995</c:v>
                </c:pt>
                <c:pt idx="406">
                  <c:v>0.83499999999999996</c:v>
                </c:pt>
                <c:pt idx="407">
                  <c:v>0.92600000000000005</c:v>
                </c:pt>
                <c:pt idx="408">
                  <c:v>0.63600000000000001</c:v>
                </c:pt>
                <c:pt idx="409">
                  <c:v>0.91600000000000004</c:v>
                </c:pt>
                <c:pt idx="410">
                  <c:v>0.76300000000000001</c:v>
                </c:pt>
                <c:pt idx="411">
                  <c:v>0.94799999999999995</c:v>
                </c:pt>
                <c:pt idx="412">
                  <c:v>0.78700000000000003</c:v>
                </c:pt>
                <c:pt idx="413">
                  <c:v>0.94599999999999995</c:v>
                </c:pt>
                <c:pt idx="414">
                  <c:v>0.92</c:v>
                </c:pt>
                <c:pt idx="415">
                  <c:v>0.91500000000000004</c:v>
                </c:pt>
                <c:pt idx="416">
                  <c:v>0.877</c:v>
                </c:pt>
                <c:pt idx="417">
                  <c:v>0.88700000000000001</c:v>
                </c:pt>
                <c:pt idx="418">
                  <c:v>0.94</c:v>
                </c:pt>
                <c:pt idx="419">
                  <c:v>0.75800000000000001</c:v>
                </c:pt>
                <c:pt idx="420">
                  <c:v>0.877</c:v>
                </c:pt>
                <c:pt idx="421">
                  <c:v>0.72</c:v>
                </c:pt>
                <c:pt idx="422">
                  <c:v>0.81599999999999995</c:v>
                </c:pt>
                <c:pt idx="423">
                  <c:v>1</c:v>
                </c:pt>
                <c:pt idx="424">
                  <c:v>0.88800000000000001</c:v>
                </c:pt>
                <c:pt idx="425">
                  <c:v>0.68799999999999994</c:v>
                </c:pt>
                <c:pt idx="426">
                  <c:v>0.78</c:v>
                </c:pt>
                <c:pt idx="427">
                  <c:v>0.84</c:v>
                </c:pt>
                <c:pt idx="428">
                  <c:v>0.86499999999999999</c:v>
                </c:pt>
                <c:pt idx="429">
                  <c:v>0.86399999999999999</c:v>
                </c:pt>
                <c:pt idx="430">
                  <c:v>0.73499999999999999</c:v>
                </c:pt>
                <c:pt idx="431">
                  <c:v>1</c:v>
                </c:pt>
                <c:pt idx="432">
                  <c:v>0.95899999999999996</c:v>
                </c:pt>
                <c:pt idx="433">
                  <c:v>0.72</c:v>
                </c:pt>
                <c:pt idx="434">
                  <c:v>0.80200000000000005</c:v>
                </c:pt>
                <c:pt idx="435">
                  <c:v>0.86199999999999999</c:v>
                </c:pt>
                <c:pt idx="436">
                  <c:v>0.747</c:v>
                </c:pt>
                <c:pt idx="437">
                  <c:v>0.92600000000000005</c:v>
                </c:pt>
                <c:pt idx="438">
                  <c:v>0.93300000000000005</c:v>
                </c:pt>
                <c:pt idx="439">
                  <c:v>0.90200000000000002</c:v>
                </c:pt>
                <c:pt idx="440">
                  <c:v>0.88800000000000001</c:v>
                </c:pt>
                <c:pt idx="441">
                  <c:v>0.34499999999999997</c:v>
                </c:pt>
                <c:pt idx="442">
                  <c:v>0.90800000000000003</c:v>
                </c:pt>
                <c:pt idx="443">
                  <c:v>0.86199999999999999</c:v>
                </c:pt>
                <c:pt idx="444">
                  <c:v>0.51500000000000001</c:v>
                </c:pt>
                <c:pt idx="445">
                  <c:v>0.77900000000000003</c:v>
                </c:pt>
                <c:pt idx="446">
                  <c:v>0.90700000000000003</c:v>
                </c:pt>
                <c:pt idx="447">
                  <c:v>0.91800000000000004</c:v>
                </c:pt>
                <c:pt idx="448">
                  <c:v>0.95499999999999996</c:v>
                </c:pt>
                <c:pt idx="449">
                  <c:v>0.875</c:v>
                </c:pt>
                <c:pt idx="450">
                  <c:v>0.8</c:v>
                </c:pt>
                <c:pt idx="451">
                  <c:v>0.83399999999999996</c:v>
                </c:pt>
                <c:pt idx="452">
                  <c:v>0.92100000000000004</c:v>
                </c:pt>
                <c:pt idx="453">
                  <c:v>0.96199999999999997</c:v>
                </c:pt>
                <c:pt idx="454">
                  <c:v>0.58299999999999996</c:v>
                </c:pt>
                <c:pt idx="455">
                  <c:v>0.91</c:v>
                </c:pt>
                <c:pt idx="456">
                  <c:v>0.89600000000000002</c:v>
                </c:pt>
                <c:pt idx="457">
                  <c:v>0.90100000000000002</c:v>
                </c:pt>
                <c:pt idx="458">
                  <c:v>0.89800000000000002</c:v>
                </c:pt>
                <c:pt idx="459">
                  <c:v>0.23899999999999999</c:v>
                </c:pt>
                <c:pt idx="460">
                  <c:v>0.76</c:v>
                </c:pt>
                <c:pt idx="461">
                  <c:v>0.877</c:v>
                </c:pt>
                <c:pt idx="462">
                  <c:v>0.53600000000000003</c:v>
                </c:pt>
                <c:pt idx="463">
                  <c:v>0.83799999999999997</c:v>
                </c:pt>
                <c:pt idx="464">
                  <c:v>0.95699999999999996</c:v>
                </c:pt>
                <c:pt idx="465">
                  <c:v>0.86599999999999999</c:v>
                </c:pt>
                <c:pt idx="466">
                  <c:v>0.91100000000000003</c:v>
                </c:pt>
                <c:pt idx="467">
                  <c:v>0.73799999999999999</c:v>
                </c:pt>
                <c:pt idx="468">
                  <c:v>0.89600000000000002</c:v>
                </c:pt>
                <c:pt idx="469">
                  <c:v>0.871</c:v>
                </c:pt>
                <c:pt idx="470">
                  <c:v>0.88</c:v>
                </c:pt>
                <c:pt idx="471">
                  <c:v>0.94799999999999995</c:v>
                </c:pt>
                <c:pt idx="472">
                  <c:v>0.79100000000000004</c:v>
                </c:pt>
                <c:pt idx="473">
                  <c:v>0.93899999999999995</c:v>
                </c:pt>
                <c:pt idx="474">
                  <c:v>0.77600000000000002</c:v>
                </c:pt>
                <c:pt idx="475">
                  <c:v>0.73399999999999999</c:v>
                </c:pt>
                <c:pt idx="476">
                  <c:v>0.82099999999999995</c:v>
                </c:pt>
                <c:pt idx="477">
                  <c:v>0.86</c:v>
                </c:pt>
                <c:pt idx="478">
                  <c:v>0.78700000000000003</c:v>
                </c:pt>
                <c:pt idx="479">
                  <c:v>0.85199999999999998</c:v>
                </c:pt>
                <c:pt idx="480">
                  <c:v>0.97299999999999998</c:v>
                </c:pt>
                <c:pt idx="481">
                  <c:v>0.84199999999999997</c:v>
                </c:pt>
                <c:pt idx="482">
                  <c:v>0.746</c:v>
                </c:pt>
                <c:pt idx="483">
                  <c:v>0.57099999999999995</c:v>
                </c:pt>
                <c:pt idx="484">
                  <c:v>0.97599999999999998</c:v>
                </c:pt>
                <c:pt idx="485">
                  <c:v>0.84399999999999997</c:v>
                </c:pt>
                <c:pt idx="486">
                  <c:v>0.91800000000000004</c:v>
                </c:pt>
                <c:pt idx="487">
                  <c:v>0.84599999999999997</c:v>
                </c:pt>
                <c:pt idx="488">
                  <c:v>0.88300000000000001</c:v>
                </c:pt>
                <c:pt idx="489">
                  <c:v>0.755</c:v>
                </c:pt>
                <c:pt idx="490">
                  <c:v>0.59699999999999998</c:v>
                </c:pt>
                <c:pt idx="491">
                  <c:v>0.81599999999999995</c:v>
                </c:pt>
                <c:pt idx="492">
                  <c:v>0.88500000000000001</c:v>
                </c:pt>
                <c:pt idx="493">
                  <c:v>0.85</c:v>
                </c:pt>
                <c:pt idx="494">
                  <c:v>0.90200000000000002</c:v>
                </c:pt>
                <c:pt idx="495">
                  <c:v>0.81499999999999995</c:v>
                </c:pt>
                <c:pt idx="496">
                  <c:v>0.93400000000000005</c:v>
                </c:pt>
                <c:pt idx="497">
                  <c:v>0.88800000000000001</c:v>
                </c:pt>
                <c:pt idx="498">
                  <c:v>0.78600000000000003</c:v>
                </c:pt>
                <c:pt idx="499">
                  <c:v>0.79800000000000004</c:v>
                </c:pt>
                <c:pt idx="500">
                  <c:v>0.68600000000000005</c:v>
                </c:pt>
                <c:pt idx="501">
                  <c:v>0.90800000000000003</c:v>
                </c:pt>
                <c:pt idx="502">
                  <c:v>0.91</c:v>
                </c:pt>
                <c:pt idx="503">
                  <c:v>0.11899999999999999</c:v>
                </c:pt>
                <c:pt idx="504">
                  <c:v>0.63400000000000001</c:v>
                </c:pt>
                <c:pt idx="505">
                  <c:v>0.68700000000000006</c:v>
                </c:pt>
                <c:pt idx="506">
                  <c:v>0.61799999999999999</c:v>
                </c:pt>
                <c:pt idx="507">
                  <c:v>0.91900000000000004</c:v>
                </c:pt>
                <c:pt idx="508">
                  <c:v>0.97599999999999998</c:v>
                </c:pt>
                <c:pt idx="509">
                  <c:v>0.90700000000000003</c:v>
                </c:pt>
                <c:pt idx="510">
                  <c:v>0.82599999999999996</c:v>
                </c:pt>
                <c:pt idx="511">
                  <c:v>0.871</c:v>
                </c:pt>
                <c:pt idx="512">
                  <c:v>0.88600000000000001</c:v>
                </c:pt>
                <c:pt idx="513">
                  <c:v>0.86699999999999999</c:v>
                </c:pt>
                <c:pt idx="514">
                  <c:v>0.81499999999999995</c:v>
                </c:pt>
                <c:pt idx="515">
                  <c:v>0.68</c:v>
                </c:pt>
                <c:pt idx="516">
                  <c:v>0.93100000000000005</c:v>
                </c:pt>
                <c:pt idx="517">
                  <c:v>0.83499999999999996</c:v>
                </c:pt>
                <c:pt idx="518">
                  <c:v>0.91100000000000003</c:v>
                </c:pt>
                <c:pt idx="519">
                  <c:v>0.83599999999999997</c:v>
                </c:pt>
                <c:pt idx="520">
                  <c:v>0.84099999999999997</c:v>
                </c:pt>
                <c:pt idx="521">
                  <c:v>0.91400000000000003</c:v>
                </c:pt>
                <c:pt idx="522">
                  <c:v>0.64700000000000002</c:v>
                </c:pt>
                <c:pt idx="523">
                  <c:v>0.876</c:v>
                </c:pt>
                <c:pt idx="524">
                  <c:v>0.57199999999999995</c:v>
                </c:pt>
                <c:pt idx="525">
                  <c:v>0.96399999999999997</c:v>
                </c:pt>
                <c:pt idx="526">
                  <c:v>0.93600000000000005</c:v>
                </c:pt>
                <c:pt idx="527">
                  <c:v>0.36699999999999999</c:v>
                </c:pt>
                <c:pt idx="528">
                  <c:v>0.70399999999999996</c:v>
                </c:pt>
                <c:pt idx="529">
                  <c:v>0.33700000000000002</c:v>
                </c:pt>
                <c:pt idx="530">
                  <c:v>0.107</c:v>
                </c:pt>
                <c:pt idx="531">
                  <c:v>0.85699999999999998</c:v>
                </c:pt>
                <c:pt idx="532">
                  <c:v>0.83699999999999997</c:v>
                </c:pt>
                <c:pt idx="533">
                  <c:v>0.624</c:v>
                </c:pt>
                <c:pt idx="534">
                  <c:v>0.89400000000000002</c:v>
                </c:pt>
                <c:pt idx="535">
                  <c:v>0.83099999999999996</c:v>
                </c:pt>
                <c:pt idx="536">
                  <c:v>0.73599999999999999</c:v>
                </c:pt>
                <c:pt idx="537">
                  <c:v>0.86799999999999999</c:v>
                </c:pt>
                <c:pt idx="538">
                  <c:v>0.96899999999999997</c:v>
                </c:pt>
                <c:pt idx="539">
                  <c:v>0.23499999999999999</c:v>
                </c:pt>
                <c:pt idx="540">
                  <c:v>0.93100000000000005</c:v>
                </c:pt>
                <c:pt idx="541">
                  <c:v>0.93500000000000005</c:v>
                </c:pt>
                <c:pt idx="542">
                  <c:v>0.31900000000000001</c:v>
                </c:pt>
                <c:pt idx="543">
                  <c:v>0.29799999999999999</c:v>
                </c:pt>
                <c:pt idx="544">
                  <c:v>0.83499999999999996</c:v>
                </c:pt>
                <c:pt idx="545">
                  <c:v>0.96299999999999997</c:v>
                </c:pt>
                <c:pt idx="546">
                  <c:v>0.72499999999999998</c:v>
                </c:pt>
                <c:pt idx="547">
                  <c:v>0.92800000000000005</c:v>
                </c:pt>
                <c:pt idx="548">
                  <c:v>0.86599999999999999</c:v>
                </c:pt>
                <c:pt idx="549">
                  <c:v>0.81</c:v>
                </c:pt>
                <c:pt idx="550">
                  <c:v>0.68799999999999994</c:v>
                </c:pt>
                <c:pt idx="551">
                  <c:v>0.2</c:v>
                </c:pt>
                <c:pt idx="552">
                  <c:v>0.81799999999999995</c:v>
                </c:pt>
                <c:pt idx="553">
                  <c:v>0.97099999999999997</c:v>
                </c:pt>
                <c:pt idx="554">
                  <c:v>0.50900000000000001</c:v>
                </c:pt>
                <c:pt idx="555">
                  <c:v>0.89500000000000002</c:v>
                </c:pt>
                <c:pt idx="556">
                  <c:v>0.80800000000000005</c:v>
                </c:pt>
                <c:pt idx="557">
                  <c:v>0.55800000000000005</c:v>
                </c:pt>
                <c:pt idx="558">
                  <c:v>0.91900000000000004</c:v>
                </c:pt>
                <c:pt idx="559">
                  <c:v>0.81399999999999995</c:v>
                </c:pt>
                <c:pt idx="560">
                  <c:v>0.96699999999999997</c:v>
                </c:pt>
                <c:pt idx="561">
                  <c:v>0.85399999999999998</c:v>
                </c:pt>
                <c:pt idx="562">
                  <c:v>0.94099999999999995</c:v>
                </c:pt>
                <c:pt idx="563">
                  <c:v>0.746</c:v>
                </c:pt>
                <c:pt idx="564">
                  <c:v>0.89900000000000002</c:v>
                </c:pt>
                <c:pt idx="565">
                  <c:v>0.97299999999999998</c:v>
                </c:pt>
                <c:pt idx="566">
                  <c:v>0.94299999999999995</c:v>
                </c:pt>
                <c:pt idx="567">
                  <c:v>0.78400000000000003</c:v>
                </c:pt>
                <c:pt idx="568">
                  <c:v>0.75700000000000001</c:v>
                </c:pt>
                <c:pt idx="569">
                  <c:v>0.93300000000000005</c:v>
                </c:pt>
                <c:pt idx="570">
                  <c:v>0.91500000000000004</c:v>
                </c:pt>
                <c:pt idx="571">
                  <c:v>0.91</c:v>
                </c:pt>
                <c:pt idx="572">
                  <c:v>0.91900000000000004</c:v>
                </c:pt>
                <c:pt idx="573">
                  <c:v>0.95699999999999996</c:v>
                </c:pt>
                <c:pt idx="574">
                  <c:v>0.84299999999999997</c:v>
                </c:pt>
                <c:pt idx="575">
                  <c:v>0.755</c:v>
                </c:pt>
                <c:pt idx="576">
                  <c:v>0.72699999999999998</c:v>
                </c:pt>
                <c:pt idx="577">
                  <c:v>0.60599999999999998</c:v>
                </c:pt>
                <c:pt idx="578">
                  <c:v>0.9</c:v>
                </c:pt>
                <c:pt idx="579">
                  <c:v>0.96299999999999997</c:v>
                </c:pt>
                <c:pt idx="580">
                  <c:v>0.92300000000000004</c:v>
                </c:pt>
                <c:pt idx="581">
                  <c:v>0.89100000000000001</c:v>
                </c:pt>
                <c:pt idx="582">
                  <c:v>0.88600000000000001</c:v>
                </c:pt>
                <c:pt idx="583">
                  <c:v>0.52</c:v>
                </c:pt>
                <c:pt idx="584">
                  <c:v>0.90700000000000003</c:v>
                </c:pt>
                <c:pt idx="585">
                  <c:v>0.82299999999999995</c:v>
                </c:pt>
                <c:pt idx="586">
                  <c:v>0.85899999999999999</c:v>
                </c:pt>
                <c:pt idx="587">
                  <c:v>0.78500000000000003</c:v>
                </c:pt>
                <c:pt idx="588">
                  <c:v>0.85899999999999999</c:v>
                </c:pt>
                <c:pt idx="589">
                  <c:v>0.90800000000000003</c:v>
                </c:pt>
                <c:pt idx="590">
                  <c:v>0.90500000000000003</c:v>
                </c:pt>
                <c:pt idx="591">
                  <c:v>0.83899999999999997</c:v>
                </c:pt>
                <c:pt idx="592">
                  <c:v>0.188</c:v>
                </c:pt>
                <c:pt idx="593">
                  <c:v>0.92200000000000004</c:v>
                </c:pt>
                <c:pt idx="594">
                  <c:v>0.17399999999999999</c:v>
                </c:pt>
                <c:pt idx="595">
                  <c:v>0.32200000000000001</c:v>
                </c:pt>
                <c:pt idx="596">
                  <c:v>0.94199999999999995</c:v>
                </c:pt>
                <c:pt idx="597">
                  <c:v>0.73299999999999998</c:v>
                </c:pt>
                <c:pt idx="598">
                  <c:v>0.73399999999999999</c:v>
                </c:pt>
                <c:pt idx="599">
                  <c:v>0.67900000000000005</c:v>
                </c:pt>
                <c:pt idx="600">
                  <c:v>0.106</c:v>
                </c:pt>
                <c:pt idx="601">
                  <c:v>0.72199999999999998</c:v>
                </c:pt>
                <c:pt idx="602">
                  <c:v>0.91800000000000004</c:v>
                </c:pt>
                <c:pt idx="603">
                  <c:v>0.89100000000000001</c:v>
                </c:pt>
                <c:pt idx="604">
                  <c:v>0.93200000000000005</c:v>
                </c:pt>
                <c:pt idx="605">
                  <c:v>0.89300000000000002</c:v>
                </c:pt>
                <c:pt idx="606">
                  <c:v>0.76500000000000001</c:v>
                </c:pt>
                <c:pt idx="607">
                  <c:v>0.9</c:v>
                </c:pt>
                <c:pt idx="608">
                  <c:v>0.72899999999999998</c:v>
                </c:pt>
                <c:pt idx="609">
                  <c:v>0.628</c:v>
                </c:pt>
                <c:pt idx="610">
                  <c:v>0.83299999999999996</c:v>
                </c:pt>
                <c:pt idx="611">
                  <c:v>0.68100000000000005</c:v>
                </c:pt>
                <c:pt idx="612">
                  <c:v>0.78</c:v>
                </c:pt>
                <c:pt idx="613">
                  <c:v>0.85299999999999998</c:v>
                </c:pt>
                <c:pt idx="614">
                  <c:v>0.70399999999999996</c:v>
                </c:pt>
                <c:pt idx="615">
                  <c:v>0.91100000000000003</c:v>
                </c:pt>
                <c:pt idx="616">
                  <c:v>0.59499999999999997</c:v>
                </c:pt>
                <c:pt idx="617">
                  <c:v>0.79800000000000004</c:v>
                </c:pt>
                <c:pt idx="618">
                  <c:v>0.85099999999999998</c:v>
                </c:pt>
                <c:pt idx="619">
                  <c:v>0.91300000000000003</c:v>
                </c:pt>
                <c:pt idx="620">
                  <c:v>0.88600000000000001</c:v>
                </c:pt>
                <c:pt idx="621">
                  <c:v>0.95299999999999996</c:v>
                </c:pt>
                <c:pt idx="622">
                  <c:v>0.84499999999999997</c:v>
                </c:pt>
                <c:pt idx="623">
                  <c:v>0.86799999999999999</c:v>
                </c:pt>
                <c:pt idx="624">
                  <c:v>0.92700000000000005</c:v>
                </c:pt>
                <c:pt idx="625">
                  <c:v>0.94599999999999995</c:v>
                </c:pt>
                <c:pt idx="626">
                  <c:v>0.79900000000000004</c:v>
                </c:pt>
                <c:pt idx="627">
                  <c:v>0.93400000000000005</c:v>
                </c:pt>
                <c:pt idx="628">
                  <c:v>0.93899999999999995</c:v>
                </c:pt>
                <c:pt idx="629">
                  <c:v>0.91700000000000004</c:v>
                </c:pt>
                <c:pt idx="630">
                  <c:v>0.96799999999999997</c:v>
                </c:pt>
                <c:pt idx="631">
                  <c:v>0.38700000000000001</c:v>
                </c:pt>
                <c:pt idx="632">
                  <c:v>0.88200000000000001</c:v>
                </c:pt>
                <c:pt idx="633">
                  <c:v>0.84599999999999997</c:v>
                </c:pt>
                <c:pt idx="634">
                  <c:v>0.48099999999999998</c:v>
                </c:pt>
                <c:pt idx="635">
                  <c:v>0.94199999999999995</c:v>
                </c:pt>
                <c:pt idx="636">
                  <c:v>0.67300000000000004</c:v>
                </c:pt>
                <c:pt idx="637">
                  <c:v>0.89</c:v>
                </c:pt>
                <c:pt idx="638">
                  <c:v>0.60099999999999998</c:v>
                </c:pt>
                <c:pt idx="639">
                  <c:v>0.80800000000000005</c:v>
                </c:pt>
                <c:pt idx="640">
                  <c:v>0.83199999999999996</c:v>
                </c:pt>
                <c:pt idx="641">
                  <c:v>0.98299999999999998</c:v>
                </c:pt>
                <c:pt idx="642">
                  <c:v>0.184</c:v>
                </c:pt>
                <c:pt idx="643">
                  <c:v>0.73199999999999998</c:v>
                </c:pt>
                <c:pt idx="644">
                  <c:v>0.90400000000000003</c:v>
                </c:pt>
                <c:pt idx="645">
                  <c:v>0.97899999999999998</c:v>
                </c:pt>
                <c:pt idx="646">
                  <c:v>0.48099999999999998</c:v>
                </c:pt>
                <c:pt idx="647">
                  <c:v>0.79100000000000004</c:v>
                </c:pt>
                <c:pt idx="648">
                  <c:v>0.88300000000000001</c:v>
                </c:pt>
                <c:pt idx="649">
                  <c:v>0.70399999999999996</c:v>
                </c:pt>
                <c:pt idx="650">
                  <c:v>0.95399999999999996</c:v>
                </c:pt>
                <c:pt idx="651">
                  <c:v>0.92800000000000005</c:v>
                </c:pt>
                <c:pt idx="652">
                  <c:v>0.86299999999999999</c:v>
                </c:pt>
                <c:pt idx="653">
                  <c:v>0.74</c:v>
                </c:pt>
                <c:pt idx="654">
                  <c:v>0.84099999999999997</c:v>
                </c:pt>
                <c:pt idx="655">
                  <c:v>0.70799999999999996</c:v>
                </c:pt>
                <c:pt idx="656">
                  <c:v>0.95</c:v>
                </c:pt>
                <c:pt idx="657">
                  <c:v>0.89400000000000002</c:v>
                </c:pt>
                <c:pt idx="658">
                  <c:v>0.84499999999999997</c:v>
                </c:pt>
                <c:pt idx="659">
                  <c:v>0.71899999999999997</c:v>
                </c:pt>
                <c:pt idx="660">
                  <c:v>0.82599999999999996</c:v>
                </c:pt>
                <c:pt idx="661">
                  <c:v>0.93799999999999994</c:v>
                </c:pt>
                <c:pt idx="662">
                  <c:v>0.71699999999999997</c:v>
                </c:pt>
                <c:pt idx="663">
                  <c:v>0.79</c:v>
                </c:pt>
                <c:pt idx="664">
                  <c:v>0.75800000000000001</c:v>
                </c:pt>
                <c:pt idx="665">
                  <c:v>0.80800000000000005</c:v>
                </c:pt>
                <c:pt idx="666">
                  <c:v>0.874</c:v>
                </c:pt>
                <c:pt idx="667">
                  <c:v>0.74099999999999999</c:v>
                </c:pt>
                <c:pt idx="668">
                  <c:v>0.93600000000000005</c:v>
                </c:pt>
                <c:pt idx="669">
                  <c:v>0.80300000000000005</c:v>
                </c:pt>
                <c:pt idx="670">
                  <c:v>0.81799999999999995</c:v>
                </c:pt>
                <c:pt idx="671">
                  <c:v>0.92700000000000005</c:v>
                </c:pt>
                <c:pt idx="672">
                  <c:v>0.77700000000000002</c:v>
                </c:pt>
                <c:pt idx="673">
                  <c:v>0.96199999999999997</c:v>
                </c:pt>
                <c:pt idx="674">
                  <c:v>0.96499999999999997</c:v>
                </c:pt>
                <c:pt idx="675">
                  <c:v>0.754</c:v>
                </c:pt>
                <c:pt idx="676">
                  <c:v>0.81399999999999995</c:v>
                </c:pt>
                <c:pt idx="677">
                  <c:v>0.93200000000000005</c:v>
                </c:pt>
                <c:pt idx="678">
                  <c:v>0.30499999999999999</c:v>
                </c:pt>
                <c:pt idx="679">
                  <c:v>0.76100000000000001</c:v>
                </c:pt>
                <c:pt idx="680">
                  <c:v>0.77900000000000003</c:v>
                </c:pt>
                <c:pt idx="681">
                  <c:v>0.92100000000000004</c:v>
                </c:pt>
                <c:pt idx="682">
                  <c:v>0.95</c:v>
                </c:pt>
                <c:pt idx="683">
                  <c:v>0.24199999999999999</c:v>
                </c:pt>
                <c:pt idx="684">
                  <c:v>0.81899999999999995</c:v>
                </c:pt>
                <c:pt idx="685">
                  <c:v>0.86599999999999999</c:v>
                </c:pt>
                <c:pt idx="686">
                  <c:v>0.87</c:v>
                </c:pt>
                <c:pt idx="687">
                  <c:v>0.82899999999999996</c:v>
                </c:pt>
                <c:pt idx="688">
                  <c:v>0.93799999999999994</c:v>
                </c:pt>
                <c:pt idx="689">
                  <c:v>0.872</c:v>
                </c:pt>
                <c:pt idx="690">
                  <c:v>0.79200000000000004</c:v>
                </c:pt>
                <c:pt idx="691">
                  <c:v>0.90800000000000003</c:v>
                </c:pt>
                <c:pt idx="692">
                  <c:v>0.74299999999999999</c:v>
                </c:pt>
                <c:pt idx="693">
                  <c:v>0.86499999999999999</c:v>
                </c:pt>
                <c:pt idx="694">
                  <c:v>0.86699999999999999</c:v>
                </c:pt>
                <c:pt idx="695">
                  <c:v>0.96099999999999997</c:v>
                </c:pt>
                <c:pt idx="696">
                  <c:v>0.28000000000000003</c:v>
                </c:pt>
                <c:pt idx="697">
                  <c:v>0.91</c:v>
                </c:pt>
                <c:pt idx="698">
                  <c:v>0.76700000000000002</c:v>
                </c:pt>
                <c:pt idx="699">
                  <c:v>0.94699999999999995</c:v>
                </c:pt>
                <c:pt idx="700">
                  <c:v>0.85199999999999998</c:v>
                </c:pt>
                <c:pt idx="701">
                  <c:v>0.92400000000000004</c:v>
                </c:pt>
                <c:pt idx="702">
                  <c:v>0.86899999999999999</c:v>
                </c:pt>
                <c:pt idx="703">
                  <c:v>0.94599999999999995</c:v>
                </c:pt>
                <c:pt idx="704">
                  <c:v>0.91700000000000004</c:v>
                </c:pt>
                <c:pt idx="705">
                  <c:v>0.78400000000000003</c:v>
                </c:pt>
                <c:pt idx="706">
                  <c:v>0.93799999999999994</c:v>
                </c:pt>
                <c:pt idx="707">
                  <c:v>0.92800000000000005</c:v>
                </c:pt>
                <c:pt idx="708">
                  <c:v>0.97</c:v>
                </c:pt>
                <c:pt idx="709">
                  <c:v>0.81100000000000005</c:v>
                </c:pt>
                <c:pt idx="710">
                  <c:v>4.9000000000000002E-2</c:v>
                </c:pt>
                <c:pt idx="711">
                  <c:v>0.83899999999999997</c:v>
                </c:pt>
                <c:pt idx="712">
                  <c:v>0.92200000000000004</c:v>
                </c:pt>
                <c:pt idx="713">
                  <c:v>0.627</c:v>
                </c:pt>
                <c:pt idx="714">
                  <c:v>0.72799999999999998</c:v>
                </c:pt>
                <c:pt idx="715">
                  <c:v>0.71799999999999997</c:v>
                </c:pt>
                <c:pt idx="716">
                  <c:v>0.96</c:v>
                </c:pt>
                <c:pt idx="717">
                  <c:v>0.90600000000000003</c:v>
                </c:pt>
                <c:pt idx="718">
                  <c:v>0.89300000000000002</c:v>
                </c:pt>
                <c:pt idx="719">
                  <c:v>0.97399999999999998</c:v>
                </c:pt>
                <c:pt idx="720">
                  <c:v>0.45500000000000002</c:v>
                </c:pt>
                <c:pt idx="721">
                  <c:v>0.94899999999999995</c:v>
                </c:pt>
                <c:pt idx="722">
                  <c:v>0.86499999999999999</c:v>
                </c:pt>
                <c:pt idx="723">
                  <c:v>0.66</c:v>
                </c:pt>
                <c:pt idx="724">
                  <c:v>0.45300000000000001</c:v>
                </c:pt>
                <c:pt idx="725">
                  <c:v>0.34300000000000003</c:v>
                </c:pt>
                <c:pt idx="726">
                  <c:v>0.86299999999999999</c:v>
                </c:pt>
                <c:pt idx="727">
                  <c:v>0.92100000000000004</c:v>
                </c:pt>
                <c:pt idx="728">
                  <c:v>0.78900000000000003</c:v>
                </c:pt>
                <c:pt idx="729">
                  <c:v>0.874</c:v>
                </c:pt>
                <c:pt idx="730">
                  <c:v>0.90900000000000003</c:v>
                </c:pt>
                <c:pt idx="731">
                  <c:v>0.89200000000000002</c:v>
                </c:pt>
                <c:pt idx="732">
                  <c:v>0.97499999999999998</c:v>
                </c:pt>
                <c:pt idx="733">
                  <c:v>0.79800000000000004</c:v>
                </c:pt>
                <c:pt idx="734">
                  <c:v>0.75700000000000001</c:v>
                </c:pt>
                <c:pt idx="735">
                  <c:v>0.83299999999999996</c:v>
                </c:pt>
                <c:pt idx="736">
                  <c:v>0.92400000000000004</c:v>
                </c:pt>
                <c:pt idx="737">
                  <c:v>0.91700000000000004</c:v>
                </c:pt>
                <c:pt idx="738">
                  <c:v>0.80100000000000005</c:v>
                </c:pt>
                <c:pt idx="739">
                  <c:v>0.69399999999999995</c:v>
                </c:pt>
                <c:pt idx="740">
                  <c:v>0.91800000000000004</c:v>
                </c:pt>
                <c:pt idx="741">
                  <c:v>0.67</c:v>
                </c:pt>
                <c:pt idx="742">
                  <c:v>0.92800000000000005</c:v>
                </c:pt>
                <c:pt idx="743">
                  <c:v>0.89100000000000001</c:v>
                </c:pt>
                <c:pt idx="744">
                  <c:v>0.71399999999999997</c:v>
                </c:pt>
                <c:pt idx="745">
                  <c:v>0.90400000000000003</c:v>
                </c:pt>
                <c:pt idx="746">
                  <c:v>0.92300000000000004</c:v>
                </c:pt>
                <c:pt idx="747">
                  <c:v>0.622</c:v>
                </c:pt>
                <c:pt idx="748">
                  <c:v>0.81699999999999995</c:v>
                </c:pt>
                <c:pt idx="749">
                  <c:v>0.80100000000000005</c:v>
                </c:pt>
                <c:pt idx="750">
                  <c:v>0.54</c:v>
                </c:pt>
                <c:pt idx="751">
                  <c:v>0.72499999999999998</c:v>
                </c:pt>
                <c:pt idx="752">
                  <c:v>0.95099999999999996</c:v>
                </c:pt>
                <c:pt idx="753">
                  <c:v>0.85599999999999998</c:v>
                </c:pt>
                <c:pt idx="754">
                  <c:v>0.82099999999999995</c:v>
                </c:pt>
                <c:pt idx="755">
                  <c:v>0.63900000000000001</c:v>
                </c:pt>
                <c:pt idx="756">
                  <c:v>0.66500000000000004</c:v>
                </c:pt>
                <c:pt idx="757">
                  <c:v>0.96099999999999997</c:v>
                </c:pt>
                <c:pt idx="758">
                  <c:v>0.85599999999999998</c:v>
                </c:pt>
                <c:pt idx="759">
                  <c:v>0.77</c:v>
                </c:pt>
                <c:pt idx="760">
                  <c:v>0.65</c:v>
                </c:pt>
                <c:pt idx="761">
                  <c:v>0.84199999999999997</c:v>
                </c:pt>
                <c:pt idx="762">
                  <c:v>0.876</c:v>
                </c:pt>
                <c:pt idx="763">
                  <c:v>0.75900000000000001</c:v>
                </c:pt>
                <c:pt idx="764">
                  <c:v>0.83299999999999996</c:v>
                </c:pt>
                <c:pt idx="765">
                  <c:v>0.91</c:v>
                </c:pt>
                <c:pt idx="766">
                  <c:v>0.45700000000000002</c:v>
                </c:pt>
                <c:pt idx="767">
                  <c:v>0.93700000000000006</c:v>
                </c:pt>
                <c:pt idx="768">
                  <c:v>0.378</c:v>
                </c:pt>
                <c:pt idx="769">
                  <c:v>0.72499999999999998</c:v>
                </c:pt>
                <c:pt idx="770">
                  <c:v>0.80600000000000005</c:v>
                </c:pt>
                <c:pt idx="771">
                  <c:v>0.78300000000000003</c:v>
                </c:pt>
                <c:pt idx="772">
                  <c:v>0.79500000000000004</c:v>
                </c:pt>
                <c:pt idx="773">
                  <c:v>0.80400000000000005</c:v>
                </c:pt>
                <c:pt idx="774">
                  <c:v>0.81599999999999995</c:v>
                </c:pt>
                <c:pt idx="775">
                  <c:v>0.93899999999999995</c:v>
                </c:pt>
                <c:pt idx="776">
                  <c:v>0.90500000000000003</c:v>
                </c:pt>
                <c:pt idx="777">
                  <c:v>0.95099999999999996</c:v>
                </c:pt>
                <c:pt idx="778">
                  <c:v>0.79700000000000004</c:v>
                </c:pt>
                <c:pt idx="779">
                  <c:v>0.56699999999999995</c:v>
                </c:pt>
                <c:pt idx="780">
                  <c:v>0.82199999999999995</c:v>
                </c:pt>
                <c:pt idx="781">
                  <c:v>0.59899999999999998</c:v>
                </c:pt>
                <c:pt idx="782">
                  <c:v>0.77</c:v>
                </c:pt>
                <c:pt idx="783">
                  <c:v>0.82299999999999995</c:v>
                </c:pt>
                <c:pt idx="784">
                  <c:v>0.94199999999999995</c:v>
                </c:pt>
                <c:pt idx="785">
                  <c:v>0.84</c:v>
                </c:pt>
                <c:pt idx="786">
                  <c:v>0.51900000000000002</c:v>
                </c:pt>
                <c:pt idx="787">
                  <c:v>0.84499999999999997</c:v>
                </c:pt>
                <c:pt idx="788">
                  <c:v>0.95599999999999996</c:v>
                </c:pt>
                <c:pt idx="789">
                  <c:v>0.70399999999999996</c:v>
                </c:pt>
                <c:pt idx="790">
                  <c:v>0.58699999999999997</c:v>
                </c:pt>
                <c:pt idx="791">
                  <c:v>0.98399999999999999</c:v>
                </c:pt>
                <c:pt idx="792">
                  <c:v>0.81499999999999995</c:v>
                </c:pt>
                <c:pt idx="793">
                  <c:v>0.97</c:v>
                </c:pt>
                <c:pt idx="794">
                  <c:v>0.873</c:v>
                </c:pt>
                <c:pt idx="795">
                  <c:v>0.93200000000000005</c:v>
                </c:pt>
                <c:pt idx="796">
                  <c:v>0.93700000000000006</c:v>
                </c:pt>
                <c:pt idx="797">
                  <c:v>0.95899999999999996</c:v>
                </c:pt>
                <c:pt idx="798">
                  <c:v>0.878</c:v>
                </c:pt>
                <c:pt idx="799">
                  <c:v>0.94899999999999995</c:v>
                </c:pt>
                <c:pt idx="800">
                  <c:v>0.71399999999999997</c:v>
                </c:pt>
                <c:pt idx="801">
                  <c:v>0.94299999999999995</c:v>
                </c:pt>
                <c:pt idx="802">
                  <c:v>0.92900000000000005</c:v>
                </c:pt>
                <c:pt idx="803">
                  <c:v>0.34100000000000003</c:v>
                </c:pt>
                <c:pt idx="804">
                  <c:v>0.69</c:v>
                </c:pt>
                <c:pt idx="805">
                  <c:v>0.69699999999999995</c:v>
                </c:pt>
                <c:pt idx="806">
                  <c:v>0.83099999999999996</c:v>
                </c:pt>
                <c:pt idx="807">
                  <c:v>0.51800000000000002</c:v>
                </c:pt>
                <c:pt idx="808">
                  <c:v>0.81599999999999995</c:v>
                </c:pt>
                <c:pt idx="809">
                  <c:v>1.2999999999999999E-2</c:v>
                </c:pt>
                <c:pt idx="810">
                  <c:v>0.873</c:v>
                </c:pt>
                <c:pt idx="811">
                  <c:v>0.92300000000000004</c:v>
                </c:pt>
                <c:pt idx="812">
                  <c:v>0.93200000000000005</c:v>
                </c:pt>
                <c:pt idx="813">
                  <c:v>0.54700000000000004</c:v>
                </c:pt>
                <c:pt idx="814">
                  <c:v>0.623</c:v>
                </c:pt>
                <c:pt idx="815">
                  <c:v>0.92900000000000005</c:v>
                </c:pt>
                <c:pt idx="816">
                  <c:v>0.70799999999999996</c:v>
                </c:pt>
                <c:pt idx="817">
                  <c:v>0.52700000000000002</c:v>
                </c:pt>
                <c:pt idx="818">
                  <c:v>0.79500000000000004</c:v>
                </c:pt>
                <c:pt idx="819">
                  <c:v>0.93500000000000005</c:v>
                </c:pt>
                <c:pt idx="820">
                  <c:v>0.94599999999999995</c:v>
                </c:pt>
                <c:pt idx="821">
                  <c:v>0.95</c:v>
                </c:pt>
                <c:pt idx="822">
                  <c:v>0.56999999999999995</c:v>
                </c:pt>
                <c:pt idx="823">
                  <c:v>0.84799999999999998</c:v>
                </c:pt>
                <c:pt idx="824">
                  <c:v>0.81799999999999995</c:v>
                </c:pt>
                <c:pt idx="825">
                  <c:v>0.88900000000000001</c:v>
                </c:pt>
                <c:pt idx="826">
                  <c:v>0.70299999999999996</c:v>
                </c:pt>
                <c:pt idx="827">
                  <c:v>0.746</c:v>
                </c:pt>
                <c:pt idx="828">
                  <c:v>0.94199999999999995</c:v>
                </c:pt>
                <c:pt idx="829">
                  <c:v>0.93500000000000005</c:v>
                </c:pt>
                <c:pt idx="830">
                  <c:v>0.83599999999999997</c:v>
                </c:pt>
                <c:pt idx="831">
                  <c:v>0.92500000000000004</c:v>
                </c:pt>
                <c:pt idx="832">
                  <c:v>0.68200000000000005</c:v>
                </c:pt>
                <c:pt idx="833">
                  <c:v>0.747</c:v>
                </c:pt>
                <c:pt idx="834">
                  <c:v>0.73499999999999999</c:v>
                </c:pt>
                <c:pt idx="835">
                  <c:v>0.85199999999999998</c:v>
                </c:pt>
                <c:pt idx="836">
                  <c:v>0.86</c:v>
                </c:pt>
                <c:pt idx="837">
                  <c:v>0.83899999999999997</c:v>
                </c:pt>
                <c:pt idx="838">
                  <c:v>0.68</c:v>
                </c:pt>
                <c:pt idx="839">
                  <c:v>0.71299999999999997</c:v>
                </c:pt>
                <c:pt idx="840">
                  <c:v>0.9</c:v>
                </c:pt>
                <c:pt idx="841">
                  <c:v>0.99</c:v>
                </c:pt>
                <c:pt idx="842">
                  <c:v>0.877</c:v>
                </c:pt>
                <c:pt idx="843">
                  <c:v>0.88200000000000001</c:v>
                </c:pt>
                <c:pt idx="844">
                  <c:v>0.81399999999999995</c:v>
                </c:pt>
                <c:pt idx="845">
                  <c:v>0.27100000000000002</c:v>
                </c:pt>
                <c:pt idx="846">
                  <c:v>0.872</c:v>
                </c:pt>
                <c:pt idx="847">
                  <c:v>0.66800000000000004</c:v>
                </c:pt>
                <c:pt idx="848">
                  <c:v>0.93799999999999994</c:v>
                </c:pt>
                <c:pt idx="849">
                  <c:v>3.5999999999999997E-2</c:v>
                </c:pt>
                <c:pt idx="850">
                  <c:v>0.94199999999999995</c:v>
                </c:pt>
                <c:pt idx="851">
                  <c:v>0.76400000000000001</c:v>
                </c:pt>
                <c:pt idx="852">
                  <c:v>0.91300000000000003</c:v>
                </c:pt>
                <c:pt idx="853">
                  <c:v>0.96599999999999997</c:v>
                </c:pt>
                <c:pt idx="854">
                  <c:v>0.90100000000000002</c:v>
                </c:pt>
                <c:pt idx="855">
                  <c:v>0.89</c:v>
                </c:pt>
                <c:pt idx="856">
                  <c:v>0.72099999999999997</c:v>
                </c:pt>
                <c:pt idx="857">
                  <c:v>0.81200000000000006</c:v>
                </c:pt>
                <c:pt idx="858">
                  <c:v>0.81499999999999995</c:v>
                </c:pt>
                <c:pt idx="859">
                  <c:v>0.46600000000000003</c:v>
                </c:pt>
                <c:pt idx="860">
                  <c:v>0.89800000000000002</c:v>
                </c:pt>
                <c:pt idx="861">
                  <c:v>0.185</c:v>
                </c:pt>
                <c:pt idx="862">
                  <c:v>1</c:v>
                </c:pt>
                <c:pt idx="863">
                  <c:v>0.66800000000000004</c:v>
                </c:pt>
                <c:pt idx="864">
                  <c:v>0.75900000000000001</c:v>
                </c:pt>
                <c:pt idx="865">
                  <c:v>0.73199999999999998</c:v>
                </c:pt>
                <c:pt idx="866">
                  <c:v>0.88400000000000001</c:v>
                </c:pt>
                <c:pt idx="867">
                  <c:v>0.74</c:v>
                </c:pt>
                <c:pt idx="868">
                  <c:v>0.94699999999999995</c:v>
                </c:pt>
                <c:pt idx="869">
                  <c:v>0.83299999999999996</c:v>
                </c:pt>
                <c:pt idx="870">
                  <c:v>0.81799999999999995</c:v>
                </c:pt>
                <c:pt idx="871">
                  <c:v>0.96599999999999997</c:v>
                </c:pt>
                <c:pt idx="872">
                  <c:v>0.92</c:v>
                </c:pt>
                <c:pt idx="873">
                  <c:v>0.91</c:v>
                </c:pt>
                <c:pt idx="874">
                  <c:v>0.86699999999999999</c:v>
                </c:pt>
                <c:pt idx="875">
                  <c:v>0.72499999999999998</c:v>
                </c:pt>
                <c:pt idx="876">
                  <c:v>0.86099999999999999</c:v>
                </c:pt>
                <c:pt idx="877">
                  <c:v>0.75600000000000001</c:v>
                </c:pt>
                <c:pt idx="878">
                  <c:v>0.93300000000000005</c:v>
                </c:pt>
                <c:pt idx="879">
                  <c:v>0.70799999999999996</c:v>
                </c:pt>
                <c:pt idx="880">
                  <c:v>0.64100000000000001</c:v>
                </c:pt>
                <c:pt idx="881">
                  <c:v>0.84499999999999997</c:v>
                </c:pt>
                <c:pt idx="882">
                  <c:v>0.873</c:v>
                </c:pt>
                <c:pt idx="883">
                  <c:v>0.68200000000000005</c:v>
                </c:pt>
                <c:pt idx="884">
                  <c:v>0.69699999999999995</c:v>
                </c:pt>
                <c:pt idx="885">
                  <c:v>0.86099999999999999</c:v>
                </c:pt>
                <c:pt idx="886">
                  <c:v>0.93100000000000005</c:v>
                </c:pt>
                <c:pt idx="887">
                  <c:v>0.78600000000000003</c:v>
                </c:pt>
                <c:pt idx="888">
                  <c:v>0.879</c:v>
                </c:pt>
                <c:pt idx="889">
                  <c:v>0.77</c:v>
                </c:pt>
                <c:pt idx="890">
                  <c:v>0.82899999999999996</c:v>
                </c:pt>
                <c:pt idx="891">
                  <c:v>0.80200000000000005</c:v>
                </c:pt>
                <c:pt idx="892">
                  <c:v>0.93100000000000005</c:v>
                </c:pt>
                <c:pt idx="893">
                  <c:v>0.77100000000000002</c:v>
                </c:pt>
                <c:pt idx="894">
                  <c:v>0.876</c:v>
                </c:pt>
                <c:pt idx="895">
                  <c:v>0.77500000000000002</c:v>
                </c:pt>
                <c:pt idx="896">
                  <c:v>0.95799999999999996</c:v>
                </c:pt>
                <c:pt idx="897">
                  <c:v>0.89900000000000002</c:v>
                </c:pt>
                <c:pt idx="898">
                  <c:v>0.115</c:v>
                </c:pt>
                <c:pt idx="899">
                  <c:v>0.85499999999999998</c:v>
                </c:pt>
                <c:pt idx="900">
                  <c:v>0.89900000000000002</c:v>
                </c:pt>
                <c:pt idx="901">
                  <c:v>0.78200000000000003</c:v>
                </c:pt>
                <c:pt idx="902">
                  <c:v>0.86699999999999999</c:v>
                </c:pt>
                <c:pt idx="903">
                  <c:v>0.72499999999999998</c:v>
                </c:pt>
                <c:pt idx="904">
                  <c:v>0.95799999999999996</c:v>
                </c:pt>
                <c:pt idx="905">
                  <c:v>0.80600000000000005</c:v>
                </c:pt>
                <c:pt idx="906">
                  <c:v>0.46700000000000003</c:v>
                </c:pt>
                <c:pt idx="907">
                  <c:v>0.85099999999999998</c:v>
                </c:pt>
                <c:pt idx="908">
                  <c:v>0.89100000000000001</c:v>
                </c:pt>
                <c:pt idx="909">
                  <c:v>0.91200000000000003</c:v>
                </c:pt>
                <c:pt idx="910">
                  <c:v>0.88600000000000001</c:v>
                </c:pt>
                <c:pt idx="911">
                  <c:v>0.48799999999999999</c:v>
                </c:pt>
                <c:pt idx="912">
                  <c:v>0.877</c:v>
                </c:pt>
                <c:pt idx="913">
                  <c:v>0.79400000000000004</c:v>
                </c:pt>
                <c:pt idx="914">
                  <c:v>0.88100000000000001</c:v>
                </c:pt>
                <c:pt idx="915">
                  <c:v>0.89</c:v>
                </c:pt>
                <c:pt idx="916">
                  <c:v>0.71699999999999997</c:v>
                </c:pt>
                <c:pt idx="917">
                  <c:v>0.86299999999999999</c:v>
                </c:pt>
                <c:pt idx="918">
                  <c:v>0.88600000000000001</c:v>
                </c:pt>
                <c:pt idx="919">
                  <c:v>0.55500000000000005</c:v>
                </c:pt>
                <c:pt idx="920">
                  <c:v>0.56999999999999995</c:v>
                </c:pt>
                <c:pt idx="921">
                  <c:v>0.97399999999999998</c:v>
                </c:pt>
                <c:pt idx="922">
                  <c:v>0.80900000000000005</c:v>
                </c:pt>
                <c:pt idx="923">
                  <c:v>0.17499999999999999</c:v>
                </c:pt>
                <c:pt idx="924">
                  <c:v>0.83399999999999996</c:v>
                </c:pt>
                <c:pt idx="925">
                  <c:v>0.81399999999999995</c:v>
                </c:pt>
                <c:pt idx="926">
                  <c:v>0.83</c:v>
                </c:pt>
                <c:pt idx="927">
                  <c:v>0.92400000000000004</c:v>
                </c:pt>
                <c:pt idx="928">
                  <c:v>0.68799999999999994</c:v>
                </c:pt>
                <c:pt idx="929">
                  <c:v>0.89300000000000002</c:v>
                </c:pt>
                <c:pt idx="930">
                  <c:v>0.86099999999999999</c:v>
                </c:pt>
                <c:pt idx="931">
                  <c:v>0.80600000000000005</c:v>
                </c:pt>
                <c:pt idx="932">
                  <c:v>0.88700000000000001</c:v>
                </c:pt>
                <c:pt idx="933">
                  <c:v>0.95499999999999996</c:v>
                </c:pt>
                <c:pt idx="934">
                  <c:v>6.7000000000000004E-2</c:v>
                </c:pt>
                <c:pt idx="935">
                  <c:v>0.88800000000000001</c:v>
                </c:pt>
                <c:pt idx="936">
                  <c:v>0.92</c:v>
                </c:pt>
                <c:pt idx="937">
                  <c:v>0.85299999999999998</c:v>
                </c:pt>
                <c:pt idx="938">
                  <c:v>0.76500000000000001</c:v>
                </c:pt>
                <c:pt idx="939">
                  <c:v>0.86399999999999999</c:v>
                </c:pt>
                <c:pt idx="940">
                  <c:v>0.92700000000000005</c:v>
                </c:pt>
                <c:pt idx="941">
                  <c:v>0.86399999999999999</c:v>
                </c:pt>
                <c:pt idx="942">
                  <c:v>0.90900000000000003</c:v>
                </c:pt>
                <c:pt idx="943">
                  <c:v>0.33500000000000002</c:v>
                </c:pt>
                <c:pt idx="944">
                  <c:v>0.70299999999999996</c:v>
                </c:pt>
                <c:pt idx="945">
                  <c:v>0.47899999999999998</c:v>
                </c:pt>
                <c:pt idx="946">
                  <c:v>0.51</c:v>
                </c:pt>
                <c:pt idx="947">
                  <c:v>0.97899999999999998</c:v>
                </c:pt>
                <c:pt idx="948">
                  <c:v>0.96099999999999997</c:v>
                </c:pt>
                <c:pt idx="949">
                  <c:v>0.73899999999999999</c:v>
                </c:pt>
                <c:pt idx="950">
                  <c:v>0.93899999999999995</c:v>
                </c:pt>
                <c:pt idx="951">
                  <c:v>0.84799999999999998</c:v>
                </c:pt>
                <c:pt idx="952">
                  <c:v>0.80700000000000005</c:v>
                </c:pt>
                <c:pt idx="953">
                  <c:v>0.73699999999999999</c:v>
                </c:pt>
                <c:pt idx="954">
                  <c:v>0.82899999999999996</c:v>
                </c:pt>
                <c:pt idx="955">
                  <c:v>0.184</c:v>
                </c:pt>
                <c:pt idx="956">
                  <c:v>0.81799999999999995</c:v>
                </c:pt>
                <c:pt idx="957">
                  <c:v>0.72399999999999998</c:v>
                </c:pt>
                <c:pt idx="958">
                  <c:v>0.70399999999999996</c:v>
                </c:pt>
                <c:pt idx="959">
                  <c:v>0.92500000000000004</c:v>
                </c:pt>
                <c:pt idx="960">
                  <c:v>0.84599999999999997</c:v>
                </c:pt>
                <c:pt idx="961">
                  <c:v>0.78900000000000003</c:v>
                </c:pt>
                <c:pt idx="962">
                  <c:v>0.80700000000000005</c:v>
                </c:pt>
                <c:pt idx="963">
                  <c:v>0.97399999999999998</c:v>
                </c:pt>
                <c:pt idx="964">
                  <c:v>0.91900000000000004</c:v>
                </c:pt>
                <c:pt idx="965">
                  <c:v>0.56399999999999995</c:v>
                </c:pt>
                <c:pt idx="966">
                  <c:v>0.84499999999999997</c:v>
                </c:pt>
                <c:pt idx="967">
                  <c:v>0.70799999999999996</c:v>
                </c:pt>
                <c:pt idx="968">
                  <c:v>0.35299999999999998</c:v>
                </c:pt>
                <c:pt idx="969">
                  <c:v>0.93100000000000005</c:v>
                </c:pt>
                <c:pt idx="970">
                  <c:v>0.94199999999999995</c:v>
                </c:pt>
                <c:pt idx="971">
                  <c:v>0.91800000000000004</c:v>
                </c:pt>
                <c:pt idx="972">
                  <c:v>0.96499999999999997</c:v>
                </c:pt>
                <c:pt idx="973">
                  <c:v>0.97299999999999998</c:v>
                </c:pt>
                <c:pt idx="974">
                  <c:v>0.79700000000000004</c:v>
                </c:pt>
                <c:pt idx="975">
                  <c:v>0.748</c:v>
                </c:pt>
                <c:pt idx="976">
                  <c:v>0.94599999999999995</c:v>
                </c:pt>
                <c:pt idx="977">
                  <c:v>0.36</c:v>
                </c:pt>
                <c:pt idx="978">
                  <c:v>0.754</c:v>
                </c:pt>
                <c:pt idx="979">
                  <c:v>0.56699999999999995</c:v>
                </c:pt>
                <c:pt idx="980">
                  <c:v>0.90100000000000002</c:v>
                </c:pt>
                <c:pt idx="981">
                  <c:v>0.875</c:v>
                </c:pt>
                <c:pt idx="982">
                  <c:v>6.6000000000000003E-2</c:v>
                </c:pt>
                <c:pt idx="983">
                  <c:v>0.77300000000000002</c:v>
                </c:pt>
                <c:pt idx="984">
                  <c:v>0.73099999999999998</c:v>
                </c:pt>
                <c:pt idx="985">
                  <c:v>0.78100000000000003</c:v>
                </c:pt>
                <c:pt idx="986">
                  <c:v>0.89600000000000002</c:v>
                </c:pt>
                <c:pt idx="987">
                  <c:v>0.83199999999999996</c:v>
                </c:pt>
                <c:pt idx="988">
                  <c:v>0.26100000000000001</c:v>
                </c:pt>
                <c:pt idx="989">
                  <c:v>0.79</c:v>
                </c:pt>
                <c:pt idx="990">
                  <c:v>0.82399999999999995</c:v>
                </c:pt>
                <c:pt idx="991">
                  <c:v>0.92400000000000004</c:v>
                </c:pt>
                <c:pt idx="992">
                  <c:v>0.54800000000000004</c:v>
                </c:pt>
                <c:pt idx="993">
                  <c:v>0.69899999999999995</c:v>
                </c:pt>
                <c:pt idx="994">
                  <c:v>0.70599999999999996</c:v>
                </c:pt>
                <c:pt idx="995">
                  <c:v>0.94299999999999995</c:v>
                </c:pt>
                <c:pt idx="996">
                  <c:v>0.88</c:v>
                </c:pt>
                <c:pt idx="997">
                  <c:v>0.85099999999999998</c:v>
                </c:pt>
                <c:pt idx="998">
                  <c:v>0.95599999999999996</c:v>
                </c:pt>
                <c:pt idx="999">
                  <c:v>0.67300000000000004</c:v>
                </c:pt>
                <c:pt idx="1000">
                  <c:v>0.76</c:v>
                </c:pt>
                <c:pt idx="1001">
                  <c:v>0.95699999999999996</c:v>
                </c:pt>
                <c:pt idx="1002">
                  <c:v>0.42</c:v>
                </c:pt>
                <c:pt idx="1003">
                  <c:v>0.65400000000000003</c:v>
                </c:pt>
                <c:pt idx="1004">
                  <c:v>0.77400000000000002</c:v>
                </c:pt>
                <c:pt idx="1005">
                  <c:v>0.71099999999999997</c:v>
                </c:pt>
                <c:pt idx="1006">
                  <c:v>0.77300000000000002</c:v>
                </c:pt>
                <c:pt idx="1007">
                  <c:v>0.91200000000000003</c:v>
                </c:pt>
                <c:pt idx="1008">
                  <c:v>0.26300000000000001</c:v>
                </c:pt>
                <c:pt idx="1009">
                  <c:v>0.85699999999999998</c:v>
                </c:pt>
                <c:pt idx="1010">
                  <c:v>0.86699999999999999</c:v>
                </c:pt>
                <c:pt idx="1011">
                  <c:v>0.874</c:v>
                </c:pt>
                <c:pt idx="1012">
                  <c:v>0.92300000000000004</c:v>
                </c:pt>
                <c:pt idx="1013">
                  <c:v>0.65600000000000003</c:v>
                </c:pt>
                <c:pt idx="1014">
                  <c:v>0.79200000000000004</c:v>
                </c:pt>
                <c:pt idx="1015">
                  <c:v>0.85299999999999998</c:v>
                </c:pt>
                <c:pt idx="1016">
                  <c:v>0.96699999999999997</c:v>
                </c:pt>
                <c:pt idx="1017">
                  <c:v>0.83199999999999996</c:v>
                </c:pt>
                <c:pt idx="1018">
                  <c:v>0.84299999999999997</c:v>
                </c:pt>
                <c:pt idx="1019">
                  <c:v>0.86499999999999999</c:v>
                </c:pt>
                <c:pt idx="1020">
                  <c:v>0.72299999999999998</c:v>
                </c:pt>
                <c:pt idx="1021">
                  <c:v>1</c:v>
                </c:pt>
                <c:pt idx="1022">
                  <c:v>0.70099999999999996</c:v>
                </c:pt>
                <c:pt idx="1023">
                  <c:v>0.72599999999999998</c:v>
                </c:pt>
                <c:pt idx="1024">
                  <c:v>0.68100000000000005</c:v>
                </c:pt>
                <c:pt idx="1025">
                  <c:v>8.1000000000000003E-2</c:v>
                </c:pt>
                <c:pt idx="1026">
                  <c:v>0.83</c:v>
                </c:pt>
                <c:pt idx="1027">
                  <c:v>0.44700000000000001</c:v>
                </c:pt>
                <c:pt idx="1028">
                  <c:v>0.88800000000000001</c:v>
                </c:pt>
                <c:pt idx="1029">
                  <c:v>0.83</c:v>
                </c:pt>
                <c:pt idx="1030">
                  <c:v>0.51100000000000001</c:v>
                </c:pt>
                <c:pt idx="1031">
                  <c:v>0.79400000000000004</c:v>
                </c:pt>
                <c:pt idx="1032">
                  <c:v>0.88300000000000001</c:v>
                </c:pt>
                <c:pt idx="1033">
                  <c:v>0.78</c:v>
                </c:pt>
                <c:pt idx="1034">
                  <c:v>0.94599999999999995</c:v>
                </c:pt>
                <c:pt idx="1035">
                  <c:v>0.72399999999999998</c:v>
                </c:pt>
                <c:pt idx="1036">
                  <c:v>0.78900000000000003</c:v>
                </c:pt>
                <c:pt idx="1037">
                  <c:v>0.97599999999999998</c:v>
                </c:pt>
                <c:pt idx="1038">
                  <c:v>0.88200000000000001</c:v>
                </c:pt>
                <c:pt idx="1039">
                  <c:v>0.76700000000000002</c:v>
                </c:pt>
                <c:pt idx="1040">
                  <c:v>0.95099999999999996</c:v>
                </c:pt>
                <c:pt idx="1041">
                  <c:v>0.9</c:v>
                </c:pt>
                <c:pt idx="1042">
                  <c:v>0.85399999999999998</c:v>
                </c:pt>
                <c:pt idx="1043">
                  <c:v>0.70099999999999996</c:v>
                </c:pt>
                <c:pt idx="1044">
                  <c:v>0.94399999999999995</c:v>
                </c:pt>
                <c:pt idx="1045">
                  <c:v>0.84</c:v>
                </c:pt>
                <c:pt idx="1046">
                  <c:v>0.83499999999999996</c:v>
                </c:pt>
                <c:pt idx="1047">
                  <c:v>0.90200000000000002</c:v>
                </c:pt>
                <c:pt idx="1048">
                  <c:v>0.88</c:v>
                </c:pt>
                <c:pt idx="1049">
                  <c:v>0.68600000000000005</c:v>
                </c:pt>
                <c:pt idx="1050">
                  <c:v>0.91300000000000003</c:v>
                </c:pt>
                <c:pt idx="1051">
                  <c:v>0.499</c:v>
                </c:pt>
                <c:pt idx="1052">
                  <c:v>0.77600000000000002</c:v>
                </c:pt>
                <c:pt idx="1053">
                  <c:v>0.94299999999999995</c:v>
                </c:pt>
                <c:pt idx="1054">
                  <c:v>0.52700000000000002</c:v>
                </c:pt>
                <c:pt idx="1055">
                  <c:v>0.86399999999999999</c:v>
                </c:pt>
                <c:pt idx="1056">
                  <c:v>0.53800000000000003</c:v>
                </c:pt>
                <c:pt idx="1057">
                  <c:v>0.81699999999999995</c:v>
                </c:pt>
                <c:pt idx="1058">
                  <c:v>1</c:v>
                </c:pt>
                <c:pt idx="1059">
                  <c:v>0.85299999999999998</c:v>
                </c:pt>
                <c:pt idx="1060">
                  <c:v>0.875</c:v>
                </c:pt>
                <c:pt idx="1061">
                  <c:v>0.84</c:v>
                </c:pt>
                <c:pt idx="1062">
                  <c:v>0.8</c:v>
                </c:pt>
                <c:pt idx="1063">
                  <c:v>0.98099999999999998</c:v>
                </c:pt>
                <c:pt idx="1064">
                  <c:v>0.70299999999999996</c:v>
                </c:pt>
                <c:pt idx="1065">
                  <c:v>0.78200000000000003</c:v>
                </c:pt>
                <c:pt idx="1066">
                  <c:v>0.95299999999999996</c:v>
                </c:pt>
                <c:pt idx="1067">
                  <c:v>0.69299999999999995</c:v>
                </c:pt>
                <c:pt idx="1068">
                  <c:v>0.80400000000000005</c:v>
                </c:pt>
                <c:pt idx="1069">
                  <c:v>0.86699999999999999</c:v>
                </c:pt>
                <c:pt idx="1070">
                  <c:v>0.83899999999999997</c:v>
                </c:pt>
                <c:pt idx="1071">
                  <c:v>0.93400000000000005</c:v>
                </c:pt>
                <c:pt idx="1072">
                  <c:v>0.63600000000000001</c:v>
                </c:pt>
                <c:pt idx="1073">
                  <c:v>0.83099999999999996</c:v>
                </c:pt>
                <c:pt idx="1074">
                  <c:v>0.98599999999999999</c:v>
                </c:pt>
                <c:pt idx="1075">
                  <c:v>0.14399999999999999</c:v>
                </c:pt>
                <c:pt idx="1076">
                  <c:v>0.78400000000000003</c:v>
                </c:pt>
                <c:pt idx="1077">
                  <c:v>0.89500000000000002</c:v>
                </c:pt>
                <c:pt idx="1078">
                  <c:v>0.82899999999999996</c:v>
                </c:pt>
                <c:pt idx="1079">
                  <c:v>0.84299999999999997</c:v>
                </c:pt>
                <c:pt idx="1080">
                  <c:v>0.69299999999999995</c:v>
                </c:pt>
                <c:pt idx="1081">
                  <c:v>0.97299999999999998</c:v>
                </c:pt>
                <c:pt idx="1082">
                  <c:v>0.94599999999999995</c:v>
                </c:pt>
                <c:pt idx="1083">
                  <c:v>0.92500000000000004</c:v>
                </c:pt>
                <c:pt idx="1084">
                  <c:v>0.9</c:v>
                </c:pt>
                <c:pt idx="1085">
                  <c:v>0.69</c:v>
                </c:pt>
                <c:pt idx="1086">
                  <c:v>0.94499999999999995</c:v>
                </c:pt>
                <c:pt idx="1087">
                  <c:v>0.88400000000000001</c:v>
                </c:pt>
                <c:pt idx="1088">
                  <c:v>0.66800000000000004</c:v>
                </c:pt>
                <c:pt idx="1089">
                  <c:v>0.77200000000000002</c:v>
                </c:pt>
                <c:pt idx="1090">
                  <c:v>0.58399999999999996</c:v>
                </c:pt>
                <c:pt idx="1091">
                  <c:v>0.73399999999999999</c:v>
                </c:pt>
                <c:pt idx="1092">
                  <c:v>0.82499999999999996</c:v>
                </c:pt>
                <c:pt idx="1093">
                  <c:v>0.84099999999999997</c:v>
                </c:pt>
                <c:pt idx="1094">
                  <c:v>0.57599999999999996</c:v>
                </c:pt>
                <c:pt idx="1095">
                  <c:v>0.91800000000000004</c:v>
                </c:pt>
                <c:pt idx="1096">
                  <c:v>0.77600000000000002</c:v>
                </c:pt>
                <c:pt idx="1097">
                  <c:v>0.88800000000000001</c:v>
                </c:pt>
                <c:pt idx="1098">
                  <c:v>0.71499999999999997</c:v>
                </c:pt>
                <c:pt idx="1099">
                  <c:v>0.33600000000000002</c:v>
                </c:pt>
                <c:pt idx="1100">
                  <c:v>0.85499999999999998</c:v>
                </c:pt>
                <c:pt idx="1101">
                  <c:v>0.91200000000000003</c:v>
                </c:pt>
                <c:pt idx="1102">
                  <c:v>0.86</c:v>
                </c:pt>
                <c:pt idx="1103">
                  <c:v>0.47899999999999998</c:v>
                </c:pt>
                <c:pt idx="1104">
                  <c:v>0.95299999999999996</c:v>
                </c:pt>
                <c:pt idx="1105">
                  <c:v>0.90400000000000003</c:v>
                </c:pt>
                <c:pt idx="1106">
                  <c:v>0.86199999999999999</c:v>
                </c:pt>
                <c:pt idx="1107">
                  <c:v>0.85599999999999998</c:v>
                </c:pt>
                <c:pt idx="1108">
                  <c:v>0.50700000000000001</c:v>
                </c:pt>
                <c:pt idx="1109">
                  <c:v>0.96499999999999997</c:v>
                </c:pt>
                <c:pt idx="1110">
                  <c:v>0.58499999999999996</c:v>
                </c:pt>
                <c:pt idx="1111">
                  <c:v>0.94399999999999995</c:v>
                </c:pt>
                <c:pt idx="1112">
                  <c:v>0.86399999999999999</c:v>
                </c:pt>
                <c:pt idx="1113">
                  <c:v>0.50600000000000001</c:v>
                </c:pt>
                <c:pt idx="1114">
                  <c:v>0.83099999999999996</c:v>
                </c:pt>
                <c:pt idx="1115">
                  <c:v>0.39900000000000002</c:v>
                </c:pt>
                <c:pt idx="1116">
                  <c:v>0.82699999999999996</c:v>
                </c:pt>
                <c:pt idx="1117">
                  <c:v>0.89100000000000001</c:v>
                </c:pt>
                <c:pt idx="1118">
                  <c:v>0.36599999999999999</c:v>
                </c:pt>
                <c:pt idx="1119">
                  <c:v>0.92</c:v>
                </c:pt>
                <c:pt idx="1120">
                  <c:v>0.76900000000000002</c:v>
                </c:pt>
                <c:pt idx="1121">
                  <c:v>0.68799999999999994</c:v>
                </c:pt>
                <c:pt idx="1122">
                  <c:v>0.91800000000000004</c:v>
                </c:pt>
                <c:pt idx="1123">
                  <c:v>0.80500000000000005</c:v>
                </c:pt>
                <c:pt idx="1124">
                  <c:v>0.50600000000000001</c:v>
                </c:pt>
                <c:pt idx="1125">
                  <c:v>0.71</c:v>
                </c:pt>
                <c:pt idx="1126">
                  <c:v>0.873</c:v>
                </c:pt>
                <c:pt idx="1127">
                  <c:v>0.93700000000000006</c:v>
                </c:pt>
                <c:pt idx="1128">
                  <c:v>0.53300000000000003</c:v>
                </c:pt>
                <c:pt idx="1129">
                  <c:v>0.628</c:v>
                </c:pt>
                <c:pt idx="1130">
                  <c:v>0.61399999999999999</c:v>
                </c:pt>
                <c:pt idx="1131">
                  <c:v>0.754</c:v>
                </c:pt>
                <c:pt idx="1132">
                  <c:v>0.497</c:v>
                </c:pt>
                <c:pt idx="1133">
                  <c:v>0.89</c:v>
                </c:pt>
                <c:pt idx="1134">
                  <c:v>0.81399999999999995</c:v>
                </c:pt>
                <c:pt idx="1135">
                  <c:v>0.9</c:v>
                </c:pt>
                <c:pt idx="1136">
                  <c:v>0.48399999999999999</c:v>
                </c:pt>
                <c:pt idx="1137">
                  <c:v>0.86899999999999999</c:v>
                </c:pt>
                <c:pt idx="1138">
                  <c:v>0.35099999999999998</c:v>
                </c:pt>
                <c:pt idx="1139">
                  <c:v>0.58299999999999996</c:v>
                </c:pt>
                <c:pt idx="1140">
                  <c:v>0.55600000000000005</c:v>
                </c:pt>
                <c:pt idx="1141">
                  <c:v>0.96099999999999997</c:v>
                </c:pt>
                <c:pt idx="1142">
                  <c:v>0.97299999999999998</c:v>
                </c:pt>
                <c:pt idx="1143">
                  <c:v>0.91600000000000004</c:v>
                </c:pt>
                <c:pt idx="1144">
                  <c:v>5.3999999999999999E-2</c:v>
                </c:pt>
                <c:pt idx="1145">
                  <c:v>0.77600000000000002</c:v>
                </c:pt>
                <c:pt idx="1146">
                  <c:v>0.92700000000000005</c:v>
                </c:pt>
                <c:pt idx="1147">
                  <c:v>0.95199999999999996</c:v>
                </c:pt>
                <c:pt idx="1148">
                  <c:v>0.91400000000000003</c:v>
                </c:pt>
                <c:pt idx="1149">
                  <c:v>0.93500000000000005</c:v>
                </c:pt>
                <c:pt idx="1150">
                  <c:v>0.90800000000000003</c:v>
                </c:pt>
                <c:pt idx="1151">
                  <c:v>0.89600000000000002</c:v>
                </c:pt>
                <c:pt idx="1152">
                  <c:v>0.73799999999999999</c:v>
                </c:pt>
                <c:pt idx="1153">
                  <c:v>0.89100000000000001</c:v>
                </c:pt>
                <c:pt idx="1154">
                  <c:v>0.96399999999999997</c:v>
                </c:pt>
                <c:pt idx="1155">
                  <c:v>0.94199999999999995</c:v>
                </c:pt>
                <c:pt idx="1156">
                  <c:v>0.29699999999999999</c:v>
                </c:pt>
                <c:pt idx="1157">
                  <c:v>0.82899999999999996</c:v>
                </c:pt>
                <c:pt idx="1158">
                  <c:v>0.73599999999999999</c:v>
                </c:pt>
                <c:pt idx="1159">
                  <c:v>0.55800000000000005</c:v>
                </c:pt>
                <c:pt idx="1160">
                  <c:v>0.84499999999999997</c:v>
                </c:pt>
                <c:pt idx="1161">
                  <c:v>0.91300000000000003</c:v>
                </c:pt>
                <c:pt idx="1162">
                  <c:v>0.41099999999999998</c:v>
                </c:pt>
                <c:pt idx="1163">
                  <c:v>0.42399999999999999</c:v>
                </c:pt>
                <c:pt idx="1164">
                  <c:v>0.97399999999999998</c:v>
                </c:pt>
                <c:pt idx="1165">
                  <c:v>0.88900000000000001</c:v>
                </c:pt>
                <c:pt idx="1166">
                  <c:v>0.873</c:v>
                </c:pt>
                <c:pt idx="1167">
                  <c:v>0.98699999999999999</c:v>
                </c:pt>
                <c:pt idx="1168">
                  <c:v>0.68300000000000005</c:v>
                </c:pt>
                <c:pt idx="1169">
                  <c:v>0.55900000000000005</c:v>
                </c:pt>
                <c:pt idx="1170">
                  <c:v>0.96499999999999997</c:v>
                </c:pt>
                <c:pt idx="1171">
                  <c:v>0.94199999999999995</c:v>
                </c:pt>
                <c:pt idx="1172">
                  <c:v>0.45700000000000002</c:v>
                </c:pt>
                <c:pt idx="1173">
                  <c:v>0.44600000000000001</c:v>
                </c:pt>
                <c:pt idx="1174">
                  <c:v>0.56200000000000006</c:v>
                </c:pt>
                <c:pt idx="1175">
                  <c:v>0.83899999999999997</c:v>
                </c:pt>
                <c:pt idx="1176">
                  <c:v>0.68500000000000005</c:v>
                </c:pt>
                <c:pt idx="1177">
                  <c:v>0.95</c:v>
                </c:pt>
                <c:pt idx="1178">
                  <c:v>0.96299999999999997</c:v>
                </c:pt>
                <c:pt idx="1179">
                  <c:v>0.46800000000000003</c:v>
                </c:pt>
                <c:pt idx="1180">
                  <c:v>0.105</c:v>
                </c:pt>
                <c:pt idx="1181">
                  <c:v>0.93100000000000005</c:v>
                </c:pt>
                <c:pt idx="1182">
                  <c:v>0.60599999999999998</c:v>
                </c:pt>
                <c:pt idx="1183">
                  <c:v>0.83599999999999997</c:v>
                </c:pt>
                <c:pt idx="1184">
                  <c:v>0.89600000000000002</c:v>
                </c:pt>
                <c:pt idx="1185">
                  <c:v>0.85899999999999999</c:v>
                </c:pt>
                <c:pt idx="1186">
                  <c:v>0.73499999999999999</c:v>
                </c:pt>
                <c:pt idx="1187">
                  <c:v>0.42399999999999999</c:v>
                </c:pt>
                <c:pt idx="1188">
                  <c:v>0.92</c:v>
                </c:pt>
                <c:pt idx="1189">
                  <c:v>0.879</c:v>
                </c:pt>
                <c:pt idx="1190">
                  <c:v>0.98699999999999999</c:v>
                </c:pt>
                <c:pt idx="1191">
                  <c:v>0.68100000000000005</c:v>
                </c:pt>
                <c:pt idx="1192">
                  <c:v>0.879</c:v>
                </c:pt>
                <c:pt idx="1193">
                  <c:v>0.68600000000000005</c:v>
                </c:pt>
                <c:pt idx="1194">
                  <c:v>0.53500000000000003</c:v>
                </c:pt>
                <c:pt idx="1195">
                  <c:v>0.89600000000000002</c:v>
                </c:pt>
                <c:pt idx="1196">
                  <c:v>0.79800000000000004</c:v>
                </c:pt>
                <c:pt idx="1197">
                  <c:v>0.72299999999999998</c:v>
                </c:pt>
                <c:pt idx="1198">
                  <c:v>9.7000000000000003E-2</c:v>
                </c:pt>
                <c:pt idx="1199">
                  <c:v>0.79500000000000004</c:v>
                </c:pt>
                <c:pt idx="1200">
                  <c:v>0.88</c:v>
                </c:pt>
                <c:pt idx="1201">
                  <c:v>0.85699999999999998</c:v>
                </c:pt>
                <c:pt idx="1202">
                  <c:v>0.879</c:v>
                </c:pt>
                <c:pt idx="1203">
                  <c:v>0.19</c:v>
                </c:pt>
                <c:pt idx="1204">
                  <c:v>0.85799999999999998</c:v>
                </c:pt>
                <c:pt idx="1205">
                  <c:v>0.378</c:v>
                </c:pt>
                <c:pt idx="1206">
                  <c:v>0.86099999999999999</c:v>
                </c:pt>
                <c:pt idx="1207">
                  <c:v>0.92200000000000004</c:v>
                </c:pt>
                <c:pt idx="1208">
                  <c:v>0.70399999999999996</c:v>
                </c:pt>
                <c:pt idx="1209">
                  <c:v>0.84</c:v>
                </c:pt>
                <c:pt idx="1210">
                  <c:v>0.64200000000000002</c:v>
                </c:pt>
                <c:pt idx="1211">
                  <c:v>0.872</c:v>
                </c:pt>
                <c:pt idx="1212">
                  <c:v>0.54300000000000004</c:v>
                </c:pt>
                <c:pt idx="1213">
                  <c:v>0.72699999999999998</c:v>
                </c:pt>
                <c:pt idx="1214">
                  <c:v>0.65100000000000002</c:v>
                </c:pt>
                <c:pt idx="1215">
                  <c:v>0.72399999999999998</c:v>
                </c:pt>
                <c:pt idx="1216">
                  <c:v>0.76800000000000002</c:v>
                </c:pt>
                <c:pt idx="1217">
                  <c:v>0.83299999999999996</c:v>
                </c:pt>
                <c:pt idx="1218">
                  <c:v>0.90300000000000002</c:v>
                </c:pt>
                <c:pt idx="1219">
                  <c:v>0.71399999999999997</c:v>
                </c:pt>
                <c:pt idx="1220">
                  <c:v>0.86799999999999999</c:v>
                </c:pt>
                <c:pt idx="1221">
                  <c:v>0.77</c:v>
                </c:pt>
                <c:pt idx="1222">
                  <c:v>0.94699999999999995</c:v>
                </c:pt>
                <c:pt idx="1223">
                  <c:v>0.82599999999999996</c:v>
                </c:pt>
                <c:pt idx="1224">
                  <c:v>0.79500000000000004</c:v>
                </c:pt>
                <c:pt idx="1225">
                  <c:v>0.83899999999999997</c:v>
                </c:pt>
                <c:pt idx="1226">
                  <c:v>0.46700000000000003</c:v>
                </c:pt>
                <c:pt idx="1227">
                  <c:v>0.54500000000000004</c:v>
                </c:pt>
                <c:pt idx="1228">
                  <c:v>0.152</c:v>
                </c:pt>
                <c:pt idx="1229">
                  <c:v>0.78200000000000003</c:v>
                </c:pt>
                <c:pt idx="1230">
                  <c:v>0.36099999999999999</c:v>
                </c:pt>
                <c:pt idx="1231">
                  <c:v>0.65</c:v>
                </c:pt>
                <c:pt idx="1232">
                  <c:v>0.69</c:v>
                </c:pt>
                <c:pt idx="1233">
                  <c:v>0.69</c:v>
                </c:pt>
                <c:pt idx="1234">
                  <c:v>0.89900000000000002</c:v>
                </c:pt>
                <c:pt idx="1235">
                  <c:v>0.72599999999999998</c:v>
                </c:pt>
                <c:pt idx="1236">
                  <c:v>0.52900000000000003</c:v>
                </c:pt>
                <c:pt idx="1237">
                  <c:v>0.61099999999999999</c:v>
                </c:pt>
                <c:pt idx="1238">
                  <c:v>0.23300000000000001</c:v>
                </c:pt>
                <c:pt idx="1239">
                  <c:v>0.97699999999999998</c:v>
                </c:pt>
                <c:pt idx="1240">
                  <c:v>0.96299999999999997</c:v>
                </c:pt>
                <c:pt idx="1241">
                  <c:v>0.91600000000000004</c:v>
                </c:pt>
                <c:pt idx="1242">
                  <c:v>0.65100000000000002</c:v>
                </c:pt>
                <c:pt idx="1243">
                  <c:v>0.85199999999999998</c:v>
                </c:pt>
                <c:pt idx="1244">
                  <c:v>0.97199999999999998</c:v>
                </c:pt>
                <c:pt idx="1245">
                  <c:v>0.82399999999999995</c:v>
                </c:pt>
                <c:pt idx="1246">
                  <c:v>0.752</c:v>
                </c:pt>
                <c:pt idx="1247">
                  <c:v>0.86099999999999999</c:v>
                </c:pt>
                <c:pt idx="1248">
                  <c:v>0.629</c:v>
                </c:pt>
                <c:pt idx="1249">
                  <c:v>0.623</c:v>
                </c:pt>
                <c:pt idx="1250">
                  <c:v>0.76900000000000002</c:v>
                </c:pt>
                <c:pt idx="1251">
                  <c:v>0.439</c:v>
                </c:pt>
                <c:pt idx="1252">
                  <c:v>0.93</c:v>
                </c:pt>
                <c:pt idx="1253">
                  <c:v>0.83</c:v>
                </c:pt>
                <c:pt idx="1254">
                  <c:v>0.78600000000000003</c:v>
                </c:pt>
                <c:pt idx="1255">
                  <c:v>0.88600000000000001</c:v>
                </c:pt>
                <c:pt idx="1256">
                  <c:v>0.43</c:v>
                </c:pt>
                <c:pt idx="1257">
                  <c:v>0.85299999999999998</c:v>
                </c:pt>
                <c:pt idx="1258">
                  <c:v>0.61</c:v>
                </c:pt>
                <c:pt idx="1259">
                  <c:v>0.84099999999999997</c:v>
                </c:pt>
                <c:pt idx="1260">
                  <c:v>0.78600000000000003</c:v>
                </c:pt>
                <c:pt idx="1261">
                  <c:v>0.77300000000000002</c:v>
                </c:pt>
                <c:pt idx="1262">
                  <c:v>0.70299999999999996</c:v>
                </c:pt>
                <c:pt idx="1263">
                  <c:v>0.90600000000000003</c:v>
                </c:pt>
                <c:pt idx="1264">
                  <c:v>0.80300000000000005</c:v>
                </c:pt>
                <c:pt idx="1265">
                  <c:v>0.94399999999999995</c:v>
                </c:pt>
                <c:pt idx="1266">
                  <c:v>0.77200000000000002</c:v>
                </c:pt>
                <c:pt idx="1267">
                  <c:v>0.68</c:v>
                </c:pt>
                <c:pt idx="1268">
                  <c:v>0.55200000000000005</c:v>
                </c:pt>
                <c:pt idx="1269">
                  <c:v>0.79900000000000004</c:v>
                </c:pt>
                <c:pt idx="1270">
                  <c:v>0.878</c:v>
                </c:pt>
                <c:pt idx="1271">
                  <c:v>0.93</c:v>
                </c:pt>
                <c:pt idx="1272">
                  <c:v>0.89</c:v>
                </c:pt>
                <c:pt idx="1273">
                  <c:v>0.82899999999999996</c:v>
                </c:pt>
                <c:pt idx="1274">
                  <c:v>0.59499999999999997</c:v>
                </c:pt>
                <c:pt idx="1275">
                  <c:v>0.96899999999999997</c:v>
                </c:pt>
                <c:pt idx="1276">
                  <c:v>0.88</c:v>
                </c:pt>
                <c:pt idx="1277">
                  <c:v>0.69599999999999995</c:v>
                </c:pt>
                <c:pt idx="1278">
                  <c:v>0.51500000000000001</c:v>
                </c:pt>
                <c:pt idx="1279">
                  <c:v>0.67500000000000004</c:v>
                </c:pt>
                <c:pt idx="1280">
                  <c:v>0.83899999999999997</c:v>
                </c:pt>
                <c:pt idx="1281">
                  <c:v>0.91100000000000003</c:v>
                </c:pt>
                <c:pt idx="1282">
                  <c:v>0.79800000000000004</c:v>
                </c:pt>
                <c:pt idx="1283">
                  <c:v>0.80400000000000005</c:v>
                </c:pt>
                <c:pt idx="1284">
                  <c:v>0.88</c:v>
                </c:pt>
                <c:pt idx="1285">
                  <c:v>0.52900000000000003</c:v>
                </c:pt>
                <c:pt idx="1286">
                  <c:v>0.83699999999999997</c:v>
                </c:pt>
                <c:pt idx="1287">
                  <c:v>0.879</c:v>
                </c:pt>
                <c:pt idx="1288">
                  <c:v>0.371</c:v>
                </c:pt>
                <c:pt idx="1289">
                  <c:v>0.84499999999999997</c:v>
                </c:pt>
                <c:pt idx="1290">
                  <c:v>0.81299999999999994</c:v>
                </c:pt>
                <c:pt idx="1291">
                  <c:v>0.85099999999999998</c:v>
                </c:pt>
                <c:pt idx="1292">
                  <c:v>0.58499999999999996</c:v>
                </c:pt>
                <c:pt idx="1293">
                  <c:v>0.92500000000000004</c:v>
                </c:pt>
                <c:pt idx="1294">
                  <c:v>0.59599999999999997</c:v>
                </c:pt>
                <c:pt idx="1295">
                  <c:v>0.63100000000000001</c:v>
                </c:pt>
                <c:pt idx="1296">
                  <c:v>7.3999999999999996E-2</c:v>
                </c:pt>
                <c:pt idx="1297">
                  <c:v>0.82699999999999996</c:v>
                </c:pt>
                <c:pt idx="1298">
                  <c:v>0.77100000000000002</c:v>
                </c:pt>
                <c:pt idx="1299">
                  <c:v>0.76500000000000001</c:v>
                </c:pt>
                <c:pt idx="1300">
                  <c:v>0.66500000000000004</c:v>
                </c:pt>
                <c:pt idx="1301">
                  <c:v>0.95299999999999996</c:v>
                </c:pt>
                <c:pt idx="1302">
                  <c:v>0.74199999999999999</c:v>
                </c:pt>
                <c:pt idx="1303">
                  <c:v>0.91700000000000004</c:v>
                </c:pt>
                <c:pt idx="1304">
                  <c:v>0.73699999999999999</c:v>
                </c:pt>
                <c:pt idx="1305">
                  <c:v>0.96899999999999997</c:v>
                </c:pt>
                <c:pt idx="1306">
                  <c:v>0.89400000000000002</c:v>
                </c:pt>
                <c:pt idx="1307">
                  <c:v>0.90600000000000003</c:v>
                </c:pt>
                <c:pt idx="1308">
                  <c:v>0.67400000000000004</c:v>
                </c:pt>
                <c:pt idx="1309">
                  <c:v>0.49099999999999999</c:v>
                </c:pt>
                <c:pt idx="1310">
                  <c:v>0.82899999999999996</c:v>
                </c:pt>
                <c:pt idx="1311">
                  <c:v>0.71199999999999997</c:v>
                </c:pt>
                <c:pt idx="1312">
                  <c:v>0.74299999999999999</c:v>
                </c:pt>
                <c:pt idx="1313">
                  <c:v>0.80300000000000005</c:v>
                </c:pt>
                <c:pt idx="1314">
                  <c:v>0.90100000000000002</c:v>
                </c:pt>
                <c:pt idx="1315">
                  <c:v>0.876</c:v>
                </c:pt>
                <c:pt idx="1316">
                  <c:v>0.57199999999999995</c:v>
                </c:pt>
                <c:pt idx="1317">
                  <c:v>0.93</c:v>
                </c:pt>
                <c:pt idx="1318">
                  <c:v>0.79200000000000004</c:v>
                </c:pt>
                <c:pt idx="1319">
                  <c:v>0.82499999999999996</c:v>
                </c:pt>
                <c:pt idx="1320">
                  <c:v>0.64800000000000002</c:v>
                </c:pt>
                <c:pt idx="1321">
                  <c:v>0.11</c:v>
                </c:pt>
                <c:pt idx="1322">
                  <c:v>0.98</c:v>
                </c:pt>
                <c:pt idx="1323">
                  <c:v>1</c:v>
                </c:pt>
                <c:pt idx="1324">
                  <c:v>0.84099999999999997</c:v>
                </c:pt>
                <c:pt idx="1325">
                  <c:v>0.32200000000000001</c:v>
                </c:pt>
                <c:pt idx="1326">
                  <c:v>0.92300000000000004</c:v>
                </c:pt>
                <c:pt idx="1327">
                  <c:v>0.122</c:v>
                </c:pt>
                <c:pt idx="1328">
                  <c:v>0.40200000000000002</c:v>
                </c:pt>
                <c:pt idx="1329">
                  <c:v>0.79900000000000004</c:v>
                </c:pt>
                <c:pt idx="1330">
                  <c:v>0.85799999999999998</c:v>
                </c:pt>
                <c:pt idx="1331">
                  <c:v>0.434</c:v>
                </c:pt>
                <c:pt idx="1332">
                  <c:v>0.90400000000000003</c:v>
                </c:pt>
                <c:pt idx="1333">
                  <c:v>0.89500000000000002</c:v>
                </c:pt>
                <c:pt idx="1334">
                  <c:v>0.92400000000000004</c:v>
                </c:pt>
                <c:pt idx="1335">
                  <c:v>0.77900000000000003</c:v>
                </c:pt>
                <c:pt idx="1336">
                  <c:v>0.86599999999999999</c:v>
                </c:pt>
                <c:pt idx="1337">
                  <c:v>0.90400000000000003</c:v>
                </c:pt>
                <c:pt idx="1338">
                  <c:v>0.52500000000000002</c:v>
                </c:pt>
                <c:pt idx="1339">
                  <c:v>0.73099999999999998</c:v>
                </c:pt>
                <c:pt idx="1340">
                  <c:v>0.91</c:v>
                </c:pt>
                <c:pt idx="1341">
                  <c:v>0.92</c:v>
                </c:pt>
                <c:pt idx="1342">
                  <c:v>0.91</c:v>
                </c:pt>
                <c:pt idx="1343">
                  <c:v>0.67700000000000005</c:v>
                </c:pt>
                <c:pt idx="1344">
                  <c:v>0.88500000000000001</c:v>
                </c:pt>
                <c:pt idx="1345">
                  <c:v>0.54200000000000004</c:v>
                </c:pt>
                <c:pt idx="1346">
                  <c:v>0.85099999999999998</c:v>
                </c:pt>
                <c:pt idx="1347">
                  <c:v>0.66400000000000003</c:v>
                </c:pt>
                <c:pt idx="1348">
                  <c:v>0.66100000000000003</c:v>
                </c:pt>
                <c:pt idx="1349">
                  <c:v>0.874</c:v>
                </c:pt>
                <c:pt idx="1350">
                  <c:v>0.86799999999999999</c:v>
                </c:pt>
                <c:pt idx="1351">
                  <c:v>0.93500000000000005</c:v>
                </c:pt>
                <c:pt idx="1352">
                  <c:v>0.89200000000000002</c:v>
                </c:pt>
                <c:pt idx="1353">
                  <c:v>0.371</c:v>
                </c:pt>
                <c:pt idx="1354">
                  <c:v>0.83299999999999996</c:v>
                </c:pt>
                <c:pt idx="1355">
                  <c:v>0.91</c:v>
                </c:pt>
                <c:pt idx="1356">
                  <c:v>0.88</c:v>
                </c:pt>
                <c:pt idx="1357">
                  <c:v>0.68200000000000005</c:v>
                </c:pt>
                <c:pt idx="1358">
                  <c:v>0.54500000000000004</c:v>
                </c:pt>
                <c:pt idx="1359">
                  <c:v>0.77400000000000002</c:v>
                </c:pt>
                <c:pt idx="1360">
                  <c:v>0.70599999999999996</c:v>
                </c:pt>
                <c:pt idx="1361">
                  <c:v>0.68300000000000005</c:v>
                </c:pt>
                <c:pt idx="1362">
                  <c:v>0.752</c:v>
                </c:pt>
                <c:pt idx="1363">
                  <c:v>0.77300000000000002</c:v>
                </c:pt>
                <c:pt idx="1364">
                  <c:v>0.97599999999999998</c:v>
                </c:pt>
                <c:pt idx="1365">
                  <c:v>0.82899999999999996</c:v>
                </c:pt>
                <c:pt idx="1366">
                  <c:v>0.88800000000000001</c:v>
                </c:pt>
                <c:pt idx="1367">
                  <c:v>0.89400000000000002</c:v>
                </c:pt>
                <c:pt idx="1368">
                  <c:v>0.65800000000000003</c:v>
                </c:pt>
                <c:pt idx="1369">
                  <c:v>0.89100000000000001</c:v>
                </c:pt>
                <c:pt idx="1370">
                  <c:v>0.73899999999999999</c:v>
                </c:pt>
                <c:pt idx="1371">
                  <c:v>0.79600000000000004</c:v>
                </c:pt>
                <c:pt idx="1372">
                  <c:v>0.94099999999999995</c:v>
                </c:pt>
                <c:pt idx="1373">
                  <c:v>0.96199999999999997</c:v>
                </c:pt>
                <c:pt idx="1374">
                  <c:v>7.6999999999999999E-2</c:v>
                </c:pt>
                <c:pt idx="1375">
                  <c:v>0.877</c:v>
                </c:pt>
                <c:pt idx="1376">
                  <c:v>0.86199999999999999</c:v>
                </c:pt>
                <c:pt idx="1377">
                  <c:v>0.94799999999999995</c:v>
                </c:pt>
                <c:pt idx="1378">
                  <c:v>0.81399999999999995</c:v>
                </c:pt>
                <c:pt idx="1379">
                  <c:v>0.94799999999999995</c:v>
                </c:pt>
                <c:pt idx="1380">
                  <c:v>0.83199999999999996</c:v>
                </c:pt>
                <c:pt idx="1381">
                  <c:v>0.41899999999999998</c:v>
                </c:pt>
                <c:pt idx="1382">
                  <c:v>0.39300000000000002</c:v>
                </c:pt>
                <c:pt idx="1383">
                  <c:v>0.91900000000000004</c:v>
                </c:pt>
                <c:pt idx="1384">
                  <c:v>0.88100000000000001</c:v>
                </c:pt>
                <c:pt idx="1385">
                  <c:v>0.98299999999999998</c:v>
                </c:pt>
                <c:pt idx="1386">
                  <c:v>0.89900000000000002</c:v>
                </c:pt>
                <c:pt idx="1387">
                  <c:v>0.81100000000000005</c:v>
                </c:pt>
                <c:pt idx="1388">
                  <c:v>0.49099999999999999</c:v>
                </c:pt>
                <c:pt idx="1389">
                  <c:v>0.77200000000000002</c:v>
                </c:pt>
                <c:pt idx="1390">
                  <c:v>0.74399999999999999</c:v>
                </c:pt>
                <c:pt idx="1391">
                  <c:v>0.82399999999999995</c:v>
                </c:pt>
                <c:pt idx="1392">
                  <c:v>0.997</c:v>
                </c:pt>
                <c:pt idx="1393">
                  <c:v>0.89400000000000002</c:v>
                </c:pt>
                <c:pt idx="1394">
                  <c:v>0.49399999999999999</c:v>
                </c:pt>
                <c:pt idx="1395">
                  <c:v>0.93300000000000005</c:v>
                </c:pt>
                <c:pt idx="1396">
                  <c:v>0.85499999999999998</c:v>
                </c:pt>
                <c:pt idx="1397">
                  <c:v>0.92200000000000004</c:v>
                </c:pt>
                <c:pt idx="1398">
                  <c:v>0.55300000000000005</c:v>
                </c:pt>
                <c:pt idx="1399">
                  <c:v>0.68799999999999994</c:v>
                </c:pt>
                <c:pt idx="1400">
                  <c:v>0.86699999999999999</c:v>
                </c:pt>
                <c:pt idx="1401">
                  <c:v>0.87</c:v>
                </c:pt>
                <c:pt idx="1402">
                  <c:v>0.90300000000000002</c:v>
                </c:pt>
                <c:pt idx="1403">
                  <c:v>0.65700000000000003</c:v>
                </c:pt>
                <c:pt idx="1404">
                  <c:v>0.83899999999999997</c:v>
                </c:pt>
                <c:pt idx="1405">
                  <c:v>0.66100000000000003</c:v>
                </c:pt>
                <c:pt idx="1406">
                  <c:v>0.83</c:v>
                </c:pt>
                <c:pt idx="1407">
                  <c:v>0.51</c:v>
                </c:pt>
                <c:pt idx="1408">
                  <c:v>0.82199999999999995</c:v>
                </c:pt>
                <c:pt idx="1409">
                  <c:v>0.55200000000000005</c:v>
                </c:pt>
                <c:pt idx="1410">
                  <c:v>0.85299999999999998</c:v>
                </c:pt>
                <c:pt idx="1411">
                  <c:v>0.88200000000000001</c:v>
                </c:pt>
                <c:pt idx="1412">
                  <c:v>0.82099999999999995</c:v>
                </c:pt>
                <c:pt idx="1413">
                  <c:v>0.95099999999999996</c:v>
                </c:pt>
                <c:pt idx="1414">
                  <c:v>0.95399999999999996</c:v>
                </c:pt>
                <c:pt idx="1415">
                  <c:v>0.80300000000000005</c:v>
                </c:pt>
                <c:pt idx="1416">
                  <c:v>0.73599999999999999</c:v>
                </c:pt>
                <c:pt idx="1417">
                  <c:v>0.79900000000000004</c:v>
                </c:pt>
                <c:pt idx="1418">
                  <c:v>0.95199999999999996</c:v>
                </c:pt>
                <c:pt idx="1419">
                  <c:v>0.70499999999999996</c:v>
                </c:pt>
                <c:pt idx="1420">
                  <c:v>0.60599999999999998</c:v>
                </c:pt>
                <c:pt idx="1421">
                  <c:v>0.93799999999999994</c:v>
                </c:pt>
                <c:pt idx="1422">
                  <c:v>0.45200000000000001</c:v>
                </c:pt>
                <c:pt idx="1423">
                  <c:v>0.83899999999999997</c:v>
                </c:pt>
                <c:pt idx="1424">
                  <c:v>0.76100000000000001</c:v>
                </c:pt>
                <c:pt idx="1425">
                  <c:v>0.876</c:v>
                </c:pt>
                <c:pt idx="1426">
                  <c:v>0.76300000000000001</c:v>
                </c:pt>
                <c:pt idx="1427">
                  <c:v>0.94099999999999995</c:v>
                </c:pt>
                <c:pt idx="1428">
                  <c:v>0.93400000000000005</c:v>
                </c:pt>
                <c:pt idx="1429">
                  <c:v>0.69</c:v>
                </c:pt>
                <c:pt idx="1430">
                  <c:v>0.91300000000000003</c:v>
                </c:pt>
                <c:pt idx="1431">
                  <c:v>0.12</c:v>
                </c:pt>
                <c:pt idx="1432">
                  <c:v>0.94599999999999995</c:v>
                </c:pt>
                <c:pt idx="1433">
                  <c:v>0.68</c:v>
                </c:pt>
                <c:pt idx="1434">
                  <c:v>0.59399999999999997</c:v>
                </c:pt>
                <c:pt idx="1435">
                  <c:v>0.61699999999999999</c:v>
                </c:pt>
                <c:pt idx="1436">
                  <c:v>0.76600000000000001</c:v>
                </c:pt>
                <c:pt idx="1437">
                  <c:v>0.71</c:v>
                </c:pt>
                <c:pt idx="1438">
                  <c:v>0.88600000000000001</c:v>
                </c:pt>
                <c:pt idx="1439">
                  <c:v>0.72199999999999998</c:v>
                </c:pt>
                <c:pt idx="1440">
                  <c:v>0.72</c:v>
                </c:pt>
                <c:pt idx="1441">
                  <c:v>0.72099999999999997</c:v>
                </c:pt>
                <c:pt idx="1442">
                  <c:v>4.9000000000000002E-2</c:v>
                </c:pt>
                <c:pt idx="1443">
                  <c:v>0.75800000000000001</c:v>
                </c:pt>
                <c:pt idx="1444">
                  <c:v>0.497</c:v>
                </c:pt>
                <c:pt idx="1445">
                  <c:v>0.94599999999999995</c:v>
                </c:pt>
                <c:pt idx="1446">
                  <c:v>0.62</c:v>
                </c:pt>
                <c:pt idx="1447">
                  <c:v>0.91800000000000004</c:v>
                </c:pt>
                <c:pt idx="1448">
                  <c:v>0.93700000000000006</c:v>
                </c:pt>
                <c:pt idx="1449">
                  <c:v>0.91600000000000004</c:v>
                </c:pt>
                <c:pt idx="1450">
                  <c:v>0.73099999999999998</c:v>
                </c:pt>
                <c:pt idx="1451">
                  <c:v>0.89400000000000002</c:v>
                </c:pt>
                <c:pt idx="1452">
                  <c:v>0.78400000000000003</c:v>
                </c:pt>
                <c:pt idx="1453">
                  <c:v>0.186</c:v>
                </c:pt>
                <c:pt idx="1454">
                  <c:v>0.76400000000000001</c:v>
                </c:pt>
                <c:pt idx="1455">
                  <c:v>0.70499999999999996</c:v>
                </c:pt>
                <c:pt idx="1456">
                  <c:v>0.13700000000000001</c:v>
                </c:pt>
                <c:pt idx="1457">
                  <c:v>0.76900000000000002</c:v>
                </c:pt>
                <c:pt idx="1458">
                  <c:v>0.73</c:v>
                </c:pt>
                <c:pt idx="1459">
                  <c:v>0.878</c:v>
                </c:pt>
                <c:pt idx="1460">
                  <c:v>0.76300000000000001</c:v>
                </c:pt>
                <c:pt idx="1461">
                  <c:v>0.49399999999999999</c:v>
                </c:pt>
                <c:pt idx="1462">
                  <c:v>0.90400000000000003</c:v>
                </c:pt>
                <c:pt idx="1463">
                  <c:v>0.95099999999999996</c:v>
                </c:pt>
                <c:pt idx="1464">
                  <c:v>0.83499999999999996</c:v>
                </c:pt>
                <c:pt idx="1465">
                  <c:v>0.84399999999999997</c:v>
                </c:pt>
                <c:pt idx="1466">
                  <c:v>0.91</c:v>
                </c:pt>
                <c:pt idx="1467">
                  <c:v>0.92300000000000004</c:v>
                </c:pt>
                <c:pt idx="1468">
                  <c:v>0.14299999999999999</c:v>
                </c:pt>
                <c:pt idx="1469">
                  <c:v>0.85299999999999998</c:v>
                </c:pt>
                <c:pt idx="1470">
                  <c:v>0.64200000000000002</c:v>
                </c:pt>
                <c:pt idx="1471">
                  <c:v>0.93899999999999995</c:v>
                </c:pt>
                <c:pt idx="1472">
                  <c:v>0.80200000000000005</c:v>
                </c:pt>
                <c:pt idx="1473">
                  <c:v>0.94099999999999995</c:v>
                </c:pt>
                <c:pt idx="1474">
                  <c:v>0.433</c:v>
                </c:pt>
                <c:pt idx="1475">
                  <c:v>0.83799999999999997</c:v>
                </c:pt>
                <c:pt idx="1476">
                  <c:v>0.45500000000000002</c:v>
                </c:pt>
                <c:pt idx="1477">
                  <c:v>0.54100000000000004</c:v>
                </c:pt>
                <c:pt idx="1478">
                  <c:v>0.76100000000000001</c:v>
                </c:pt>
                <c:pt idx="1479">
                  <c:v>0.95799999999999996</c:v>
                </c:pt>
                <c:pt idx="1480">
                  <c:v>0.82099999999999995</c:v>
                </c:pt>
                <c:pt idx="1481">
                  <c:v>0.96399999999999997</c:v>
                </c:pt>
                <c:pt idx="1482">
                  <c:v>0.27100000000000002</c:v>
                </c:pt>
                <c:pt idx="1483">
                  <c:v>0.871</c:v>
                </c:pt>
                <c:pt idx="1484">
                  <c:v>0.36199999999999999</c:v>
                </c:pt>
                <c:pt idx="1485">
                  <c:v>0.503</c:v>
                </c:pt>
                <c:pt idx="1486">
                  <c:v>0.64200000000000002</c:v>
                </c:pt>
                <c:pt idx="1487">
                  <c:v>0.85</c:v>
                </c:pt>
                <c:pt idx="1488">
                  <c:v>0.36099999999999999</c:v>
                </c:pt>
                <c:pt idx="1489">
                  <c:v>0.89400000000000002</c:v>
                </c:pt>
                <c:pt idx="1490">
                  <c:v>0.48299999999999998</c:v>
                </c:pt>
                <c:pt idx="1491">
                  <c:v>0.71499999999999997</c:v>
                </c:pt>
                <c:pt idx="1492">
                  <c:v>0.64900000000000002</c:v>
                </c:pt>
                <c:pt idx="1493">
                  <c:v>0.70899999999999996</c:v>
                </c:pt>
                <c:pt idx="1494">
                  <c:v>0.66300000000000003</c:v>
                </c:pt>
                <c:pt idx="1495">
                  <c:v>0.91300000000000003</c:v>
                </c:pt>
                <c:pt idx="1496">
                  <c:v>0.55000000000000004</c:v>
                </c:pt>
                <c:pt idx="1497">
                  <c:v>0.93500000000000005</c:v>
                </c:pt>
                <c:pt idx="1498">
                  <c:v>0.82399999999999995</c:v>
                </c:pt>
                <c:pt idx="1499">
                  <c:v>0.80300000000000005</c:v>
                </c:pt>
                <c:pt idx="1500">
                  <c:v>0.56399999999999995</c:v>
                </c:pt>
                <c:pt idx="1501">
                  <c:v>0.91600000000000004</c:v>
                </c:pt>
                <c:pt idx="1502">
                  <c:v>0.95299999999999996</c:v>
                </c:pt>
                <c:pt idx="1503">
                  <c:v>0.55400000000000005</c:v>
                </c:pt>
                <c:pt idx="1504">
                  <c:v>0.88900000000000001</c:v>
                </c:pt>
                <c:pt idx="1505">
                  <c:v>0.98199999999999998</c:v>
                </c:pt>
                <c:pt idx="1506">
                  <c:v>0.60399999999999998</c:v>
                </c:pt>
                <c:pt idx="1507">
                  <c:v>0.88800000000000001</c:v>
                </c:pt>
                <c:pt idx="1508">
                  <c:v>0.87</c:v>
                </c:pt>
                <c:pt idx="1509">
                  <c:v>0.63700000000000001</c:v>
                </c:pt>
                <c:pt idx="1510">
                  <c:v>0.68500000000000005</c:v>
                </c:pt>
                <c:pt idx="1511">
                  <c:v>0.42199999999999999</c:v>
                </c:pt>
                <c:pt idx="1512">
                  <c:v>0.53900000000000003</c:v>
                </c:pt>
                <c:pt idx="1513">
                  <c:v>0.68400000000000005</c:v>
                </c:pt>
                <c:pt idx="1514">
                  <c:v>0.20100000000000001</c:v>
                </c:pt>
                <c:pt idx="1515">
                  <c:v>0.96299999999999997</c:v>
                </c:pt>
                <c:pt idx="1516">
                  <c:v>0.90300000000000002</c:v>
                </c:pt>
                <c:pt idx="1517">
                  <c:v>0.58899999999999997</c:v>
                </c:pt>
                <c:pt idx="1518">
                  <c:v>0.68100000000000005</c:v>
                </c:pt>
                <c:pt idx="1519">
                  <c:v>0.58299999999999996</c:v>
                </c:pt>
                <c:pt idx="1520">
                  <c:v>0.52200000000000002</c:v>
                </c:pt>
                <c:pt idx="1521">
                  <c:v>0.96699999999999997</c:v>
                </c:pt>
                <c:pt idx="1522">
                  <c:v>6.6000000000000003E-2</c:v>
                </c:pt>
                <c:pt idx="1523">
                  <c:v>0.47499999999999998</c:v>
                </c:pt>
                <c:pt idx="1524">
                  <c:v>0.51</c:v>
                </c:pt>
                <c:pt idx="1525">
                  <c:v>0.72</c:v>
                </c:pt>
                <c:pt idx="1526">
                  <c:v>0.79300000000000004</c:v>
                </c:pt>
                <c:pt idx="1527">
                  <c:v>0.13100000000000001</c:v>
                </c:pt>
                <c:pt idx="1528">
                  <c:v>0.88900000000000001</c:v>
                </c:pt>
                <c:pt idx="1529">
                  <c:v>0.67500000000000004</c:v>
                </c:pt>
                <c:pt idx="1530">
                  <c:v>0.96499999999999997</c:v>
                </c:pt>
                <c:pt idx="1531">
                  <c:v>0.93300000000000005</c:v>
                </c:pt>
                <c:pt idx="1532">
                  <c:v>0.45100000000000001</c:v>
                </c:pt>
                <c:pt idx="1533">
                  <c:v>0.77300000000000002</c:v>
                </c:pt>
                <c:pt idx="1534">
                  <c:v>0.72499999999999998</c:v>
                </c:pt>
                <c:pt idx="1535">
                  <c:v>0.70099999999999996</c:v>
                </c:pt>
                <c:pt idx="1536">
                  <c:v>0.876</c:v>
                </c:pt>
                <c:pt idx="1537">
                  <c:v>0.57899999999999996</c:v>
                </c:pt>
                <c:pt idx="1538">
                  <c:v>0.72799999999999998</c:v>
                </c:pt>
                <c:pt idx="1539">
                  <c:v>0.152</c:v>
                </c:pt>
                <c:pt idx="1540">
                  <c:v>0.62</c:v>
                </c:pt>
                <c:pt idx="1541">
                  <c:v>0.85799999999999998</c:v>
                </c:pt>
                <c:pt idx="1542">
                  <c:v>0.69799999999999995</c:v>
                </c:pt>
                <c:pt idx="1543">
                  <c:v>0.97099999999999997</c:v>
                </c:pt>
                <c:pt idx="1544">
                  <c:v>0.80800000000000005</c:v>
                </c:pt>
                <c:pt idx="1545">
                  <c:v>0.68799999999999994</c:v>
                </c:pt>
                <c:pt idx="1546">
                  <c:v>0.314</c:v>
                </c:pt>
                <c:pt idx="1547">
                  <c:v>0.84099999999999997</c:v>
                </c:pt>
                <c:pt idx="1548">
                  <c:v>0.874</c:v>
                </c:pt>
                <c:pt idx="1549">
                  <c:v>0.98199999999999998</c:v>
                </c:pt>
                <c:pt idx="1550">
                  <c:v>0.51900000000000002</c:v>
                </c:pt>
                <c:pt idx="1551">
                  <c:v>0.72</c:v>
                </c:pt>
                <c:pt idx="1552">
                  <c:v>0.89400000000000002</c:v>
                </c:pt>
                <c:pt idx="1553">
                  <c:v>0.27700000000000002</c:v>
                </c:pt>
                <c:pt idx="1554">
                  <c:v>0.49299999999999999</c:v>
                </c:pt>
                <c:pt idx="1555">
                  <c:v>0.754</c:v>
                </c:pt>
                <c:pt idx="1556">
                  <c:v>0.77500000000000002</c:v>
                </c:pt>
                <c:pt idx="1557">
                  <c:v>0.69799999999999995</c:v>
                </c:pt>
                <c:pt idx="1558">
                  <c:v>0.84299999999999997</c:v>
                </c:pt>
                <c:pt idx="1559">
                  <c:v>0.85899999999999999</c:v>
                </c:pt>
                <c:pt idx="1560">
                  <c:v>0.81899999999999995</c:v>
                </c:pt>
                <c:pt idx="1561">
                  <c:v>0.82299999999999995</c:v>
                </c:pt>
                <c:pt idx="1562">
                  <c:v>0.79300000000000004</c:v>
                </c:pt>
                <c:pt idx="1563">
                  <c:v>0.89200000000000002</c:v>
                </c:pt>
                <c:pt idx="1564">
                  <c:v>0.89300000000000002</c:v>
                </c:pt>
                <c:pt idx="1565">
                  <c:v>0.39500000000000002</c:v>
                </c:pt>
                <c:pt idx="1566">
                  <c:v>0.63600000000000001</c:v>
                </c:pt>
                <c:pt idx="1567">
                  <c:v>0.83799999999999997</c:v>
                </c:pt>
                <c:pt idx="1568">
                  <c:v>0.51200000000000001</c:v>
                </c:pt>
                <c:pt idx="1569">
                  <c:v>0.34499999999999997</c:v>
                </c:pt>
                <c:pt idx="1570">
                  <c:v>0.78</c:v>
                </c:pt>
                <c:pt idx="1571">
                  <c:v>0.43099999999999999</c:v>
                </c:pt>
                <c:pt idx="1572">
                  <c:v>0.53800000000000003</c:v>
                </c:pt>
                <c:pt idx="1573">
                  <c:v>0.91500000000000004</c:v>
                </c:pt>
                <c:pt idx="1574">
                  <c:v>0.76</c:v>
                </c:pt>
                <c:pt idx="1575">
                  <c:v>0.94399999999999995</c:v>
                </c:pt>
                <c:pt idx="1576">
                  <c:v>0.82099999999999995</c:v>
                </c:pt>
                <c:pt idx="1577">
                  <c:v>0.87</c:v>
                </c:pt>
                <c:pt idx="1578">
                  <c:v>0.748</c:v>
                </c:pt>
                <c:pt idx="1579">
                  <c:v>0.77400000000000002</c:v>
                </c:pt>
                <c:pt idx="1580">
                  <c:v>0.67400000000000004</c:v>
                </c:pt>
                <c:pt idx="1581">
                  <c:v>0.871</c:v>
                </c:pt>
                <c:pt idx="1582">
                  <c:v>0.54</c:v>
                </c:pt>
                <c:pt idx="1583">
                  <c:v>0.76600000000000001</c:v>
                </c:pt>
                <c:pt idx="1584">
                  <c:v>0.91400000000000003</c:v>
                </c:pt>
                <c:pt idx="1585">
                  <c:v>0.35799999999999998</c:v>
                </c:pt>
                <c:pt idx="1586">
                  <c:v>0.23100000000000001</c:v>
                </c:pt>
                <c:pt idx="1587">
                  <c:v>0.48699999999999999</c:v>
                </c:pt>
                <c:pt idx="1588">
                  <c:v>0.82799999999999996</c:v>
                </c:pt>
                <c:pt idx="1589">
                  <c:v>0.93700000000000006</c:v>
                </c:pt>
                <c:pt idx="1590">
                  <c:v>1</c:v>
                </c:pt>
                <c:pt idx="1591">
                  <c:v>0.34899999999999998</c:v>
                </c:pt>
                <c:pt idx="1592">
                  <c:v>0.33800000000000002</c:v>
                </c:pt>
                <c:pt idx="1593">
                  <c:v>0.876</c:v>
                </c:pt>
                <c:pt idx="1594">
                  <c:v>0.83</c:v>
                </c:pt>
                <c:pt idx="1595">
                  <c:v>0.157</c:v>
                </c:pt>
                <c:pt idx="1596">
                  <c:v>0.85</c:v>
                </c:pt>
                <c:pt idx="1597">
                  <c:v>0.76600000000000001</c:v>
                </c:pt>
                <c:pt idx="1598">
                  <c:v>0.98799999999999999</c:v>
                </c:pt>
                <c:pt idx="1599">
                  <c:v>0.80700000000000005</c:v>
                </c:pt>
                <c:pt idx="1600">
                  <c:v>0.82</c:v>
                </c:pt>
                <c:pt idx="1601">
                  <c:v>0.69399999999999995</c:v>
                </c:pt>
                <c:pt idx="1602">
                  <c:v>0.33</c:v>
                </c:pt>
                <c:pt idx="1603">
                  <c:v>0.94299999999999995</c:v>
                </c:pt>
                <c:pt idx="1604">
                  <c:v>0.97599999999999998</c:v>
                </c:pt>
                <c:pt idx="1605">
                  <c:v>0.93600000000000005</c:v>
                </c:pt>
                <c:pt idx="1606">
                  <c:v>0.55100000000000005</c:v>
                </c:pt>
                <c:pt idx="1607">
                  <c:v>0.88900000000000001</c:v>
                </c:pt>
                <c:pt idx="1608">
                  <c:v>0.16600000000000001</c:v>
                </c:pt>
                <c:pt idx="1609">
                  <c:v>0.95599999999999996</c:v>
                </c:pt>
                <c:pt idx="1610">
                  <c:v>0.628</c:v>
                </c:pt>
                <c:pt idx="1611">
                  <c:v>0.59399999999999997</c:v>
                </c:pt>
                <c:pt idx="1612">
                  <c:v>0.92600000000000005</c:v>
                </c:pt>
                <c:pt idx="1613">
                  <c:v>0.90500000000000003</c:v>
                </c:pt>
                <c:pt idx="1614">
                  <c:v>0.86199999999999999</c:v>
                </c:pt>
                <c:pt idx="1615">
                  <c:v>0.82</c:v>
                </c:pt>
                <c:pt idx="1616">
                  <c:v>0.54900000000000004</c:v>
                </c:pt>
                <c:pt idx="1617">
                  <c:v>0.88500000000000001</c:v>
                </c:pt>
                <c:pt idx="1618">
                  <c:v>0.89500000000000002</c:v>
                </c:pt>
                <c:pt idx="1619">
                  <c:v>0.68600000000000005</c:v>
                </c:pt>
                <c:pt idx="1620">
                  <c:v>0.38200000000000001</c:v>
                </c:pt>
                <c:pt idx="1621">
                  <c:v>0.66700000000000004</c:v>
                </c:pt>
                <c:pt idx="1622">
                  <c:v>0.67300000000000004</c:v>
                </c:pt>
                <c:pt idx="1623">
                  <c:v>0.66400000000000003</c:v>
                </c:pt>
                <c:pt idx="1624">
                  <c:v>0.83</c:v>
                </c:pt>
                <c:pt idx="1625">
                  <c:v>0.95899999999999996</c:v>
                </c:pt>
                <c:pt idx="1626">
                  <c:v>0.74</c:v>
                </c:pt>
                <c:pt idx="1627">
                  <c:v>0.496</c:v>
                </c:pt>
                <c:pt idx="1628">
                  <c:v>0.81399999999999995</c:v>
                </c:pt>
                <c:pt idx="1629">
                  <c:v>0.70799999999999996</c:v>
                </c:pt>
                <c:pt idx="1630">
                  <c:v>0.89400000000000002</c:v>
                </c:pt>
                <c:pt idx="1631">
                  <c:v>0.69199999999999995</c:v>
                </c:pt>
                <c:pt idx="1632">
                  <c:v>0.60099999999999998</c:v>
                </c:pt>
                <c:pt idx="1633">
                  <c:v>0.60699999999999998</c:v>
                </c:pt>
                <c:pt idx="1634">
                  <c:v>0.49</c:v>
                </c:pt>
                <c:pt idx="1635">
                  <c:v>0.88400000000000001</c:v>
                </c:pt>
                <c:pt idx="1636">
                  <c:v>0.91100000000000003</c:v>
                </c:pt>
                <c:pt idx="1637">
                  <c:v>0.88200000000000001</c:v>
                </c:pt>
                <c:pt idx="1638">
                  <c:v>0.19</c:v>
                </c:pt>
                <c:pt idx="1639">
                  <c:v>0.5</c:v>
                </c:pt>
                <c:pt idx="1640">
                  <c:v>0.14599999999999999</c:v>
                </c:pt>
                <c:pt idx="1641">
                  <c:v>0.96899999999999997</c:v>
                </c:pt>
                <c:pt idx="1642">
                  <c:v>0.90500000000000003</c:v>
                </c:pt>
                <c:pt idx="1643">
                  <c:v>0.61799999999999999</c:v>
                </c:pt>
                <c:pt idx="1644">
                  <c:v>0.59499999999999997</c:v>
                </c:pt>
                <c:pt idx="1645">
                  <c:v>0.83499999999999996</c:v>
                </c:pt>
                <c:pt idx="1646">
                  <c:v>0.372</c:v>
                </c:pt>
                <c:pt idx="1647">
                  <c:v>0.74199999999999999</c:v>
                </c:pt>
                <c:pt idx="1648">
                  <c:v>0.84499999999999997</c:v>
                </c:pt>
                <c:pt idx="1649">
                  <c:v>0.70899999999999996</c:v>
                </c:pt>
                <c:pt idx="1650">
                  <c:v>0.73799999999999999</c:v>
                </c:pt>
                <c:pt idx="1651">
                  <c:v>0.42399999999999999</c:v>
                </c:pt>
                <c:pt idx="1652">
                  <c:v>0.81399999999999995</c:v>
                </c:pt>
                <c:pt idx="1653">
                  <c:v>0.94</c:v>
                </c:pt>
                <c:pt idx="1654">
                  <c:v>0.52300000000000002</c:v>
                </c:pt>
                <c:pt idx="1655">
                  <c:v>0.88</c:v>
                </c:pt>
                <c:pt idx="1656">
                  <c:v>0.66500000000000004</c:v>
                </c:pt>
                <c:pt idx="1657">
                  <c:v>0.80800000000000005</c:v>
                </c:pt>
                <c:pt idx="1658">
                  <c:v>0.89300000000000002</c:v>
                </c:pt>
                <c:pt idx="1659">
                  <c:v>0.54800000000000004</c:v>
                </c:pt>
                <c:pt idx="1660">
                  <c:v>0.45400000000000001</c:v>
                </c:pt>
                <c:pt idx="1661">
                  <c:v>0.66</c:v>
                </c:pt>
                <c:pt idx="1662">
                  <c:v>0.46300000000000002</c:v>
                </c:pt>
                <c:pt idx="1663">
                  <c:v>0.82399999999999995</c:v>
                </c:pt>
                <c:pt idx="1664">
                  <c:v>0.86299999999999999</c:v>
                </c:pt>
                <c:pt idx="1665">
                  <c:v>0.89800000000000002</c:v>
                </c:pt>
                <c:pt idx="1666">
                  <c:v>0.85</c:v>
                </c:pt>
                <c:pt idx="1667">
                  <c:v>0.97699999999999998</c:v>
                </c:pt>
                <c:pt idx="1668">
                  <c:v>0.93600000000000005</c:v>
                </c:pt>
                <c:pt idx="1669">
                  <c:v>0.60099999999999998</c:v>
                </c:pt>
                <c:pt idx="1670">
                  <c:v>0.93100000000000005</c:v>
                </c:pt>
                <c:pt idx="1671">
                  <c:v>0.64</c:v>
                </c:pt>
                <c:pt idx="1672">
                  <c:v>0.96799999999999997</c:v>
                </c:pt>
                <c:pt idx="1673">
                  <c:v>0.69699999999999995</c:v>
                </c:pt>
                <c:pt idx="1674">
                  <c:v>0.92700000000000005</c:v>
                </c:pt>
                <c:pt idx="1675">
                  <c:v>0.45800000000000002</c:v>
                </c:pt>
                <c:pt idx="1676">
                  <c:v>0.85499999999999998</c:v>
                </c:pt>
                <c:pt idx="1677">
                  <c:v>0.72899999999999998</c:v>
                </c:pt>
                <c:pt idx="1678">
                  <c:v>0.45500000000000002</c:v>
                </c:pt>
                <c:pt idx="1679">
                  <c:v>0.16600000000000001</c:v>
                </c:pt>
                <c:pt idx="1680">
                  <c:v>0.161</c:v>
                </c:pt>
                <c:pt idx="1681">
                  <c:v>0.89900000000000002</c:v>
                </c:pt>
                <c:pt idx="1682">
                  <c:v>0.92</c:v>
                </c:pt>
                <c:pt idx="1683">
                  <c:v>0.746</c:v>
                </c:pt>
                <c:pt idx="1684">
                  <c:v>0.60599999999999998</c:v>
                </c:pt>
                <c:pt idx="1685">
                  <c:v>0.69599999999999995</c:v>
                </c:pt>
                <c:pt idx="1686">
                  <c:v>0.95899999999999996</c:v>
                </c:pt>
                <c:pt idx="1687">
                  <c:v>0.51700000000000002</c:v>
                </c:pt>
                <c:pt idx="1688">
                  <c:v>0.35599999999999998</c:v>
                </c:pt>
                <c:pt idx="1689">
                  <c:v>0.66700000000000004</c:v>
                </c:pt>
                <c:pt idx="1690">
                  <c:v>0.96599999999999997</c:v>
                </c:pt>
                <c:pt idx="1691">
                  <c:v>0.91300000000000003</c:v>
                </c:pt>
                <c:pt idx="1692">
                  <c:v>0.32600000000000001</c:v>
                </c:pt>
                <c:pt idx="1693">
                  <c:v>0.746</c:v>
                </c:pt>
                <c:pt idx="1694">
                  <c:v>0.32300000000000001</c:v>
                </c:pt>
                <c:pt idx="1695">
                  <c:v>0.36699999999999999</c:v>
                </c:pt>
                <c:pt idx="1696">
                  <c:v>0.82299999999999995</c:v>
                </c:pt>
                <c:pt idx="1697">
                  <c:v>0.80900000000000005</c:v>
                </c:pt>
                <c:pt idx="1698">
                  <c:v>0.41</c:v>
                </c:pt>
                <c:pt idx="1699">
                  <c:v>0.84299999999999997</c:v>
                </c:pt>
                <c:pt idx="1700">
                  <c:v>0.25800000000000001</c:v>
                </c:pt>
                <c:pt idx="1701">
                  <c:v>0.69899999999999995</c:v>
                </c:pt>
                <c:pt idx="1702">
                  <c:v>0.93100000000000005</c:v>
                </c:pt>
                <c:pt idx="1703">
                  <c:v>0.81799999999999995</c:v>
                </c:pt>
                <c:pt idx="1704">
                  <c:v>0.76200000000000001</c:v>
                </c:pt>
                <c:pt idx="1705">
                  <c:v>0.42299999999999999</c:v>
                </c:pt>
                <c:pt idx="1706">
                  <c:v>0.90500000000000003</c:v>
                </c:pt>
                <c:pt idx="1707">
                  <c:v>0.93600000000000005</c:v>
                </c:pt>
                <c:pt idx="1708">
                  <c:v>0.35</c:v>
                </c:pt>
                <c:pt idx="1709">
                  <c:v>0.58399999999999996</c:v>
                </c:pt>
                <c:pt idx="1710">
                  <c:v>0.69799999999999995</c:v>
                </c:pt>
                <c:pt idx="1711">
                  <c:v>0.97699999999999998</c:v>
                </c:pt>
                <c:pt idx="1712">
                  <c:v>0.75900000000000001</c:v>
                </c:pt>
                <c:pt idx="1713">
                  <c:v>0.86799999999999999</c:v>
                </c:pt>
                <c:pt idx="1714">
                  <c:v>0.63400000000000001</c:v>
                </c:pt>
                <c:pt idx="1715">
                  <c:v>0.51900000000000002</c:v>
                </c:pt>
                <c:pt idx="1716">
                  <c:v>0.76</c:v>
                </c:pt>
                <c:pt idx="1717">
                  <c:v>0.90900000000000003</c:v>
                </c:pt>
                <c:pt idx="1718">
                  <c:v>0.50900000000000001</c:v>
                </c:pt>
                <c:pt idx="1719">
                  <c:v>0.67400000000000004</c:v>
                </c:pt>
                <c:pt idx="1720">
                  <c:v>0.871</c:v>
                </c:pt>
                <c:pt idx="1721">
                  <c:v>0.49</c:v>
                </c:pt>
                <c:pt idx="1722">
                  <c:v>0.57399999999999995</c:v>
                </c:pt>
                <c:pt idx="1723">
                  <c:v>0.94</c:v>
                </c:pt>
                <c:pt idx="1724">
                  <c:v>0.161</c:v>
                </c:pt>
                <c:pt idx="1725">
                  <c:v>0.94299999999999995</c:v>
                </c:pt>
                <c:pt idx="1726">
                  <c:v>0.11799999999999999</c:v>
                </c:pt>
                <c:pt idx="1727">
                  <c:v>0.90800000000000003</c:v>
                </c:pt>
                <c:pt idx="1728">
                  <c:v>0.47399999999999998</c:v>
                </c:pt>
                <c:pt idx="1729">
                  <c:v>0.77900000000000003</c:v>
                </c:pt>
                <c:pt idx="1730">
                  <c:v>0.82</c:v>
                </c:pt>
                <c:pt idx="1731">
                  <c:v>0.85099999999999998</c:v>
                </c:pt>
                <c:pt idx="1732">
                  <c:v>0.52700000000000002</c:v>
                </c:pt>
                <c:pt idx="1733">
                  <c:v>0.54400000000000004</c:v>
                </c:pt>
                <c:pt idx="1734">
                  <c:v>0.47899999999999998</c:v>
                </c:pt>
                <c:pt idx="1735">
                  <c:v>0.79500000000000004</c:v>
                </c:pt>
                <c:pt idx="1736">
                  <c:v>0.13300000000000001</c:v>
                </c:pt>
                <c:pt idx="1737">
                  <c:v>0.60599999999999998</c:v>
                </c:pt>
                <c:pt idx="1738">
                  <c:v>0.47299999999999998</c:v>
                </c:pt>
                <c:pt idx="1739">
                  <c:v>0.53100000000000003</c:v>
                </c:pt>
                <c:pt idx="1740">
                  <c:v>0.995</c:v>
                </c:pt>
                <c:pt idx="1741">
                  <c:v>0.91400000000000003</c:v>
                </c:pt>
                <c:pt idx="1742">
                  <c:v>0.97499999999999998</c:v>
                </c:pt>
                <c:pt idx="1743">
                  <c:v>0.46100000000000002</c:v>
                </c:pt>
                <c:pt idx="1744">
                  <c:v>0.82599999999999996</c:v>
                </c:pt>
                <c:pt idx="1745">
                  <c:v>0.78200000000000003</c:v>
                </c:pt>
                <c:pt idx="1746">
                  <c:v>0.67800000000000005</c:v>
                </c:pt>
                <c:pt idx="1747">
                  <c:v>0.66500000000000004</c:v>
                </c:pt>
                <c:pt idx="1748">
                  <c:v>0.86599999999999999</c:v>
                </c:pt>
                <c:pt idx="1749">
                  <c:v>0.44700000000000001</c:v>
                </c:pt>
                <c:pt idx="1750">
                  <c:v>0.72499999999999998</c:v>
                </c:pt>
                <c:pt idx="1751">
                  <c:v>0.90700000000000003</c:v>
                </c:pt>
                <c:pt idx="1752">
                  <c:v>0.81200000000000006</c:v>
                </c:pt>
                <c:pt idx="1753">
                  <c:v>0.82399999999999995</c:v>
                </c:pt>
                <c:pt idx="1754">
                  <c:v>0.88800000000000001</c:v>
                </c:pt>
                <c:pt idx="1755">
                  <c:v>0.41799999999999998</c:v>
                </c:pt>
                <c:pt idx="1756">
                  <c:v>0.94599999999999995</c:v>
                </c:pt>
                <c:pt idx="1757">
                  <c:v>0.88200000000000001</c:v>
                </c:pt>
                <c:pt idx="1758">
                  <c:v>0.84199999999999997</c:v>
                </c:pt>
                <c:pt idx="1759">
                  <c:v>0.80700000000000005</c:v>
                </c:pt>
                <c:pt idx="1760">
                  <c:v>0.89900000000000002</c:v>
                </c:pt>
                <c:pt idx="1761">
                  <c:v>0.36299999999999999</c:v>
                </c:pt>
                <c:pt idx="1762">
                  <c:v>0.86</c:v>
                </c:pt>
                <c:pt idx="1763">
                  <c:v>0.97399999999999998</c:v>
                </c:pt>
                <c:pt idx="1764">
                  <c:v>0.90100000000000002</c:v>
                </c:pt>
                <c:pt idx="1765">
                  <c:v>0.83</c:v>
                </c:pt>
                <c:pt idx="1766">
                  <c:v>0.57599999999999996</c:v>
                </c:pt>
                <c:pt idx="1767">
                  <c:v>0.86099999999999999</c:v>
                </c:pt>
                <c:pt idx="1768">
                  <c:v>0.94199999999999995</c:v>
                </c:pt>
                <c:pt idx="1769">
                  <c:v>0.24299999999999999</c:v>
                </c:pt>
                <c:pt idx="1770">
                  <c:v>0.91900000000000004</c:v>
                </c:pt>
                <c:pt idx="1771">
                  <c:v>0.318</c:v>
                </c:pt>
                <c:pt idx="1772">
                  <c:v>0.22</c:v>
                </c:pt>
                <c:pt idx="1773">
                  <c:v>0.85499999999999998</c:v>
                </c:pt>
                <c:pt idx="1774">
                  <c:v>0.46899999999999997</c:v>
                </c:pt>
                <c:pt idx="1775">
                  <c:v>0.91300000000000003</c:v>
                </c:pt>
                <c:pt idx="1776">
                  <c:v>0.91900000000000004</c:v>
                </c:pt>
                <c:pt idx="1777">
                  <c:v>0.63100000000000001</c:v>
                </c:pt>
                <c:pt idx="1778">
                  <c:v>0.95699999999999996</c:v>
                </c:pt>
                <c:pt idx="1779">
                  <c:v>6.9000000000000006E-2</c:v>
                </c:pt>
                <c:pt idx="1780">
                  <c:v>0.52</c:v>
                </c:pt>
                <c:pt idx="1781">
                  <c:v>0.67500000000000004</c:v>
                </c:pt>
                <c:pt idx="1782">
                  <c:v>0.94</c:v>
                </c:pt>
                <c:pt idx="1783">
                  <c:v>0.68300000000000005</c:v>
                </c:pt>
                <c:pt idx="1784">
                  <c:v>0.92300000000000004</c:v>
                </c:pt>
                <c:pt idx="1785">
                  <c:v>0.48</c:v>
                </c:pt>
                <c:pt idx="1786">
                  <c:v>0.70099999999999996</c:v>
                </c:pt>
                <c:pt idx="1787">
                  <c:v>0.79600000000000004</c:v>
                </c:pt>
                <c:pt idx="1788">
                  <c:v>0.30199999999999999</c:v>
                </c:pt>
                <c:pt idx="1789">
                  <c:v>0.78</c:v>
                </c:pt>
                <c:pt idx="1790">
                  <c:v>0.68300000000000005</c:v>
                </c:pt>
                <c:pt idx="1791">
                  <c:v>0.80300000000000005</c:v>
                </c:pt>
                <c:pt idx="1792">
                  <c:v>0.84499999999999997</c:v>
                </c:pt>
                <c:pt idx="1793">
                  <c:v>0.82399999999999995</c:v>
                </c:pt>
                <c:pt idx="1794">
                  <c:v>0.64100000000000001</c:v>
                </c:pt>
                <c:pt idx="1795">
                  <c:v>0.73499999999999999</c:v>
                </c:pt>
                <c:pt idx="1796">
                  <c:v>0.55900000000000005</c:v>
                </c:pt>
                <c:pt idx="1797">
                  <c:v>0.69799999999999995</c:v>
                </c:pt>
                <c:pt idx="1798">
                  <c:v>0.437</c:v>
                </c:pt>
                <c:pt idx="1799">
                  <c:v>0.41299999999999998</c:v>
                </c:pt>
                <c:pt idx="1800">
                  <c:v>0.47</c:v>
                </c:pt>
                <c:pt idx="1801">
                  <c:v>0.80400000000000005</c:v>
                </c:pt>
                <c:pt idx="1802">
                  <c:v>0.85899999999999999</c:v>
                </c:pt>
                <c:pt idx="1803">
                  <c:v>0.74399999999999999</c:v>
                </c:pt>
                <c:pt idx="1804">
                  <c:v>0.96</c:v>
                </c:pt>
                <c:pt idx="1805">
                  <c:v>0.14899999999999999</c:v>
                </c:pt>
                <c:pt idx="1806">
                  <c:v>0.93100000000000005</c:v>
                </c:pt>
                <c:pt idx="1807">
                  <c:v>0.76400000000000001</c:v>
                </c:pt>
                <c:pt idx="1808">
                  <c:v>0.91</c:v>
                </c:pt>
                <c:pt idx="1809">
                  <c:v>0.499</c:v>
                </c:pt>
                <c:pt idx="1810">
                  <c:v>0.375</c:v>
                </c:pt>
                <c:pt idx="1811">
                  <c:v>0.95199999999999996</c:v>
                </c:pt>
                <c:pt idx="1812">
                  <c:v>0.191</c:v>
                </c:pt>
                <c:pt idx="1813">
                  <c:v>0.752</c:v>
                </c:pt>
                <c:pt idx="1814">
                  <c:v>0.91900000000000004</c:v>
                </c:pt>
                <c:pt idx="1815">
                  <c:v>0.91100000000000003</c:v>
                </c:pt>
                <c:pt idx="1816">
                  <c:v>0.84699999999999998</c:v>
                </c:pt>
                <c:pt idx="1817">
                  <c:v>0.751</c:v>
                </c:pt>
                <c:pt idx="1818">
                  <c:v>0.66400000000000003</c:v>
                </c:pt>
                <c:pt idx="1819">
                  <c:v>0.88300000000000001</c:v>
                </c:pt>
                <c:pt idx="1820">
                  <c:v>0.748</c:v>
                </c:pt>
                <c:pt idx="1821">
                  <c:v>0.89600000000000002</c:v>
                </c:pt>
                <c:pt idx="1822">
                  <c:v>0.498</c:v>
                </c:pt>
                <c:pt idx="1823">
                  <c:v>0.28599999999999998</c:v>
                </c:pt>
                <c:pt idx="1824">
                  <c:v>0.87</c:v>
                </c:pt>
                <c:pt idx="1825">
                  <c:v>0.7</c:v>
                </c:pt>
                <c:pt idx="1826">
                  <c:v>0.87</c:v>
                </c:pt>
                <c:pt idx="1827">
                  <c:v>0.76900000000000002</c:v>
                </c:pt>
                <c:pt idx="1828">
                  <c:v>0.57099999999999995</c:v>
                </c:pt>
                <c:pt idx="1829">
                  <c:v>0.626</c:v>
                </c:pt>
                <c:pt idx="1830">
                  <c:v>0.78400000000000003</c:v>
                </c:pt>
                <c:pt idx="1831">
                  <c:v>0.88800000000000001</c:v>
                </c:pt>
                <c:pt idx="1832">
                  <c:v>0.96599999999999997</c:v>
                </c:pt>
                <c:pt idx="1833">
                  <c:v>0.57699999999999996</c:v>
                </c:pt>
                <c:pt idx="1834">
                  <c:v>0.7</c:v>
                </c:pt>
                <c:pt idx="1835">
                  <c:v>0.85199999999999998</c:v>
                </c:pt>
                <c:pt idx="1836">
                  <c:v>0.94299999999999995</c:v>
                </c:pt>
                <c:pt idx="1837">
                  <c:v>0.35</c:v>
                </c:pt>
                <c:pt idx="1838">
                  <c:v>0.57799999999999996</c:v>
                </c:pt>
                <c:pt idx="1839">
                  <c:v>0.73799999999999999</c:v>
                </c:pt>
                <c:pt idx="1840">
                  <c:v>0.85299999999999998</c:v>
                </c:pt>
                <c:pt idx="1841">
                  <c:v>0.95299999999999996</c:v>
                </c:pt>
                <c:pt idx="1842">
                  <c:v>0.84599999999999997</c:v>
                </c:pt>
                <c:pt idx="1843">
                  <c:v>0.83699999999999997</c:v>
                </c:pt>
                <c:pt idx="1844">
                  <c:v>0.68</c:v>
                </c:pt>
                <c:pt idx="1845">
                  <c:v>0.90500000000000003</c:v>
                </c:pt>
                <c:pt idx="1846">
                  <c:v>0.186</c:v>
                </c:pt>
                <c:pt idx="1847">
                  <c:v>0.76900000000000002</c:v>
                </c:pt>
                <c:pt idx="1848">
                  <c:v>0.78900000000000003</c:v>
                </c:pt>
                <c:pt idx="1849">
                  <c:v>0.70199999999999996</c:v>
                </c:pt>
                <c:pt idx="1850">
                  <c:v>0.67</c:v>
                </c:pt>
                <c:pt idx="1851">
                  <c:v>0.97799999999999998</c:v>
                </c:pt>
                <c:pt idx="1852">
                  <c:v>0.67100000000000004</c:v>
                </c:pt>
                <c:pt idx="1853">
                  <c:v>0.622</c:v>
                </c:pt>
                <c:pt idx="1854">
                  <c:v>0.625</c:v>
                </c:pt>
                <c:pt idx="1855">
                  <c:v>0.80900000000000005</c:v>
                </c:pt>
                <c:pt idx="1856">
                  <c:v>0.47399999999999998</c:v>
                </c:pt>
                <c:pt idx="1857">
                  <c:v>0.79500000000000004</c:v>
                </c:pt>
                <c:pt idx="1858">
                  <c:v>0.86499999999999999</c:v>
                </c:pt>
                <c:pt idx="1859">
                  <c:v>0.67200000000000004</c:v>
                </c:pt>
                <c:pt idx="1860">
                  <c:v>7.6999999999999999E-2</c:v>
                </c:pt>
                <c:pt idx="1861">
                  <c:v>0.85799999999999998</c:v>
                </c:pt>
                <c:pt idx="1862">
                  <c:v>0.22700000000000001</c:v>
                </c:pt>
                <c:pt idx="1863">
                  <c:v>0.93300000000000005</c:v>
                </c:pt>
                <c:pt idx="1864">
                  <c:v>0.48699999999999999</c:v>
                </c:pt>
                <c:pt idx="1865">
                  <c:v>0.69099999999999995</c:v>
                </c:pt>
                <c:pt idx="1866">
                  <c:v>0.97599999999999998</c:v>
                </c:pt>
                <c:pt idx="1867">
                  <c:v>0.94</c:v>
                </c:pt>
                <c:pt idx="1868">
                  <c:v>0.71399999999999997</c:v>
                </c:pt>
                <c:pt idx="1869">
                  <c:v>0.93400000000000005</c:v>
                </c:pt>
                <c:pt idx="1870">
                  <c:v>1</c:v>
                </c:pt>
                <c:pt idx="1871">
                  <c:v>0.75900000000000001</c:v>
                </c:pt>
                <c:pt idx="1872">
                  <c:v>0.81100000000000005</c:v>
                </c:pt>
                <c:pt idx="1873">
                  <c:v>0.69399999999999995</c:v>
                </c:pt>
                <c:pt idx="1874">
                  <c:v>0.76100000000000001</c:v>
                </c:pt>
                <c:pt idx="1875">
                  <c:v>0.97499999999999998</c:v>
                </c:pt>
                <c:pt idx="1876">
                  <c:v>0.69499999999999995</c:v>
                </c:pt>
                <c:pt idx="1877">
                  <c:v>0.65200000000000002</c:v>
                </c:pt>
                <c:pt idx="1878">
                  <c:v>0.70399999999999996</c:v>
                </c:pt>
                <c:pt idx="1879">
                  <c:v>0.70399999999999996</c:v>
                </c:pt>
                <c:pt idx="1880">
                  <c:v>0.747</c:v>
                </c:pt>
                <c:pt idx="1881">
                  <c:v>0.90100000000000002</c:v>
                </c:pt>
                <c:pt idx="1882">
                  <c:v>0.64200000000000002</c:v>
                </c:pt>
                <c:pt idx="1883">
                  <c:v>0.88300000000000001</c:v>
                </c:pt>
                <c:pt idx="1884">
                  <c:v>0.875</c:v>
                </c:pt>
                <c:pt idx="1885">
                  <c:v>0.94599999999999995</c:v>
                </c:pt>
                <c:pt idx="1886">
                  <c:v>0.307</c:v>
                </c:pt>
                <c:pt idx="1887">
                  <c:v>9.8000000000000004E-2</c:v>
                </c:pt>
                <c:pt idx="1888">
                  <c:v>0.878</c:v>
                </c:pt>
                <c:pt idx="1889">
                  <c:v>0.86599999999999999</c:v>
                </c:pt>
                <c:pt idx="1890">
                  <c:v>0.45400000000000001</c:v>
                </c:pt>
                <c:pt idx="1891">
                  <c:v>0.67500000000000004</c:v>
                </c:pt>
                <c:pt idx="1892">
                  <c:v>0.80600000000000005</c:v>
                </c:pt>
                <c:pt idx="1893">
                  <c:v>0.60699999999999998</c:v>
                </c:pt>
                <c:pt idx="1894">
                  <c:v>0.876</c:v>
                </c:pt>
                <c:pt idx="1895">
                  <c:v>0.65500000000000003</c:v>
                </c:pt>
                <c:pt idx="1896">
                  <c:v>0.59099999999999997</c:v>
                </c:pt>
                <c:pt idx="1897">
                  <c:v>0.46100000000000002</c:v>
                </c:pt>
                <c:pt idx="1898">
                  <c:v>0.48099999999999998</c:v>
                </c:pt>
                <c:pt idx="1899">
                  <c:v>0.55100000000000005</c:v>
                </c:pt>
                <c:pt idx="1900">
                  <c:v>0.85</c:v>
                </c:pt>
                <c:pt idx="1901">
                  <c:v>0.89500000000000002</c:v>
                </c:pt>
                <c:pt idx="1902">
                  <c:v>0.63</c:v>
                </c:pt>
                <c:pt idx="1903">
                  <c:v>0.78500000000000003</c:v>
                </c:pt>
                <c:pt idx="1904">
                  <c:v>0.76100000000000001</c:v>
                </c:pt>
                <c:pt idx="1905">
                  <c:v>0.52200000000000002</c:v>
                </c:pt>
                <c:pt idx="1906">
                  <c:v>0.41699999999999998</c:v>
                </c:pt>
                <c:pt idx="1907">
                  <c:v>0.94299999999999995</c:v>
                </c:pt>
                <c:pt idx="1908">
                  <c:v>0.755</c:v>
                </c:pt>
                <c:pt idx="1909">
                  <c:v>0.81699999999999995</c:v>
                </c:pt>
                <c:pt idx="1910">
                  <c:v>0.32100000000000001</c:v>
                </c:pt>
                <c:pt idx="1911">
                  <c:v>0.93500000000000005</c:v>
                </c:pt>
                <c:pt idx="1912">
                  <c:v>0.17799999999999999</c:v>
                </c:pt>
                <c:pt idx="1913">
                  <c:v>0.439</c:v>
                </c:pt>
                <c:pt idx="1914">
                  <c:v>0.45400000000000001</c:v>
                </c:pt>
                <c:pt idx="1915">
                  <c:v>0.92700000000000005</c:v>
                </c:pt>
                <c:pt idx="1916">
                  <c:v>0.91100000000000003</c:v>
                </c:pt>
                <c:pt idx="1917">
                  <c:v>0.97299999999999998</c:v>
                </c:pt>
                <c:pt idx="1918">
                  <c:v>0.53300000000000003</c:v>
                </c:pt>
                <c:pt idx="1919">
                  <c:v>0.65200000000000002</c:v>
                </c:pt>
                <c:pt idx="1920">
                  <c:v>0.55700000000000005</c:v>
                </c:pt>
                <c:pt idx="1921">
                  <c:v>0.876</c:v>
                </c:pt>
                <c:pt idx="1922">
                  <c:v>0.92500000000000004</c:v>
                </c:pt>
                <c:pt idx="1923">
                  <c:v>0.63200000000000001</c:v>
                </c:pt>
                <c:pt idx="1924">
                  <c:v>0.83699999999999997</c:v>
                </c:pt>
                <c:pt idx="1925">
                  <c:v>0.17100000000000001</c:v>
                </c:pt>
                <c:pt idx="1926">
                  <c:v>0.69499999999999995</c:v>
                </c:pt>
                <c:pt idx="1927">
                  <c:v>0.68400000000000005</c:v>
                </c:pt>
                <c:pt idx="1928">
                  <c:v>0.745</c:v>
                </c:pt>
                <c:pt idx="1929">
                  <c:v>0.88600000000000001</c:v>
                </c:pt>
                <c:pt idx="1930">
                  <c:v>0.90700000000000003</c:v>
                </c:pt>
                <c:pt idx="1931">
                  <c:v>0.79500000000000004</c:v>
                </c:pt>
                <c:pt idx="1932">
                  <c:v>0.94</c:v>
                </c:pt>
                <c:pt idx="1933">
                  <c:v>0.79100000000000004</c:v>
                </c:pt>
                <c:pt idx="1934">
                  <c:v>0.69299999999999995</c:v>
                </c:pt>
                <c:pt idx="1935">
                  <c:v>0.80400000000000005</c:v>
                </c:pt>
                <c:pt idx="1936">
                  <c:v>0.86799999999999999</c:v>
                </c:pt>
                <c:pt idx="1937">
                  <c:v>0.36499999999999999</c:v>
                </c:pt>
                <c:pt idx="1938">
                  <c:v>0.877</c:v>
                </c:pt>
                <c:pt idx="1939">
                  <c:v>0.71799999999999997</c:v>
                </c:pt>
                <c:pt idx="1940">
                  <c:v>0.153</c:v>
                </c:pt>
                <c:pt idx="1941">
                  <c:v>0.40799999999999997</c:v>
                </c:pt>
                <c:pt idx="1942">
                  <c:v>0.86899999999999999</c:v>
                </c:pt>
                <c:pt idx="1943">
                  <c:v>0.78300000000000003</c:v>
                </c:pt>
                <c:pt idx="1944">
                  <c:v>0.88900000000000001</c:v>
                </c:pt>
                <c:pt idx="1945">
                  <c:v>0.42</c:v>
                </c:pt>
                <c:pt idx="1946">
                  <c:v>0.53100000000000003</c:v>
                </c:pt>
                <c:pt idx="1947">
                  <c:v>0.75900000000000001</c:v>
                </c:pt>
                <c:pt idx="1948">
                  <c:v>0.86499999999999999</c:v>
                </c:pt>
                <c:pt idx="1949">
                  <c:v>0.91600000000000004</c:v>
                </c:pt>
                <c:pt idx="1950">
                  <c:v>0.60199999999999998</c:v>
                </c:pt>
                <c:pt idx="1951">
                  <c:v>0.88500000000000001</c:v>
                </c:pt>
                <c:pt idx="1952">
                  <c:v>0.80900000000000005</c:v>
                </c:pt>
                <c:pt idx="1953">
                  <c:v>0.53400000000000003</c:v>
                </c:pt>
                <c:pt idx="1954">
                  <c:v>0.56100000000000005</c:v>
                </c:pt>
                <c:pt idx="1955">
                  <c:v>0.94399999999999995</c:v>
                </c:pt>
                <c:pt idx="1956">
                  <c:v>0.81399999999999995</c:v>
                </c:pt>
                <c:pt idx="1957">
                  <c:v>0.83799999999999997</c:v>
                </c:pt>
                <c:pt idx="1958">
                  <c:v>0.90800000000000003</c:v>
                </c:pt>
                <c:pt idx="1959">
                  <c:v>0.88600000000000001</c:v>
                </c:pt>
                <c:pt idx="1960">
                  <c:v>0.81499999999999995</c:v>
                </c:pt>
                <c:pt idx="1961">
                  <c:v>0.71399999999999997</c:v>
                </c:pt>
                <c:pt idx="1962">
                  <c:v>0.498</c:v>
                </c:pt>
                <c:pt idx="1963">
                  <c:v>0.83699999999999997</c:v>
                </c:pt>
                <c:pt idx="1964">
                  <c:v>0.92600000000000005</c:v>
                </c:pt>
                <c:pt idx="1965">
                  <c:v>0.379</c:v>
                </c:pt>
                <c:pt idx="1966">
                  <c:v>0.69599999999999995</c:v>
                </c:pt>
                <c:pt idx="1967">
                  <c:v>0.86599999999999999</c:v>
                </c:pt>
                <c:pt idx="1968">
                  <c:v>0.64900000000000002</c:v>
                </c:pt>
                <c:pt idx="1969">
                  <c:v>0.32700000000000001</c:v>
                </c:pt>
                <c:pt idx="1970">
                  <c:v>0.93400000000000005</c:v>
                </c:pt>
                <c:pt idx="1971">
                  <c:v>0.94599999999999995</c:v>
                </c:pt>
                <c:pt idx="1972">
                  <c:v>0.56000000000000005</c:v>
                </c:pt>
                <c:pt idx="1973">
                  <c:v>0.126</c:v>
                </c:pt>
                <c:pt idx="1974">
                  <c:v>0.72199999999999998</c:v>
                </c:pt>
                <c:pt idx="1975">
                  <c:v>0.71599999999999997</c:v>
                </c:pt>
                <c:pt idx="1976">
                  <c:v>0.71499999999999997</c:v>
                </c:pt>
                <c:pt idx="1977">
                  <c:v>0.40200000000000002</c:v>
                </c:pt>
                <c:pt idx="1978">
                  <c:v>0.86899999999999999</c:v>
                </c:pt>
                <c:pt idx="1979">
                  <c:v>0.72899999999999998</c:v>
                </c:pt>
                <c:pt idx="1980">
                  <c:v>0.92600000000000005</c:v>
                </c:pt>
                <c:pt idx="1981">
                  <c:v>0.88600000000000001</c:v>
                </c:pt>
                <c:pt idx="1982">
                  <c:v>0.36699999999999999</c:v>
                </c:pt>
                <c:pt idx="1983">
                  <c:v>0.89200000000000002</c:v>
                </c:pt>
                <c:pt idx="1984">
                  <c:v>0.86499999999999999</c:v>
                </c:pt>
                <c:pt idx="1985">
                  <c:v>0.86499999999999999</c:v>
                </c:pt>
                <c:pt idx="1986">
                  <c:v>0.93300000000000005</c:v>
                </c:pt>
                <c:pt idx="1987">
                  <c:v>0.79200000000000004</c:v>
                </c:pt>
                <c:pt idx="1988">
                  <c:v>0.34200000000000003</c:v>
                </c:pt>
                <c:pt idx="1989">
                  <c:v>0.31900000000000001</c:v>
                </c:pt>
                <c:pt idx="1990">
                  <c:v>0.74299999999999999</c:v>
                </c:pt>
                <c:pt idx="1991">
                  <c:v>0.73199999999999998</c:v>
                </c:pt>
                <c:pt idx="1992">
                  <c:v>0.872</c:v>
                </c:pt>
                <c:pt idx="1993">
                  <c:v>0.877</c:v>
                </c:pt>
                <c:pt idx="1994">
                  <c:v>0.81100000000000005</c:v>
                </c:pt>
                <c:pt idx="1995">
                  <c:v>0.33</c:v>
                </c:pt>
                <c:pt idx="1996">
                  <c:v>0.57899999999999996</c:v>
                </c:pt>
                <c:pt idx="1997">
                  <c:v>0.15</c:v>
                </c:pt>
                <c:pt idx="1998">
                  <c:v>0.374</c:v>
                </c:pt>
                <c:pt idx="1999">
                  <c:v>7.0999999999999994E-2</c:v>
                </c:pt>
                <c:pt idx="2000">
                  <c:v>0.49</c:v>
                </c:pt>
                <c:pt idx="2001">
                  <c:v>0.67900000000000005</c:v>
                </c:pt>
                <c:pt idx="2002">
                  <c:v>0.94</c:v>
                </c:pt>
                <c:pt idx="2003">
                  <c:v>0.63700000000000001</c:v>
                </c:pt>
                <c:pt idx="2004">
                  <c:v>0.53100000000000003</c:v>
                </c:pt>
                <c:pt idx="2005">
                  <c:v>0.56999999999999995</c:v>
                </c:pt>
                <c:pt idx="2006">
                  <c:v>0.48799999999999999</c:v>
                </c:pt>
                <c:pt idx="2007">
                  <c:v>0.52200000000000002</c:v>
                </c:pt>
                <c:pt idx="2008">
                  <c:v>0.441</c:v>
                </c:pt>
                <c:pt idx="2009">
                  <c:v>0.90800000000000003</c:v>
                </c:pt>
                <c:pt idx="2010">
                  <c:v>0.217</c:v>
                </c:pt>
                <c:pt idx="2011">
                  <c:v>0.90500000000000003</c:v>
                </c:pt>
                <c:pt idx="2012">
                  <c:v>0.93500000000000005</c:v>
                </c:pt>
                <c:pt idx="2013">
                  <c:v>0.76500000000000001</c:v>
                </c:pt>
                <c:pt idx="2014">
                  <c:v>0.41099999999999998</c:v>
                </c:pt>
                <c:pt idx="2015">
                  <c:v>0.25700000000000001</c:v>
                </c:pt>
                <c:pt idx="2016">
                  <c:v>0.34699999999999998</c:v>
                </c:pt>
                <c:pt idx="2017">
                  <c:v>0.94399999999999995</c:v>
                </c:pt>
                <c:pt idx="2018">
                  <c:v>0.66500000000000004</c:v>
                </c:pt>
                <c:pt idx="2019">
                  <c:v>0.85599999999999998</c:v>
                </c:pt>
                <c:pt idx="2020">
                  <c:v>0.54300000000000004</c:v>
                </c:pt>
                <c:pt idx="2021">
                  <c:v>0.40699999999999997</c:v>
                </c:pt>
                <c:pt idx="2022">
                  <c:v>0.64600000000000002</c:v>
                </c:pt>
                <c:pt idx="2023">
                  <c:v>0.57299999999999995</c:v>
                </c:pt>
                <c:pt idx="2024">
                  <c:v>0.86199999999999999</c:v>
                </c:pt>
                <c:pt idx="2025">
                  <c:v>0.86199999999999999</c:v>
                </c:pt>
                <c:pt idx="2026">
                  <c:v>0.40600000000000003</c:v>
                </c:pt>
                <c:pt idx="2027">
                  <c:v>0.47899999999999998</c:v>
                </c:pt>
                <c:pt idx="2028">
                  <c:v>0.97099999999999997</c:v>
                </c:pt>
                <c:pt idx="2029">
                  <c:v>0.317</c:v>
                </c:pt>
                <c:pt idx="2030">
                  <c:v>0.45400000000000001</c:v>
                </c:pt>
                <c:pt idx="2031">
                  <c:v>0.90900000000000003</c:v>
                </c:pt>
                <c:pt idx="2032">
                  <c:v>0.60399999999999998</c:v>
                </c:pt>
                <c:pt idx="2033">
                  <c:v>0.84699999999999998</c:v>
                </c:pt>
                <c:pt idx="2034">
                  <c:v>0.69399999999999995</c:v>
                </c:pt>
                <c:pt idx="2035">
                  <c:v>0.79500000000000004</c:v>
                </c:pt>
                <c:pt idx="2036">
                  <c:v>0.10299999999999999</c:v>
                </c:pt>
                <c:pt idx="2037">
                  <c:v>0.73299999999999998</c:v>
                </c:pt>
                <c:pt idx="2038">
                  <c:v>0.70799999999999996</c:v>
                </c:pt>
                <c:pt idx="2039">
                  <c:v>0.94199999999999995</c:v>
                </c:pt>
                <c:pt idx="2040">
                  <c:v>0.92300000000000004</c:v>
                </c:pt>
                <c:pt idx="2041">
                  <c:v>0.73799999999999999</c:v>
                </c:pt>
                <c:pt idx="2042">
                  <c:v>0.60499999999999998</c:v>
                </c:pt>
                <c:pt idx="2043">
                  <c:v>0.82399999999999995</c:v>
                </c:pt>
                <c:pt idx="2044">
                  <c:v>0.79300000000000004</c:v>
                </c:pt>
                <c:pt idx="2045">
                  <c:v>0.56299999999999994</c:v>
                </c:pt>
                <c:pt idx="2046">
                  <c:v>0.36299999999999999</c:v>
                </c:pt>
                <c:pt idx="2047">
                  <c:v>0.90400000000000003</c:v>
                </c:pt>
                <c:pt idx="2048">
                  <c:v>0.254</c:v>
                </c:pt>
                <c:pt idx="2049">
                  <c:v>0.627</c:v>
                </c:pt>
                <c:pt idx="2050">
                  <c:v>0.48599999999999999</c:v>
                </c:pt>
                <c:pt idx="2051">
                  <c:v>0.94</c:v>
                </c:pt>
                <c:pt idx="2052">
                  <c:v>0.255</c:v>
                </c:pt>
                <c:pt idx="2053">
                  <c:v>0.46700000000000003</c:v>
                </c:pt>
                <c:pt idx="2054">
                  <c:v>0.86399999999999999</c:v>
                </c:pt>
                <c:pt idx="2055">
                  <c:v>0.32600000000000001</c:v>
                </c:pt>
                <c:pt idx="2056">
                  <c:v>0.68300000000000005</c:v>
                </c:pt>
                <c:pt idx="2057">
                  <c:v>0.90900000000000003</c:v>
                </c:pt>
                <c:pt idx="2058">
                  <c:v>0.91400000000000003</c:v>
                </c:pt>
                <c:pt idx="2059">
                  <c:v>0.69299999999999995</c:v>
                </c:pt>
                <c:pt idx="2060">
                  <c:v>5.2999999999999999E-2</c:v>
                </c:pt>
                <c:pt idx="2061">
                  <c:v>0.88400000000000001</c:v>
                </c:pt>
                <c:pt idx="2062">
                  <c:v>0.69299999999999995</c:v>
                </c:pt>
                <c:pt idx="2063">
                  <c:v>0.89500000000000002</c:v>
                </c:pt>
                <c:pt idx="2064">
                  <c:v>0.98899999999999999</c:v>
                </c:pt>
                <c:pt idx="2065">
                  <c:v>0.88900000000000001</c:v>
                </c:pt>
                <c:pt idx="2066">
                  <c:v>0.26700000000000002</c:v>
                </c:pt>
                <c:pt idx="2067">
                  <c:v>0.35199999999999998</c:v>
                </c:pt>
                <c:pt idx="2068">
                  <c:v>0.48099999999999998</c:v>
                </c:pt>
                <c:pt idx="2069">
                  <c:v>0.95099999999999996</c:v>
                </c:pt>
                <c:pt idx="2070">
                  <c:v>0.66</c:v>
                </c:pt>
                <c:pt idx="2071">
                  <c:v>0.89800000000000002</c:v>
                </c:pt>
                <c:pt idx="2072">
                  <c:v>0.59699999999999998</c:v>
                </c:pt>
                <c:pt idx="2073">
                  <c:v>0.71</c:v>
                </c:pt>
                <c:pt idx="2074">
                  <c:v>0.47399999999999998</c:v>
                </c:pt>
                <c:pt idx="2075">
                  <c:v>0.52500000000000002</c:v>
                </c:pt>
                <c:pt idx="2076">
                  <c:v>0.68400000000000005</c:v>
                </c:pt>
                <c:pt idx="2077">
                  <c:v>0.50800000000000001</c:v>
                </c:pt>
                <c:pt idx="2078">
                  <c:v>0.90900000000000003</c:v>
                </c:pt>
                <c:pt idx="2079">
                  <c:v>0.91900000000000004</c:v>
                </c:pt>
                <c:pt idx="2080">
                  <c:v>0.79600000000000004</c:v>
                </c:pt>
                <c:pt idx="2081">
                  <c:v>0.91100000000000003</c:v>
                </c:pt>
                <c:pt idx="2082">
                  <c:v>0.627</c:v>
                </c:pt>
                <c:pt idx="2083">
                  <c:v>0.55300000000000005</c:v>
                </c:pt>
                <c:pt idx="2084">
                  <c:v>0.75600000000000001</c:v>
                </c:pt>
                <c:pt idx="2085">
                  <c:v>0.90200000000000002</c:v>
                </c:pt>
                <c:pt idx="2086">
                  <c:v>0.39400000000000002</c:v>
                </c:pt>
                <c:pt idx="2087">
                  <c:v>0.78</c:v>
                </c:pt>
                <c:pt idx="2088">
                  <c:v>0.54200000000000004</c:v>
                </c:pt>
                <c:pt idx="2089">
                  <c:v>0.73599999999999999</c:v>
                </c:pt>
                <c:pt idx="2090">
                  <c:v>0.78200000000000003</c:v>
                </c:pt>
                <c:pt idx="2091">
                  <c:v>0.72199999999999998</c:v>
                </c:pt>
                <c:pt idx="2092">
                  <c:v>0.88700000000000001</c:v>
                </c:pt>
                <c:pt idx="2093">
                  <c:v>0.69799999999999995</c:v>
                </c:pt>
                <c:pt idx="2094">
                  <c:v>0.88</c:v>
                </c:pt>
                <c:pt idx="2095">
                  <c:v>0.93300000000000005</c:v>
                </c:pt>
                <c:pt idx="2096">
                  <c:v>0.91600000000000004</c:v>
                </c:pt>
                <c:pt idx="2097">
                  <c:v>0.56999999999999995</c:v>
                </c:pt>
                <c:pt idx="2098">
                  <c:v>0.13100000000000001</c:v>
                </c:pt>
                <c:pt idx="2099">
                  <c:v>0.66600000000000004</c:v>
                </c:pt>
                <c:pt idx="2100">
                  <c:v>0.72</c:v>
                </c:pt>
                <c:pt idx="2101">
                  <c:v>0.41799999999999998</c:v>
                </c:pt>
                <c:pt idx="2102">
                  <c:v>0.46100000000000002</c:v>
                </c:pt>
                <c:pt idx="2103">
                  <c:v>0.73099999999999998</c:v>
                </c:pt>
                <c:pt idx="2104">
                  <c:v>1</c:v>
                </c:pt>
                <c:pt idx="2105">
                  <c:v>0.45400000000000001</c:v>
                </c:pt>
                <c:pt idx="2106">
                  <c:v>0.89200000000000002</c:v>
                </c:pt>
                <c:pt idx="2107">
                  <c:v>8.5999999999999993E-2</c:v>
                </c:pt>
                <c:pt idx="2108">
                  <c:v>0.624</c:v>
                </c:pt>
                <c:pt idx="2109">
                  <c:v>0.8</c:v>
                </c:pt>
                <c:pt idx="2110">
                  <c:v>0.30199999999999999</c:v>
                </c:pt>
                <c:pt idx="2111">
                  <c:v>0.153</c:v>
                </c:pt>
                <c:pt idx="2112">
                  <c:v>0.56100000000000005</c:v>
                </c:pt>
                <c:pt idx="2113">
                  <c:v>0.38800000000000001</c:v>
                </c:pt>
                <c:pt idx="2114">
                  <c:v>0.64500000000000002</c:v>
                </c:pt>
                <c:pt idx="2115">
                  <c:v>0.80900000000000005</c:v>
                </c:pt>
                <c:pt idx="2116">
                  <c:v>0.42</c:v>
                </c:pt>
                <c:pt idx="2117">
                  <c:v>0.17499999999999999</c:v>
                </c:pt>
                <c:pt idx="2118">
                  <c:v>0.48499999999999999</c:v>
                </c:pt>
                <c:pt idx="2119">
                  <c:v>0.505</c:v>
                </c:pt>
                <c:pt idx="2120">
                  <c:v>0.63700000000000001</c:v>
                </c:pt>
                <c:pt idx="2121">
                  <c:v>0.69799999999999995</c:v>
                </c:pt>
                <c:pt idx="2122">
                  <c:v>0.53</c:v>
                </c:pt>
                <c:pt idx="2123">
                  <c:v>0.32700000000000001</c:v>
                </c:pt>
                <c:pt idx="2124">
                  <c:v>0.55900000000000005</c:v>
                </c:pt>
                <c:pt idx="2125">
                  <c:v>0.68700000000000006</c:v>
                </c:pt>
                <c:pt idx="2126">
                  <c:v>0.94599999999999995</c:v>
                </c:pt>
                <c:pt idx="2127">
                  <c:v>0.67800000000000005</c:v>
                </c:pt>
                <c:pt idx="2128">
                  <c:v>0.75900000000000001</c:v>
                </c:pt>
                <c:pt idx="2129">
                  <c:v>0.89</c:v>
                </c:pt>
                <c:pt idx="2130">
                  <c:v>0.41</c:v>
                </c:pt>
                <c:pt idx="2131">
                  <c:v>0.96</c:v>
                </c:pt>
                <c:pt idx="2132">
                  <c:v>0.40600000000000003</c:v>
                </c:pt>
                <c:pt idx="2133">
                  <c:v>0.90500000000000003</c:v>
                </c:pt>
                <c:pt idx="2134">
                  <c:v>0.54</c:v>
                </c:pt>
                <c:pt idx="2135">
                  <c:v>0.46600000000000003</c:v>
                </c:pt>
                <c:pt idx="2136">
                  <c:v>0.95599999999999996</c:v>
                </c:pt>
                <c:pt idx="2137">
                  <c:v>0.499</c:v>
                </c:pt>
                <c:pt idx="2138">
                  <c:v>0.65100000000000002</c:v>
                </c:pt>
                <c:pt idx="2139">
                  <c:v>0.29799999999999999</c:v>
                </c:pt>
                <c:pt idx="2140">
                  <c:v>0.755</c:v>
                </c:pt>
                <c:pt idx="2141">
                  <c:v>0.33500000000000002</c:v>
                </c:pt>
                <c:pt idx="2142">
                  <c:v>0.61499999999999999</c:v>
                </c:pt>
                <c:pt idx="2143">
                  <c:v>0.45600000000000002</c:v>
                </c:pt>
                <c:pt idx="2144">
                  <c:v>0.182</c:v>
                </c:pt>
                <c:pt idx="2145">
                  <c:v>2.8000000000000001E-2</c:v>
                </c:pt>
                <c:pt idx="2146">
                  <c:v>0.44800000000000001</c:v>
                </c:pt>
                <c:pt idx="2147">
                  <c:v>0.41299999999999998</c:v>
                </c:pt>
                <c:pt idx="2148">
                  <c:v>0.03</c:v>
                </c:pt>
                <c:pt idx="2149">
                  <c:v>9.9000000000000005E-2</c:v>
                </c:pt>
                <c:pt idx="2150">
                  <c:v>0.79200000000000004</c:v>
                </c:pt>
                <c:pt idx="2151">
                  <c:v>0.67500000000000004</c:v>
                </c:pt>
                <c:pt idx="2152">
                  <c:v>0.254</c:v>
                </c:pt>
                <c:pt idx="2153">
                  <c:v>0.77200000000000002</c:v>
                </c:pt>
                <c:pt idx="2154">
                  <c:v>0.82</c:v>
                </c:pt>
                <c:pt idx="2155">
                  <c:v>0.75800000000000001</c:v>
                </c:pt>
                <c:pt idx="2156">
                  <c:v>0.497</c:v>
                </c:pt>
                <c:pt idx="2157">
                  <c:v>0.56299999999999994</c:v>
                </c:pt>
                <c:pt idx="2158">
                  <c:v>0.68600000000000005</c:v>
                </c:pt>
                <c:pt idx="2159">
                  <c:v>0.90600000000000003</c:v>
                </c:pt>
                <c:pt idx="2160">
                  <c:v>0.54900000000000004</c:v>
                </c:pt>
                <c:pt idx="2161">
                  <c:v>1</c:v>
                </c:pt>
                <c:pt idx="2162">
                  <c:v>0.34699999999999998</c:v>
                </c:pt>
                <c:pt idx="2163">
                  <c:v>0.69599999999999995</c:v>
                </c:pt>
                <c:pt idx="2164">
                  <c:v>0.42399999999999999</c:v>
                </c:pt>
                <c:pt idx="2165">
                  <c:v>0.63100000000000001</c:v>
                </c:pt>
                <c:pt idx="2166">
                  <c:v>0.39900000000000002</c:v>
                </c:pt>
                <c:pt idx="2167">
                  <c:v>0.877</c:v>
                </c:pt>
                <c:pt idx="2168">
                  <c:v>0.69599999999999995</c:v>
                </c:pt>
                <c:pt idx="2169">
                  <c:v>0.745</c:v>
                </c:pt>
                <c:pt idx="2170">
                  <c:v>0.23400000000000001</c:v>
                </c:pt>
                <c:pt idx="2171">
                  <c:v>0.65500000000000003</c:v>
                </c:pt>
                <c:pt idx="2172">
                  <c:v>0.159</c:v>
                </c:pt>
                <c:pt idx="2173">
                  <c:v>0.59199999999999997</c:v>
                </c:pt>
                <c:pt idx="2174">
                  <c:v>0.52800000000000002</c:v>
                </c:pt>
                <c:pt idx="2175">
                  <c:v>0.91100000000000003</c:v>
                </c:pt>
                <c:pt idx="2176">
                  <c:v>0.71199999999999997</c:v>
                </c:pt>
                <c:pt idx="2177">
                  <c:v>0.68300000000000005</c:v>
                </c:pt>
                <c:pt idx="2178">
                  <c:v>0.95099999999999996</c:v>
                </c:pt>
                <c:pt idx="2179">
                  <c:v>0.82899999999999996</c:v>
                </c:pt>
                <c:pt idx="2180">
                  <c:v>0.75900000000000001</c:v>
                </c:pt>
                <c:pt idx="2181">
                  <c:v>0.83699999999999997</c:v>
                </c:pt>
                <c:pt idx="2182">
                  <c:v>0.84199999999999997</c:v>
                </c:pt>
                <c:pt idx="2183">
                  <c:v>0.13700000000000001</c:v>
                </c:pt>
                <c:pt idx="2184">
                  <c:v>0.34699999999999998</c:v>
                </c:pt>
                <c:pt idx="2185">
                  <c:v>0.55700000000000005</c:v>
                </c:pt>
                <c:pt idx="2186">
                  <c:v>0.379</c:v>
                </c:pt>
                <c:pt idx="2187">
                  <c:v>0.52200000000000002</c:v>
                </c:pt>
                <c:pt idx="2188">
                  <c:v>0.76</c:v>
                </c:pt>
                <c:pt idx="2189">
                  <c:v>0.13</c:v>
                </c:pt>
                <c:pt idx="2190">
                  <c:v>0.81799999999999995</c:v>
                </c:pt>
                <c:pt idx="2191">
                  <c:v>0.42199999999999999</c:v>
                </c:pt>
                <c:pt idx="2192">
                  <c:v>0.32</c:v>
                </c:pt>
                <c:pt idx="2193">
                  <c:v>0.73</c:v>
                </c:pt>
                <c:pt idx="2194">
                  <c:v>0.77600000000000002</c:v>
                </c:pt>
                <c:pt idx="2195">
                  <c:v>0.48699999999999999</c:v>
                </c:pt>
                <c:pt idx="2196">
                  <c:v>0.90100000000000002</c:v>
                </c:pt>
                <c:pt idx="2197">
                  <c:v>0.80300000000000005</c:v>
                </c:pt>
                <c:pt idx="2198">
                  <c:v>0.73799999999999999</c:v>
                </c:pt>
                <c:pt idx="2199">
                  <c:v>0.91400000000000003</c:v>
                </c:pt>
                <c:pt idx="2200">
                  <c:v>0.86499999999999999</c:v>
                </c:pt>
                <c:pt idx="2201">
                  <c:v>0.63300000000000001</c:v>
                </c:pt>
                <c:pt idx="2202">
                  <c:v>0.65800000000000003</c:v>
                </c:pt>
                <c:pt idx="2203">
                  <c:v>0.89100000000000001</c:v>
                </c:pt>
                <c:pt idx="2204">
                  <c:v>0.24299999999999999</c:v>
                </c:pt>
                <c:pt idx="2205">
                  <c:v>0.70699999999999996</c:v>
                </c:pt>
                <c:pt idx="2206">
                  <c:v>0.48</c:v>
                </c:pt>
                <c:pt idx="2207">
                  <c:v>0.35699999999999998</c:v>
                </c:pt>
                <c:pt idx="2208">
                  <c:v>0.26300000000000001</c:v>
                </c:pt>
                <c:pt idx="2209">
                  <c:v>0.878</c:v>
                </c:pt>
                <c:pt idx="2210">
                  <c:v>0.53300000000000003</c:v>
                </c:pt>
                <c:pt idx="2211">
                  <c:v>0.60199999999999998</c:v>
                </c:pt>
                <c:pt idx="2212">
                  <c:v>0.91800000000000004</c:v>
                </c:pt>
                <c:pt idx="2213">
                  <c:v>0.42599999999999999</c:v>
                </c:pt>
                <c:pt idx="2214">
                  <c:v>0.70699999999999996</c:v>
                </c:pt>
                <c:pt idx="2215">
                  <c:v>0.69699999999999995</c:v>
                </c:pt>
                <c:pt idx="2216">
                  <c:v>0.77400000000000002</c:v>
                </c:pt>
                <c:pt idx="2217">
                  <c:v>0.96799999999999997</c:v>
                </c:pt>
                <c:pt idx="2218">
                  <c:v>0.253</c:v>
                </c:pt>
                <c:pt idx="2219">
                  <c:v>0.56799999999999995</c:v>
                </c:pt>
                <c:pt idx="2220">
                  <c:v>0.41299999999999998</c:v>
                </c:pt>
                <c:pt idx="2221">
                  <c:v>0.90600000000000003</c:v>
                </c:pt>
                <c:pt idx="2222">
                  <c:v>0.93200000000000005</c:v>
                </c:pt>
                <c:pt idx="2223">
                  <c:v>0.85799999999999998</c:v>
                </c:pt>
                <c:pt idx="2224">
                  <c:v>0.80900000000000005</c:v>
                </c:pt>
                <c:pt idx="2225">
                  <c:v>0.89200000000000002</c:v>
                </c:pt>
                <c:pt idx="2226">
                  <c:v>0.45600000000000002</c:v>
                </c:pt>
                <c:pt idx="2227">
                  <c:v>0.78</c:v>
                </c:pt>
                <c:pt idx="2228">
                  <c:v>0.81699999999999995</c:v>
                </c:pt>
                <c:pt idx="2229">
                  <c:v>0.38900000000000001</c:v>
                </c:pt>
                <c:pt idx="2230">
                  <c:v>0.53800000000000003</c:v>
                </c:pt>
                <c:pt idx="2231">
                  <c:v>0.432</c:v>
                </c:pt>
                <c:pt idx="2232">
                  <c:v>0.622</c:v>
                </c:pt>
                <c:pt idx="2233">
                  <c:v>0.88700000000000001</c:v>
                </c:pt>
                <c:pt idx="2234">
                  <c:v>0.61299999999999999</c:v>
                </c:pt>
                <c:pt idx="2235">
                  <c:v>0.84599999999999997</c:v>
                </c:pt>
                <c:pt idx="2236">
                  <c:v>0.89300000000000002</c:v>
                </c:pt>
                <c:pt idx="2237">
                  <c:v>0.27100000000000002</c:v>
                </c:pt>
                <c:pt idx="2238">
                  <c:v>0.47699999999999998</c:v>
                </c:pt>
                <c:pt idx="2239">
                  <c:v>0.47199999999999998</c:v>
                </c:pt>
                <c:pt idx="2240">
                  <c:v>0.89400000000000002</c:v>
                </c:pt>
                <c:pt idx="2241">
                  <c:v>0.36099999999999999</c:v>
                </c:pt>
                <c:pt idx="2242">
                  <c:v>0.623</c:v>
                </c:pt>
                <c:pt idx="2243">
                  <c:v>0.4</c:v>
                </c:pt>
                <c:pt idx="2244">
                  <c:v>0.78400000000000003</c:v>
                </c:pt>
                <c:pt idx="2245">
                  <c:v>0.30599999999999999</c:v>
                </c:pt>
                <c:pt idx="2246">
                  <c:v>0.49</c:v>
                </c:pt>
                <c:pt idx="2247">
                  <c:v>0.63700000000000001</c:v>
                </c:pt>
                <c:pt idx="2248">
                  <c:v>0.63600000000000001</c:v>
                </c:pt>
                <c:pt idx="2249">
                  <c:v>0.85299999999999998</c:v>
                </c:pt>
                <c:pt idx="2250">
                  <c:v>0.41599999999999998</c:v>
                </c:pt>
                <c:pt idx="2251">
                  <c:v>0.42</c:v>
                </c:pt>
                <c:pt idx="2252">
                  <c:v>0.90300000000000002</c:v>
                </c:pt>
                <c:pt idx="2253">
                  <c:v>0.39</c:v>
                </c:pt>
                <c:pt idx="2254">
                  <c:v>0.83199999999999996</c:v>
                </c:pt>
                <c:pt idx="2255">
                  <c:v>0.55300000000000005</c:v>
                </c:pt>
                <c:pt idx="2256">
                  <c:v>0.57099999999999995</c:v>
                </c:pt>
                <c:pt idx="2257">
                  <c:v>0.30499999999999999</c:v>
                </c:pt>
                <c:pt idx="2258">
                  <c:v>0.94199999999999995</c:v>
                </c:pt>
                <c:pt idx="2259">
                  <c:v>0.88100000000000001</c:v>
                </c:pt>
                <c:pt idx="2260">
                  <c:v>0.30199999999999999</c:v>
                </c:pt>
                <c:pt idx="2261">
                  <c:v>0.92200000000000004</c:v>
                </c:pt>
                <c:pt idx="2262">
                  <c:v>0.72099999999999997</c:v>
                </c:pt>
                <c:pt idx="2263">
                  <c:v>0.51</c:v>
                </c:pt>
                <c:pt idx="2264">
                  <c:v>0.59599999999999997</c:v>
                </c:pt>
                <c:pt idx="2265">
                  <c:v>0.29699999999999999</c:v>
                </c:pt>
                <c:pt idx="2266">
                  <c:v>0.64600000000000002</c:v>
                </c:pt>
                <c:pt idx="2267">
                  <c:v>0.9</c:v>
                </c:pt>
                <c:pt idx="2268">
                  <c:v>0.39500000000000002</c:v>
                </c:pt>
                <c:pt idx="2269">
                  <c:v>0.63500000000000001</c:v>
                </c:pt>
                <c:pt idx="2270">
                  <c:v>0.73</c:v>
                </c:pt>
                <c:pt idx="2271">
                  <c:v>0.48799999999999999</c:v>
                </c:pt>
                <c:pt idx="2272">
                  <c:v>0.97399999999999998</c:v>
                </c:pt>
                <c:pt idx="2273">
                  <c:v>0.42199999999999999</c:v>
                </c:pt>
                <c:pt idx="2274">
                  <c:v>0.94599999999999995</c:v>
                </c:pt>
                <c:pt idx="2275">
                  <c:v>0.84899999999999998</c:v>
                </c:pt>
                <c:pt idx="2276">
                  <c:v>0.80600000000000005</c:v>
                </c:pt>
                <c:pt idx="2277">
                  <c:v>0.68200000000000005</c:v>
                </c:pt>
                <c:pt idx="2278">
                  <c:v>0.93100000000000005</c:v>
                </c:pt>
                <c:pt idx="2279">
                  <c:v>0.59499999999999997</c:v>
                </c:pt>
                <c:pt idx="2280">
                  <c:v>0.754</c:v>
                </c:pt>
                <c:pt idx="2281">
                  <c:v>0.68</c:v>
                </c:pt>
                <c:pt idx="2282">
                  <c:v>0.63400000000000001</c:v>
                </c:pt>
                <c:pt idx="2283">
                  <c:v>0.218</c:v>
                </c:pt>
                <c:pt idx="2284">
                  <c:v>8.4000000000000005E-2</c:v>
                </c:pt>
                <c:pt idx="2285">
                  <c:v>0.27100000000000002</c:v>
                </c:pt>
                <c:pt idx="2286">
                  <c:v>0.52500000000000002</c:v>
                </c:pt>
                <c:pt idx="2287">
                  <c:v>0.36899999999999999</c:v>
                </c:pt>
                <c:pt idx="2288">
                  <c:v>0.47099999999999997</c:v>
                </c:pt>
                <c:pt idx="2289">
                  <c:v>0.314</c:v>
                </c:pt>
                <c:pt idx="2290">
                  <c:v>0.60099999999999998</c:v>
                </c:pt>
                <c:pt idx="2291">
                  <c:v>0.60299999999999998</c:v>
                </c:pt>
                <c:pt idx="2292">
                  <c:v>0.95899999999999996</c:v>
                </c:pt>
                <c:pt idx="2293">
                  <c:v>0.17699999999999999</c:v>
                </c:pt>
                <c:pt idx="2294">
                  <c:v>0.9</c:v>
                </c:pt>
                <c:pt idx="2295">
                  <c:v>0.63700000000000001</c:v>
                </c:pt>
                <c:pt idx="2296">
                  <c:v>7.2999999999999995E-2</c:v>
                </c:pt>
                <c:pt idx="2297">
                  <c:v>2.7E-2</c:v>
                </c:pt>
                <c:pt idx="2298">
                  <c:v>0.67400000000000004</c:v>
                </c:pt>
                <c:pt idx="2299">
                  <c:v>0.376</c:v>
                </c:pt>
                <c:pt idx="2300">
                  <c:v>0.61599999999999999</c:v>
                </c:pt>
                <c:pt idx="2301">
                  <c:v>0.81100000000000005</c:v>
                </c:pt>
                <c:pt idx="2302">
                  <c:v>0.98599999999999999</c:v>
                </c:pt>
                <c:pt idx="2303">
                  <c:v>0.83599999999999997</c:v>
                </c:pt>
                <c:pt idx="2304">
                  <c:v>0.45900000000000002</c:v>
                </c:pt>
                <c:pt idx="2305">
                  <c:v>0.159</c:v>
                </c:pt>
                <c:pt idx="2306">
                  <c:v>0.90300000000000002</c:v>
                </c:pt>
                <c:pt idx="2307">
                  <c:v>0.879</c:v>
                </c:pt>
                <c:pt idx="2308">
                  <c:v>0.41799999999999998</c:v>
                </c:pt>
                <c:pt idx="2309">
                  <c:v>0.30299999999999999</c:v>
                </c:pt>
                <c:pt idx="2310">
                  <c:v>0.68400000000000005</c:v>
                </c:pt>
                <c:pt idx="2311">
                  <c:v>0.26500000000000001</c:v>
                </c:pt>
                <c:pt idx="2312">
                  <c:v>0.41499999999999998</c:v>
                </c:pt>
                <c:pt idx="2313">
                  <c:v>0.16600000000000001</c:v>
                </c:pt>
                <c:pt idx="2314">
                  <c:v>0.59399999999999997</c:v>
                </c:pt>
                <c:pt idx="2315">
                  <c:v>0.76300000000000001</c:v>
                </c:pt>
                <c:pt idx="2316">
                  <c:v>0.308</c:v>
                </c:pt>
                <c:pt idx="2317">
                  <c:v>0.46600000000000003</c:v>
                </c:pt>
                <c:pt idx="2318">
                  <c:v>0.28699999999999998</c:v>
                </c:pt>
                <c:pt idx="2319">
                  <c:v>0.77500000000000002</c:v>
                </c:pt>
                <c:pt idx="2320">
                  <c:v>0.84499999999999997</c:v>
                </c:pt>
                <c:pt idx="2321">
                  <c:v>0.93799999999999994</c:v>
                </c:pt>
                <c:pt idx="2322">
                  <c:v>0.41599999999999998</c:v>
                </c:pt>
                <c:pt idx="2323">
                  <c:v>0.69699999999999995</c:v>
                </c:pt>
                <c:pt idx="2324">
                  <c:v>0.88300000000000001</c:v>
                </c:pt>
                <c:pt idx="2325">
                  <c:v>0.59399999999999997</c:v>
                </c:pt>
                <c:pt idx="2326">
                  <c:v>0.67400000000000004</c:v>
                </c:pt>
                <c:pt idx="2327">
                  <c:v>0.65100000000000002</c:v>
                </c:pt>
                <c:pt idx="2328">
                  <c:v>0.41299999999999998</c:v>
                </c:pt>
                <c:pt idx="2329">
                  <c:v>0.54500000000000004</c:v>
                </c:pt>
                <c:pt idx="2330">
                  <c:v>0.75700000000000001</c:v>
                </c:pt>
                <c:pt idx="2331">
                  <c:v>0.41899999999999998</c:v>
                </c:pt>
                <c:pt idx="2332">
                  <c:v>0.27900000000000003</c:v>
                </c:pt>
                <c:pt idx="2333">
                  <c:v>0.45500000000000002</c:v>
                </c:pt>
                <c:pt idx="2334">
                  <c:v>0.748</c:v>
                </c:pt>
                <c:pt idx="2335">
                  <c:v>0.46</c:v>
                </c:pt>
                <c:pt idx="2336">
                  <c:v>0.82899999999999996</c:v>
                </c:pt>
                <c:pt idx="2337">
                  <c:v>0.59899999999999998</c:v>
                </c:pt>
                <c:pt idx="2338">
                  <c:v>0.90200000000000002</c:v>
                </c:pt>
                <c:pt idx="2339">
                  <c:v>0.41499999999999998</c:v>
                </c:pt>
                <c:pt idx="2340">
                  <c:v>0.85199999999999998</c:v>
                </c:pt>
                <c:pt idx="2341">
                  <c:v>0.13100000000000001</c:v>
                </c:pt>
                <c:pt idx="2342">
                  <c:v>0.92300000000000004</c:v>
                </c:pt>
                <c:pt idx="2343">
                  <c:v>0.53300000000000003</c:v>
                </c:pt>
                <c:pt idx="2344">
                  <c:v>0.95499999999999996</c:v>
                </c:pt>
                <c:pt idx="2345">
                  <c:v>0.14099999999999999</c:v>
                </c:pt>
                <c:pt idx="2346">
                  <c:v>0.80500000000000005</c:v>
                </c:pt>
                <c:pt idx="2347">
                  <c:v>0.621</c:v>
                </c:pt>
                <c:pt idx="2348">
                  <c:v>0.92800000000000005</c:v>
                </c:pt>
                <c:pt idx="2349">
                  <c:v>0.83199999999999996</c:v>
                </c:pt>
                <c:pt idx="2350">
                  <c:v>0.31</c:v>
                </c:pt>
                <c:pt idx="2351">
                  <c:v>0.33800000000000002</c:v>
                </c:pt>
                <c:pt idx="2352">
                  <c:v>0.94399999999999995</c:v>
                </c:pt>
                <c:pt idx="2353">
                  <c:v>0.63</c:v>
                </c:pt>
                <c:pt idx="2354">
                  <c:v>0.84599999999999997</c:v>
                </c:pt>
                <c:pt idx="2355">
                  <c:v>0.53200000000000003</c:v>
                </c:pt>
                <c:pt idx="2356">
                  <c:v>0.93799999999999994</c:v>
                </c:pt>
                <c:pt idx="2357">
                  <c:v>0.9</c:v>
                </c:pt>
                <c:pt idx="2358">
                  <c:v>0.48399999999999999</c:v>
                </c:pt>
                <c:pt idx="2359">
                  <c:v>0.22</c:v>
                </c:pt>
                <c:pt idx="2360">
                  <c:v>0.91300000000000003</c:v>
                </c:pt>
                <c:pt idx="2361">
                  <c:v>0.78400000000000003</c:v>
                </c:pt>
                <c:pt idx="2362">
                  <c:v>0.74299999999999999</c:v>
                </c:pt>
                <c:pt idx="2363">
                  <c:v>0.62</c:v>
                </c:pt>
                <c:pt idx="2364">
                  <c:v>0.29699999999999999</c:v>
                </c:pt>
                <c:pt idx="2365">
                  <c:v>0.42499999999999999</c:v>
                </c:pt>
                <c:pt idx="2366">
                  <c:v>6.3E-2</c:v>
                </c:pt>
                <c:pt idx="2367">
                  <c:v>5.8000000000000003E-2</c:v>
                </c:pt>
                <c:pt idx="2368">
                  <c:v>0.58399999999999996</c:v>
                </c:pt>
                <c:pt idx="2369">
                  <c:v>0.67600000000000005</c:v>
                </c:pt>
                <c:pt idx="2370">
                  <c:v>0.61799999999999999</c:v>
                </c:pt>
                <c:pt idx="2371">
                  <c:v>0.60599999999999998</c:v>
                </c:pt>
                <c:pt idx="2372">
                  <c:v>0.79100000000000004</c:v>
                </c:pt>
                <c:pt idx="2373">
                  <c:v>0.86799999999999999</c:v>
                </c:pt>
                <c:pt idx="2374">
                  <c:v>0.1</c:v>
                </c:pt>
                <c:pt idx="2375">
                  <c:v>0.32800000000000001</c:v>
                </c:pt>
                <c:pt idx="2376">
                  <c:v>0.154</c:v>
                </c:pt>
                <c:pt idx="2377">
                  <c:v>0.505</c:v>
                </c:pt>
                <c:pt idx="2378">
                  <c:v>0.81899999999999995</c:v>
                </c:pt>
                <c:pt idx="2379">
                  <c:v>0.23</c:v>
                </c:pt>
                <c:pt idx="2380">
                  <c:v>0.68200000000000005</c:v>
                </c:pt>
                <c:pt idx="2381">
                  <c:v>0.627</c:v>
                </c:pt>
                <c:pt idx="2382">
                  <c:v>0.38700000000000001</c:v>
                </c:pt>
                <c:pt idx="2383">
                  <c:v>0.66900000000000004</c:v>
                </c:pt>
                <c:pt idx="2384">
                  <c:v>0.76600000000000001</c:v>
                </c:pt>
                <c:pt idx="2385">
                  <c:v>0.87</c:v>
                </c:pt>
                <c:pt idx="2386">
                  <c:v>0.41299999999999998</c:v>
                </c:pt>
                <c:pt idx="2387">
                  <c:v>0.73299999999999998</c:v>
                </c:pt>
                <c:pt idx="2388">
                  <c:v>0.81399999999999995</c:v>
                </c:pt>
                <c:pt idx="2389">
                  <c:v>0.97899999999999998</c:v>
                </c:pt>
                <c:pt idx="2390">
                  <c:v>0.10199999999999999</c:v>
                </c:pt>
                <c:pt idx="2391">
                  <c:v>0.47</c:v>
                </c:pt>
                <c:pt idx="2392">
                  <c:v>0.14099999999999999</c:v>
                </c:pt>
                <c:pt idx="2393">
                  <c:v>0.623</c:v>
                </c:pt>
                <c:pt idx="2394">
                  <c:v>0.97199999999999998</c:v>
                </c:pt>
                <c:pt idx="2395">
                  <c:v>0.443</c:v>
                </c:pt>
                <c:pt idx="2396">
                  <c:v>0.878</c:v>
                </c:pt>
                <c:pt idx="2397">
                  <c:v>0.89200000000000002</c:v>
                </c:pt>
                <c:pt idx="2398">
                  <c:v>0.29199999999999998</c:v>
                </c:pt>
                <c:pt idx="2399">
                  <c:v>0.42899999999999999</c:v>
                </c:pt>
                <c:pt idx="2400">
                  <c:v>0.1</c:v>
                </c:pt>
                <c:pt idx="2401">
                  <c:v>0.754</c:v>
                </c:pt>
                <c:pt idx="2402">
                  <c:v>0.46700000000000003</c:v>
                </c:pt>
                <c:pt idx="2403">
                  <c:v>0.90200000000000002</c:v>
                </c:pt>
                <c:pt idx="2404">
                  <c:v>0.66300000000000003</c:v>
                </c:pt>
                <c:pt idx="2405">
                  <c:v>0.69499999999999995</c:v>
                </c:pt>
                <c:pt idx="2406">
                  <c:v>0.90900000000000003</c:v>
                </c:pt>
                <c:pt idx="2407">
                  <c:v>0.65700000000000003</c:v>
                </c:pt>
                <c:pt idx="2408">
                  <c:v>0.97899999999999998</c:v>
                </c:pt>
                <c:pt idx="2409">
                  <c:v>0.70099999999999996</c:v>
                </c:pt>
                <c:pt idx="2410">
                  <c:v>0.72899999999999998</c:v>
                </c:pt>
                <c:pt idx="2411">
                  <c:v>0.64100000000000001</c:v>
                </c:pt>
                <c:pt idx="2412">
                  <c:v>0.25600000000000001</c:v>
                </c:pt>
                <c:pt idx="2413">
                  <c:v>0.60899999999999999</c:v>
                </c:pt>
                <c:pt idx="2414">
                  <c:v>0.41299999999999998</c:v>
                </c:pt>
                <c:pt idx="2415">
                  <c:v>0.38100000000000001</c:v>
                </c:pt>
                <c:pt idx="2416">
                  <c:v>0.498</c:v>
                </c:pt>
                <c:pt idx="2417">
                  <c:v>0.89400000000000002</c:v>
                </c:pt>
                <c:pt idx="2418">
                  <c:v>0.98299999999999998</c:v>
                </c:pt>
                <c:pt idx="2419">
                  <c:v>0.98299999999999998</c:v>
                </c:pt>
                <c:pt idx="2420">
                  <c:v>0.45900000000000002</c:v>
                </c:pt>
                <c:pt idx="2421">
                  <c:v>0.78</c:v>
                </c:pt>
                <c:pt idx="2422">
                  <c:v>0.36899999999999999</c:v>
                </c:pt>
                <c:pt idx="2423">
                  <c:v>0.42499999999999999</c:v>
                </c:pt>
                <c:pt idx="2424">
                  <c:v>0.49299999999999999</c:v>
                </c:pt>
                <c:pt idx="2425">
                  <c:v>0.85499999999999998</c:v>
                </c:pt>
                <c:pt idx="2426">
                  <c:v>0.34799999999999998</c:v>
                </c:pt>
                <c:pt idx="2427">
                  <c:v>0.97</c:v>
                </c:pt>
                <c:pt idx="2428">
                  <c:v>9.6000000000000002E-2</c:v>
                </c:pt>
                <c:pt idx="2429">
                  <c:v>0.51200000000000001</c:v>
                </c:pt>
                <c:pt idx="2430">
                  <c:v>0.77200000000000002</c:v>
                </c:pt>
                <c:pt idx="2431">
                  <c:v>0.73899999999999999</c:v>
                </c:pt>
                <c:pt idx="2432">
                  <c:v>0.55200000000000005</c:v>
                </c:pt>
                <c:pt idx="2433">
                  <c:v>0.88100000000000001</c:v>
                </c:pt>
                <c:pt idx="2434">
                  <c:v>0.92500000000000004</c:v>
                </c:pt>
                <c:pt idx="2435">
                  <c:v>0.875</c:v>
                </c:pt>
                <c:pt idx="2436">
                  <c:v>0.88600000000000001</c:v>
                </c:pt>
                <c:pt idx="2437">
                  <c:v>0.81599999999999995</c:v>
                </c:pt>
                <c:pt idx="2438">
                  <c:v>0.66</c:v>
                </c:pt>
                <c:pt idx="2439">
                  <c:v>0.58699999999999997</c:v>
                </c:pt>
                <c:pt idx="2440">
                  <c:v>0.46400000000000002</c:v>
                </c:pt>
                <c:pt idx="2441">
                  <c:v>0.78800000000000003</c:v>
                </c:pt>
                <c:pt idx="2442">
                  <c:v>0.17</c:v>
                </c:pt>
                <c:pt idx="2443">
                  <c:v>0.27800000000000002</c:v>
                </c:pt>
                <c:pt idx="2444">
                  <c:v>0.49</c:v>
                </c:pt>
                <c:pt idx="2445">
                  <c:v>0.23599999999999999</c:v>
                </c:pt>
                <c:pt idx="2446">
                  <c:v>0</c:v>
                </c:pt>
                <c:pt idx="2447">
                  <c:v>0.624</c:v>
                </c:pt>
                <c:pt idx="2448">
                  <c:v>0.34300000000000003</c:v>
                </c:pt>
                <c:pt idx="2449">
                  <c:v>0.34200000000000003</c:v>
                </c:pt>
                <c:pt idx="2450">
                  <c:v>0.39500000000000002</c:v>
                </c:pt>
                <c:pt idx="2451">
                  <c:v>5.6000000000000001E-2</c:v>
                </c:pt>
                <c:pt idx="2452">
                  <c:v>0.69</c:v>
                </c:pt>
                <c:pt idx="2453">
                  <c:v>0.249</c:v>
                </c:pt>
                <c:pt idx="2454">
                  <c:v>0.98699999999999999</c:v>
                </c:pt>
                <c:pt idx="2455">
                  <c:v>0.71499999999999997</c:v>
                </c:pt>
                <c:pt idx="2456">
                  <c:v>0.879</c:v>
                </c:pt>
                <c:pt idx="2457">
                  <c:v>0.84899999999999998</c:v>
                </c:pt>
                <c:pt idx="2458">
                  <c:v>0.50800000000000001</c:v>
                </c:pt>
                <c:pt idx="2459">
                  <c:v>0.55100000000000005</c:v>
                </c:pt>
                <c:pt idx="2460">
                  <c:v>0.41899999999999998</c:v>
                </c:pt>
                <c:pt idx="2461">
                  <c:v>0.439</c:v>
                </c:pt>
                <c:pt idx="2462">
                  <c:v>0.14699999999999999</c:v>
                </c:pt>
                <c:pt idx="2463">
                  <c:v>0.8</c:v>
                </c:pt>
                <c:pt idx="2464">
                  <c:v>0.45800000000000002</c:v>
                </c:pt>
                <c:pt idx="2465">
                  <c:v>0.79700000000000004</c:v>
                </c:pt>
                <c:pt idx="2466">
                  <c:v>0.59299999999999997</c:v>
                </c:pt>
                <c:pt idx="2467">
                  <c:v>0.71799999999999997</c:v>
                </c:pt>
                <c:pt idx="2468">
                  <c:v>0.61799999999999999</c:v>
                </c:pt>
                <c:pt idx="2469">
                  <c:v>0.50900000000000001</c:v>
                </c:pt>
                <c:pt idx="2470">
                  <c:v>0.89</c:v>
                </c:pt>
                <c:pt idx="2471">
                  <c:v>0.58199999999999996</c:v>
                </c:pt>
                <c:pt idx="2472">
                  <c:v>0.94699999999999995</c:v>
                </c:pt>
                <c:pt idx="2473">
                  <c:v>0.91300000000000003</c:v>
                </c:pt>
                <c:pt idx="2474">
                  <c:v>0.625</c:v>
                </c:pt>
                <c:pt idx="2475">
                  <c:v>0.89</c:v>
                </c:pt>
                <c:pt idx="2476">
                  <c:v>0.69799999999999995</c:v>
                </c:pt>
                <c:pt idx="2477">
                  <c:v>0.82599999999999996</c:v>
                </c:pt>
                <c:pt idx="2478">
                  <c:v>0.61099999999999999</c:v>
                </c:pt>
                <c:pt idx="2479">
                  <c:v>0.28499999999999998</c:v>
                </c:pt>
                <c:pt idx="2480">
                  <c:v>0.72499999999999998</c:v>
                </c:pt>
                <c:pt idx="2481">
                  <c:v>0.97599999999999998</c:v>
                </c:pt>
                <c:pt idx="2482">
                  <c:v>0.61499999999999999</c:v>
                </c:pt>
                <c:pt idx="2483">
                  <c:v>0.14499999999999999</c:v>
                </c:pt>
                <c:pt idx="2484">
                  <c:v>0.40600000000000003</c:v>
                </c:pt>
                <c:pt idx="2485">
                  <c:v>4.1000000000000002E-2</c:v>
                </c:pt>
                <c:pt idx="2486">
                  <c:v>0.14399999999999999</c:v>
                </c:pt>
                <c:pt idx="2487">
                  <c:v>0.32400000000000001</c:v>
                </c:pt>
                <c:pt idx="2488">
                  <c:v>0.379</c:v>
                </c:pt>
                <c:pt idx="2489">
                  <c:v>0.44600000000000001</c:v>
                </c:pt>
                <c:pt idx="2490">
                  <c:v>0.76900000000000002</c:v>
                </c:pt>
                <c:pt idx="2491">
                  <c:v>0.876</c:v>
                </c:pt>
                <c:pt idx="2492">
                  <c:v>0.45800000000000002</c:v>
                </c:pt>
                <c:pt idx="2493">
                  <c:v>0.84199999999999997</c:v>
                </c:pt>
                <c:pt idx="2494">
                  <c:v>0.98899999999999999</c:v>
                </c:pt>
                <c:pt idx="2495">
                  <c:v>0.41799999999999998</c:v>
                </c:pt>
                <c:pt idx="2496">
                  <c:v>0.47499999999999998</c:v>
                </c:pt>
                <c:pt idx="2497">
                  <c:v>0.21</c:v>
                </c:pt>
                <c:pt idx="2498">
                  <c:v>0.32200000000000001</c:v>
                </c:pt>
                <c:pt idx="2499">
                  <c:v>0.74099999999999999</c:v>
                </c:pt>
                <c:pt idx="2500">
                  <c:v>8.5999999999999993E-2</c:v>
                </c:pt>
                <c:pt idx="2501">
                  <c:v>0.86</c:v>
                </c:pt>
                <c:pt idx="2502">
                  <c:v>0.26800000000000002</c:v>
                </c:pt>
                <c:pt idx="2503">
                  <c:v>0.13600000000000001</c:v>
                </c:pt>
                <c:pt idx="2504">
                  <c:v>0.878</c:v>
                </c:pt>
                <c:pt idx="2505">
                  <c:v>0.752</c:v>
                </c:pt>
                <c:pt idx="2506">
                  <c:v>0.497</c:v>
                </c:pt>
                <c:pt idx="2507">
                  <c:v>0.41599999999999998</c:v>
                </c:pt>
                <c:pt idx="2508">
                  <c:v>0.315</c:v>
                </c:pt>
                <c:pt idx="2509">
                  <c:v>0.27400000000000002</c:v>
                </c:pt>
                <c:pt idx="2510">
                  <c:v>0.86</c:v>
                </c:pt>
                <c:pt idx="2511">
                  <c:v>0.58299999999999996</c:v>
                </c:pt>
                <c:pt idx="2512">
                  <c:v>0.27600000000000002</c:v>
                </c:pt>
                <c:pt idx="2513">
                  <c:v>0.94799999999999995</c:v>
                </c:pt>
                <c:pt idx="2514">
                  <c:v>0.14699999999999999</c:v>
                </c:pt>
                <c:pt idx="2515">
                  <c:v>3.3000000000000002E-2</c:v>
                </c:pt>
                <c:pt idx="2516">
                  <c:v>0.36499999999999999</c:v>
                </c:pt>
                <c:pt idx="2517">
                  <c:v>0.66700000000000004</c:v>
                </c:pt>
                <c:pt idx="2518">
                  <c:v>0.70499999999999996</c:v>
                </c:pt>
                <c:pt idx="2519">
                  <c:v>0.873</c:v>
                </c:pt>
                <c:pt idx="2520">
                  <c:v>0.161</c:v>
                </c:pt>
                <c:pt idx="2521">
                  <c:v>0.91200000000000003</c:v>
                </c:pt>
                <c:pt idx="2522">
                  <c:v>0.71799999999999997</c:v>
                </c:pt>
                <c:pt idx="2523">
                  <c:v>0.193</c:v>
                </c:pt>
                <c:pt idx="2524">
                  <c:v>0.51800000000000002</c:v>
                </c:pt>
                <c:pt idx="2525">
                  <c:v>0.33500000000000002</c:v>
                </c:pt>
                <c:pt idx="2526">
                  <c:v>0.14199999999999999</c:v>
                </c:pt>
                <c:pt idx="2527">
                  <c:v>0.54300000000000004</c:v>
                </c:pt>
                <c:pt idx="2528">
                  <c:v>0.92800000000000005</c:v>
                </c:pt>
                <c:pt idx="2529">
                  <c:v>0.68</c:v>
                </c:pt>
                <c:pt idx="2530">
                  <c:v>0.86399999999999999</c:v>
                </c:pt>
                <c:pt idx="2531">
                  <c:v>0.85499999999999998</c:v>
                </c:pt>
                <c:pt idx="2532">
                  <c:v>0.47699999999999998</c:v>
                </c:pt>
                <c:pt idx="2533">
                  <c:v>0.68500000000000005</c:v>
                </c:pt>
                <c:pt idx="2534">
                  <c:v>0.10299999999999999</c:v>
                </c:pt>
                <c:pt idx="2535">
                  <c:v>0.78100000000000003</c:v>
                </c:pt>
                <c:pt idx="2536">
                  <c:v>3.6999999999999998E-2</c:v>
                </c:pt>
                <c:pt idx="2537">
                  <c:v>0.27600000000000002</c:v>
                </c:pt>
                <c:pt idx="2538">
                  <c:v>0.49099999999999999</c:v>
                </c:pt>
                <c:pt idx="2539">
                  <c:v>0.97799999999999998</c:v>
                </c:pt>
                <c:pt idx="2540">
                  <c:v>0.42899999999999999</c:v>
                </c:pt>
                <c:pt idx="2541">
                  <c:v>0.753</c:v>
                </c:pt>
                <c:pt idx="2542">
                  <c:v>0.875</c:v>
                </c:pt>
                <c:pt idx="2543">
                  <c:v>0.26100000000000001</c:v>
                </c:pt>
                <c:pt idx="2544">
                  <c:v>0.628</c:v>
                </c:pt>
                <c:pt idx="2545">
                  <c:v>0.39600000000000002</c:v>
                </c:pt>
                <c:pt idx="2546">
                  <c:v>0.28299999999999997</c:v>
                </c:pt>
                <c:pt idx="2547">
                  <c:v>0.254</c:v>
                </c:pt>
                <c:pt idx="2548">
                  <c:v>0.23100000000000001</c:v>
                </c:pt>
                <c:pt idx="2549">
                  <c:v>0.46200000000000002</c:v>
                </c:pt>
                <c:pt idx="2550">
                  <c:v>0.75600000000000001</c:v>
                </c:pt>
                <c:pt idx="2551">
                  <c:v>0.03</c:v>
                </c:pt>
                <c:pt idx="2552">
                  <c:v>0.58199999999999996</c:v>
                </c:pt>
                <c:pt idx="2553">
                  <c:v>0.155</c:v>
                </c:pt>
                <c:pt idx="2554">
                  <c:v>0.82199999999999995</c:v>
                </c:pt>
                <c:pt idx="2555">
                  <c:v>0.89500000000000002</c:v>
                </c:pt>
                <c:pt idx="2556">
                  <c:v>0.68899999999999995</c:v>
                </c:pt>
                <c:pt idx="2557">
                  <c:v>0.82899999999999996</c:v>
                </c:pt>
                <c:pt idx="2558">
                  <c:v>0.13900000000000001</c:v>
                </c:pt>
                <c:pt idx="2559">
                  <c:v>0.49099999999999999</c:v>
                </c:pt>
                <c:pt idx="2560">
                  <c:v>0.4</c:v>
                </c:pt>
                <c:pt idx="2561">
                  <c:v>0.79100000000000004</c:v>
                </c:pt>
                <c:pt idx="2562">
                  <c:v>0.80600000000000005</c:v>
                </c:pt>
                <c:pt idx="2563">
                  <c:v>0.38500000000000001</c:v>
                </c:pt>
                <c:pt idx="2564">
                  <c:v>0.27400000000000002</c:v>
                </c:pt>
                <c:pt idx="2565">
                  <c:v>0.50900000000000001</c:v>
                </c:pt>
                <c:pt idx="2566">
                  <c:v>0.58099999999999996</c:v>
                </c:pt>
                <c:pt idx="2567">
                  <c:v>0.79700000000000004</c:v>
                </c:pt>
                <c:pt idx="2568">
                  <c:v>0.29299999999999998</c:v>
                </c:pt>
                <c:pt idx="2569">
                  <c:v>0.20599999999999999</c:v>
                </c:pt>
                <c:pt idx="2570">
                  <c:v>0.41299999999999998</c:v>
                </c:pt>
                <c:pt idx="2571">
                  <c:v>0.441</c:v>
                </c:pt>
                <c:pt idx="2572">
                  <c:v>7.8E-2</c:v>
                </c:pt>
                <c:pt idx="2573">
                  <c:v>0.91300000000000003</c:v>
                </c:pt>
                <c:pt idx="2574">
                  <c:v>0.46</c:v>
                </c:pt>
                <c:pt idx="2575">
                  <c:v>0.71499999999999997</c:v>
                </c:pt>
                <c:pt idx="2576">
                  <c:v>0.52100000000000002</c:v>
                </c:pt>
                <c:pt idx="2577">
                  <c:v>0.626</c:v>
                </c:pt>
                <c:pt idx="2578">
                  <c:v>0.36699999999999999</c:v>
                </c:pt>
                <c:pt idx="2579">
                  <c:v>0.57599999999999996</c:v>
                </c:pt>
                <c:pt idx="2580">
                  <c:v>0.5</c:v>
                </c:pt>
                <c:pt idx="2581">
                  <c:v>0.72199999999999998</c:v>
                </c:pt>
                <c:pt idx="2582">
                  <c:v>0.26800000000000002</c:v>
                </c:pt>
                <c:pt idx="2583">
                  <c:v>0.73799999999999999</c:v>
                </c:pt>
                <c:pt idx="2584">
                  <c:v>0.29599999999999999</c:v>
                </c:pt>
                <c:pt idx="2585">
                  <c:v>0.46100000000000002</c:v>
                </c:pt>
                <c:pt idx="2586">
                  <c:v>0.40400000000000003</c:v>
                </c:pt>
                <c:pt idx="2587">
                  <c:v>0.40300000000000002</c:v>
                </c:pt>
                <c:pt idx="2588">
                  <c:v>0.42099999999999999</c:v>
                </c:pt>
                <c:pt idx="2589">
                  <c:v>0.63100000000000001</c:v>
                </c:pt>
                <c:pt idx="2590">
                  <c:v>0.55900000000000005</c:v>
                </c:pt>
                <c:pt idx="2591">
                  <c:v>0.13900000000000001</c:v>
                </c:pt>
                <c:pt idx="2592">
                  <c:v>0.76300000000000001</c:v>
                </c:pt>
                <c:pt idx="2593">
                  <c:v>0.435</c:v>
                </c:pt>
                <c:pt idx="2594">
                  <c:v>0.39200000000000002</c:v>
                </c:pt>
                <c:pt idx="2595">
                  <c:v>0.41</c:v>
                </c:pt>
                <c:pt idx="2596">
                  <c:v>0.91800000000000004</c:v>
                </c:pt>
                <c:pt idx="2597">
                  <c:v>0.11</c:v>
                </c:pt>
                <c:pt idx="2598">
                  <c:v>0.61299999999999999</c:v>
                </c:pt>
                <c:pt idx="2599">
                  <c:v>0.70699999999999996</c:v>
                </c:pt>
                <c:pt idx="2600">
                  <c:v>0.65900000000000003</c:v>
                </c:pt>
                <c:pt idx="2601">
                  <c:v>0.35699999999999998</c:v>
                </c:pt>
                <c:pt idx="2602">
                  <c:v>0.436</c:v>
                </c:pt>
                <c:pt idx="2603">
                  <c:v>0.80500000000000005</c:v>
                </c:pt>
                <c:pt idx="2604">
                  <c:v>0.89700000000000002</c:v>
                </c:pt>
                <c:pt idx="2605">
                  <c:v>0.872</c:v>
                </c:pt>
                <c:pt idx="2606">
                  <c:v>0.84199999999999997</c:v>
                </c:pt>
                <c:pt idx="2607">
                  <c:v>0.3</c:v>
                </c:pt>
                <c:pt idx="2608">
                  <c:v>0.23799999999999999</c:v>
                </c:pt>
                <c:pt idx="2609">
                  <c:v>0.53700000000000003</c:v>
                </c:pt>
                <c:pt idx="2610">
                  <c:v>0.50700000000000001</c:v>
                </c:pt>
                <c:pt idx="2611">
                  <c:v>0.157</c:v>
                </c:pt>
                <c:pt idx="2612">
                  <c:v>0.96</c:v>
                </c:pt>
                <c:pt idx="2613">
                  <c:v>7.6999999999999999E-2</c:v>
                </c:pt>
                <c:pt idx="2614">
                  <c:v>6.3E-2</c:v>
                </c:pt>
                <c:pt idx="2615">
                  <c:v>0.88300000000000001</c:v>
                </c:pt>
                <c:pt idx="2616">
                  <c:v>0.50900000000000001</c:v>
                </c:pt>
                <c:pt idx="2617">
                  <c:v>0.54400000000000004</c:v>
                </c:pt>
                <c:pt idx="2618">
                  <c:v>0.248</c:v>
                </c:pt>
                <c:pt idx="2619">
                  <c:v>0.67</c:v>
                </c:pt>
                <c:pt idx="2620">
                  <c:v>0.15</c:v>
                </c:pt>
                <c:pt idx="2621">
                  <c:v>0.52200000000000002</c:v>
                </c:pt>
                <c:pt idx="2622">
                  <c:v>0.312</c:v>
                </c:pt>
                <c:pt idx="2623">
                  <c:v>0.877</c:v>
                </c:pt>
                <c:pt idx="2624">
                  <c:v>0.48899999999999999</c:v>
                </c:pt>
                <c:pt idx="2625">
                  <c:v>9.6000000000000002E-2</c:v>
                </c:pt>
                <c:pt idx="2626">
                  <c:v>0.158</c:v>
                </c:pt>
                <c:pt idx="2627">
                  <c:v>0.72499999999999998</c:v>
                </c:pt>
                <c:pt idx="2628">
                  <c:v>0.13800000000000001</c:v>
                </c:pt>
                <c:pt idx="2629">
                  <c:v>0.255</c:v>
                </c:pt>
                <c:pt idx="2630">
                  <c:v>0.67200000000000004</c:v>
                </c:pt>
                <c:pt idx="2631">
                  <c:v>0.54400000000000004</c:v>
                </c:pt>
                <c:pt idx="2632">
                  <c:v>0.60399999999999998</c:v>
                </c:pt>
                <c:pt idx="2633">
                  <c:v>0.53900000000000003</c:v>
                </c:pt>
                <c:pt idx="2634">
                  <c:v>0.73599999999999999</c:v>
                </c:pt>
                <c:pt idx="2635">
                  <c:v>0.57499999999999996</c:v>
                </c:pt>
                <c:pt idx="2636">
                  <c:v>6.0999999999999999E-2</c:v>
                </c:pt>
                <c:pt idx="2637">
                  <c:v>0.68799999999999994</c:v>
                </c:pt>
                <c:pt idx="2638">
                  <c:v>0.75900000000000001</c:v>
                </c:pt>
                <c:pt idx="2639">
                  <c:v>0.26200000000000001</c:v>
                </c:pt>
                <c:pt idx="2640">
                  <c:v>0.30599999999999999</c:v>
                </c:pt>
                <c:pt idx="2641">
                  <c:v>0.59599999999999997</c:v>
                </c:pt>
                <c:pt idx="2642">
                  <c:v>0.754</c:v>
                </c:pt>
                <c:pt idx="2643">
                  <c:v>0.34100000000000003</c:v>
                </c:pt>
                <c:pt idx="2644">
                  <c:v>0.40300000000000002</c:v>
                </c:pt>
                <c:pt idx="2645">
                  <c:v>0.84799999999999998</c:v>
                </c:pt>
                <c:pt idx="2646">
                  <c:v>0.39100000000000001</c:v>
                </c:pt>
                <c:pt idx="2647">
                  <c:v>7.0000000000000001E-3</c:v>
                </c:pt>
                <c:pt idx="2648">
                  <c:v>0.27900000000000003</c:v>
                </c:pt>
                <c:pt idx="2649">
                  <c:v>0.216</c:v>
                </c:pt>
                <c:pt idx="2650">
                  <c:v>4.4999999999999998E-2</c:v>
                </c:pt>
                <c:pt idx="2651">
                  <c:v>0.125</c:v>
                </c:pt>
                <c:pt idx="2652">
                  <c:v>0.95799999999999996</c:v>
                </c:pt>
                <c:pt idx="2653">
                  <c:v>0.35899999999999999</c:v>
                </c:pt>
                <c:pt idx="2654">
                  <c:v>0.13900000000000001</c:v>
                </c:pt>
                <c:pt idx="2655">
                  <c:v>0.46700000000000003</c:v>
                </c:pt>
                <c:pt idx="2656">
                  <c:v>0.84299999999999997</c:v>
                </c:pt>
                <c:pt idx="2657">
                  <c:v>0.82699999999999996</c:v>
                </c:pt>
                <c:pt idx="2658">
                  <c:v>0.38100000000000001</c:v>
                </c:pt>
                <c:pt idx="2659">
                  <c:v>0.80500000000000005</c:v>
                </c:pt>
                <c:pt idx="2660">
                  <c:v>0.45200000000000001</c:v>
                </c:pt>
                <c:pt idx="2661">
                  <c:v>0.36799999999999999</c:v>
                </c:pt>
                <c:pt idx="2662">
                  <c:v>0.90200000000000002</c:v>
                </c:pt>
                <c:pt idx="2663">
                  <c:v>0.67</c:v>
                </c:pt>
                <c:pt idx="2664">
                  <c:v>0.06</c:v>
                </c:pt>
                <c:pt idx="2665">
                  <c:v>0.55500000000000005</c:v>
                </c:pt>
                <c:pt idx="2666">
                  <c:v>0.83899999999999997</c:v>
                </c:pt>
                <c:pt idx="2667">
                  <c:v>0.30399999999999999</c:v>
                </c:pt>
                <c:pt idx="2668">
                  <c:v>0.29799999999999999</c:v>
                </c:pt>
                <c:pt idx="2669">
                  <c:v>6.3E-2</c:v>
                </c:pt>
                <c:pt idx="2670">
                  <c:v>0.247</c:v>
                </c:pt>
                <c:pt idx="2671">
                  <c:v>0.84399999999999997</c:v>
                </c:pt>
                <c:pt idx="2672">
                  <c:v>0.41699999999999998</c:v>
                </c:pt>
                <c:pt idx="2673">
                  <c:v>0.54600000000000004</c:v>
                </c:pt>
                <c:pt idx="2674">
                  <c:v>0.45300000000000001</c:v>
                </c:pt>
                <c:pt idx="2675">
                  <c:v>0.622</c:v>
                </c:pt>
                <c:pt idx="2676">
                  <c:v>0.81399999999999995</c:v>
                </c:pt>
                <c:pt idx="2677">
                  <c:v>0.51700000000000002</c:v>
                </c:pt>
                <c:pt idx="2678">
                  <c:v>0.75</c:v>
                </c:pt>
                <c:pt idx="2679">
                  <c:v>0.216</c:v>
                </c:pt>
                <c:pt idx="2680">
                  <c:v>0.86399999999999999</c:v>
                </c:pt>
                <c:pt idx="2681">
                  <c:v>0.86399999999999999</c:v>
                </c:pt>
                <c:pt idx="2682">
                  <c:v>0.35299999999999998</c:v>
                </c:pt>
                <c:pt idx="2683">
                  <c:v>0.29499999999999998</c:v>
                </c:pt>
                <c:pt idx="2684">
                  <c:v>0.96299999999999997</c:v>
                </c:pt>
                <c:pt idx="2685">
                  <c:v>0.32</c:v>
                </c:pt>
                <c:pt idx="2686">
                  <c:v>0.78600000000000003</c:v>
                </c:pt>
                <c:pt idx="2687">
                  <c:v>0.76900000000000002</c:v>
                </c:pt>
                <c:pt idx="2688">
                  <c:v>0.55600000000000005</c:v>
                </c:pt>
                <c:pt idx="2689">
                  <c:v>0.88200000000000001</c:v>
                </c:pt>
                <c:pt idx="2690">
                  <c:v>0.26400000000000001</c:v>
                </c:pt>
                <c:pt idx="2691">
                  <c:v>0.57199999999999995</c:v>
                </c:pt>
                <c:pt idx="2692">
                  <c:v>0.91500000000000004</c:v>
                </c:pt>
                <c:pt idx="2693">
                  <c:v>0.94099999999999995</c:v>
                </c:pt>
                <c:pt idx="2694">
                  <c:v>0.60399999999999998</c:v>
                </c:pt>
                <c:pt idx="2695">
                  <c:v>0.41299999999999998</c:v>
                </c:pt>
                <c:pt idx="2696">
                  <c:v>0.16800000000000001</c:v>
                </c:pt>
                <c:pt idx="2697">
                  <c:v>0.32500000000000001</c:v>
                </c:pt>
                <c:pt idx="2698">
                  <c:v>0.32200000000000001</c:v>
                </c:pt>
                <c:pt idx="2699">
                  <c:v>9.5000000000000001E-2</c:v>
                </c:pt>
                <c:pt idx="2700">
                  <c:v>0.11899999999999999</c:v>
                </c:pt>
                <c:pt idx="2701">
                  <c:v>0.86499999999999999</c:v>
                </c:pt>
                <c:pt idx="2702">
                  <c:v>0.73599999999999999</c:v>
                </c:pt>
                <c:pt idx="2703">
                  <c:v>0.32700000000000001</c:v>
                </c:pt>
                <c:pt idx="2704">
                  <c:v>0.13100000000000001</c:v>
                </c:pt>
                <c:pt idx="2705">
                  <c:v>0.61699999999999999</c:v>
                </c:pt>
                <c:pt idx="2706">
                  <c:v>9.7000000000000003E-2</c:v>
                </c:pt>
                <c:pt idx="2707">
                  <c:v>0.91300000000000003</c:v>
                </c:pt>
                <c:pt idx="2708">
                  <c:v>0.96199999999999997</c:v>
                </c:pt>
                <c:pt idx="2709">
                  <c:v>0.81399999999999995</c:v>
                </c:pt>
                <c:pt idx="2710">
                  <c:v>0.35599999999999998</c:v>
                </c:pt>
                <c:pt idx="2711">
                  <c:v>0.27200000000000002</c:v>
                </c:pt>
                <c:pt idx="2712">
                  <c:v>0.5</c:v>
                </c:pt>
                <c:pt idx="2713">
                  <c:v>0.44</c:v>
                </c:pt>
                <c:pt idx="2714">
                  <c:v>0.58399999999999996</c:v>
                </c:pt>
                <c:pt idx="2715">
                  <c:v>0.16200000000000001</c:v>
                </c:pt>
                <c:pt idx="2716">
                  <c:v>0.41499999999999998</c:v>
                </c:pt>
                <c:pt idx="2717">
                  <c:v>0.65200000000000002</c:v>
                </c:pt>
                <c:pt idx="2718">
                  <c:v>0.41899999999999998</c:v>
                </c:pt>
                <c:pt idx="2719">
                  <c:v>0.17699999999999999</c:v>
                </c:pt>
                <c:pt idx="2720">
                  <c:v>0.11600000000000001</c:v>
                </c:pt>
                <c:pt idx="2721">
                  <c:v>0.873</c:v>
                </c:pt>
                <c:pt idx="2722">
                  <c:v>0.14099999999999999</c:v>
                </c:pt>
                <c:pt idx="2723">
                  <c:v>0.42699999999999999</c:v>
                </c:pt>
                <c:pt idx="2724">
                  <c:v>0.29699999999999999</c:v>
                </c:pt>
                <c:pt idx="2725">
                  <c:v>0.65100000000000002</c:v>
                </c:pt>
                <c:pt idx="2726">
                  <c:v>0.50900000000000001</c:v>
                </c:pt>
                <c:pt idx="2727">
                  <c:v>0.34399999999999997</c:v>
                </c:pt>
                <c:pt idx="2728">
                  <c:v>0.183</c:v>
                </c:pt>
                <c:pt idx="2729">
                  <c:v>0.41399999999999998</c:v>
                </c:pt>
                <c:pt idx="2730">
                  <c:v>0.44900000000000001</c:v>
                </c:pt>
                <c:pt idx="2731">
                  <c:v>0.17</c:v>
                </c:pt>
                <c:pt idx="2732">
                  <c:v>0.746</c:v>
                </c:pt>
                <c:pt idx="2733">
                  <c:v>0.16</c:v>
                </c:pt>
                <c:pt idx="2734">
                  <c:v>0.23100000000000001</c:v>
                </c:pt>
                <c:pt idx="2735">
                  <c:v>0.13300000000000001</c:v>
                </c:pt>
                <c:pt idx="2736">
                  <c:v>0.16400000000000001</c:v>
                </c:pt>
                <c:pt idx="2737">
                  <c:v>0.379</c:v>
                </c:pt>
                <c:pt idx="2738">
                  <c:v>0.57399999999999995</c:v>
                </c:pt>
                <c:pt idx="2739">
                  <c:v>0.63100000000000001</c:v>
                </c:pt>
                <c:pt idx="2740">
                  <c:v>0.2</c:v>
                </c:pt>
                <c:pt idx="2741">
                  <c:v>0.94899999999999995</c:v>
                </c:pt>
                <c:pt idx="2742">
                  <c:v>0.879</c:v>
                </c:pt>
                <c:pt idx="2743">
                  <c:v>0.123</c:v>
                </c:pt>
                <c:pt idx="2744">
                  <c:v>0.58699999999999997</c:v>
                </c:pt>
                <c:pt idx="2745">
                  <c:v>0.216</c:v>
                </c:pt>
                <c:pt idx="2746">
                  <c:v>0.60199999999999998</c:v>
                </c:pt>
                <c:pt idx="2747">
                  <c:v>0.93700000000000006</c:v>
                </c:pt>
                <c:pt idx="2748">
                  <c:v>0.80700000000000005</c:v>
                </c:pt>
                <c:pt idx="2749">
                  <c:v>0.44900000000000001</c:v>
                </c:pt>
                <c:pt idx="2750">
                  <c:v>0.745</c:v>
                </c:pt>
                <c:pt idx="2751">
                  <c:v>4.7E-2</c:v>
                </c:pt>
                <c:pt idx="2752">
                  <c:v>0.10299999999999999</c:v>
                </c:pt>
                <c:pt idx="2753">
                  <c:v>0.184</c:v>
                </c:pt>
                <c:pt idx="2754">
                  <c:v>0.59</c:v>
                </c:pt>
                <c:pt idx="2755">
                  <c:v>0.14299999999999999</c:v>
                </c:pt>
                <c:pt idx="2756">
                  <c:v>0.66400000000000003</c:v>
                </c:pt>
                <c:pt idx="2757">
                  <c:v>0.27300000000000002</c:v>
                </c:pt>
                <c:pt idx="2758">
                  <c:v>0.36599999999999999</c:v>
                </c:pt>
                <c:pt idx="2759">
                  <c:v>0.5</c:v>
                </c:pt>
                <c:pt idx="2760">
                  <c:v>0.75</c:v>
                </c:pt>
                <c:pt idx="2761">
                  <c:v>0.14399999999999999</c:v>
                </c:pt>
                <c:pt idx="2762">
                  <c:v>0.67</c:v>
                </c:pt>
                <c:pt idx="2763">
                  <c:v>9.6000000000000002E-2</c:v>
                </c:pt>
                <c:pt idx="2764">
                  <c:v>0.17899999999999999</c:v>
                </c:pt>
                <c:pt idx="2765">
                  <c:v>0.85699999999999998</c:v>
                </c:pt>
                <c:pt idx="2766">
                  <c:v>0.317</c:v>
                </c:pt>
                <c:pt idx="2767">
                  <c:v>0.33300000000000002</c:v>
                </c:pt>
                <c:pt idx="2768">
                  <c:v>0.77100000000000002</c:v>
                </c:pt>
                <c:pt idx="2769">
                  <c:v>0.65400000000000003</c:v>
                </c:pt>
                <c:pt idx="2770">
                  <c:v>0.14199999999999999</c:v>
                </c:pt>
                <c:pt idx="2771">
                  <c:v>0.55500000000000005</c:v>
                </c:pt>
                <c:pt idx="2772">
                  <c:v>0.67400000000000004</c:v>
                </c:pt>
                <c:pt idx="2773">
                  <c:v>0.50700000000000001</c:v>
                </c:pt>
                <c:pt idx="2774">
                  <c:v>0.21</c:v>
                </c:pt>
                <c:pt idx="2775">
                  <c:v>0.252</c:v>
                </c:pt>
                <c:pt idx="2776">
                  <c:v>9.9000000000000005E-2</c:v>
                </c:pt>
                <c:pt idx="2777">
                  <c:v>0.23</c:v>
                </c:pt>
                <c:pt idx="2778">
                  <c:v>0.5</c:v>
                </c:pt>
                <c:pt idx="2779">
                  <c:v>0.94799999999999995</c:v>
                </c:pt>
                <c:pt idx="2780">
                  <c:v>0.29699999999999999</c:v>
                </c:pt>
                <c:pt idx="2781">
                  <c:v>0.108</c:v>
                </c:pt>
                <c:pt idx="2782">
                  <c:v>9.0999999999999998E-2</c:v>
                </c:pt>
                <c:pt idx="2783">
                  <c:v>0.95699999999999996</c:v>
                </c:pt>
                <c:pt idx="2784">
                  <c:v>0.57299999999999995</c:v>
                </c:pt>
                <c:pt idx="2785">
                  <c:v>0.02</c:v>
                </c:pt>
                <c:pt idx="2786">
                  <c:v>9.1999999999999998E-2</c:v>
                </c:pt>
                <c:pt idx="2787">
                  <c:v>7.2999999999999995E-2</c:v>
                </c:pt>
                <c:pt idx="2788">
                  <c:v>0.499</c:v>
                </c:pt>
                <c:pt idx="2789">
                  <c:v>0.36899999999999999</c:v>
                </c:pt>
                <c:pt idx="2790">
                  <c:v>0.24099999999999999</c:v>
                </c:pt>
                <c:pt idx="2791">
                  <c:v>0.34200000000000003</c:v>
                </c:pt>
                <c:pt idx="2792">
                  <c:v>0.44600000000000001</c:v>
                </c:pt>
                <c:pt idx="2793">
                  <c:v>0.84</c:v>
                </c:pt>
                <c:pt idx="2794">
                  <c:v>0.124</c:v>
                </c:pt>
                <c:pt idx="2795">
                  <c:v>0.188</c:v>
                </c:pt>
                <c:pt idx="2796">
                  <c:v>0.40699999999999997</c:v>
                </c:pt>
                <c:pt idx="2797">
                  <c:v>0.19800000000000001</c:v>
                </c:pt>
                <c:pt idx="2798">
                  <c:v>0.219</c:v>
                </c:pt>
                <c:pt idx="2799">
                  <c:v>0.16</c:v>
                </c:pt>
                <c:pt idx="2800">
                  <c:v>0.35799999999999998</c:v>
                </c:pt>
                <c:pt idx="2801">
                  <c:v>0.92500000000000004</c:v>
                </c:pt>
                <c:pt idx="2802">
                  <c:v>0.79</c:v>
                </c:pt>
                <c:pt idx="2803">
                  <c:v>0.64300000000000002</c:v>
                </c:pt>
                <c:pt idx="2804">
                  <c:v>0.36199999999999999</c:v>
                </c:pt>
                <c:pt idx="2805">
                  <c:v>0.72</c:v>
                </c:pt>
                <c:pt idx="2806">
                  <c:v>0.66400000000000003</c:v>
                </c:pt>
                <c:pt idx="2807">
                  <c:v>0.57299999999999995</c:v>
                </c:pt>
                <c:pt idx="2808">
                  <c:v>0.92800000000000005</c:v>
                </c:pt>
                <c:pt idx="2809">
                  <c:v>0.50800000000000001</c:v>
                </c:pt>
                <c:pt idx="2810">
                  <c:v>0.20599999999999999</c:v>
                </c:pt>
                <c:pt idx="2811">
                  <c:v>0.5</c:v>
                </c:pt>
                <c:pt idx="2812">
                  <c:v>0.755</c:v>
                </c:pt>
                <c:pt idx="2813">
                  <c:v>0.73899999999999999</c:v>
                </c:pt>
                <c:pt idx="2814">
                  <c:v>0.61099999999999999</c:v>
                </c:pt>
                <c:pt idx="2815">
                  <c:v>9.7000000000000003E-2</c:v>
                </c:pt>
                <c:pt idx="2816">
                  <c:v>0.73699999999999999</c:v>
                </c:pt>
                <c:pt idx="2817">
                  <c:v>0.58099999999999996</c:v>
                </c:pt>
                <c:pt idx="2818">
                  <c:v>0.57099999999999995</c:v>
                </c:pt>
                <c:pt idx="2819">
                  <c:v>0.17299999999999999</c:v>
                </c:pt>
                <c:pt idx="2820">
                  <c:v>0.45</c:v>
                </c:pt>
                <c:pt idx="2821">
                  <c:v>0.42199999999999999</c:v>
                </c:pt>
                <c:pt idx="2822">
                  <c:v>0.25600000000000001</c:v>
                </c:pt>
                <c:pt idx="2823">
                  <c:v>0.127</c:v>
                </c:pt>
                <c:pt idx="2824">
                  <c:v>0.16700000000000001</c:v>
                </c:pt>
                <c:pt idx="2825">
                  <c:v>0.42299999999999999</c:v>
                </c:pt>
                <c:pt idx="2826">
                  <c:v>0.14299999999999999</c:v>
                </c:pt>
                <c:pt idx="2827">
                  <c:v>0.30599999999999999</c:v>
                </c:pt>
                <c:pt idx="2828">
                  <c:v>0.95299999999999996</c:v>
                </c:pt>
                <c:pt idx="2829">
                  <c:v>0.84799999999999998</c:v>
                </c:pt>
                <c:pt idx="2830">
                  <c:v>0.5</c:v>
                </c:pt>
                <c:pt idx="2831">
                  <c:v>0.67700000000000005</c:v>
                </c:pt>
                <c:pt idx="2832">
                  <c:v>0.317</c:v>
                </c:pt>
                <c:pt idx="2833">
                  <c:v>0.58599999999999997</c:v>
                </c:pt>
                <c:pt idx="2834">
                  <c:v>0.63600000000000001</c:v>
                </c:pt>
                <c:pt idx="2835">
                  <c:v>0.51300000000000001</c:v>
                </c:pt>
                <c:pt idx="2836">
                  <c:v>0.20499999999999999</c:v>
                </c:pt>
                <c:pt idx="2837">
                  <c:v>0.71399999999999997</c:v>
                </c:pt>
                <c:pt idx="2838">
                  <c:v>4.7E-2</c:v>
                </c:pt>
                <c:pt idx="2839">
                  <c:v>0.75700000000000001</c:v>
                </c:pt>
                <c:pt idx="2840">
                  <c:v>9.6000000000000002E-2</c:v>
                </c:pt>
                <c:pt idx="2841">
                  <c:v>0.19500000000000001</c:v>
                </c:pt>
                <c:pt idx="2842">
                  <c:v>0.68600000000000005</c:v>
                </c:pt>
                <c:pt idx="2843">
                  <c:v>0.56100000000000005</c:v>
                </c:pt>
                <c:pt idx="2844">
                  <c:v>0.495</c:v>
                </c:pt>
                <c:pt idx="2845">
                  <c:v>0.14199999999999999</c:v>
                </c:pt>
                <c:pt idx="2846">
                  <c:v>0.13</c:v>
                </c:pt>
                <c:pt idx="2847">
                  <c:v>0.68500000000000005</c:v>
                </c:pt>
                <c:pt idx="2848">
                  <c:v>0.129</c:v>
                </c:pt>
                <c:pt idx="2849">
                  <c:v>0.115</c:v>
                </c:pt>
                <c:pt idx="2850">
                  <c:v>0.224</c:v>
                </c:pt>
                <c:pt idx="2851">
                  <c:v>6.3E-2</c:v>
                </c:pt>
                <c:pt idx="2852">
                  <c:v>0.47799999999999998</c:v>
                </c:pt>
                <c:pt idx="2853">
                  <c:v>0.23400000000000001</c:v>
                </c:pt>
                <c:pt idx="2854">
                  <c:v>0.91300000000000003</c:v>
                </c:pt>
                <c:pt idx="2855">
                  <c:v>0.47199999999999998</c:v>
                </c:pt>
                <c:pt idx="2856">
                  <c:v>0.70099999999999996</c:v>
                </c:pt>
                <c:pt idx="2857">
                  <c:v>0.90600000000000003</c:v>
                </c:pt>
                <c:pt idx="2858">
                  <c:v>0.89</c:v>
                </c:pt>
                <c:pt idx="2859">
                  <c:v>0.217</c:v>
                </c:pt>
                <c:pt idx="2860">
                  <c:v>0.94699999999999995</c:v>
                </c:pt>
                <c:pt idx="2861">
                  <c:v>0.23300000000000001</c:v>
                </c:pt>
                <c:pt idx="2862">
                  <c:v>0.79300000000000004</c:v>
                </c:pt>
                <c:pt idx="2863">
                  <c:v>0.126</c:v>
                </c:pt>
                <c:pt idx="2864">
                  <c:v>9.7000000000000003E-2</c:v>
                </c:pt>
                <c:pt idx="2865">
                  <c:v>0.29199999999999998</c:v>
                </c:pt>
                <c:pt idx="2866">
                  <c:v>3.5000000000000003E-2</c:v>
                </c:pt>
                <c:pt idx="2867">
                  <c:v>0.29899999999999999</c:v>
                </c:pt>
                <c:pt idx="2868">
                  <c:v>0.83499999999999996</c:v>
                </c:pt>
                <c:pt idx="2869">
                  <c:v>0.22</c:v>
                </c:pt>
                <c:pt idx="2870">
                  <c:v>0.83599999999999997</c:v>
                </c:pt>
                <c:pt idx="2871">
                  <c:v>0.90300000000000002</c:v>
                </c:pt>
                <c:pt idx="2872">
                  <c:v>0.80800000000000005</c:v>
                </c:pt>
                <c:pt idx="2873">
                  <c:v>0.28299999999999997</c:v>
                </c:pt>
                <c:pt idx="2874">
                  <c:v>0.91500000000000004</c:v>
                </c:pt>
                <c:pt idx="2875">
                  <c:v>0.98799999999999999</c:v>
                </c:pt>
                <c:pt idx="2876">
                  <c:v>0.129</c:v>
                </c:pt>
                <c:pt idx="2877">
                  <c:v>9.6000000000000002E-2</c:v>
                </c:pt>
                <c:pt idx="2878">
                  <c:v>0.35</c:v>
                </c:pt>
                <c:pt idx="2879">
                  <c:v>0.91300000000000003</c:v>
                </c:pt>
                <c:pt idx="2880">
                  <c:v>0.41699999999999998</c:v>
                </c:pt>
                <c:pt idx="2881">
                  <c:v>0.221</c:v>
                </c:pt>
                <c:pt idx="2882">
                  <c:v>6.6000000000000003E-2</c:v>
                </c:pt>
                <c:pt idx="2883">
                  <c:v>0.113</c:v>
                </c:pt>
                <c:pt idx="2884">
                  <c:v>0.997</c:v>
                </c:pt>
                <c:pt idx="2885">
                  <c:v>0.17</c:v>
                </c:pt>
                <c:pt idx="2886">
                  <c:v>0.89700000000000002</c:v>
                </c:pt>
                <c:pt idx="2887">
                  <c:v>0.13800000000000001</c:v>
                </c:pt>
                <c:pt idx="2888">
                  <c:v>7.6999999999999999E-2</c:v>
                </c:pt>
                <c:pt idx="2889">
                  <c:v>0.94599999999999995</c:v>
                </c:pt>
                <c:pt idx="2890">
                  <c:v>0.14299999999999999</c:v>
                </c:pt>
                <c:pt idx="2891">
                  <c:v>0.115</c:v>
                </c:pt>
                <c:pt idx="2892">
                  <c:v>0.39400000000000002</c:v>
                </c:pt>
                <c:pt idx="2893">
                  <c:v>9.9000000000000005E-2</c:v>
                </c:pt>
                <c:pt idx="2894">
                  <c:v>0.129</c:v>
                </c:pt>
                <c:pt idx="2895">
                  <c:v>0.14099999999999999</c:v>
                </c:pt>
                <c:pt idx="2896">
                  <c:v>0.40300000000000002</c:v>
                </c:pt>
                <c:pt idx="2897">
                  <c:v>0.124</c:v>
                </c:pt>
                <c:pt idx="2898">
                  <c:v>0.221</c:v>
                </c:pt>
                <c:pt idx="2899">
                  <c:v>5.8000000000000003E-2</c:v>
                </c:pt>
                <c:pt idx="2900">
                  <c:v>0.93799999999999994</c:v>
                </c:pt>
                <c:pt idx="2901">
                  <c:v>0.49399999999999999</c:v>
                </c:pt>
                <c:pt idx="2902">
                  <c:v>0.69</c:v>
                </c:pt>
                <c:pt idx="2903">
                  <c:v>0.63</c:v>
                </c:pt>
                <c:pt idx="2904">
                  <c:v>0.45500000000000002</c:v>
                </c:pt>
                <c:pt idx="2905">
                  <c:v>0.311</c:v>
                </c:pt>
                <c:pt idx="2906">
                  <c:v>0.90900000000000003</c:v>
                </c:pt>
                <c:pt idx="2907">
                  <c:v>0.94499999999999995</c:v>
                </c:pt>
                <c:pt idx="2908">
                  <c:v>0.125</c:v>
                </c:pt>
                <c:pt idx="2909">
                  <c:v>0.92600000000000005</c:v>
                </c:pt>
                <c:pt idx="2910">
                  <c:v>0.72</c:v>
                </c:pt>
                <c:pt idx="2911">
                  <c:v>0.747</c:v>
                </c:pt>
                <c:pt idx="2912">
                  <c:v>0.14499999999999999</c:v>
                </c:pt>
                <c:pt idx="2913">
                  <c:v>0.11899999999999999</c:v>
                </c:pt>
                <c:pt idx="2914">
                  <c:v>0.69599999999999995</c:v>
                </c:pt>
                <c:pt idx="2915">
                  <c:v>0.35299999999999998</c:v>
                </c:pt>
                <c:pt idx="2916">
                  <c:v>0.193</c:v>
                </c:pt>
                <c:pt idx="2917">
                  <c:v>0.42099999999999999</c:v>
                </c:pt>
                <c:pt idx="2918">
                  <c:v>0.879</c:v>
                </c:pt>
                <c:pt idx="2919">
                  <c:v>0.46600000000000003</c:v>
                </c:pt>
                <c:pt idx="2920">
                  <c:v>0.126</c:v>
                </c:pt>
                <c:pt idx="2921">
                  <c:v>2.8000000000000001E-2</c:v>
                </c:pt>
                <c:pt idx="2922">
                  <c:v>0.87</c:v>
                </c:pt>
                <c:pt idx="2923">
                  <c:v>3.5999999999999997E-2</c:v>
                </c:pt>
                <c:pt idx="2924">
                  <c:v>0.20300000000000001</c:v>
                </c:pt>
                <c:pt idx="2925">
                  <c:v>0.9</c:v>
                </c:pt>
                <c:pt idx="2926">
                  <c:v>5.8999999999999997E-2</c:v>
                </c:pt>
                <c:pt idx="2927">
                  <c:v>0.59799999999999998</c:v>
                </c:pt>
                <c:pt idx="2928">
                  <c:v>0.64400000000000002</c:v>
                </c:pt>
                <c:pt idx="2929">
                  <c:v>0.54600000000000004</c:v>
                </c:pt>
                <c:pt idx="2930">
                  <c:v>0.67</c:v>
                </c:pt>
                <c:pt idx="2931">
                  <c:v>6.7000000000000004E-2</c:v>
                </c:pt>
                <c:pt idx="2932">
                  <c:v>0.54</c:v>
                </c:pt>
                <c:pt idx="2933">
                  <c:v>0.32700000000000001</c:v>
                </c:pt>
                <c:pt idx="2934">
                  <c:v>0.91300000000000003</c:v>
                </c:pt>
                <c:pt idx="2935">
                  <c:v>0.621</c:v>
                </c:pt>
                <c:pt idx="2936">
                  <c:v>2.9000000000000001E-2</c:v>
                </c:pt>
                <c:pt idx="2937">
                  <c:v>4.5999999999999999E-2</c:v>
                </c:pt>
                <c:pt idx="2938">
                  <c:v>0.66900000000000004</c:v>
                </c:pt>
                <c:pt idx="2939">
                  <c:v>0.63600000000000001</c:v>
                </c:pt>
                <c:pt idx="2940">
                  <c:v>0.42499999999999999</c:v>
                </c:pt>
                <c:pt idx="2941">
                  <c:v>4.7E-2</c:v>
                </c:pt>
                <c:pt idx="2942">
                  <c:v>0.66</c:v>
                </c:pt>
                <c:pt idx="2943">
                  <c:v>0.71199999999999997</c:v>
                </c:pt>
                <c:pt idx="2944">
                  <c:v>0.68300000000000005</c:v>
                </c:pt>
                <c:pt idx="2945">
                  <c:v>0.154</c:v>
                </c:pt>
                <c:pt idx="2946">
                  <c:v>0.59</c:v>
                </c:pt>
                <c:pt idx="2947">
                  <c:v>0.90700000000000003</c:v>
                </c:pt>
                <c:pt idx="2948">
                  <c:v>0.84199999999999997</c:v>
                </c:pt>
                <c:pt idx="2949">
                  <c:v>0.86599999999999999</c:v>
                </c:pt>
                <c:pt idx="2950">
                  <c:v>0.76600000000000001</c:v>
                </c:pt>
                <c:pt idx="2951">
                  <c:v>0.82799999999999996</c:v>
                </c:pt>
                <c:pt idx="2952">
                  <c:v>0.1</c:v>
                </c:pt>
                <c:pt idx="2953">
                  <c:v>5.8999999999999997E-2</c:v>
                </c:pt>
                <c:pt idx="2954">
                  <c:v>0.44400000000000001</c:v>
                </c:pt>
                <c:pt idx="2955">
                  <c:v>0.91100000000000003</c:v>
                </c:pt>
                <c:pt idx="2956">
                  <c:v>0.63600000000000001</c:v>
                </c:pt>
                <c:pt idx="2957">
                  <c:v>0.751</c:v>
                </c:pt>
                <c:pt idx="2958">
                  <c:v>0.76100000000000001</c:v>
                </c:pt>
                <c:pt idx="2959">
                  <c:v>0.80200000000000005</c:v>
                </c:pt>
                <c:pt idx="2960">
                  <c:v>0.755</c:v>
                </c:pt>
                <c:pt idx="2961">
                  <c:v>0.86599999999999999</c:v>
                </c:pt>
                <c:pt idx="2962">
                  <c:v>6.0999999999999999E-2</c:v>
                </c:pt>
                <c:pt idx="2963">
                  <c:v>0.248</c:v>
                </c:pt>
                <c:pt idx="2964">
                  <c:v>0.32400000000000001</c:v>
                </c:pt>
                <c:pt idx="2965">
                  <c:v>7.0999999999999994E-2</c:v>
                </c:pt>
                <c:pt idx="2966">
                  <c:v>0.66</c:v>
                </c:pt>
                <c:pt idx="2967">
                  <c:v>0.17499999999999999</c:v>
                </c:pt>
                <c:pt idx="2968">
                  <c:v>0.59799999999999998</c:v>
                </c:pt>
                <c:pt idx="2969">
                  <c:v>0.83599999999999997</c:v>
                </c:pt>
                <c:pt idx="2970">
                  <c:v>0.74</c:v>
                </c:pt>
                <c:pt idx="2971">
                  <c:v>0.44500000000000001</c:v>
                </c:pt>
                <c:pt idx="2972">
                  <c:v>0.79400000000000004</c:v>
                </c:pt>
                <c:pt idx="2973">
                  <c:v>0.72299999999999998</c:v>
                </c:pt>
                <c:pt idx="2974">
                  <c:v>0.28199999999999997</c:v>
                </c:pt>
                <c:pt idx="2975">
                  <c:v>0.79100000000000004</c:v>
                </c:pt>
                <c:pt idx="2976">
                  <c:v>0.27400000000000002</c:v>
                </c:pt>
                <c:pt idx="2977">
                  <c:v>0.27600000000000002</c:v>
                </c:pt>
                <c:pt idx="2978">
                  <c:v>0.75600000000000001</c:v>
                </c:pt>
                <c:pt idx="2979">
                  <c:v>0.182</c:v>
                </c:pt>
                <c:pt idx="2980">
                  <c:v>0.82099999999999995</c:v>
                </c:pt>
                <c:pt idx="2981">
                  <c:v>0.47</c:v>
                </c:pt>
                <c:pt idx="2982">
                  <c:v>0.57799999999999996</c:v>
                </c:pt>
                <c:pt idx="2983">
                  <c:v>0.79100000000000004</c:v>
                </c:pt>
                <c:pt idx="2984">
                  <c:v>0.61899999999999999</c:v>
                </c:pt>
                <c:pt idx="2985">
                  <c:v>0.47799999999999998</c:v>
                </c:pt>
                <c:pt idx="2986">
                  <c:v>0.93300000000000005</c:v>
                </c:pt>
                <c:pt idx="2987">
                  <c:v>0.68700000000000006</c:v>
                </c:pt>
                <c:pt idx="2988">
                  <c:v>0.253</c:v>
                </c:pt>
                <c:pt idx="2989">
                  <c:v>0.84</c:v>
                </c:pt>
                <c:pt idx="2990">
                  <c:v>0.71299999999999997</c:v>
                </c:pt>
                <c:pt idx="2991">
                  <c:v>0.48699999999999999</c:v>
                </c:pt>
                <c:pt idx="2992">
                  <c:v>0.60299999999999998</c:v>
                </c:pt>
                <c:pt idx="2993">
                  <c:v>0.28999999999999998</c:v>
                </c:pt>
                <c:pt idx="2994">
                  <c:v>0.34300000000000003</c:v>
                </c:pt>
                <c:pt idx="2995">
                  <c:v>0.66100000000000003</c:v>
                </c:pt>
                <c:pt idx="2996">
                  <c:v>0.83699999999999997</c:v>
                </c:pt>
                <c:pt idx="2997">
                  <c:v>0.16700000000000001</c:v>
                </c:pt>
                <c:pt idx="2998">
                  <c:v>0.34799999999999998</c:v>
                </c:pt>
                <c:pt idx="2999">
                  <c:v>0.41699999999999998</c:v>
                </c:pt>
                <c:pt idx="3000">
                  <c:v>1.0999999999999999E-2</c:v>
                </c:pt>
                <c:pt idx="3001">
                  <c:v>0.11899999999999999</c:v>
                </c:pt>
              </c:numCache>
            </c:numRef>
          </c:xVal>
          <c:yVal>
            <c:numRef>
              <c:f>'Urban EcoDis Phase In'!$C$2:$C$3003</c:f>
              <c:numCache>
                <c:formatCode>0%</c:formatCode>
                <c:ptCount val="3002"/>
                <c:pt idx="0">
                  <c:v>1.5748031496062999E-2</c:v>
                </c:pt>
                <c:pt idx="1">
                  <c:v>2.5706940874036001E-2</c:v>
                </c:pt>
                <c:pt idx="2">
                  <c:v>3.2786885245901599E-2</c:v>
                </c:pt>
                <c:pt idx="3">
                  <c:v>3.83693045563549E-2</c:v>
                </c:pt>
                <c:pt idx="4">
                  <c:v>3.94736842105263E-2</c:v>
                </c:pt>
                <c:pt idx="5">
                  <c:v>4.3478260869565202E-2</c:v>
                </c:pt>
                <c:pt idx="6">
                  <c:v>5.2631578947368397E-2</c:v>
                </c:pt>
                <c:pt idx="7">
                  <c:v>5.3763440860214999E-2</c:v>
                </c:pt>
                <c:pt idx="8">
                  <c:v>6.25E-2</c:v>
                </c:pt>
                <c:pt idx="9">
                  <c:v>7.0175438596491196E-2</c:v>
                </c:pt>
                <c:pt idx="10">
                  <c:v>7.1428571428571397E-2</c:v>
                </c:pt>
                <c:pt idx="11">
                  <c:v>7.1428571428571397E-2</c:v>
                </c:pt>
                <c:pt idx="12">
                  <c:v>0.08</c:v>
                </c:pt>
                <c:pt idx="13">
                  <c:v>8.3333333333333301E-2</c:v>
                </c:pt>
                <c:pt idx="14">
                  <c:v>8.4745762711864403E-2</c:v>
                </c:pt>
                <c:pt idx="15">
                  <c:v>8.5106382978723402E-2</c:v>
                </c:pt>
                <c:pt idx="16">
                  <c:v>8.6956521739130405E-2</c:v>
                </c:pt>
                <c:pt idx="17">
                  <c:v>9.0909090909090898E-2</c:v>
                </c:pt>
                <c:pt idx="18">
                  <c:v>0.10280373831775701</c:v>
                </c:pt>
                <c:pt idx="19">
                  <c:v>0.11111111111111099</c:v>
                </c:pt>
                <c:pt idx="20">
                  <c:v>0.116279069767442</c:v>
                </c:pt>
                <c:pt idx="21">
                  <c:v>0.116666666666667</c:v>
                </c:pt>
                <c:pt idx="22">
                  <c:v>0.119047619047619</c:v>
                </c:pt>
                <c:pt idx="23">
                  <c:v>0.13709677419354799</c:v>
                </c:pt>
                <c:pt idx="24">
                  <c:v>0.140845070422535</c:v>
                </c:pt>
                <c:pt idx="25">
                  <c:v>0.14285714285714299</c:v>
                </c:pt>
                <c:pt idx="26">
                  <c:v>0.14285714285714299</c:v>
                </c:pt>
                <c:pt idx="27">
                  <c:v>0.145454545454545</c:v>
                </c:pt>
                <c:pt idx="28">
                  <c:v>0.15094339622641501</c:v>
                </c:pt>
                <c:pt idx="29">
                  <c:v>0.157894736842105</c:v>
                </c:pt>
                <c:pt idx="30">
                  <c:v>0.16346153846153799</c:v>
                </c:pt>
                <c:pt idx="31">
                  <c:v>0.17431192660550501</c:v>
                </c:pt>
                <c:pt idx="32">
                  <c:v>0.18518518518518501</c:v>
                </c:pt>
                <c:pt idx="33">
                  <c:v>0.18994413407821201</c:v>
                </c:pt>
                <c:pt idx="34">
                  <c:v>0.19387755102040799</c:v>
                </c:pt>
                <c:pt idx="35">
                  <c:v>0.19565217391304299</c:v>
                </c:pt>
                <c:pt idx="36">
                  <c:v>0.20119521912350599</c:v>
                </c:pt>
                <c:pt idx="37">
                  <c:v>0.20754716981132099</c:v>
                </c:pt>
                <c:pt idx="38">
                  <c:v>0.21118012422360199</c:v>
                </c:pt>
                <c:pt idx="39">
                  <c:v>0.21212121212121199</c:v>
                </c:pt>
                <c:pt idx="40">
                  <c:v>0.21241830065359499</c:v>
                </c:pt>
                <c:pt idx="41">
                  <c:v>0.213355048859935</c:v>
                </c:pt>
                <c:pt idx="42">
                  <c:v>0.21666666666666701</c:v>
                </c:pt>
                <c:pt idx="43">
                  <c:v>0.221428571428571</c:v>
                </c:pt>
                <c:pt idx="44">
                  <c:v>0.22222222222222199</c:v>
                </c:pt>
                <c:pt idx="45">
                  <c:v>0.230769230769231</c:v>
                </c:pt>
                <c:pt idx="46">
                  <c:v>0.23297491039426499</c:v>
                </c:pt>
                <c:pt idx="47">
                  <c:v>0.24633431085044</c:v>
                </c:pt>
                <c:pt idx="48">
                  <c:v>0.25</c:v>
                </c:pt>
                <c:pt idx="49">
                  <c:v>0.25</c:v>
                </c:pt>
                <c:pt idx="50">
                  <c:v>0.25230769230769201</c:v>
                </c:pt>
                <c:pt idx="51">
                  <c:v>0.25560538116591902</c:v>
                </c:pt>
                <c:pt idx="52">
                  <c:v>0.256329113924051</c:v>
                </c:pt>
                <c:pt idx="53">
                  <c:v>0.258278145695364</c:v>
                </c:pt>
                <c:pt idx="54">
                  <c:v>0.266666666666667</c:v>
                </c:pt>
                <c:pt idx="55">
                  <c:v>0.27272727272727298</c:v>
                </c:pt>
                <c:pt idx="56">
                  <c:v>0.27272727272727298</c:v>
                </c:pt>
                <c:pt idx="57">
                  <c:v>0.27777777777777801</c:v>
                </c:pt>
                <c:pt idx="58">
                  <c:v>0.27967479674796702</c:v>
                </c:pt>
                <c:pt idx="59">
                  <c:v>0.28571428571428598</c:v>
                </c:pt>
                <c:pt idx="60">
                  <c:v>0.28596802841918301</c:v>
                </c:pt>
                <c:pt idx="61">
                  <c:v>0.29017857142857101</c:v>
                </c:pt>
                <c:pt idx="62">
                  <c:v>0.29079497907949797</c:v>
                </c:pt>
                <c:pt idx="63">
                  <c:v>0.29096989966555198</c:v>
                </c:pt>
                <c:pt idx="64">
                  <c:v>0.29411764705882398</c:v>
                </c:pt>
                <c:pt idx="65">
                  <c:v>0.29710144927536197</c:v>
                </c:pt>
                <c:pt idx="66">
                  <c:v>0.29716981132075498</c:v>
                </c:pt>
                <c:pt idx="67">
                  <c:v>0.29931972789115602</c:v>
                </c:pt>
                <c:pt idx="68">
                  <c:v>0.300492610837438</c:v>
                </c:pt>
                <c:pt idx="69">
                  <c:v>0.30303030303030298</c:v>
                </c:pt>
                <c:pt idx="70">
                  <c:v>0.30303030303030298</c:v>
                </c:pt>
                <c:pt idx="71">
                  <c:v>0.30612244897959201</c:v>
                </c:pt>
                <c:pt idx="72">
                  <c:v>0.30678466076696198</c:v>
                </c:pt>
                <c:pt idx="73">
                  <c:v>0.30681818181818199</c:v>
                </c:pt>
                <c:pt idx="74">
                  <c:v>0.30769230769230799</c:v>
                </c:pt>
                <c:pt idx="75">
                  <c:v>0.30769230769230799</c:v>
                </c:pt>
                <c:pt idx="76">
                  <c:v>0.30769230769230799</c:v>
                </c:pt>
                <c:pt idx="77">
                  <c:v>0.30888888888888899</c:v>
                </c:pt>
                <c:pt idx="78">
                  <c:v>0.31081081081081102</c:v>
                </c:pt>
                <c:pt idx="79">
                  <c:v>0.31111111111111101</c:v>
                </c:pt>
                <c:pt idx="80">
                  <c:v>0.3125</c:v>
                </c:pt>
                <c:pt idx="81">
                  <c:v>0.31395348837209303</c:v>
                </c:pt>
                <c:pt idx="82">
                  <c:v>0.31543624161073802</c:v>
                </c:pt>
                <c:pt idx="83">
                  <c:v>0.31543624161073802</c:v>
                </c:pt>
                <c:pt idx="84">
                  <c:v>0.31578947368421001</c:v>
                </c:pt>
                <c:pt idx="85">
                  <c:v>0.316</c:v>
                </c:pt>
                <c:pt idx="86">
                  <c:v>0.323943661971831</c:v>
                </c:pt>
                <c:pt idx="87">
                  <c:v>0.32500000000000001</c:v>
                </c:pt>
                <c:pt idx="88">
                  <c:v>0.32661290322580599</c:v>
                </c:pt>
                <c:pt idx="89">
                  <c:v>0.32804232804232802</c:v>
                </c:pt>
                <c:pt idx="90">
                  <c:v>0.32989690721649501</c:v>
                </c:pt>
                <c:pt idx="91">
                  <c:v>0.33333333333333298</c:v>
                </c:pt>
                <c:pt idx="92">
                  <c:v>0.33428571428571402</c:v>
                </c:pt>
                <c:pt idx="93">
                  <c:v>0.337579617834395</c:v>
                </c:pt>
                <c:pt idx="94">
                  <c:v>0.337837837837838</c:v>
                </c:pt>
                <c:pt idx="95">
                  <c:v>0.338983050847458</c:v>
                </c:pt>
                <c:pt idx="96">
                  <c:v>0.340425531914894</c:v>
                </c:pt>
                <c:pt idx="97">
                  <c:v>0.34579439252336402</c:v>
                </c:pt>
                <c:pt idx="98">
                  <c:v>0.34588235294117597</c:v>
                </c:pt>
                <c:pt idx="99">
                  <c:v>0.34659090909090901</c:v>
                </c:pt>
                <c:pt idx="100">
                  <c:v>0.348314606741573</c:v>
                </c:pt>
                <c:pt idx="101">
                  <c:v>0.35174418604651198</c:v>
                </c:pt>
                <c:pt idx="102">
                  <c:v>0.35329341317365298</c:v>
                </c:pt>
                <c:pt idx="103">
                  <c:v>0.35338345864661602</c:v>
                </c:pt>
                <c:pt idx="104">
                  <c:v>0.35384615384615398</c:v>
                </c:pt>
                <c:pt idx="105">
                  <c:v>0.35648754914809999</c:v>
                </c:pt>
                <c:pt idx="106">
                  <c:v>0.35682819383259901</c:v>
                </c:pt>
                <c:pt idx="107">
                  <c:v>0.359375</c:v>
                </c:pt>
                <c:pt idx="108">
                  <c:v>0.36073059360730603</c:v>
                </c:pt>
                <c:pt idx="109">
                  <c:v>0.36216839677047302</c:v>
                </c:pt>
                <c:pt idx="110">
                  <c:v>0.36312849162011201</c:v>
                </c:pt>
                <c:pt idx="111">
                  <c:v>0.36338418862690702</c:v>
                </c:pt>
                <c:pt idx="112">
                  <c:v>0.36458333333333298</c:v>
                </c:pt>
                <c:pt idx="113">
                  <c:v>0.36585365853658502</c:v>
                </c:pt>
                <c:pt idx="114">
                  <c:v>0.36822429906541998</c:v>
                </c:pt>
                <c:pt idx="115">
                  <c:v>0.36842105263157898</c:v>
                </c:pt>
                <c:pt idx="116">
                  <c:v>0.36875000000000002</c:v>
                </c:pt>
                <c:pt idx="117">
                  <c:v>0.37060478199718699</c:v>
                </c:pt>
                <c:pt idx="118">
                  <c:v>0.371428571428571</c:v>
                </c:pt>
                <c:pt idx="119">
                  <c:v>0.371428571428571</c:v>
                </c:pt>
                <c:pt idx="120">
                  <c:v>0.37190082644628097</c:v>
                </c:pt>
                <c:pt idx="121">
                  <c:v>0.37272727272727302</c:v>
                </c:pt>
                <c:pt idx="122">
                  <c:v>0.37292817679557999</c:v>
                </c:pt>
                <c:pt idx="123">
                  <c:v>0.37468354430379702</c:v>
                </c:pt>
                <c:pt idx="124">
                  <c:v>0.375</c:v>
                </c:pt>
                <c:pt idx="125">
                  <c:v>0.37881219903691798</c:v>
                </c:pt>
                <c:pt idx="126">
                  <c:v>0.37894736842105298</c:v>
                </c:pt>
                <c:pt idx="127">
                  <c:v>0.38022988505747102</c:v>
                </c:pt>
                <c:pt idx="128">
                  <c:v>0.38069498069498098</c:v>
                </c:pt>
                <c:pt idx="129">
                  <c:v>0.38080495356037097</c:v>
                </c:pt>
                <c:pt idx="130">
                  <c:v>0.38106235565819901</c:v>
                </c:pt>
                <c:pt idx="131">
                  <c:v>0.38235294117647101</c:v>
                </c:pt>
                <c:pt idx="132">
                  <c:v>0.38255033557047002</c:v>
                </c:pt>
                <c:pt idx="133">
                  <c:v>0.38461538461538503</c:v>
                </c:pt>
                <c:pt idx="134">
                  <c:v>0.38826185101580102</c:v>
                </c:pt>
                <c:pt idx="135">
                  <c:v>0.38875305623471901</c:v>
                </c:pt>
                <c:pt idx="136">
                  <c:v>0.38928939237899102</c:v>
                </c:pt>
                <c:pt idx="137">
                  <c:v>0.39215686274509798</c:v>
                </c:pt>
                <c:pt idx="138">
                  <c:v>0.39285714285714302</c:v>
                </c:pt>
                <c:pt idx="139">
                  <c:v>0.39405204460966498</c:v>
                </c:pt>
                <c:pt idx="140">
                  <c:v>0.39601494396014902</c:v>
                </c:pt>
                <c:pt idx="141">
                  <c:v>0.39692307692307699</c:v>
                </c:pt>
                <c:pt idx="142">
                  <c:v>0.39830508474576298</c:v>
                </c:pt>
                <c:pt idx="143">
                  <c:v>0.398960363872644</c:v>
                </c:pt>
                <c:pt idx="144">
                  <c:v>0.4</c:v>
                </c:pt>
                <c:pt idx="145">
                  <c:v>0.4</c:v>
                </c:pt>
                <c:pt idx="146">
                  <c:v>0.400709219858156</c:v>
                </c:pt>
                <c:pt idx="147">
                  <c:v>0.401709401709402</c:v>
                </c:pt>
                <c:pt idx="148">
                  <c:v>0.40243902439024398</c:v>
                </c:pt>
                <c:pt idx="149">
                  <c:v>0.40598802395209599</c:v>
                </c:pt>
                <c:pt idx="150">
                  <c:v>0.40616966580976899</c:v>
                </c:pt>
                <c:pt idx="151">
                  <c:v>0.40625</c:v>
                </c:pt>
                <c:pt idx="152">
                  <c:v>0.407407407407407</c:v>
                </c:pt>
                <c:pt idx="153">
                  <c:v>0.407407407407407</c:v>
                </c:pt>
                <c:pt idx="154">
                  <c:v>0.40978348035284701</c:v>
                </c:pt>
                <c:pt idx="155">
                  <c:v>0.41001353179972899</c:v>
                </c:pt>
                <c:pt idx="156">
                  <c:v>0.41130604288499001</c:v>
                </c:pt>
                <c:pt idx="157">
                  <c:v>0.41176470588235298</c:v>
                </c:pt>
                <c:pt idx="158">
                  <c:v>0.41176470588235298</c:v>
                </c:pt>
                <c:pt idx="159">
                  <c:v>0.41379310344827602</c:v>
                </c:pt>
                <c:pt idx="160">
                  <c:v>0.41545189504373198</c:v>
                </c:pt>
                <c:pt idx="161">
                  <c:v>0.41666666666666702</c:v>
                </c:pt>
                <c:pt idx="162">
                  <c:v>0.41692307692307701</c:v>
                </c:pt>
                <c:pt idx="163">
                  <c:v>0.41843971631205701</c:v>
                </c:pt>
                <c:pt idx="164">
                  <c:v>0.418604651162791</c:v>
                </c:pt>
                <c:pt idx="165">
                  <c:v>0.419047619047619</c:v>
                </c:pt>
                <c:pt idx="166">
                  <c:v>0.42158859470468402</c:v>
                </c:pt>
                <c:pt idx="167">
                  <c:v>0.422077922077922</c:v>
                </c:pt>
                <c:pt idx="168">
                  <c:v>0.42477876106194701</c:v>
                </c:pt>
                <c:pt idx="169">
                  <c:v>0.425133689839572</c:v>
                </c:pt>
                <c:pt idx="170">
                  <c:v>0.425398155909472</c:v>
                </c:pt>
                <c:pt idx="171">
                  <c:v>0.42570281124498</c:v>
                </c:pt>
                <c:pt idx="172">
                  <c:v>0.42798353909464998</c:v>
                </c:pt>
                <c:pt idx="173">
                  <c:v>0.42857142857142899</c:v>
                </c:pt>
                <c:pt idx="174">
                  <c:v>0.42878560719640202</c:v>
                </c:pt>
                <c:pt idx="175">
                  <c:v>0.42913385826771699</c:v>
                </c:pt>
                <c:pt idx="176">
                  <c:v>0.429643527204503</c:v>
                </c:pt>
                <c:pt idx="177">
                  <c:v>0.43006263048016702</c:v>
                </c:pt>
                <c:pt idx="178">
                  <c:v>0.430379746835443</c:v>
                </c:pt>
                <c:pt idx="179">
                  <c:v>0.43099273607748201</c:v>
                </c:pt>
                <c:pt idx="180">
                  <c:v>0.432</c:v>
                </c:pt>
                <c:pt idx="181">
                  <c:v>0.43234836702954899</c:v>
                </c:pt>
                <c:pt idx="182">
                  <c:v>0.43291995490417101</c:v>
                </c:pt>
                <c:pt idx="183">
                  <c:v>0.43308865047995498</c:v>
                </c:pt>
                <c:pt idx="184">
                  <c:v>0.43396226415094302</c:v>
                </c:pt>
                <c:pt idx="185">
                  <c:v>0.43420538852010898</c:v>
                </c:pt>
                <c:pt idx="186">
                  <c:v>0.43516209476309198</c:v>
                </c:pt>
                <c:pt idx="187">
                  <c:v>0.43617021276595702</c:v>
                </c:pt>
                <c:pt idx="188">
                  <c:v>0.43686309260079798</c:v>
                </c:pt>
                <c:pt idx="189">
                  <c:v>0.4375</c:v>
                </c:pt>
                <c:pt idx="190">
                  <c:v>0.43796711509716002</c:v>
                </c:pt>
                <c:pt idx="191">
                  <c:v>0.43859649122806998</c:v>
                </c:pt>
                <c:pt idx="192">
                  <c:v>0.439285714285714</c:v>
                </c:pt>
                <c:pt idx="193">
                  <c:v>0.43991416309012898</c:v>
                </c:pt>
                <c:pt idx="194">
                  <c:v>0.44086021505376299</c:v>
                </c:pt>
                <c:pt idx="195">
                  <c:v>0.44095940959409602</c:v>
                </c:pt>
                <c:pt idx="196">
                  <c:v>0.442</c:v>
                </c:pt>
                <c:pt idx="197">
                  <c:v>0.44221105527638199</c:v>
                </c:pt>
                <c:pt idx="198">
                  <c:v>0.44267053701016001</c:v>
                </c:pt>
                <c:pt idx="199">
                  <c:v>0.443931398416887</c:v>
                </c:pt>
                <c:pt idx="200">
                  <c:v>0.44407894736842102</c:v>
                </c:pt>
                <c:pt idx="201">
                  <c:v>0.44452945677123201</c:v>
                </c:pt>
                <c:pt idx="202">
                  <c:v>0.445578231292517</c:v>
                </c:pt>
                <c:pt idx="203">
                  <c:v>0.44614264919941798</c:v>
                </c:pt>
                <c:pt idx="204">
                  <c:v>0.44628099173553698</c:v>
                </c:pt>
                <c:pt idx="205">
                  <c:v>0.44680851063829802</c:v>
                </c:pt>
                <c:pt idx="206">
                  <c:v>0.44707520891364899</c:v>
                </c:pt>
                <c:pt idx="207">
                  <c:v>0.44920993227991002</c:v>
                </c:pt>
                <c:pt idx="208">
                  <c:v>0.44983818770226502</c:v>
                </c:pt>
                <c:pt idx="209">
                  <c:v>0.45087900723888302</c:v>
                </c:pt>
                <c:pt idx="210">
                  <c:v>0.452631578947368</c:v>
                </c:pt>
                <c:pt idx="211">
                  <c:v>0.45412844036697197</c:v>
                </c:pt>
                <c:pt idx="212">
                  <c:v>0.45714285714285702</c:v>
                </c:pt>
                <c:pt idx="213">
                  <c:v>0.45800316957210802</c:v>
                </c:pt>
                <c:pt idx="214">
                  <c:v>0.458452722063037</c:v>
                </c:pt>
                <c:pt idx="215">
                  <c:v>0.458984375</c:v>
                </c:pt>
                <c:pt idx="216">
                  <c:v>0.45901639344262302</c:v>
                </c:pt>
                <c:pt idx="217">
                  <c:v>0.45971370143149298</c:v>
                </c:pt>
                <c:pt idx="218">
                  <c:v>0.45985401459853997</c:v>
                </c:pt>
                <c:pt idx="219">
                  <c:v>0.46153846153846201</c:v>
                </c:pt>
                <c:pt idx="220">
                  <c:v>0.463687150837989</c:v>
                </c:pt>
                <c:pt idx="221">
                  <c:v>0.46385542168674698</c:v>
                </c:pt>
                <c:pt idx="222">
                  <c:v>0.46389891696750901</c:v>
                </c:pt>
                <c:pt idx="223">
                  <c:v>0.46472392638036802</c:v>
                </c:pt>
                <c:pt idx="224">
                  <c:v>0.465425531914894</c:v>
                </c:pt>
                <c:pt idx="225">
                  <c:v>0.46678854357099298</c:v>
                </c:pt>
                <c:pt idx="226">
                  <c:v>0.467592592592593</c:v>
                </c:pt>
                <c:pt idx="227">
                  <c:v>0.46949327817993802</c:v>
                </c:pt>
                <c:pt idx="228">
                  <c:v>0.46956521739130402</c:v>
                </c:pt>
                <c:pt idx="229">
                  <c:v>0.46985446985446999</c:v>
                </c:pt>
                <c:pt idx="230">
                  <c:v>0.470558631102164</c:v>
                </c:pt>
                <c:pt idx="231">
                  <c:v>0.47058823529411797</c:v>
                </c:pt>
                <c:pt idx="232">
                  <c:v>0.47073791348600502</c:v>
                </c:pt>
                <c:pt idx="233">
                  <c:v>0.47117296222664001</c:v>
                </c:pt>
                <c:pt idx="234">
                  <c:v>0.47144754316069098</c:v>
                </c:pt>
                <c:pt idx="235">
                  <c:v>0.47222222222222199</c:v>
                </c:pt>
                <c:pt idx="236">
                  <c:v>0.47222222222222199</c:v>
                </c:pt>
                <c:pt idx="237">
                  <c:v>0.47232207045291202</c:v>
                </c:pt>
                <c:pt idx="238">
                  <c:v>0.47234814143245701</c:v>
                </c:pt>
                <c:pt idx="239">
                  <c:v>0.47286821705426402</c:v>
                </c:pt>
                <c:pt idx="240">
                  <c:v>0.47368421052631599</c:v>
                </c:pt>
                <c:pt idx="241">
                  <c:v>0.47368421052631599</c:v>
                </c:pt>
                <c:pt idx="242">
                  <c:v>0.47378832838773499</c:v>
                </c:pt>
                <c:pt idx="243">
                  <c:v>0.47529411764705898</c:v>
                </c:pt>
                <c:pt idx="244">
                  <c:v>0.47562582345191001</c:v>
                </c:pt>
                <c:pt idx="245">
                  <c:v>0.47592385218365102</c:v>
                </c:pt>
                <c:pt idx="246">
                  <c:v>0.476190476190476</c:v>
                </c:pt>
                <c:pt idx="247">
                  <c:v>0.47628865979381402</c:v>
                </c:pt>
                <c:pt idx="248">
                  <c:v>0.47657928663515298</c:v>
                </c:pt>
                <c:pt idx="249">
                  <c:v>0.476643241008681</c:v>
                </c:pt>
                <c:pt idx="250">
                  <c:v>0.476673427991886</c:v>
                </c:pt>
                <c:pt idx="251">
                  <c:v>0.47712418300653597</c:v>
                </c:pt>
                <c:pt idx="252">
                  <c:v>0.47802993722839199</c:v>
                </c:pt>
                <c:pt idx="253">
                  <c:v>0.47826086956521702</c:v>
                </c:pt>
                <c:pt idx="254">
                  <c:v>0.47916666666666702</c:v>
                </c:pt>
                <c:pt idx="255">
                  <c:v>0.479768786127168</c:v>
                </c:pt>
                <c:pt idx="256">
                  <c:v>0.48056994818652798</c:v>
                </c:pt>
                <c:pt idx="257">
                  <c:v>0.48086124401913899</c:v>
                </c:pt>
                <c:pt idx="258">
                  <c:v>0.48250460405156498</c:v>
                </c:pt>
                <c:pt idx="259">
                  <c:v>0.48263888888888901</c:v>
                </c:pt>
                <c:pt idx="260">
                  <c:v>0.48275862068965503</c:v>
                </c:pt>
                <c:pt idx="261">
                  <c:v>0.48280423280423301</c:v>
                </c:pt>
                <c:pt idx="262">
                  <c:v>0.48314606741573002</c:v>
                </c:pt>
                <c:pt idx="263">
                  <c:v>0.48504273504273498</c:v>
                </c:pt>
                <c:pt idx="264">
                  <c:v>0.48507462686567199</c:v>
                </c:pt>
                <c:pt idx="265">
                  <c:v>0.48587570621468901</c:v>
                </c:pt>
                <c:pt idx="266">
                  <c:v>0.48632218844984798</c:v>
                </c:pt>
                <c:pt idx="267">
                  <c:v>0.48678071539657802</c:v>
                </c:pt>
                <c:pt idx="268">
                  <c:v>0.48728139904610501</c:v>
                </c:pt>
                <c:pt idx="269">
                  <c:v>0.48756218905472598</c:v>
                </c:pt>
                <c:pt idx="270">
                  <c:v>0.48768472906403898</c:v>
                </c:pt>
                <c:pt idx="271">
                  <c:v>0.488188976377953</c:v>
                </c:pt>
                <c:pt idx="272">
                  <c:v>0.48915662650602398</c:v>
                </c:pt>
                <c:pt idx="273">
                  <c:v>0.48986486486486502</c:v>
                </c:pt>
                <c:pt idx="274">
                  <c:v>0.49019607843137197</c:v>
                </c:pt>
                <c:pt idx="275">
                  <c:v>0.490566037735849</c:v>
                </c:pt>
                <c:pt idx="276">
                  <c:v>0.49132947976878599</c:v>
                </c:pt>
                <c:pt idx="277">
                  <c:v>0.49200492004919999</c:v>
                </c:pt>
                <c:pt idx="278">
                  <c:v>0.49209039548022598</c:v>
                </c:pt>
                <c:pt idx="279">
                  <c:v>0.49244060475161999</c:v>
                </c:pt>
                <c:pt idx="280">
                  <c:v>0.492547906316537</c:v>
                </c:pt>
                <c:pt idx="281">
                  <c:v>0.49298409728718401</c:v>
                </c:pt>
                <c:pt idx="282">
                  <c:v>0.49342481417953099</c:v>
                </c:pt>
                <c:pt idx="283">
                  <c:v>0.49364021804966701</c:v>
                </c:pt>
                <c:pt idx="284">
                  <c:v>0.49373433583959903</c:v>
                </c:pt>
                <c:pt idx="285">
                  <c:v>0.49416342412451397</c:v>
                </c:pt>
                <c:pt idx="286">
                  <c:v>0.49466192170818502</c:v>
                </c:pt>
                <c:pt idx="287">
                  <c:v>0.49468085106382997</c:v>
                </c:pt>
                <c:pt idx="288">
                  <c:v>0.49475262368815598</c:v>
                </c:pt>
                <c:pt idx="289">
                  <c:v>0.49502487562189101</c:v>
                </c:pt>
                <c:pt idx="290">
                  <c:v>0.49518304431599203</c:v>
                </c:pt>
                <c:pt idx="291">
                  <c:v>0.49523809523809498</c:v>
                </c:pt>
                <c:pt idx="292">
                  <c:v>0.49625935162094797</c:v>
                </c:pt>
                <c:pt idx="293">
                  <c:v>0.49679487179487197</c:v>
                </c:pt>
                <c:pt idx="294">
                  <c:v>0.49728892331525898</c:v>
                </c:pt>
                <c:pt idx="295">
                  <c:v>0.49741824440619598</c:v>
                </c:pt>
                <c:pt idx="296">
                  <c:v>0.49812030075188002</c:v>
                </c:pt>
                <c:pt idx="297">
                  <c:v>0.49869994799792</c:v>
                </c:pt>
                <c:pt idx="298">
                  <c:v>0.5</c:v>
                </c:pt>
                <c:pt idx="299">
                  <c:v>0.5</c:v>
                </c:pt>
                <c:pt idx="300">
                  <c:v>0.5</c:v>
                </c:pt>
                <c:pt idx="301">
                  <c:v>0.5</c:v>
                </c:pt>
                <c:pt idx="302">
                  <c:v>0.5</c:v>
                </c:pt>
                <c:pt idx="303">
                  <c:v>0.5</c:v>
                </c:pt>
                <c:pt idx="304">
                  <c:v>0.5</c:v>
                </c:pt>
                <c:pt idx="305">
                  <c:v>0.5</c:v>
                </c:pt>
                <c:pt idx="306">
                  <c:v>0.5</c:v>
                </c:pt>
                <c:pt idx="307">
                  <c:v>0.50042844901456696</c:v>
                </c:pt>
                <c:pt idx="308">
                  <c:v>0.50284090909090895</c:v>
                </c:pt>
                <c:pt idx="309">
                  <c:v>0.50346420323325602</c:v>
                </c:pt>
                <c:pt idx="310">
                  <c:v>0.50346921075455298</c:v>
                </c:pt>
                <c:pt idx="311">
                  <c:v>0.504132231404959</c:v>
                </c:pt>
                <c:pt idx="312">
                  <c:v>0.50513698630137005</c:v>
                </c:pt>
                <c:pt idx="313">
                  <c:v>0.505335844318895</c:v>
                </c:pt>
                <c:pt idx="314">
                  <c:v>0.50537634408602095</c:v>
                </c:pt>
                <c:pt idx="315">
                  <c:v>0.50574712643678199</c:v>
                </c:pt>
                <c:pt idx="316">
                  <c:v>0.50637213254035696</c:v>
                </c:pt>
                <c:pt idx="317">
                  <c:v>0.50637522768670296</c:v>
                </c:pt>
                <c:pt idx="318">
                  <c:v>0.50645161290322604</c:v>
                </c:pt>
                <c:pt idx="319">
                  <c:v>0.50666666666666704</c:v>
                </c:pt>
                <c:pt idx="320">
                  <c:v>0.50726978998384498</c:v>
                </c:pt>
                <c:pt idx="321">
                  <c:v>0.50764006791171501</c:v>
                </c:pt>
                <c:pt idx="322">
                  <c:v>0.50771604938271597</c:v>
                </c:pt>
                <c:pt idx="323">
                  <c:v>0.50806451612903203</c:v>
                </c:pt>
                <c:pt idx="324">
                  <c:v>0.50815217391304301</c:v>
                </c:pt>
                <c:pt idx="325">
                  <c:v>0.50910273081924595</c:v>
                </c:pt>
                <c:pt idx="326">
                  <c:v>0.50980392156862697</c:v>
                </c:pt>
                <c:pt idx="327">
                  <c:v>0.50989345509893502</c:v>
                </c:pt>
                <c:pt idx="328">
                  <c:v>0.51006711409395999</c:v>
                </c:pt>
                <c:pt idx="329">
                  <c:v>0.51030927835051498</c:v>
                </c:pt>
                <c:pt idx="330">
                  <c:v>0.51034482758620703</c:v>
                </c:pt>
                <c:pt idx="331">
                  <c:v>0.51034482758620703</c:v>
                </c:pt>
                <c:pt idx="332">
                  <c:v>0.51077246452969005</c:v>
                </c:pt>
                <c:pt idx="333">
                  <c:v>0.51078167115902995</c:v>
                </c:pt>
                <c:pt idx="334">
                  <c:v>0.51098901098901095</c:v>
                </c:pt>
                <c:pt idx="335">
                  <c:v>0.51101321585903103</c:v>
                </c:pt>
                <c:pt idx="336">
                  <c:v>0.51124567474048399</c:v>
                </c:pt>
                <c:pt idx="337">
                  <c:v>0.51162790697674398</c:v>
                </c:pt>
                <c:pt idx="338">
                  <c:v>0.51162790697674398</c:v>
                </c:pt>
                <c:pt idx="339">
                  <c:v>0.51219512195121997</c:v>
                </c:pt>
                <c:pt idx="340">
                  <c:v>0.51226158038147096</c:v>
                </c:pt>
                <c:pt idx="341">
                  <c:v>0.51243781094527396</c:v>
                </c:pt>
                <c:pt idx="342">
                  <c:v>0.51271186440677996</c:v>
                </c:pt>
                <c:pt idx="343">
                  <c:v>0.51292517006802696</c:v>
                </c:pt>
                <c:pt idx="344">
                  <c:v>0.51295731707317105</c:v>
                </c:pt>
                <c:pt idx="345">
                  <c:v>0.51376146788990795</c:v>
                </c:pt>
                <c:pt idx="346">
                  <c:v>0.51419878296146004</c:v>
                </c:pt>
                <c:pt idx="347">
                  <c:v>0.51421188630490999</c:v>
                </c:pt>
                <c:pt idx="348">
                  <c:v>0.51449275362318803</c:v>
                </c:pt>
                <c:pt idx="349">
                  <c:v>0.51505376344085996</c:v>
                </c:pt>
                <c:pt idx="350">
                  <c:v>0.51515151515151503</c:v>
                </c:pt>
                <c:pt idx="351">
                  <c:v>0.51548269581056505</c:v>
                </c:pt>
                <c:pt idx="352">
                  <c:v>0.51565995525727104</c:v>
                </c:pt>
                <c:pt idx="353">
                  <c:v>0.51591553734635998</c:v>
                </c:pt>
                <c:pt idx="354">
                  <c:v>0.51619047619047598</c:v>
                </c:pt>
                <c:pt idx="355">
                  <c:v>0.516500785751702</c:v>
                </c:pt>
                <c:pt idx="356">
                  <c:v>0.517133956386293</c:v>
                </c:pt>
                <c:pt idx="357">
                  <c:v>0.51741716227697498</c:v>
                </c:pt>
                <c:pt idx="358">
                  <c:v>0.51798561151079103</c:v>
                </c:pt>
                <c:pt idx="359">
                  <c:v>0.51818181818181797</c:v>
                </c:pt>
                <c:pt idx="360">
                  <c:v>0.51822916666666696</c:v>
                </c:pt>
                <c:pt idx="361">
                  <c:v>0.51851851851851805</c:v>
                </c:pt>
                <c:pt idx="362">
                  <c:v>0.51856763925729399</c:v>
                </c:pt>
                <c:pt idx="363">
                  <c:v>0.51944971537001905</c:v>
                </c:pt>
                <c:pt idx="364">
                  <c:v>0.51963746223564999</c:v>
                </c:pt>
                <c:pt idx="365">
                  <c:v>0.51963746223564999</c:v>
                </c:pt>
                <c:pt idx="366">
                  <c:v>0.52</c:v>
                </c:pt>
                <c:pt idx="367">
                  <c:v>0.52</c:v>
                </c:pt>
                <c:pt idx="368">
                  <c:v>0.52054794520547898</c:v>
                </c:pt>
                <c:pt idx="369">
                  <c:v>0.52066929133858297</c:v>
                </c:pt>
                <c:pt idx="370">
                  <c:v>0.52079566003616595</c:v>
                </c:pt>
                <c:pt idx="371">
                  <c:v>0.52095808383233499</c:v>
                </c:pt>
                <c:pt idx="372">
                  <c:v>0.52143138025953595</c:v>
                </c:pt>
                <c:pt idx="373">
                  <c:v>0.521484375</c:v>
                </c:pt>
                <c:pt idx="374">
                  <c:v>0.52168949771689499</c:v>
                </c:pt>
                <c:pt idx="375">
                  <c:v>0.52197802197802201</c:v>
                </c:pt>
                <c:pt idx="376">
                  <c:v>0.522198731501057</c:v>
                </c:pt>
                <c:pt idx="377">
                  <c:v>0.52224824355971899</c:v>
                </c:pt>
                <c:pt idx="378">
                  <c:v>0.52228412256267398</c:v>
                </c:pt>
                <c:pt idx="379">
                  <c:v>0.52259887005649697</c:v>
                </c:pt>
                <c:pt idx="380">
                  <c:v>0.52263374485596703</c:v>
                </c:pt>
                <c:pt idx="381">
                  <c:v>0.52272727272727304</c:v>
                </c:pt>
                <c:pt idx="382">
                  <c:v>0.52294853963838706</c:v>
                </c:pt>
                <c:pt idx="383">
                  <c:v>0.52309985096870304</c:v>
                </c:pt>
                <c:pt idx="384">
                  <c:v>0.52325581395348797</c:v>
                </c:pt>
                <c:pt idx="385">
                  <c:v>0.52417302798982202</c:v>
                </c:pt>
                <c:pt idx="386">
                  <c:v>0.52418645558487198</c:v>
                </c:pt>
                <c:pt idx="387">
                  <c:v>0.52506265664160401</c:v>
                </c:pt>
                <c:pt idx="388">
                  <c:v>0.52557616638561</c:v>
                </c:pt>
                <c:pt idx="389">
                  <c:v>0.52575757575757598</c:v>
                </c:pt>
                <c:pt idx="390">
                  <c:v>0.52591170825335898</c:v>
                </c:pt>
                <c:pt idx="391">
                  <c:v>0.52603231597845601</c:v>
                </c:pt>
                <c:pt idx="392">
                  <c:v>0.52616279069767402</c:v>
                </c:pt>
                <c:pt idx="393">
                  <c:v>0.52699784017278595</c:v>
                </c:pt>
                <c:pt idx="394">
                  <c:v>0.527454242928453</c:v>
                </c:pt>
                <c:pt idx="395">
                  <c:v>0.52759740259740295</c:v>
                </c:pt>
                <c:pt idx="396">
                  <c:v>0.52768729641693801</c:v>
                </c:pt>
                <c:pt idx="397">
                  <c:v>0.52773109243697502</c:v>
                </c:pt>
                <c:pt idx="398">
                  <c:v>0.52779893373952802</c:v>
                </c:pt>
                <c:pt idx="399">
                  <c:v>0.52830188679245305</c:v>
                </c:pt>
                <c:pt idx="400">
                  <c:v>0.52834224598930501</c:v>
                </c:pt>
                <c:pt idx="401">
                  <c:v>0.52848722986247498</c:v>
                </c:pt>
                <c:pt idx="402">
                  <c:v>0.52859135285913506</c:v>
                </c:pt>
                <c:pt idx="403">
                  <c:v>0.52928416485900198</c:v>
                </c:pt>
                <c:pt idx="404">
                  <c:v>0.52941176470588203</c:v>
                </c:pt>
                <c:pt idx="405">
                  <c:v>0.52975047984644896</c:v>
                </c:pt>
                <c:pt idx="406">
                  <c:v>0.52991452991453003</c:v>
                </c:pt>
                <c:pt idx="407">
                  <c:v>0.53003161222339301</c:v>
                </c:pt>
                <c:pt idx="408">
                  <c:v>0.53035714285714297</c:v>
                </c:pt>
                <c:pt idx="409">
                  <c:v>0.53051359516616303</c:v>
                </c:pt>
                <c:pt idx="410">
                  <c:v>0.53073770491803296</c:v>
                </c:pt>
                <c:pt idx="411">
                  <c:v>0.53078078078078095</c:v>
                </c:pt>
                <c:pt idx="412">
                  <c:v>0.53089887640449396</c:v>
                </c:pt>
                <c:pt idx="413">
                  <c:v>0.53094606542882405</c:v>
                </c:pt>
                <c:pt idx="414">
                  <c:v>0.53111111111111098</c:v>
                </c:pt>
                <c:pt idx="415">
                  <c:v>0.53182308522114397</c:v>
                </c:pt>
                <c:pt idx="416">
                  <c:v>0.531835205992509</c:v>
                </c:pt>
                <c:pt idx="417">
                  <c:v>0.53191489361702105</c:v>
                </c:pt>
                <c:pt idx="418">
                  <c:v>0.53234175025942598</c:v>
                </c:pt>
                <c:pt idx="419">
                  <c:v>0.53244592346089803</c:v>
                </c:pt>
                <c:pt idx="420">
                  <c:v>0.53295128939828096</c:v>
                </c:pt>
                <c:pt idx="421">
                  <c:v>0.53333333333333299</c:v>
                </c:pt>
                <c:pt idx="422">
                  <c:v>0.53353658536585402</c:v>
                </c:pt>
                <c:pt idx="423">
                  <c:v>0.53413654618473905</c:v>
                </c:pt>
                <c:pt idx="424">
                  <c:v>0.53429602888086603</c:v>
                </c:pt>
                <c:pt idx="425">
                  <c:v>0.53448275862068995</c:v>
                </c:pt>
                <c:pt idx="426">
                  <c:v>0.53477218225419698</c:v>
                </c:pt>
                <c:pt idx="427">
                  <c:v>0.53488372093023295</c:v>
                </c:pt>
                <c:pt idx="428">
                  <c:v>0.53512705530642701</c:v>
                </c:pt>
                <c:pt idx="429">
                  <c:v>0.53515625</c:v>
                </c:pt>
                <c:pt idx="430">
                  <c:v>0.53528399311531805</c:v>
                </c:pt>
                <c:pt idx="431">
                  <c:v>0.535433070866142</c:v>
                </c:pt>
                <c:pt idx="432">
                  <c:v>0.53571428571428603</c:v>
                </c:pt>
                <c:pt idx="433">
                  <c:v>0.53598014888337497</c:v>
                </c:pt>
                <c:pt idx="434">
                  <c:v>0.53599071207430304</c:v>
                </c:pt>
                <c:pt idx="435">
                  <c:v>0.53615279672578398</c:v>
                </c:pt>
                <c:pt idx="436">
                  <c:v>0.53623188405797095</c:v>
                </c:pt>
                <c:pt idx="437">
                  <c:v>0.53647058823529403</c:v>
                </c:pt>
                <c:pt idx="438">
                  <c:v>0.53682170542635699</c:v>
                </c:pt>
                <c:pt idx="439">
                  <c:v>0.53703703703703698</c:v>
                </c:pt>
                <c:pt idx="440">
                  <c:v>0.53723404255319196</c:v>
                </c:pt>
                <c:pt idx="441">
                  <c:v>0.53754940711462496</c:v>
                </c:pt>
                <c:pt idx="442">
                  <c:v>0.53789004457652301</c:v>
                </c:pt>
                <c:pt idx="443">
                  <c:v>0.53824362606232301</c:v>
                </c:pt>
                <c:pt idx="444">
                  <c:v>0.53846153846153799</c:v>
                </c:pt>
                <c:pt idx="445">
                  <c:v>0.53860407659048803</c:v>
                </c:pt>
                <c:pt idx="446">
                  <c:v>0.53866146848603003</c:v>
                </c:pt>
                <c:pt idx="447">
                  <c:v>0.53939393939393898</c:v>
                </c:pt>
                <c:pt idx="448">
                  <c:v>0.53947368421052599</c:v>
                </c:pt>
                <c:pt idx="449">
                  <c:v>0.53975363941769305</c:v>
                </c:pt>
                <c:pt idx="450">
                  <c:v>0.54009900990099002</c:v>
                </c:pt>
                <c:pt idx="451">
                  <c:v>0.54012561060711795</c:v>
                </c:pt>
                <c:pt idx="452">
                  <c:v>0.54030874785591798</c:v>
                </c:pt>
                <c:pt idx="453">
                  <c:v>0.54054054054054101</c:v>
                </c:pt>
                <c:pt idx="454">
                  <c:v>0.54092920353982299</c:v>
                </c:pt>
                <c:pt idx="455">
                  <c:v>0.54096045197740095</c:v>
                </c:pt>
                <c:pt idx="456">
                  <c:v>0.54138999557326195</c:v>
                </c:pt>
                <c:pt idx="457">
                  <c:v>0.541534559289791</c:v>
                </c:pt>
                <c:pt idx="458">
                  <c:v>0.54205607476635498</c:v>
                </c:pt>
                <c:pt idx="459">
                  <c:v>0.54210526315789498</c:v>
                </c:pt>
                <c:pt idx="460">
                  <c:v>0.54247572815533995</c:v>
                </c:pt>
                <c:pt idx="461">
                  <c:v>0.54249547920434005</c:v>
                </c:pt>
                <c:pt idx="462">
                  <c:v>0.54294803817603399</c:v>
                </c:pt>
                <c:pt idx="463">
                  <c:v>0.54304635761589404</c:v>
                </c:pt>
                <c:pt idx="464">
                  <c:v>0.543396226415094</c:v>
                </c:pt>
                <c:pt idx="465">
                  <c:v>0.54351145038167903</c:v>
                </c:pt>
                <c:pt idx="466">
                  <c:v>0.54358270418668497</c:v>
                </c:pt>
                <c:pt idx="467">
                  <c:v>0.54362416107382505</c:v>
                </c:pt>
                <c:pt idx="468">
                  <c:v>0.54365733113673798</c:v>
                </c:pt>
                <c:pt idx="469">
                  <c:v>0.54386617100371704</c:v>
                </c:pt>
                <c:pt idx="470">
                  <c:v>0.54415274463007202</c:v>
                </c:pt>
                <c:pt idx="471">
                  <c:v>0.54444444444444395</c:v>
                </c:pt>
                <c:pt idx="472">
                  <c:v>0.54482758620689697</c:v>
                </c:pt>
                <c:pt idx="473">
                  <c:v>0.54500000000000004</c:v>
                </c:pt>
                <c:pt idx="474">
                  <c:v>0.54507042253521099</c:v>
                </c:pt>
                <c:pt idx="475">
                  <c:v>0.54525862068965503</c:v>
                </c:pt>
                <c:pt idx="476">
                  <c:v>0.54537850271852795</c:v>
                </c:pt>
                <c:pt idx="477">
                  <c:v>0.545662100456621</c:v>
                </c:pt>
                <c:pt idx="478">
                  <c:v>0.54570446735395195</c:v>
                </c:pt>
                <c:pt idx="479">
                  <c:v>0.54581673306772904</c:v>
                </c:pt>
                <c:pt idx="480">
                  <c:v>0.54655380894800498</c:v>
                </c:pt>
                <c:pt idx="481">
                  <c:v>0.54683195592286504</c:v>
                </c:pt>
                <c:pt idx="482">
                  <c:v>0.54716981132075504</c:v>
                </c:pt>
                <c:pt idx="483">
                  <c:v>0.54748603351955305</c:v>
                </c:pt>
                <c:pt idx="484">
                  <c:v>0.54765751211631697</c:v>
                </c:pt>
                <c:pt idx="485">
                  <c:v>0.54801856479828603</c:v>
                </c:pt>
                <c:pt idx="486">
                  <c:v>0.54807692307692302</c:v>
                </c:pt>
                <c:pt idx="487">
                  <c:v>0.54819277108433695</c:v>
                </c:pt>
                <c:pt idx="488">
                  <c:v>0.54827586206896495</c:v>
                </c:pt>
                <c:pt idx="489">
                  <c:v>0.54827586206896495</c:v>
                </c:pt>
                <c:pt idx="490">
                  <c:v>0.54844720496894395</c:v>
                </c:pt>
                <c:pt idx="491">
                  <c:v>0.54863221884498503</c:v>
                </c:pt>
                <c:pt idx="492">
                  <c:v>0.54888268156424602</c:v>
                </c:pt>
                <c:pt idx="493">
                  <c:v>0.54903758020165006</c:v>
                </c:pt>
                <c:pt idx="494">
                  <c:v>0.54905660377358501</c:v>
                </c:pt>
                <c:pt idx="495">
                  <c:v>0.54927007299270103</c:v>
                </c:pt>
                <c:pt idx="496">
                  <c:v>0.549562682215743</c:v>
                </c:pt>
                <c:pt idx="497">
                  <c:v>0.54961832061068705</c:v>
                </c:pt>
                <c:pt idx="498">
                  <c:v>0.55000000000000004</c:v>
                </c:pt>
                <c:pt idx="499">
                  <c:v>0.55013192612137196</c:v>
                </c:pt>
                <c:pt idx="500">
                  <c:v>0.55097613882863306</c:v>
                </c:pt>
                <c:pt idx="501">
                  <c:v>0.55102040816326503</c:v>
                </c:pt>
                <c:pt idx="502">
                  <c:v>0.55120101137800204</c:v>
                </c:pt>
                <c:pt idx="503">
                  <c:v>0.55172413793103403</c:v>
                </c:pt>
                <c:pt idx="504">
                  <c:v>0.55200000000000005</c:v>
                </c:pt>
                <c:pt idx="505">
                  <c:v>0.55206611570247899</c:v>
                </c:pt>
                <c:pt idx="506">
                  <c:v>0.55214723926380405</c:v>
                </c:pt>
                <c:pt idx="507">
                  <c:v>0.55220228384991799</c:v>
                </c:pt>
                <c:pt idx="508">
                  <c:v>0.55234657039711199</c:v>
                </c:pt>
                <c:pt idx="509">
                  <c:v>0.55263157894736803</c:v>
                </c:pt>
                <c:pt idx="510">
                  <c:v>0.55263157894736803</c:v>
                </c:pt>
                <c:pt idx="511">
                  <c:v>0.55308641975308603</c:v>
                </c:pt>
                <c:pt idx="512">
                  <c:v>0.55319148936170204</c:v>
                </c:pt>
                <c:pt idx="513">
                  <c:v>0.55333333333333301</c:v>
                </c:pt>
                <c:pt idx="514">
                  <c:v>0.55380577427821498</c:v>
                </c:pt>
                <c:pt idx="515">
                  <c:v>0.55383022774327095</c:v>
                </c:pt>
                <c:pt idx="516">
                  <c:v>0.55407565263718705</c:v>
                </c:pt>
                <c:pt idx="517">
                  <c:v>0.55410691003911305</c:v>
                </c:pt>
                <c:pt idx="518">
                  <c:v>0.55428571428571405</c:v>
                </c:pt>
                <c:pt idx="519">
                  <c:v>0.55472636815920395</c:v>
                </c:pt>
                <c:pt idx="520">
                  <c:v>0.55480378890392401</c:v>
                </c:pt>
                <c:pt idx="521">
                  <c:v>0.55513307984790905</c:v>
                </c:pt>
                <c:pt idx="522">
                  <c:v>0.555172413793103</c:v>
                </c:pt>
                <c:pt idx="523">
                  <c:v>0.55524734165510903</c:v>
                </c:pt>
                <c:pt idx="524">
                  <c:v>0.55524861878453002</c:v>
                </c:pt>
                <c:pt idx="525">
                  <c:v>0.55542021924482299</c:v>
                </c:pt>
                <c:pt idx="526">
                  <c:v>0.55555555555555602</c:v>
                </c:pt>
                <c:pt idx="527">
                  <c:v>0.55555555555555602</c:v>
                </c:pt>
                <c:pt idx="528">
                  <c:v>0.55555555555555602</c:v>
                </c:pt>
                <c:pt idx="529">
                  <c:v>0.55555555555555602</c:v>
                </c:pt>
                <c:pt idx="530">
                  <c:v>0.55555555555555602</c:v>
                </c:pt>
                <c:pt idx="531">
                  <c:v>0.55589123867069501</c:v>
                </c:pt>
                <c:pt idx="532">
                  <c:v>0.55594817432273302</c:v>
                </c:pt>
                <c:pt idx="533">
                  <c:v>0.55598208573256602</c:v>
                </c:pt>
                <c:pt idx="534">
                  <c:v>0.55606407322654505</c:v>
                </c:pt>
                <c:pt idx="535">
                  <c:v>0.556412729026037</c:v>
                </c:pt>
                <c:pt idx="536">
                  <c:v>0.55646551724137905</c:v>
                </c:pt>
                <c:pt idx="537">
                  <c:v>0.55699658703071697</c:v>
                </c:pt>
                <c:pt idx="538">
                  <c:v>0.55778894472361795</c:v>
                </c:pt>
                <c:pt idx="539">
                  <c:v>0.55807365439093504</c:v>
                </c:pt>
                <c:pt idx="540">
                  <c:v>0.55809859154929597</c:v>
                </c:pt>
                <c:pt idx="541">
                  <c:v>0.55837563451776595</c:v>
                </c:pt>
                <c:pt idx="542">
                  <c:v>0.55844155844155796</c:v>
                </c:pt>
                <c:pt idx="543">
                  <c:v>0.55865921787709505</c:v>
                </c:pt>
                <c:pt idx="544">
                  <c:v>0.55870445344129605</c:v>
                </c:pt>
                <c:pt idx="545">
                  <c:v>0.55875576036866403</c:v>
                </c:pt>
                <c:pt idx="546">
                  <c:v>0.55892255892255904</c:v>
                </c:pt>
                <c:pt idx="547">
                  <c:v>0.55892648774795795</c:v>
                </c:pt>
                <c:pt idx="548">
                  <c:v>0.55902306648575295</c:v>
                </c:pt>
                <c:pt idx="549">
                  <c:v>0.55911823647294601</c:v>
                </c:pt>
                <c:pt idx="550">
                  <c:v>0.55913978494623595</c:v>
                </c:pt>
                <c:pt idx="551">
                  <c:v>0.55913978494623595</c:v>
                </c:pt>
                <c:pt idx="552">
                  <c:v>0.55932203389830504</c:v>
                </c:pt>
                <c:pt idx="553">
                  <c:v>0.55982274741506599</c:v>
                </c:pt>
                <c:pt idx="554">
                  <c:v>0.56006768189509304</c:v>
                </c:pt>
                <c:pt idx="555">
                  <c:v>0.56027397260274003</c:v>
                </c:pt>
                <c:pt idx="556">
                  <c:v>0.56051873198847302</c:v>
                </c:pt>
                <c:pt idx="557">
                  <c:v>0.56063268892794405</c:v>
                </c:pt>
                <c:pt idx="558">
                  <c:v>0.56066945606694596</c:v>
                </c:pt>
                <c:pt idx="559">
                  <c:v>0.56088082901554404</c:v>
                </c:pt>
                <c:pt idx="560">
                  <c:v>0.56090651558073701</c:v>
                </c:pt>
                <c:pt idx="561">
                  <c:v>0.56102362204724399</c:v>
                </c:pt>
                <c:pt idx="562">
                  <c:v>0.56102564102564101</c:v>
                </c:pt>
                <c:pt idx="563">
                  <c:v>0.56105990783410098</c:v>
                </c:pt>
                <c:pt idx="564">
                  <c:v>0.56113902847571195</c:v>
                </c:pt>
                <c:pt idx="565">
                  <c:v>0.56127886323268195</c:v>
                </c:pt>
                <c:pt idx="566">
                  <c:v>0.56153846153846199</c:v>
                </c:pt>
                <c:pt idx="567">
                  <c:v>0.56172328086164003</c:v>
                </c:pt>
                <c:pt idx="568">
                  <c:v>0.56228956228956195</c:v>
                </c:pt>
                <c:pt idx="569">
                  <c:v>0.5625</c:v>
                </c:pt>
                <c:pt idx="570">
                  <c:v>0.5625</c:v>
                </c:pt>
                <c:pt idx="571">
                  <c:v>0.56281407035175901</c:v>
                </c:pt>
                <c:pt idx="572">
                  <c:v>0.56284760845383797</c:v>
                </c:pt>
                <c:pt idx="573">
                  <c:v>0.56307692307692303</c:v>
                </c:pt>
                <c:pt idx="574">
                  <c:v>0.56348167539267002</c:v>
                </c:pt>
                <c:pt idx="575">
                  <c:v>0.56372824256035903</c:v>
                </c:pt>
                <c:pt idx="576">
                  <c:v>0.56382978723404298</c:v>
                </c:pt>
                <c:pt idx="577">
                  <c:v>0.56447831184056296</c:v>
                </c:pt>
                <c:pt idx="578">
                  <c:v>0.56461232604373801</c:v>
                </c:pt>
                <c:pt idx="579">
                  <c:v>0.56469298245613997</c:v>
                </c:pt>
                <c:pt idx="580">
                  <c:v>0.56485355648535596</c:v>
                </c:pt>
                <c:pt idx="581">
                  <c:v>0.56496350364963499</c:v>
                </c:pt>
                <c:pt idx="582">
                  <c:v>0.56496519721577698</c:v>
                </c:pt>
                <c:pt idx="583">
                  <c:v>0.56513026052104198</c:v>
                </c:pt>
                <c:pt idx="584">
                  <c:v>0.56528189910979199</c:v>
                </c:pt>
                <c:pt idx="585">
                  <c:v>0.56562137049941896</c:v>
                </c:pt>
                <c:pt idx="586">
                  <c:v>0.56582278481012704</c:v>
                </c:pt>
                <c:pt idx="587">
                  <c:v>0.56590084643288996</c:v>
                </c:pt>
                <c:pt idx="588">
                  <c:v>0.56599552572706902</c:v>
                </c:pt>
                <c:pt idx="589">
                  <c:v>0.56613437782464604</c:v>
                </c:pt>
                <c:pt idx="590">
                  <c:v>0.56637168141592897</c:v>
                </c:pt>
                <c:pt idx="591">
                  <c:v>0.56652360515021505</c:v>
                </c:pt>
                <c:pt idx="592">
                  <c:v>0.56666666666666698</c:v>
                </c:pt>
                <c:pt idx="593">
                  <c:v>0.56675749318801105</c:v>
                </c:pt>
                <c:pt idx="594">
                  <c:v>0.56716417910447803</c:v>
                </c:pt>
                <c:pt idx="595">
                  <c:v>0.567357512953368</c:v>
                </c:pt>
                <c:pt idx="596">
                  <c:v>0.56744186046511602</c:v>
                </c:pt>
                <c:pt idx="597">
                  <c:v>0.56755089450956198</c:v>
                </c:pt>
                <c:pt idx="598">
                  <c:v>0.56775067750677499</c:v>
                </c:pt>
                <c:pt idx="599">
                  <c:v>0.56783919597989896</c:v>
                </c:pt>
                <c:pt idx="600">
                  <c:v>0.56790123456790098</c:v>
                </c:pt>
                <c:pt idx="601">
                  <c:v>0.56824512534818905</c:v>
                </c:pt>
                <c:pt idx="602">
                  <c:v>0.56850533807829196</c:v>
                </c:pt>
                <c:pt idx="603">
                  <c:v>0.56852791878172604</c:v>
                </c:pt>
                <c:pt idx="604">
                  <c:v>0.56880733944954098</c:v>
                </c:pt>
                <c:pt idx="605">
                  <c:v>0.56882494004796202</c:v>
                </c:pt>
                <c:pt idx="606">
                  <c:v>0.56911196911196904</c:v>
                </c:pt>
                <c:pt idx="607">
                  <c:v>0.56911581569115799</c:v>
                </c:pt>
                <c:pt idx="608">
                  <c:v>0.56922549691569602</c:v>
                </c:pt>
                <c:pt idx="609">
                  <c:v>0.56951871657754005</c:v>
                </c:pt>
                <c:pt idx="610">
                  <c:v>0.5696</c:v>
                </c:pt>
                <c:pt idx="611">
                  <c:v>0.56964842011571004</c:v>
                </c:pt>
                <c:pt idx="612">
                  <c:v>0.56991951710261601</c:v>
                </c:pt>
                <c:pt idx="613">
                  <c:v>0.57021131561008898</c:v>
                </c:pt>
                <c:pt idx="614">
                  <c:v>0.570393374741201</c:v>
                </c:pt>
                <c:pt idx="615">
                  <c:v>0.57044198895027598</c:v>
                </c:pt>
                <c:pt idx="616">
                  <c:v>0.57048458149779702</c:v>
                </c:pt>
                <c:pt idx="617">
                  <c:v>0.57051282051282004</c:v>
                </c:pt>
                <c:pt idx="618">
                  <c:v>0.57051736357193505</c:v>
                </c:pt>
                <c:pt idx="619">
                  <c:v>0.57063403781980004</c:v>
                </c:pt>
                <c:pt idx="620">
                  <c:v>0.57065217391304301</c:v>
                </c:pt>
                <c:pt idx="621">
                  <c:v>0.570809248554913</c:v>
                </c:pt>
                <c:pt idx="622">
                  <c:v>0.57086614173228301</c:v>
                </c:pt>
                <c:pt idx="623">
                  <c:v>0.57104286196422505</c:v>
                </c:pt>
                <c:pt idx="624">
                  <c:v>0.57111111111111101</c:v>
                </c:pt>
                <c:pt idx="625">
                  <c:v>0.57121212121212095</c:v>
                </c:pt>
                <c:pt idx="626">
                  <c:v>0.57224118316268502</c:v>
                </c:pt>
                <c:pt idx="627">
                  <c:v>0.57226705796038102</c:v>
                </c:pt>
                <c:pt idx="628">
                  <c:v>0.57230769230769196</c:v>
                </c:pt>
                <c:pt idx="629">
                  <c:v>0.57238605898123296</c:v>
                </c:pt>
                <c:pt idx="630">
                  <c:v>0.57244655581947701</c:v>
                </c:pt>
                <c:pt idx="631">
                  <c:v>0.57255936675461705</c:v>
                </c:pt>
                <c:pt idx="632">
                  <c:v>0.57266435986159203</c:v>
                </c:pt>
                <c:pt idx="633">
                  <c:v>0.572784810126582</c:v>
                </c:pt>
                <c:pt idx="634">
                  <c:v>0.57281553398058205</c:v>
                </c:pt>
                <c:pt idx="635">
                  <c:v>0.57295373665480398</c:v>
                </c:pt>
                <c:pt idx="636">
                  <c:v>0.57312252964426902</c:v>
                </c:pt>
                <c:pt idx="637">
                  <c:v>0.57316332726168795</c:v>
                </c:pt>
                <c:pt idx="638">
                  <c:v>0.57356459330143506</c:v>
                </c:pt>
                <c:pt idx="639">
                  <c:v>0.57360406091370597</c:v>
                </c:pt>
                <c:pt idx="640">
                  <c:v>0.57367668097281799</c:v>
                </c:pt>
                <c:pt idx="641">
                  <c:v>0.57368421052631602</c:v>
                </c:pt>
                <c:pt idx="642">
                  <c:v>0.573913043478261</c:v>
                </c:pt>
                <c:pt idx="643">
                  <c:v>0.573943661971831</c:v>
                </c:pt>
                <c:pt idx="644">
                  <c:v>0.57422969187675099</c:v>
                </c:pt>
                <c:pt idx="645">
                  <c:v>0.57430730478589398</c:v>
                </c:pt>
                <c:pt idx="646">
                  <c:v>0.57462686567164201</c:v>
                </c:pt>
                <c:pt idx="647">
                  <c:v>0.57488986784141005</c:v>
                </c:pt>
                <c:pt idx="648">
                  <c:v>0.57518796992481203</c:v>
                </c:pt>
                <c:pt idx="649">
                  <c:v>0.57532956685499104</c:v>
                </c:pt>
                <c:pt idx="650">
                  <c:v>0.57553956834532405</c:v>
                </c:pt>
                <c:pt idx="651">
                  <c:v>0.57563959955506105</c:v>
                </c:pt>
                <c:pt idx="652">
                  <c:v>0.57572992700729897</c:v>
                </c:pt>
                <c:pt idx="653">
                  <c:v>0.57587336244541498</c:v>
                </c:pt>
                <c:pt idx="654">
                  <c:v>0.57589285714285698</c:v>
                </c:pt>
                <c:pt idx="655">
                  <c:v>0.57595993322203698</c:v>
                </c:pt>
                <c:pt idx="656">
                  <c:v>0.575966850828729</c:v>
                </c:pt>
                <c:pt idx="657">
                  <c:v>0.57598784194528896</c:v>
                </c:pt>
                <c:pt idx="658">
                  <c:v>0.57625272331154698</c:v>
                </c:pt>
                <c:pt idx="659">
                  <c:v>0.57692307692307698</c:v>
                </c:pt>
                <c:pt idx="660">
                  <c:v>0.577114427860697</c:v>
                </c:pt>
                <c:pt idx="661">
                  <c:v>0.57713884992987396</c:v>
                </c:pt>
                <c:pt idx="662">
                  <c:v>0.57716049382715995</c:v>
                </c:pt>
                <c:pt idx="663">
                  <c:v>0.57727272727272705</c:v>
                </c:pt>
                <c:pt idx="664">
                  <c:v>0.57749469214437399</c:v>
                </c:pt>
                <c:pt idx="665">
                  <c:v>0.57760663507109</c:v>
                </c:pt>
                <c:pt idx="666">
                  <c:v>0.57770632368703101</c:v>
                </c:pt>
                <c:pt idx="667">
                  <c:v>0.578125</c:v>
                </c:pt>
                <c:pt idx="668">
                  <c:v>0.578125</c:v>
                </c:pt>
                <c:pt idx="669">
                  <c:v>0.57820738137082595</c:v>
                </c:pt>
                <c:pt idx="670">
                  <c:v>0.57859078590785895</c:v>
                </c:pt>
                <c:pt idx="671">
                  <c:v>0.57860962566844898</c:v>
                </c:pt>
                <c:pt idx="672">
                  <c:v>0.57887788778877902</c:v>
                </c:pt>
                <c:pt idx="673">
                  <c:v>0.57913247362250897</c:v>
                </c:pt>
                <c:pt idx="674">
                  <c:v>0.57920000000000005</c:v>
                </c:pt>
                <c:pt idx="675">
                  <c:v>0.57923497267759605</c:v>
                </c:pt>
                <c:pt idx="676">
                  <c:v>0.57933042212518204</c:v>
                </c:pt>
                <c:pt idx="677">
                  <c:v>0.57943492357572901</c:v>
                </c:pt>
                <c:pt idx="678">
                  <c:v>0.57963446475195801</c:v>
                </c:pt>
                <c:pt idx="679">
                  <c:v>0.57985611510791402</c:v>
                </c:pt>
                <c:pt idx="680">
                  <c:v>0.58021712907116996</c:v>
                </c:pt>
                <c:pt idx="681">
                  <c:v>0.58045977011494299</c:v>
                </c:pt>
                <c:pt idx="682">
                  <c:v>0.58075313807531403</c:v>
                </c:pt>
                <c:pt idx="683">
                  <c:v>0.58078602620087305</c:v>
                </c:pt>
                <c:pt idx="684">
                  <c:v>0.58085694540428501</c:v>
                </c:pt>
                <c:pt idx="685">
                  <c:v>0.58100558659217905</c:v>
                </c:pt>
                <c:pt idx="686">
                  <c:v>0.581023454157783</c:v>
                </c:pt>
                <c:pt idx="687">
                  <c:v>0.581235697940503</c:v>
                </c:pt>
                <c:pt idx="688">
                  <c:v>0.58131720430107503</c:v>
                </c:pt>
                <c:pt idx="689">
                  <c:v>0.58165137614678897</c:v>
                </c:pt>
                <c:pt idx="690">
                  <c:v>0.58173076923076905</c:v>
                </c:pt>
                <c:pt idx="691">
                  <c:v>0.58237547892720298</c:v>
                </c:pt>
                <c:pt idx="692">
                  <c:v>0.58240819812126399</c:v>
                </c:pt>
                <c:pt idx="693">
                  <c:v>0.58248472505091697</c:v>
                </c:pt>
                <c:pt idx="694">
                  <c:v>0.58273381294964</c:v>
                </c:pt>
                <c:pt idx="695">
                  <c:v>0.58283433133732498</c:v>
                </c:pt>
                <c:pt idx="696">
                  <c:v>0.58285714285714296</c:v>
                </c:pt>
                <c:pt idx="697">
                  <c:v>0.58290005777007503</c:v>
                </c:pt>
                <c:pt idx="698">
                  <c:v>0.58333333333333304</c:v>
                </c:pt>
                <c:pt idx="699">
                  <c:v>0.58347107438016499</c:v>
                </c:pt>
                <c:pt idx="700">
                  <c:v>0.58356039963669404</c:v>
                </c:pt>
                <c:pt idx="701">
                  <c:v>0.58361774744027295</c:v>
                </c:pt>
                <c:pt idx="702">
                  <c:v>0.58388625592417098</c:v>
                </c:pt>
                <c:pt idx="703">
                  <c:v>0.58415841584158401</c:v>
                </c:pt>
                <c:pt idx="704">
                  <c:v>0.58422939068100399</c:v>
                </c:pt>
                <c:pt idx="705">
                  <c:v>0.58455114822547005</c:v>
                </c:pt>
                <c:pt idx="706">
                  <c:v>0.58495821727019504</c:v>
                </c:pt>
                <c:pt idx="707">
                  <c:v>0.58510638297872297</c:v>
                </c:pt>
                <c:pt idx="708">
                  <c:v>0.58518518518518503</c:v>
                </c:pt>
                <c:pt idx="709">
                  <c:v>0.58536585365853699</c:v>
                </c:pt>
                <c:pt idx="710">
                  <c:v>0.58536585365853699</c:v>
                </c:pt>
                <c:pt idx="711">
                  <c:v>0.58539603960396003</c:v>
                </c:pt>
                <c:pt idx="712">
                  <c:v>0.585534863577306</c:v>
                </c:pt>
                <c:pt idx="713">
                  <c:v>0.58584070796460197</c:v>
                </c:pt>
                <c:pt idx="714">
                  <c:v>0.58587786259541996</c:v>
                </c:pt>
                <c:pt idx="715">
                  <c:v>0.586049170954831</c:v>
                </c:pt>
                <c:pt idx="716">
                  <c:v>0.58606557377049195</c:v>
                </c:pt>
                <c:pt idx="717">
                  <c:v>0.58617021276595704</c:v>
                </c:pt>
                <c:pt idx="718">
                  <c:v>0.58627858627858598</c:v>
                </c:pt>
                <c:pt idx="719">
                  <c:v>0.58637469586374702</c:v>
                </c:pt>
                <c:pt idx="720">
                  <c:v>0.58653846153846201</c:v>
                </c:pt>
                <c:pt idx="721">
                  <c:v>0.58675078864353303</c:v>
                </c:pt>
                <c:pt idx="722">
                  <c:v>0.58686440677966101</c:v>
                </c:pt>
                <c:pt idx="723">
                  <c:v>0.58695652173913004</c:v>
                </c:pt>
                <c:pt idx="724">
                  <c:v>0.58695652173913004</c:v>
                </c:pt>
                <c:pt idx="725">
                  <c:v>0.58730158730158699</c:v>
                </c:pt>
                <c:pt idx="726">
                  <c:v>0.58734939759036098</c:v>
                </c:pt>
                <c:pt idx="727">
                  <c:v>0.58747993579454205</c:v>
                </c:pt>
                <c:pt idx="728">
                  <c:v>0.58762886597938102</c:v>
                </c:pt>
                <c:pt idx="729">
                  <c:v>0.58777633289986997</c:v>
                </c:pt>
                <c:pt idx="730">
                  <c:v>0.58791480931154005</c:v>
                </c:pt>
                <c:pt idx="731">
                  <c:v>0.58823529411764697</c:v>
                </c:pt>
                <c:pt idx="732">
                  <c:v>0.58836689038031298</c:v>
                </c:pt>
                <c:pt idx="733">
                  <c:v>0.58879736408566696</c:v>
                </c:pt>
                <c:pt idx="734">
                  <c:v>0.58888888888888902</c:v>
                </c:pt>
                <c:pt idx="735">
                  <c:v>0.588910133843212</c:v>
                </c:pt>
                <c:pt idx="736">
                  <c:v>0.58896797153024905</c:v>
                </c:pt>
                <c:pt idx="737">
                  <c:v>0.58899082568807304</c:v>
                </c:pt>
                <c:pt idx="738">
                  <c:v>0.58915537017726805</c:v>
                </c:pt>
                <c:pt idx="739">
                  <c:v>0.58936484490398799</c:v>
                </c:pt>
                <c:pt idx="740">
                  <c:v>0.58969072164948499</c:v>
                </c:pt>
                <c:pt idx="741">
                  <c:v>0.58969465648855002</c:v>
                </c:pt>
                <c:pt idx="742">
                  <c:v>0.59038461538461495</c:v>
                </c:pt>
                <c:pt idx="743">
                  <c:v>0.59038461538461495</c:v>
                </c:pt>
                <c:pt idx="744">
                  <c:v>0.59060402684563795</c:v>
                </c:pt>
                <c:pt idx="745">
                  <c:v>0.59071117561683595</c:v>
                </c:pt>
                <c:pt idx="746">
                  <c:v>0.59126775381378205</c:v>
                </c:pt>
                <c:pt idx="747">
                  <c:v>0.59128978224455597</c:v>
                </c:pt>
                <c:pt idx="748">
                  <c:v>0.59167950693374405</c:v>
                </c:pt>
                <c:pt idx="749">
                  <c:v>0.59186189889025898</c:v>
                </c:pt>
                <c:pt idx="750">
                  <c:v>0.59196617336152202</c:v>
                </c:pt>
                <c:pt idx="751">
                  <c:v>0.59210526315789502</c:v>
                </c:pt>
                <c:pt idx="752">
                  <c:v>0.59223300970873805</c:v>
                </c:pt>
                <c:pt idx="753">
                  <c:v>0.59225806451612895</c:v>
                </c:pt>
                <c:pt idx="754">
                  <c:v>0.59253499222395001</c:v>
                </c:pt>
                <c:pt idx="755">
                  <c:v>0.592592592592593</c:v>
                </c:pt>
                <c:pt idx="756">
                  <c:v>0.59294871794871795</c:v>
                </c:pt>
                <c:pt idx="757">
                  <c:v>0.59294871794871795</c:v>
                </c:pt>
                <c:pt idx="758">
                  <c:v>0.592957746478873</c:v>
                </c:pt>
                <c:pt idx="759">
                  <c:v>0.593029792017988</c:v>
                </c:pt>
                <c:pt idx="760">
                  <c:v>0.59307764265668805</c:v>
                </c:pt>
                <c:pt idx="761">
                  <c:v>0.59312839059674505</c:v>
                </c:pt>
                <c:pt idx="762">
                  <c:v>0.59315068493150702</c:v>
                </c:pt>
                <c:pt idx="763">
                  <c:v>0.59328358208955201</c:v>
                </c:pt>
                <c:pt idx="764">
                  <c:v>0.59328537170263795</c:v>
                </c:pt>
                <c:pt idx="765">
                  <c:v>0.59336099585062196</c:v>
                </c:pt>
                <c:pt idx="766">
                  <c:v>0.59383033419023101</c:v>
                </c:pt>
                <c:pt idx="767">
                  <c:v>0.59390243902438999</c:v>
                </c:pt>
                <c:pt idx="768">
                  <c:v>0.59411764705882397</c:v>
                </c:pt>
                <c:pt idx="769">
                  <c:v>0.59426627793974696</c:v>
                </c:pt>
                <c:pt idx="770">
                  <c:v>0.59452479338843001</c:v>
                </c:pt>
                <c:pt idx="771">
                  <c:v>0.594543744120414</c:v>
                </c:pt>
                <c:pt idx="772">
                  <c:v>0.594650205761317</c:v>
                </c:pt>
                <c:pt idx="773">
                  <c:v>0.59499999999999997</c:v>
                </c:pt>
                <c:pt idx="774">
                  <c:v>0.59509536784741102</c:v>
                </c:pt>
                <c:pt idx="775">
                  <c:v>0.59510567296996697</c:v>
                </c:pt>
                <c:pt idx="776">
                  <c:v>0.59532163742690103</c:v>
                </c:pt>
                <c:pt idx="777">
                  <c:v>0.59574468085106402</c:v>
                </c:pt>
                <c:pt idx="778">
                  <c:v>0.595813204508857</c:v>
                </c:pt>
                <c:pt idx="779">
                  <c:v>0.59602649006622499</c:v>
                </c:pt>
                <c:pt idx="780">
                  <c:v>0.59605911330049299</c:v>
                </c:pt>
                <c:pt idx="781">
                  <c:v>0.59615384615384603</c:v>
                </c:pt>
                <c:pt idx="782">
                  <c:v>0.59633418584825204</c:v>
                </c:pt>
                <c:pt idx="783">
                  <c:v>0.59644059644059599</c:v>
                </c:pt>
                <c:pt idx="784">
                  <c:v>0.59656160458452701</c:v>
                </c:pt>
                <c:pt idx="785">
                  <c:v>0.59689922480620095</c:v>
                </c:pt>
                <c:pt idx="786">
                  <c:v>0.59689922480620095</c:v>
                </c:pt>
                <c:pt idx="787">
                  <c:v>0.59691252144082296</c:v>
                </c:pt>
                <c:pt idx="788">
                  <c:v>0.59703337453646499</c:v>
                </c:pt>
                <c:pt idx="789">
                  <c:v>0.59704641350210996</c:v>
                </c:pt>
                <c:pt idx="790">
                  <c:v>0.597074468085106</c:v>
                </c:pt>
                <c:pt idx="791">
                  <c:v>0.59708737864077699</c:v>
                </c:pt>
                <c:pt idx="792">
                  <c:v>0.59730538922155696</c:v>
                </c:pt>
                <c:pt idx="793">
                  <c:v>0.59747434885556405</c:v>
                </c:pt>
                <c:pt idx="794">
                  <c:v>0.59751037344398295</c:v>
                </c:pt>
                <c:pt idx="795">
                  <c:v>0.59760273972602695</c:v>
                </c:pt>
                <c:pt idx="796">
                  <c:v>0.59790209790209803</c:v>
                </c:pt>
                <c:pt idx="797">
                  <c:v>0.59790979097909802</c:v>
                </c:pt>
                <c:pt idx="798">
                  <c:v>0.59806629834254099</c:v>
                </c:pt>
                <c:pt idx="799">
                  <c:v>0.59811616954474101</c:v>
                </c:pt>
                <c:pt idx="800">
                  <c:v>0.59813084112149495</c:v>
                </c:pt>
                <c:pt idx="801">
                  <c:v>0.59816513761467904</c:v>
                </c:pt>
                <c:pt idx="802">
                  <c:v>0.59819819819819797</c:v>
                </c:pt>
                <c:pt idx="803">
                  <c:v>0.59829059829059805</c:v>
                </c:pt>
                <c:pt idx="804">
                  <c:v>0.59899749373433597</c:v>
                </c:pt>
                <c:pt idx="805">
                  <c:v>0.59919232710752102</c:v>
                </c:pt>
                <c:pt idx="806">
                  <c:v>0.59928762243989298</c:v>
                </c:pt>
                <c:pt idx="807">
                  <c:v>0.59932659932659904</c:v>
                </c:pt>
                <c:pt idx="808">
                  <c:v>0.6</c:v>
                </c:pt>
                <c:pt idx="809">
                  <c:v>0.6</c:v>
                </c:pt>
                <c:pt idx="810">
                  <c:v>0.60025220680958402</c:v>
                </c:pt>
                <c:pt idx="811">
                  <c:v>0.60066006600660105</c:v>
                </c:pt>
                <c:pt idx="812">
                  <c:v>0.60068846815834798</c:v>
                </c:pt>
                <c:pt idx="813">
                  <c:v>0.60076775431861795</c:v>
                </c:pt>
                <c:pt idx="814">
                  <c:v>0.60091743119265995</c:v>
                </c:pt>
                <c:pt idx="815">
                  <c:v>0.60101867572156198</c:v>
                </c:pt>
                <c:pt idx="816">
                  <c:v>0.60109289617486295</c:v>
                </c:pt>
                <c:pt idx="817">
                  <c:v>0.60110294117647001</c:v>
                </c:pt>
                <c:pt idx="818">
                  <c:v>0.60123966942148799</c:v>
                </c:pt>
                <c:pt idx="819">
                  <c:v>0.60128322639779996</c:v>
                </c:pt>
                <c:pt idx="820">
                  <c:v>0.60139860139860102</c:v>
                </c:pt>
                <c:pt idx="821">
                  <c:v>0.60146252285192003</c:v>
                </c:pt>
                <c:pt idx="822">
                  <c:v>0.60219780219780195</c:v>
                </c:pt>
                <c:pt idx="823">
                  <c:v>0.60232945091514101</c:v>
                </c:pt>
                <c:pt idx="824">
                  <c:v>0.60249150622876502</c:v>
                </c:pt>
                <c:pt idx="825">
                  <c:v>0.60267857142857095</c:v>
                </c:pt>
                <c:pt idx="826">
                  <c:v>0.60285941223192996</c:v>
                </c:pt>
                <c:pt idx="827">
                  <c:v>0.60293288212069895</c:v>
                </c:pt>
                <c:pt idx="828">
                  <c:v>0.60294117647058798</c:v>
                </c:pt>
                <c:pt idx="829">
                  <c:v>0.60305343511450404</c:v>
                </c:pt>
                <c:pt idx="830">
                  <c:v>0.60308502633559102</c:v>
                </c:pt>
                <c:pt idx="831">
                  <c:v>0.60311958405545896</c:v>
                </c:pt>
                <c:pt idx="832">
                  <c:v>0.60333006856023497</c:v>
                </c:pt>
                <c:pt idx="833">
                  <c:v>0.60342857142857098</c:v>
                </c:pt>
                <c:pt idx="834">
                  <c:v>0.60344003822264702</c:v>
                </c:pt>
                <c:pt idx="835">
                  <c:v>0.603494623655914</c:v>
                </c:pt>
                <c:pt idx="836">
                  <c:v>0.60365853658536595</c:v>
                </c:pt>
                <c:pt idx="837">
                  <c:v>0.60373443983402497</c:v>
                </c:pt>
                <c:pt idx="838">
                  <c:v>0.604010025062657</c:v>
                </c:pt>
                <c:pt idx="839">
                  <c:v>0.60415610745058301</c:v>
                </c:pt>
                <c:pt idx="840">
                  <c:v>0.60429722470904201</c:v>
                </c:pt>
                <c:pt idx="841">
                  <c:v>0.60456273764258495</c:v>
                </c:pt>
                <c:pt idx="842">
                  <c:v>0.60456784594715596</c:v>
                </c:pt>
                <c:pt idx="843">
                  <c:v>0.60468750000000004</c:v>
                </c:pt>
                <c:pt idx="844">
                  <c:v>0.60508369497830095</c:v>
                </c:pt>
                <c:pt idx="845">
                  <c:v>0.60515021459227503</c:v>
                </c:pt>
                <c:pt idx="846">
                  <c:v>0.60519480519480495</c:v>
                </c:pt>
                <c:pt idx="847">
                  <c:v>0.60524399126001505</c:v>
                </c:pt>
                <c:pt idx="848">
                  <c:v>0.60526315789473695</c:v>
                </c:pt>
                <c:pt idx="849">
                  <c:v>0.60526315789473695</c:v>
                </c:pt>
                <c:pt idx="850">
                  <c:v>0.60544217687074797</c:v>
                </c:pt>
                <c:pt idx="851">
                  <c:v>0.60545193687231003</c:v>
                </c:pt>
                <c:pt idx="852">
                  <c:v>0.60576923076923095</c:v>
                </c:pt>
                <c:pt idx="853">
                  <c:v>0.60597014925373105</c:v>
                </c:pt>
                <c:pt idx="854">
                  <c:v>0.60597826086956497</c:v>
                </c:pt>
                <c:pt idx="855">
                  <c:v>0.60606060606060597</c:v>
                </c:pt>
                <c:pt idx="856">
                  <c:v>0.60617059891107095</c:v>
                </c:pt>
                <c:pt idx="857">
                  <c:v>0.606223175965665</c:v>
                </c:pt>
                <c:pt idx="858">
                  <c:v>0.606343283582089</c:v>
                </c:pt>
                <c:pt idx="859">
                  <c:v>0.60638297872340396</c:v>
                </c:pt>
                <c:pt idx="860">
                  <c:v>0.60664206642066398</c:v>
                </c:pt>
                <c:pt idx="861">
                  <c:v>0.60674157303370801</c:v>
                </c:pt>
                <c:pt idx="862">
                  <c:v>0.60678642714570896</c:v>
                </c:pt>
                <c:pt idx="863">
                  <c:v>0.60682680151706703</c:v>
                </c:pt>
                <c:pt idx="864">
                  <c:v>0.60724779627815895</c:v>
                </c:pt>
                <c:pt idx="865">
                  <c:v>0.60779220779220799</c:v>
                </c:pt>
                <c:pt idx="866">
                  <c:v>0.60809248554913298</c:v>
                </c:pt>
                <c:pt idx="867">
                  <c:v>0.60824742268041199</c:v>
                </c:pt>
                <c:pt idx="868">
                  <c:v>0.60834181078331595</c:v>
                </c:pt>
                <c:pt idx="869">
                  <c:v>0.60875640428504896</c:v>
                </c:pt>
                <c:pt idx="870">
                  <c:v>0.60879629629629595</c:v>
                </c:pt>
                <c:pt idx="871">
                  <c:v>0.60891089108910901</c:v>
                </c:pt>
                <c:pt idx="872">
                  <c:v>0.60902255639097702</c:v>
                </c:pt>
                <c:pt idx="873">
                  <c:v>0.60914051841746197</c:v>
                </c:pt>
                <c:pt idx="874">
                  <c:v>0.60921843687374699</c:v>
                </c:pt>
                <c:pt idx="875">
                  <c:v>0.60926193921852401</c:v>
                </c:pt>
                <c:pt idx="876">
                  <c:v>0.60927152317880795</c:v>
                </c:pt>
                <c:pt idx="877">
                  <c:v>0.60956790123456805</c:v>
                </c:pt>
                <c:pt idx="878">
                  <c:v>0.60975609756097604</c:v>
                </c:pt>
                <c:pt idx="879">
                  <c:v>0.60979462875197499</c:v>
                </c:pt>
                <c:pt idx="880">
                  <c:v>0.60994764397905699</c:v>
                </c:pt>
                <c:pt idx="881">
                  <c:v>0.60999456816947295</c:v>
                </c:pt>
                <c:pt idx="882">
                  <c:v>0.61005199306759095</c:v>
                </c:pt>
                <c:pt idx="883">
                  <c:v>0.61009174311926595</c:v>
                </c:pt>
                <c:pt idx="884">
                  <c:v>0.61023947151114799</c:v>
                </c:pt>
                <c:pt idx="885">
                  <c:v>0.61024844720496896</c:v>
                </c:pt>
                <c:pt idx="886">
                  <c:v>0.61034047919293799</c:v>
                </c:pt>
                <c:pt idx="887">
                  <c:v>0.61042944785276099</c:v>
                </c:pt>
                <c:pt idx="888">
                  <c:v>0.61066235864297203</c:v>
                </c:pt>
                <c:pt idx="889">
                  <c:v>0.61087866108786604</c:v>
                </c:pt>
                <c:pt idx="890">
                  <c:v>0.61127029608405004</c:v>
                </c:pt>
                <c:pt idx="891">
                  <c:v>0.61140819964349402</c:v>
                </c:pt>
                <c:pt idx="892">
                  <c:v>0.61141516810007801</c:v>
                </c:pt>
                <c:pt idx="893">
                  <c:v>0.61157601115760096</c:v>
                </c:pt>
                <c:pt idx="894">
                  <c:v>0.61163522012578597</c:v>
                </c:pt>
                <c:pt idx="895">
                  <c:v>0.61164427383237396</c:v>
                </c:pt>
                <c:pt idx="896">
                  <c:v>0.61171662125340598</c:v>
                </c:pt>
                <c:pt idx="897">
                  <c:v>0.61176470588235299</c:v>
                </c:pt>
                <c:pt idx="898">
                  <c:v>0.61176470588235299</c:v>
                </c:pt>
                <c:pt idx="899">
                  <c:v>0.61182669789227195</c:v>
                </c:pt>
                <c:pt idx="900">
                  <c:v>0.61183550651955898</c:v>
                </c:pt>
                <c:pt idx="901">
                  <c:v>0.61199294532627901</c:v>
                </c:pt>
                <c:pt idx="902">
                  <c:v>0.61210453920220098</c:v>
                </c:pt>
                <c:pt idx="903">
                  <c:v>0.61214953271028005</c:v>
                </c:pt>
                <c:pt idx="904">
                  <c:v>0.61224489795918402</c:v>
                </c:pt>
                <c:pt idx="905">
                  <c:v>0.61235955056179803</c:v>
                </c:pt>
                <c:pt idx="906">
                  <c:v>0.61241523213354199</c:v>
                </c:pt>
                <c:pt idx="907">
                  <c:v>0.61255924170616105</c:v>
                </c:pt>
                <c:pt idx="908">
                  <c:v>0.61286407766990303</c:v>
                </c:pt>
                <c:pt idx="909">
                  <c:v>0.61305007587253402</c:v>
                </c:pt>
                <c:pt idx="910">
                  <c:v>0.61306532663316604</c:v>
                </c:pt>
                <c:pt idx="911">
                  <c:v>0.61342281879194605</c:v>
                </c:pt>
                <c:pt idx="912">
                  <c:v>0.61354581673306796</c:v>
                </c:pt>
                <c:pt idx="913">
                  <c:v>0.613810741687979</c:v>
                </c:pt>
                <c:pt idx="914">
                  <c:v>0.61399397388684296</c:v>
                </c:pt>
                <c:pt idx="915">
                  <c:v>0.61406249999999996</c:v>
                </c:pt>
                <c:pt idx="916">
                  <c:v>0.61408882082695204</c:v>
                </c:pt>
                <c:pt idx="917">
                  <c:v>0.614100185528757</c:v>
                </c:pt>
                <c:pt idx="918">
                  <c:v>0.61416430594900795</c:v>
                </c:pt>
                <c:pt idx="919">
                  <c:v>0.61421319796954299</c:v>
                </c:pt>
                <c:pt idx="920">
                  <c:v>0.61421988150098705</c:v>
                </c:pt>
                <c:pt idx="921">
                  <c:v>0.614222222222222</c:v>
                </c:pt>
                <c:pt idx="922">
                  <c:v>0.61434977578475303</c:v>
                </c:pt>
                <c:pt idx="923">
                  <c:v>0.61445783132530096</c:v>
                </c:pt>
                <c:pt idx="924">
                  <c:v>0.61451247165532896</c:v>
                </c:pt>
                <c:pt idx="925">
                  <c:v>0.61464088397789995</c:v>
                </c:pt>
                <c:pt idx="926">
                  <c:v>0.61467889908256901</c:v>
                </c:pt>
                <c:pt idx="927">
                  <c:v>0.61475409836065598</c:v>
                </c:pt>
                <c:pt idx="928">
                  <c:v>0.61483594864479296</c:v>
                </c:pt>
                <c:pt idx="929">
                  <c:v>0.61491317671092904</c:v>
                </c:pt>
                <c:pt idx="930">
                  <c:v>0.61503759398496205</c:v>
                </c:pt>
                <c:pt idx="931">
                  <c:v>0.61516853932584303</c:v>
                </c:pt>
                <c:pt idx="932">
                  <c:v>0.61533626649905704</c:v>
                </c:pt>
                <c:pt idx="933">
                  <c:v>0.61538461538461497</c:v>
                </c:pt>
                <c:pt idx="934">
                  <c:v>0.61538461538461497</c:v>
                </c:pt>
                <c:pt idx="935">
                  <c:v>0.61599999999999999</c:v>
                </c:pt>
                <c:pt idx="936">
                  <c:v>0.61638733705772797</c:v>
                </c:pt>
                <c:pt idx="937">
                  <c:v>0.61643026004728096</c:v>
                </c:pt>
                <c:pt idx="938">
                  <c:v>0.61643835616438303</c:v>
                </c:pt>
                <c:pt idx="939">
                  <c:v>0.61661341853035101</c:v>
                </c:pt>
                <c:pt idx="940">
                  <c:v>0.61666666666666703</c:v>
                </c:pt>
                <c:pt idx="941">
                  <c:v>0.61671087533156499</c:v>
                </c:pt>
                <c:pt idx="942">
                  <c:v>0.61688311688311703</c:v>
                </c:pt>
                <c:pt idx="943">
                  <c:v>0.617100371747212</c:v>
                </c:pt>
                <c:pt idx="944">
                  <c:v>0.61715481171548103</c:v>
                </c:pt>
                <c:pt idx="945">
                  <c:v>0.61724137931034495</c:v>
                </c:pt>
                <c:pt idx="946">
                  <c:v>0.61728395061728403</c:v>
                </c:pt>
                <c:pt idx="947">
                  <c:v>0.61731843575418999</c:v>
                </c:pt>
                <c:pt idx="948">
                  <c:v>0.61742424242424199</c:v>
                </c:pt>
                <c:pt idx="949">
                  <c:v>0.61744583808437803</c:v>
                </c:pt>
                <c:pt idx="950">
                  <c:v>0.61757425742574201</c:v>
                </c:pt>
                <c:pt idx="951">
                  <c:v>0.61784897025171603</c:v>
                </c:pt>
                <c:pt idx="952">
                  <c:v>0.61787905346187499</c:v>
                </c:pt>
                <c:pt idx="953">
                  <c:v>0.61821086261980795</c:v>
                </c:pt>
                <c:pt idx="954">
                  <c:v>0.61821366024518398</c:v>
                </c:pt>
                <c:pt idx="955">
                  <c:v>0.61904761904761896</c:v>
                </c:pt>
                <c:pt idx="956">
                  <c:v>0.61904761904761896</c:v>
                </c:pt>
                <c:pt idx="957">
                  <c:v>0.61931187569367396</c:v>
                </c:pt>
                <c:pt idx="958">
                  <c:v>0.61940298507462699</c:v>
                </c:pt>
                <c:pt idx="959">
                  <c:v>0.619413407821229</c:v>
                </c:pt>
                <c:pt idx="960">
                  <c:v>0.61964285714285705</c:v>
                </c:pt>
                <c:pt idx="961">
                  <c:v>0.61968085106382997</c:v>
                </c:pt>
                <c:pt idx="962">
                  <c:v>0.61984196663740099</c:v>
                </c:pt>
                <c:pt idx="963">
                  <c:v>0.61984282907662103</c:v>
                </c:pt>
                <c:pt idx="964">
                  <c:v>0.61990950226244301</c:v>
                </c:pt>
                <c:pt idx="965">
                  <c:v>0.62007874015747999</c:v>
                </c:pt>
                <c:pt idx="966">
                  <c:v>0.62008141112618698</c:v>
                </c:pt>
                <c:pt idx="967">
                  <c:v>0.62009419152276302</c:v>
                </c:pt>
                <c:pt idx="968">
                  <c:v>0.62037037037037002</c:v>
                </c:pt>
                <c:pt idx="969">
                  <c:v>0.62080443828016596</c:v>
                </c:pt>
                <c:pt idx="970">
                  <c:v>0.62105907560453</c:v>
                </c:pt>
                <c:pt idx="971">
                  <c:v>0.62110311750599501</c:v>
                </c:pt>
                <c:pt idx="972">
                  <c:v>0.62121212121212099</c:v>
                </c:pt>
                <c:pt idx="973">
                  <c:v>0.62130177514792895</c:v>
                </c:pt>
                <c:pt idx="974">
                  <c:v>0.62154696132596698</c:v>
                </c:pt>
                <c:pt idx="975">
                  <c:v>0.62159624413145498</c:v>
                </c:pt>
                <c:pt idx="976">
                  <c:v>0.62159934047815302</c:v>
                </c:pt>
                <c:pt idx="977">
                  <c:v>0.62162162162162204</c:v>
                </c:pt>
                <c:pt idx="978">
                  <c:v>0.62188099808061403</c:v>
                </c:pt>
                <c:pt idx="979">
                  <c:v>0.62191780821917797</c:v>
                </c:pt>
                <c:pt idx="980">
                  <c:v>0.62261380323054305</c:v>
                </c:pt>
                <c:pt idx="981">
                  <c:v>0.62261625961860101</c:v>
                </c:pt>
                <c:pt idx="982">
                  <c:v>0.62264150943396201</c:v>
                </c:pt>
                <c:pt idx="983">
                  <c:v>0.62273901808785503</c:v>
                </c:pt>
                <c:pt idx="984">
                  <c:v>0.62287104622871003</c:v>
                </c:pt>
                <c:pt idx="985">
                  <c:v>0.62299134734239803</c:v>
                </c:pt>
                <c:pt idx="986">
                  <c:v>0.62306460224239202</c:v>
                </c:pt>
                <c:pt idx="987">
                  <c:v>0.62327718223583495</c:v>
                </c:pt>
                <c:pt idx="988">
                  <c:v>0.62328042328042299</c:v>
                </c:pt>
                <c:pt idx="989">
                  <c:v>0.62344827586206897</c:v>
                </c:pt>
                <c:pt idx="990">
                  <c:v>0.62394603709949403</c:v>
                </c:pt>
                <c:pt idx="991">
                  <c:v>0.62398921832884102</c:v>
                </c:pt>
                <c:pt idx="992">
                  <c:v>0.62416107382550301</c:v>
                </c:pt>
                <c:pt idx="993">
                  <c:v>0.62419006479481598</c:v>
                </c:pt>
                <c:pt idx="994">
                  <c:v>0.62419562419562402</c:v>
                </c:pt>
                <c:pt idx="995">
                  <c:v>0.62422535211267605</c:v>
                </c:pt>
                <c:pt idx="996">
                  <c:v>0.62429906542056102</c:v>
                </c:pt>
                <c:pt idx="997">
                  <c:v>0.62448644207066595</c:v>
                </c:pt>
                <c:pt idx="998">
                  <c:v>0.62451361867704303</c:v>
                </c:pt>
                <c:pt idx="999">
                  <c:v>0.62453684643886398</c:v>
                </c:pt>
                <c:pt idx="1000">
                  <c:v>0.62479155086158999</c:v>
                </c:pt>
                <c:pt idx="1001">
                  <c:v>0.625</c:v>
                </c:pt>
                <c:pt idx="1002">
                  <c:v>0.625</c:v>
                </c:pt>
                <c:pt idx="1003">
                  <c:v>0.62525737817433102</c:v>
                </c:pt>
                <c:pt idx="1004">
                  <c:v>0.62527716186252802</c:v>
                </c:pt>
                <c:pt idx="1005">
                  <c:v>0.62534626038781205</c:v>
                </c:pt>
                <c:pt idx="1006">
                  <c:v>0.62541806020066903</c:v>
                </c:pt>
                <c:pt idx="1007">
                  <c:v>0.62544169611307399</c:v>
                </c:pt>
                <c:pt idx="1008">
                  <c:v>0.62553191489361704</c:v>
                </c:pt>
                <c:pt idx="1009">
                  <c:v>0.625633598841419</c:v>
                </c:pt>
                <c:pt idx="1010">
                  <c:v>0.62578464509898601</c:v>
                </c:pt>
                <c:pt idx="1011">
                  <c:v>0.62599469496021198</c:v>
                </c:pt>
                <c:pt idx="1012">
                  <c:v>0.62604340567612704</c:v>
                </c:pt>
                <c:pt idx="1013">
                  <c:v>0.62616822429906505</c:v>
                </c:pt>
                <c:pt idx="1014">
                  <c:v>0.62619808306709301</c:v>
                </c:pt>
                <c:pt idx="1015">
                  <c:v>0.62635100360267604</c:v>
                </c:pt>
                <c:pt idx="1016">
                  <c:v>0.62646566164154105</c:v>
                </c:pt>
                <c:pt idx="1017">
                  <c:v>0.62689804772234303</c:v>
                </c:pt>
                <c:pt idx="1018">
                  <c:v>0.62698412698412698</c:v>
                </c:pt>
                <c:pt idx="1019">
                  <c:v>0.62704471101417703</c:v>
                </c:pt>
                <c:pt idx="1020">
                  <c:v>0.62707535121328195</c:v>
                </c:pt>
                <c:pt idx="1021">
                  <c:v>0.62713178294573602</c:v>
                </c:pt>
                <c:pt idx="1022">
                  <c:v>0.62718204488777995</c:v>
                </c:pt>
                <c:pt idx="1023">
                  <c:v>0.627265563435776</c:v>
                </c:pt>
                <c:pt idx="1024">
                  <c:v>0.62736842105263102</c:v>
                </c:pt>
                <c:pt idx="1025">
                  <c:v>0.62745098039215697</c:v>
                </c:pt>
                <c:pt idx="1026">
                  <c:v>0.62760971452918601</c:v>
                </c:pt>
                <c:pt idx="1027">
                  <c:v>0.62765957446808496</c:v>
                </c:pt>
                <c:pt idx="1028">
                  <c:v>0.62782401902496998</c:v>
                </c:pt>
                <c:pt idx="1029">
                  <c:v>0.62815884476534301</c:v>
                </c:pt>
                <c:pt idx="1030">
                  <c:v>0.62829736211031195</c:v>
                </c:pt>
                <c:pt idx="1031">
                  <c:v>0.62831858407079599</c:v>
                </c:pt>
                <c:pt idx="1032">
                  <c:v>0.62840466926070004</c:v>
                </c:pt>
                <c:pt idx="1033">
                  <c:v>0.62847555129434296</c:v>
                </c:pt>
                <c:pt idx="1034">
                  <c:v>0.62850467289719603</c:v>
                </c:pt>
                <c:pt idx="1035">
                  <c:v>0.62850971922246202</c:v>
                </c:pt>
                <c:pt idx="1036">
                  <c:v>0.62877155172413801</c:v>
                </c:pt>
                <c:pt idx="1037">
                  <c:v>0.62884615384615405</c:v>
                </c:pt>
                <c:pt idx="1038">
                  <c:v>0.62891207153502204</c:v>
                </c:pt>
                <c:pt idx="1039">
                  <c:v>0.62917063870352696</c:v>
                </c:pt>
                <c:pt idx="1040">
                  <c:v>0.62927496580027398</c:v>
                </c:pt>
                <c:pt idx="1041">
                  <c:v>0.62928082191780799</c:v>
                </c:pt>
                <c:pt idx="1042">
                  <c:v>0.629411764705882</c:v>
                </c:pt>
                <c:pt idx="1043">
                  <c:v>0.62946428571428603</c:v>
                </c:pt>
                <c:pt idx="1044">
                  <c:v>0.62982456140350895</c:v>
                </c:pt>
                <c:pt idx="1045">
                  <c:v>0.63031423290203303</c:v>
                </c:pt>
                <c:pt idx="1046">
                  <c:v>0.63051897753679298</c:v>
                </c:pt>
                <c:pt idx="1047">
                  <c:v>0.63054187192118205</c:v>
                </c:pt>
                <c:pt idx="1048">
                  <c:v>0.63054187192118205</c:v>
                </c:pt>
                <c:pt idx="1049">
                  <c:v>0.63069544364508401</c:v>
                </c:pt>
                <c:pt idx="1050">
                  <c:v>0.63095238095238104</c:v>
                </c:pt>
                <c:pt idx="1051">
                  <c:v>0.63144963144963095</c:v>
                </c:pt>
                <c:pt idx="1052">
                  <c:v>0.63157894736842102</c:v>
                </c:pt>
                <c:pt idx="1053">
                  <c:v>0.63157894736842102</c:v>
                </c:pt>
                <c:pt idx="1054">
                  <c:v>0.63166397415185804</c:v>
                </c:pt>
                <c:pt idx="1055">
                  <c:v>0.63183279742765297</c:v>
                </c:pt>
                <c:pt idx="1056">
                  <c:v>0.63197026022304803</c:v>
                </c:pt>
                <c:pt idx="1057">
                  <c:v>0.631975867269985</c:v>
                </c:pt>
                <c:pt idx="1058">
                  <c:v>0.63205828779599305</c:v>
                </c:pt>
                <c:pt idx="1059">
                  <c:v>0.63210227272727304</c:v>
                </c:pt>
                <c:pt idx="1060">
                  <c:v>0.63251366120218599</c:v>
                </c:pt>
                <c:pt idx="1061">
                  <c:v>0.63279132791327897</c:v>
                </c:pt>
                <c:pt idx="1062">
                  <c:v>0.63279445727482697</c:v>
                </c:pt>
                <c:pt idx="1063">
                  <c:v>0.63282937365010805</c:v>
                </c:pt>
                <c:pt idx="1064">
                  <c:v>0.63289280469897202</c:v>
                </c:pt>
                <c:pt idx="1065">
                  <c:v>0.63320463320463305</c:v>
                </c:pt>
                <c:pt idx="1066">
                  <c:v>0.63325183374083105</c:v>
                </c:pt>
                <c:pt idx="1067">
                  <c:v>0.63333333333333297</c:v>
                </c:pt>
                <c:pt idx="1068">
                  <c:v>0.63344594594594605</c:v>
                </c:pt>
                <c:pt idx="1069">
                  <c:v>0.633677991137371</c:v>
                </c:pt>
                <c:pt idx="1070">
                  <c:v>0.63392857142857095</c:v>
                </c:pt>
                <c:pt idx="1071">
                  <c:v>0.63410301953818804</c:v>
                </c:pt>
                <c:pt idx="1072">
                  <c:v>0.63412228796844206</c:v>
                </c:pt>
                <c:pt idx="1073">
                  <c:v>0.63414634146341498</c:v>
                </c:pt>
                <c:pt idx="1074">
                  <c:v>0.63421828908554601</c:v>
                </c:pt>
                <c:pt idx="1075">
                  <c:v>0.63440860215053796</c:v>
                </c:pt>
                <c:pt idx="1076">
                  <c:v>0.63465783664459197</c:v>
                </c:pt>
                <c:pt idx="1077">
                  <c:v>0.63482414242292695</c:v>
                </c:pt>
                <c:pt idx="1078">
                  <c:v>0.63495145631067995</c:v>
                </c:pt>
                <c:pt idx="1079">
                  <c:v>0.63499604117181296</c:v>
                </c:pt>
                <c:pt idx="1080">
                  <c:v>0.63556280587275704</c:v>
                </c:pt>
                <c:pt idx="1081">
                  <c:v>0.63563829787234005</c:v>
                </c:pt>
                <c:pt idx="1082">
                  <c:v>0.63575042158516004</c:v>
                </c:pt>
                <c:pt idx="1083">
                  <c:v>0.63589076723016902</c:v>
                </c:pt>
                <c:pt idx="1084">
                  <c:v>0.63619047619047597</c:v>
                </c:pt>
                <c:pt idx="1085">
                  <c:v>0.63629574309185899</c:v>
                </c:pt>
                <c:pt idx="1086">
                  <c:v>0.63636363636363602</c:v>
                </c:pt>
                <c:pt idx="1087">
                  <c:v>0.63636363636363602</c:v>
                </c:pt>
                <c:pt idx="1088">
                  <c:v>0.63636363636363602</c:v>
                </c:pt>
                <c:pt idx="1089">
                  <c:v>0.63636363636363602</c:v>
                </c:pt>
                <c:pt idx="1090">
                  <c:v>0.63636363636363602</c:v>
                </c:pt>
                <c:pt idx="1091">
                  <c:v>0.63664596273291896</c:v>
                </c:pt>
                <c:pt idx="1092">
                  <c:v>0.63754512635379001</c:v>
                </c:pt>
                <c:pt idx="1093">
                  <c:v>0.63758841360727503</c:v>
                </c:pt>
                <c:pt idx="1094">
                  <c:v>0.63775510204081598</c:v>
                </c:pt>
                <c:pt idx="1095">
                  <c:v>0.637865311308767</c:v>
                </c:pt>
                <c:pt idx="1096">
                  <c:v>0.63810015487867799</c:v>
                </c:pt>
                <c:pt idx="1097">
                  <c:v>0.63822525597269597</c:v>
                </c:pt>
                <c:pt idx="1098">
                  <c:v>0.63829787234042501</c:v>
                </c:pt>
                <c:pt idx="1099">
                  <c:v>0.63852556480380496</c:v>
                </c:pt>
                <c:pt idx="1100">
                  <c:v>0.63866305329719997</c:v>
                </c:pt>
                <c:pt idx="1101">
                  <c:v>0.63893249607535296</c:v>
                </c:pt>
                <c:pt idx="1102">
                  <c:v>0.63902439024390201</c:v>
                </c:pt>
                <c:pt idx="1103">
                  <c:v>0.63905325443786998</c:v>
                </c:pt>
                <c:pt idx="1104">
                  <c:v>0.63919821826280598</c:v>
                </c:pt>
                <c:pt idx="1105">
                  <c:v>0.63959390862944199</c:v>
                </c:pt>
                <c:pt idx="1106">
                  <c:v>0.63962264150943404</c:v>
                </c:pt>
                <c:pt idx="1107">
                  <c:v>0.63992042440318297</c:v>
                </c:pt>
                <c:pt idx="1108">
                  <c:v>0.64003673094582203</c:v>
                </c:pt>
                <c:pt idx="1109">
                  <c:v>0.64008179959100198</c:v>
                </c:pt>
                <c:pt idx="1110">
                  <c:v>0.64015904572564597</c:v>
                </c:pt>
                <c:pt idx="1111">
                  <c:v>0.64025869037995098</c:v>
                </c:pt>
                <c:pt idx="1112">
                  <c:v>0.64029666254635298</c:v>
                </c:pt>
                <c:pt idx="1113">
                  <c:v>0.64050235478806905</c:v>
                </c:pt>
                <c:pt idx="1114">
                  <c:v>0.64055944055944003</c:v>
                </c:pt>
                <c:pt idx="1115">
                  <c:v>0.64070351758793997</c:v>
                </c:pt>
                <c:pt idx="1116">
                  <c:v>0.64074479737130297</c:v>
                </c:pt>
                <c:pt idx="1117">
                  <c:v>0.64101717305151895</c:v>
                </c:pt>
                <c:pt idx="1118">
                  <c:v>0.64102564102564097</c:v>
                </c:pt>
                <c:pt idx="1119">
                  <c:v>0.64127423822714702</c:v>
                </c:pt>
                <c:pt idx="1120">
                  <c:v>0.64135702746365097</c:v>
                </c:pt>
                <c:pt idx="1121">
                  <c:v>0.64140480591497195</c:v>
                </c:pt>
                <c:pt idx="1122">
                  <c:v>0.64150943396226401</c:v>
                </c:pt>
                <c:pt idx="1123">
                  <c:v>0.64153439153439096</c:v>
                </c:pt>
                <c:pt idx="1124">
                  <c:v>0.64157706093189903</c:v>
                </c:pt>
                <c:pt idx="1125">
                  <c:v>0.64163822525597303</c:v>
                </c:pt>
                <c:pt idx="1126">
                  <c:v>0.64171974522292996</c:v>
                </c:pt>
                <c:pt idx="1127">
                  <c:v>0.64201335387776104</c:v>
                </c:pt>
                <c:pt idx="1128">
                  <c:v>0.64214046822742499</c:v>
                </c:pt>
                <c:pt idx="1129">
                  <c:v>0.64233576642335799</c:v>
                </c:pt>
                <c:pt idx="1130">
                  <c:v>0.64251207729468596</c:v>
                </c:pt>
                <c:pt idx="1131">
                  <c:v>0.64253393665158398</c:v>
                </c:pt>
                <c:pt idx="1132">
                  <c:v>0.64270876609887795</c:v>
                </c:pt>
                <c:pt idx="1133">
                  <c:v>0.64285714285714302</c:v>
                </c:pt>
                <c:pt idx="1134">
                  <c:v>0.64285714285714302</c:v>
                </c:pt>
                <c:pt idx="1135">
                  <c:v>0.64285714285714302</c:v>
                </c:pt>
                <c:pt idx="1136">
                  <c:v>0.64312267657992594</c:v>
                </c:pt>
                <c:pt idx="1137">
                  <c:v>0.64316239316239299</c:v>
                </c:pt>
                <c:pt idx="1138">
                  <c:v>0.64336661911554904</c:v>
                </c:pt>
                <c:pt idx="1139">
                  <c:v>0.64343163538874004</c:v>
                </c:pt>
                <c:pt idx="1140">
                  <c:v>0.64347826086956506</c:v>
                </c:pt>
                <c:pt idx="1141">
                  <c:v>0.64372469635627505</c:v>
                </c:pt>
                <c:pt idx="1142">
                  <c:v>0.64381520119225</c:v>
                </c:pt>
                <c:pt idx="1143">
                  <c:v>0.64388243335611794</c:v>
                </c:pt>
                <c:pt idx="1144">
                  <c:v>0.64397905759162299</c:v>
                </c:pt>
                <c:pt idx="1145">
                  <c:v>0.64417989417989396</c:v>
                </c:pt>
                <c:pt idx="1146">
                  <c:v>0.64434574649812104</c:v>
                </c:pt>
                <c:pt idx="1147">
                  <c:v>0.64453524004085805</c:v>
                </c:pt>
                <c:pt idx="1148">
                  <c:v>0.644817073170732</c:v>
                </c:pt>
                <c:pt idx="1149">
                  <c:v>0.64536082474226797</c:v>
                </c:pt>
                <c:pt idx="1150">
                  <c:v>0.64540495174150203</c:v>
                </c:pt>
                <c:pt idx="1151">
                  <c:v>0.64543663821405095</c:v>
                </c:pt>
                <c:pt idx="1152">
                  <c:v>0.64558184451955603</c:v>
                </c:pt>
                <c:pt idx="1153">
                  <c:v>0.64562118126272905</c:v>
                </c:pt>
                <c:pt idx="1154">
                  <c:v>0.64564007421150305</c:v>
                </c:pt>
                <c:pt idx="1155">
                  <c:v>0.645756457564576</c:v>
                </c:pt>
                <c:pt idx="1156">
                  <c:v>0.64578005115089498</c:v>
                </c:pt>
                <c:pt idx="1157">
                  <c:v>0.64596273291925499</c:v>
                </c:pt>
                <c:pt idx="1158">
                  <c:v>0.64600715137067899</c:v>
                </c:pt>
                <c:pt idx="1159">
                  <c:v>0.64603365384615397</c:v>
                </c:pt>
                <c:pt idx="1160">
                  <c:v>0.64605137963843995</c:v>
                </c:pt>
                <c:pt idx="1161">
                  <c:v>0.64620938628158797</c:v>
                </c:pt>
                <c:pt idx="1162">
                  <c:v>0.64643799472295504</c:v>
                </c:pt>
                <c:pt idx="1163">
                  <c:v>0.64716312056737602</c:v>
                </c:pt>
                <c:pt idx="1164">
                  <c:v>0.64724919093851097</c:v>
                </c:pt>
                <c:pt idx="1165">
                  <c:v>0.64727954971857404</c:v>
                </c:pt>
                <c:pt idx="1166">
                  <c:v>0.64740740740740699</c:v>
                </c:pt>
                <c:pt idx="1167">
                  <c:v>0.64772727272727304</c:v>
                </c:pt>
                <c:pt idx="1168">
                  <c:v>0.64801444043321299</c:v>
                </c:pt>
                <c:pt idx="1169">
                  <c:v>0.64818024263431495</c:v>
                </c:pt>
                <c:pt idx="1170">
                  <c:v>0.64820143884892101</c:v>
                </c:pt>
                <c:pt idx="1171">
                  <c:v>0.64830508474576298</c:v>
                </c:pt>
                <c:pt idx="1172">
                  <c:v>0.64835858585858597</c:v>
                </c:pt>
                <c:pt idx="1173">
                  <c:v>0.64836325237592396</c:v>
                </c:pt>
                <c:pt idx="1174">
                  <c:v>0.64840989399293303</c:v>
                </c:pt>
                <c:pt idx="1175">
                  <c:v>0.64841498559077804</c:v>
                </c:pt>
                <c:pt idx="1176">
                  <c:v>0.64841498559077804</c:v>
                </c:pt>
                <c:pt idx="1177">
                  <c:v>0.64841498559077804</c:v>
                </c:pt>
                <c:pt idx="1178">
                  <c:v>0.64857142857142802</c:v>
                </c:pt>
                <c:pt idx="1179">
                  <c:v>0.64857881136950901</c:v>
                </c:pt>
                <c:pt idx="1180">
                  <c:v>0.64864864864864902</c:v>
                </c:pt>
                <c:pt idx="1181">
                  <c:v>0.64869281045751603</c:v>
                </c:pt>
                <c:pt idx="1182">
                  <c:v>0.648745519713262</c:v>
                </c:pt>
                <c:pt idx="1183">
                  <c:v>0.64918497519489704</c:v>
                </c:pt>
                <c:pt idx="1184">
                  <c:v>0.64937993235625702</c:v>
                </c:pt>
                <c:pt idx="1185">
                  <c:v>0.64942528735632199</c:v>
                </c:pt>
                <c:pt idx="1186">
                  <c:v>0.64942528735632199</c:v>
                </c:pt>
                <c:pt idx="1187">
                  <c:v>0.64975845410627997</c:v>
                </c:pt>
                <c:pt idx="1188">
                  <c:v>0.64981036662452596</c:v>
                </c:pt>
                <c:pt idx="1189">
                  <c:v>0.64984227129337502</c:v>
                </c:pt>
                <c:pt idx="1190">
                  <c:v>0.65</c:v>
                </c:pt>
                <c:pt idx="1191">
                  <c:v>0.65012886597938102</c:v>
                </c:pt>
                <c:pt idx="1192">
                  <c:v>0.65013774104683197</c:v>
                </c:pt>
                <c:pt idx="1193">
                  <c:v>0.65020576131687202</c:v>
                </c:pt>
                <c:pt idx="1194">
                  <c:v>0.65037593984962405</c:v>
                </c:pt>
                <c:pt idx="1195">
                  <c:v>0.65040650406504097</c:v>
                </c:pt>
                <c:pt idx="1196">
                  <c:v>0.65044247787610598</c:v>
                </c:pt>
                <c:pt idx="1197">
                  <c:v>0.65059445178335495</c:v>
                </c:pt>
                <c:pt idx="1198">
                  <c:v>0.65079365079365104</c:v>
                </c:pt>
                <c:pt idx="1199">
                  <c:v>0.65089877010406805</c:v>
                </c:pt>
                <c:pt idx="1200">
                  <c:v>0.65098634294385405</c:v>
                </c:pt>
                <c:pt idx="1201">
                  <c:v>0.65100671140939603</c:v>
                </c:pt>
                <c:pt idx="1202">
                  <c:v>0.65115034777956105</c:v>
                </c:pt>
                <c:pt idx="1203">
                  <c:v>0.65116279069767402</c:v>
                </c:pt>
                <c:pt idx="1204">
                  <c:v>0.65141113653699501</c:v>
                </c:pt>
                <c:pt idx="1205">
                  <c:v>0.65145228215767603</c:v>
                </c:pt>
                <c:pt idx="1206">
                  <c:v>0.65157750342935505</c:v>
                </c:pt>
                <c:pt idx="1207">
                  <c:v>0.65159128978224401</c:v>
                </c:pt>
                <c:pt idx="1208">
                  <c:v>0.651685393258427</c:v>
                </c:pt>
                <c:pt idx="1209">
                  <c:v>0.65175718849840203</c:v>
                </c:pt>
                <c:pt idx="1210">
                  <c:v>0.65178571428571397</c:v>
                </c:pt>
                <c:pt idx="1211">
                  <c:v>0.65182829888712202</c:v>
                </c:pt>
                <c:pt idx="1212">
                  <c:v>0.651904340124003</c:v>
                </c:pt>
                <c:pt idx="1213">
                  <c:v>0.65217391304347805</c:v>
                </c:pt>
                <c:pt idx="1214">
                  <c:v>0.65217391304347805</c:v>
                </c:pt>
                <c:pt idx="1215">
                  <c:v>0.65221318879855505</c:v>
                </c:pt>
                <c:pt idx="1216">
                  <c:v>0.65238095238095195</c:v>
                </c:pt>
                <c:pt idx="1217">
                  <c:v>0.65259117082533602</c:v>
                </c:pt>
                <c:pt idx="1218">
                  <c:v>0.65265760197775002</c:v>
                </c:pt>
                <c:pt idx="1219">
                  <c:v>0.65296803652968005</c:v>
                </c:pt>
                <c:pt idx="1220">
                  <c:v>0.65306122448979598</c:v>
                </c:pt>
                <c:pt idx="1221">
                  <c:v>0.65306122448979598</c:v>
                </c:pt>
                <c:pt idx="1222">
                  <c:v>0.65326633165829096</c:v>
                </c:pt>
                <c:pt idx="1223">
                  <c:v>0.65333333333333299</c:v>
                </c:pt>
                <c:pt idx="1224">
                  <c:v>0.65333333333333299</c:v>
                </c:pt>
                <c:pt idx="1225">
                  <c:v>0.65340179717586599</c:v>
                </c:pt>
                <c:pt idx="1226">
                  <c:v>0.65373961218836596</c:v>
                </c:pt>
                <c:pt idx="1227">
                  <c:v>0.65382262996941898</c:v>
                </c:pt>
                <c:pt idx="1228">
                  <c:v>0.65402843601895699</c:v>
                </c:pt>
                <c:pt idx="1229">
                  <c:v>0.654066437571592</c:v>
                </c:pt>
                <c:pt idx="1230">
                  <c:v>0.65416666666666701</c:v>
                </c:pt>
                <c:pt idx="1231">
                  <c:v>0.65417867435158505</c:v>
                </c:pt>
                <c:pt idx="1232">
                  <c:v>0.65420560747663503</c:v>
                </c:pt>
                <c:pt idx="1233">
                  <c:v>0.65445026178010501</c:v>
                </c:pt>
                <c:pt idx="1234">
                  <c:v>0.65454545454545399</c:v>
                </c:pt>
                <c:pt idx="1235">
                  <c:v>0.65464770095931202</c:v>
                </c:pt>
                <c:pt idx="1236">
                  <c:v>0.65466101694915202</c:v>
                </c:pt>
                <c:pt idx="1237">
                  <c:v>0.65472695243687595</c:v>
                </c:pt>
                <c:pt idx="1238">
                  <c:v>0.65492957746478897</c:v>
                </c:pt>
                <c:pt idx="1239">
                  <c:v>0.65493646138807404</c:v>
                </c:pt>
                <c:pt idx="1240">
                  <c:v>0.65510948905109501</c:v>
                </c:pt>
                <c:pt idx="1241">
                  <c:v>0.65517241379310298</c:v>
                </c:pt>
                <c:pt idx="1242">
                  <c:v>0.65517241379310298</c:v>
                </c:pt>
                <c:pt idx="1243">
                  <c:v>0.65546218487394903</c:v>
                </c:pt>
                <c:pt idx="1244">
                  <c:v>0.65551839464882899</c:v>
                </c:pt>
                <c:pt idx="1245">
                  <c:v>0.65569347004857004</c:v>
                </c:pt>
                <c:pt idx="1246">
                  <c:v>0.65571975916803504</c:v>
                </c:pt>
                <c:pt idx="1247">
                  <c:v>0.65577596266044302</c:v>
                </c:pt>
                <c:pt idx="1248">
                  <c:v>0.65578635014836795</c:v>
                </c:pt>
                <c:pt idx="1249">
                  <c:v>0.65580541532813197</c:v>
                </c:pt>
                <c:pt idx="1250">
                  <c:v>0.65584415584415601</c:v>
                </c:pt>
                <c:pt idx="1251">
                  <c:v>0.65588235294117603</c:v>
                </c:pt>
                <c:pt idx="1252">
                  <c:v>0.65594855305466204</c:v>
                </c:pt>
                <c:pt idx="1253">
                  <c:v>0.65594855305466204</c:v>
                </c:pt>
                <c:pt idx="1254">
                  <c:v>0.65610142630744805</c:v>
                </c:pt>
                <c:pt idx="1255">
                  <c:v>0.65620094191522704</c:v>
                </c:pt>
                <c:pt idx="1256">
                  <c:v>0.65631469979296098</c:v>
                </c:pt>
                <c:pt idx="1257">
                  <c:v>0.65639269406392697</c:v>
                </c:pt>
                <c:pt idx="1258">
                  <c:v>0.65659340659340604</c:v>
                </c:pt>
                <c:pt idx="1259">
                  <c:v>0.65674334686513303</c:v>
                </c:pt>
                <c:pt idx="1260">
                  <c:v>0.65683646112600502</c:v>
                </c:pt>
                <c:pt idx="1261">
                  <c:v>0.65718067504963595</c:v>
                </c:pt>
                <c:pt idx="1262">
                  <c:v>0.65721040189125302</c:v>
                </c:pt>
                <c:pt idx="1263">
                  <c:v>0.65726375176304597</c:v>
                </c:pt>
                <c:pt idx="1264">
                  <c:v>0.65737051792828705</c:v>
                </c:pt>
                <c:pt idx="1265">
                  <c:v>0.65743944636678198</c:v>
                </c:pt>
                <c:pt idx="1266">
                  <c:v>0.65771812080536896</c:v>
                </c:pt>
                <c:pt idx="1267">
                  <c:v>0.65791393143690702</c:v>
                </c:pt>
                <c:pt idx="1268">
                  <c:v>0.65792431622330505</c:v>
                </c:pt>
                <c:pt idx="1269">
                  <c:v>0.65836298932384296</c:v>
                </c:pt>
                <c:pt idx="1270">
                  <c:v>0.65843023255813904</c:v>
                </c:pt>
                <c:pt idx="1271">
                  <c:v>0.65843621399176899</c:v>
                </c:pt>
                <c:pt idx="1272">
                  <c:v>0.65845464725643899</c:v>
                </c:pt>
                <c:pt idx="1273">
                  <c:v>0.65865384615384603</c:v>
                </c:pt>
                <c:pt idx="1274">
                  <c:v>0.65865782932891503</c:v>
                </c:pt>
                <c:pt idx="1275">
                  <c:v>0.65889212827988297</c:v>
                </c:pt>
                <c:pt idx="1276">
                  <c:v>0.65894039735099297</c:v>
                </c:pt>
                <c:pt idx="1277">
                  <c:v>0.65899501342539302</c:v>
                </c:pt>
                <c:pt idx="1278">
                  <c:v>0.65909090909090895</c:v>
                </c:pt>
                <c:pt idx="1279">
                  <c:v>0.65913370998116805</c:v>
                </c:pt>
                <c:pt idx="1280">
                  <c:v>0.65914489311163904</c:v>
                </c:pt>
                <c:pt idx="1281">
                  <c:v>0.65922920892494896</c:v>
                </c:pt>
                <c:pt idx="1282">
                  <c:v>0.65923344947735196</c:v>
                </c:pt>
                <c:pt idx="1283">
                  <c:v>0.65935672514619903</c:v>
                </c:pt>
                <c:pt idx="1284">
                  <c:v>0.65940054495912803</c:v>
                </c:pt>
                <c:pt idx="1285">
                  <c:v>0.659773182121414</c:v>
                </c:pt>
                <c:pt idx="1286">
                  <c:v>0.65995975855130795</c:v>
                </c:pt>
                <c:pt idx="1287">
                  <c:v>0.65996649916247896</c:v>
                </c:pt>
                <c:pt idx="1288">
                  <c:v>0.66007905138339895</c:v>
                </c:pt>
                <c:pt idx="1289">
                  <c:v>0.66024759284731804</c:v>
                </c:pt>
                <c:pt idx="1290">
                  <c:v>0.66033254156769605</c:v>
                </c:pt>
                <c:pt idx="1291">
                  <c:v>0.66051660516605204</c:v>
                </c:pt>
                <c:pt idx="1292">
                  <c:v>0.66064981949458501</c:v>
                </c:pt>
                <c:pt idx="1293">
                  <c:v>0.66097560975609704</c:v>
                </c:pt>
                <c:pt idx="1294">
                  <c:v>0.66102941176470598</c:v>
                </c:pt>
                <c:pt idx="1295">
                  <c:v>0.66125290023201799</c:v>
                </c:pt>
                <c:pt idx="1296">
                  <c:v>0.66129032258064502</c:v>
                </c:pt>
                <c:pt idx="1297">
                  <c:v>0.66150870406189499</c:v>
                </c:pt>
                <c:pt idx="1298">
                  <c:v>0.66151545363908304</c:v>
                </c:pt>
                <c:pt idx="1299">
                  <c:v>0.66166666666666696</c:v>
                </c:pt>
                <c:pt idx="1300">
                  <c:v>0.66172106824925803</c:v>
                </c:pt>
                <c:pt idx="1301">
                  <c:v>0.66191446028513201</c:v>
                </c:pt>
                <c:pt idx="1302">
                  <c:v>0.66207627118644097</c:v>
                </c:pt>
                <c:pt idx="1303">
                  <c:v>0.662121212121212</c:v>
                </c:pt>
                <c:pt idx="1304">
                  <c:v>0.66223175965665204</c:v>
                </c:pt>
                <c:pt idx="1305">
                  <c:v>0.66235632183908</c:v>
                </c:pt>
                <c:pt idx="1306">
                  <c:v>0.66239813736903397</c:v>
                </c:pt>
                <c:pt idx="1307">
                  <c:v>0.662632375189107</c:v>
                </c:pt>
                <c:pt idx="1308">
                  <c:v>0.66266666666666696</c:v>
                </c:pt>
                <c:pt idx="1309">
                  <c:v>0.66267942583731998</c:v>
                </c:pt>
                <c:pt idx="1310">
                  <c:v>0.66275954454119201</c:v>
                </c:pt>
                <c:pt idx="1311">
                  <c:v>0.66281652598844898</c:v>
                </c:pt>
                <c:pt idx="1312">
                  <c:v>0.66300940438871503</c:v>
                </c:pt>
                <c:pt idx="1313">
                  <c:v>0.66305525460454995</c:v>
                </c:pt>
                <c:pt idx="1314">
                  <c:v>0.66306306306306295</c:v>
                </c:pt>
                <c:pt idx="1315">
                  <c:v>0.66329479768786104</c:v>
                </c:pt>
                <c:pt idx="1316">
                  <c:v>0.66351118760757299</c:v>
                </c:pt>
                <c:pt idx="1317">
                  <c:v>0.66365688487584595</c:v>
                </c:pt>
                <c:pt idx="1318">
                  <c:v>0.66369047619047605</c:v>
                </c:pt>
                <c:pt idx="1319">
                  <c:v>0.66378689704823601</c:v>
                </c:pt>
                <c:pt idx="1320">
                  <c:v>0.66382252559726995</c:v>
                </c:pt>
                <c:pt idx="1321">
                  <c:v>0.66386554621848703</c:v>
                </c:pt>
                <c:pt idx="1322">
                  <c:v>0.66400000000000003</c:v>
                </c:pt>
                <c:pt idx="1323">
                  <c:v>0.66400000000000003</c:v>
                </c:pt>
                <c:pt idx="1324">
                  <c:v>0.664086687306501</c:v>
                </c:pt>
                <c:pt idx="1325">
                  <c:v>0.66411378555798695</c:v>
                </c:pt>
                <c:pt idx="1326">
                  <c:v>0.66423357664233595</c:v>
                </c:pt>
                <c:pt idx="1327">
                  <c:v>0.66442953020134199</c:v>
                </c:pt>
                <c:pt idx="1328">
                  <c:v>0.66445182724252505</c:v>
                </c:pt>
                <c:pt idx="1329">
                  <c:v>0.66460268317853399</c:v>
                </c:pt>
                <c:pt idx="1330">
                  <c:v>0.66466346153846101</c:v>
                </c:pt>
                <c:pt idx="1331">
                  <c:v>0.66480446927374304</c:v>
                </c:pt>
                <c:pt idx="1332">
                  <c:v>0.66485647788983704</c:v>
                </c:pt>
                <c:pt idx="1333">
                  <c:v>0.66519174041297902</c:v>
                </c:pt>
                <c:pt idx="1334">
                  <c:v>0.66538461538461502</c:v>
                </c:pt>
                <c:pt idx="1335">
                  <c:v>0.66538461538461502</c:v>
                </c:pt>
                <c:pt idx="1336">
                  <c:v>0.66546762589927999</c:v>
                </c:pt>
                <c:pt idx="1337">
                  <c:v>0.66547406082289795</c:v>
                </c:pt>
                <c:pt idx="1338">
                  <c:v>0.66550522648083599</c:v>
                </c:pt>
                <c:pt idx="1339">
                  <c:v>0.66551724137931001</c:v>
                </c:pt>
                <c:pt idx="1340">
                  <c:v>0.66563944530046204</c:v>
                </c:pt>
                <c:pt idx="1341">
                  <c:v>0.66584766584766597</c:v>
                </c:pt>
                <c:pt idx="1342">
                  <c:v>0.66601941747572801</c:v>
                </c:pt>
                <c:pt idx="1343">
                  <c:v>0.66606982990152197</c:v>
                </c:pt>
                <c:pt idx="1344">
                  <c:v>0.66610169491525395</c:v>
                </c:pt>
                <c:pt idx="1345">
                  <c:v>0.66617538688282996</c:v>
                </c:pt>
                <c:pt idx="1346">
                  <c:v>0.66652001759788804</c:v>
                </c:pt>
                <c:pt idx="1347">
                  <c:v>0.66666666666666696</c:v>
                </c:pt>
                <c:pt idx="1348">
                  <c:v>0.66666666666666696</c:v>
                </c:pt>
                <c:pt idx="1349">
                  <c:v>0.66666666666666696</c:v>
                </c:pt>
                <c:pt idx="1350">
                  <c:v>0.66666666666666696</c:v>
                </c:pt>
                <c:pt idx="1351">
                  <c:v>0.66666666666666696</c:v>
                </c:pt>
                <c:pt idx="1352">
                  <c:v>0.66666666666666696</c:v>
                </c:pt>
                <c:pt idx="1353">
                  <c:v>0.66666666666666696</c:v>
                </c:pt>
                <c:pt idx="1354">
                  <c:v>0.66666666666666696</c:v>
                </c:pt>
                <c:pt idx="1355">
                  <c:v>0.66695205479452002</c:v>
                </c:pt>
                <c:pt idx="1356">
                  <c:v>0.667004048582996</c:v>
                </c:pt>
                <c:pt idx="1357">
                  <c:v>0.66714015151515105</c:v>
                </c:pt>
                <c:pt idx="1358">
                  <c:v>0.66714905933429802</c:v>
                </c:pt>
                <c:pt idx="1359">
                  <c:v>0.66718995290423899</c:v>
                </c:pt>
                <c:pt idx="1360">
                  <c:v>0.66723452583759202</c:v>
                </c:pt>
                <c:pt idx="1361">
                  <c:v>0.66724436741767801</c:v>
                </c:pt>
                <c:pt idx="1362">
                  <c:v>0.66748499727223098</c:v>
                </c:pt>
                <c:pt idx="1363">
                  <c:v>0.66752910737386795</c:v>
                </c:pt>
                <c:pt idx="1364">
                  <c:v>0.66753926701570698</c:v>
                </c:pt>
                <c:pt idx="1365">
                  <c:v>0.66754617414247996</c:v>
                </c:pt>
                <c:pt idx="1366">
                  <c:v>0.66759259259259296</c:v>
                </c:pt>
                <c:pt idx="1367">
                  <c:v>0.66765140324963101</c:v>
                </c:pt>
                <c:pt idx="1368">
                  <c:v>0.66767143933685003</c:v>
                </c:pt>
                <c:pt idx="1369">
                  <c:v>0.66798941798941802</c:v>
                </c:pt>
                <c:pt idx="1370">
                  <c:v>0.66800000000000004</c:v>
                </c:pt>
                <c:pt idx="1371">
                  <c:v>0.66801437556154497</c:v>
                </c:pt>
                <c:pt idx="1372">
                  <c:v>0.668024439918533</c:v>
                </c:pt>
                <c:pt idx="1373">
                  <c:v>0.66812865497076002</c:v>
                </c:pt>
                <c:pt idx="1374">
                  <c:v>0.66822429906542002</c:v>
                </c:pt>
                <c:pt idx="1375">
                  <c:v>0.668261562998405</c:v>
                </c:pt>
                <c:pt idx="1376">
                  <c:v>0.66837857666911205</c:v>
                </c:pt>
                <c:pt idx="1377">
                  <c:v>0.66842105263157903</c:v>
                </c:pt>
                <c:pt idx="1378">
                  <c:v>0.66842800528401602</c:v>
                </c:pt>
                <c:pt idx="1379">
                  <c:v>0.66859344894026995</c:v>
                </c:pt>
                <c:pt idx="1380">
                  <c:v>0.66861826697892301</c:v>
                </c:pt>
                <c:pt idx="1381">
                  <c:v>0.66867469879518104</c:v>
                </c:pt>
                <c:pt idx="1382">
                  <c:v>0.66881324747010096</c:v>
                </c:pt>
                <c:pt idx="1383">
                  <c:v>0.66885245901639301</c:v>
                </c:pt>
                <c:pt idx="1384">
                  <c:v>0.66886543535620002</c:v>
                </c:pt>
                <c:pt idx="1385">
                  <c:v>0.66891891891891897</c:v>
                </c:pt>
                <c:pt idx="1386">
                  <c:v>0.66897285790313998</c:v>
                </c:pt>
                <c:pt idx="1387">
                  <c:v>0.66903914590747304</c:v>
                </c:pt>
                <c:pt idx="1388">
                  <c:v>0.66915052160953803</c:v>
                </c:pt>
                <c:pt idx="1389">
                  <c:v>0.669191919191919</c:v>
                </c:pt>
                <c:pt idx="1390">
                  <c:v>0.66924066924066905</c:v>
                </c:pt>
                <c:pt idx="1391">
                  <c:v>0.669316375198728</c:v>
                </c:pt>
                <c:pt idx="1392">
                  <c:v>0.66940339354132505</c:v>
                </c:pt>
                <c:pt idx="1393">
                  <c:v>0.66943521594684396</c:v>
                </c:pt>
                <c:pt idx="1394">
                  <c:v>0.669612508497621</c:v>
                </c:pt>
                <c:pt idx="1395">
                  <c:v>0.66962305986696202</c:v>
                </c:pt>
                <c:pt idx="1396">
                  <c:v>0.66963151207115601</c:v>
                </c:pt>
                <c:pt idx="1397">
                  <c:v>0.66975881261595505</c:v>
                </c:pt>
                <c:pt idx="1398">
                  <c:v>0.66987179487179505</c:v>
                </c:pt>
                <c:pt idx="1399">
                  <c:v>0.66995073891625601</c:v>
                </c:pt>
                <c:pt idx="1400">
                  <c:v>0.670241286863271</c:v>
                </c:pt>
                <c:pt idx="1401">
                  <c:v>0.67036011080332403</c:v>
                </c:pt>
                <c:pt idx="1402">
                  <c:v>0.67054908485856901</c:v>
                </c:pt>
                <c:pt idx="1403">
                  <c:v>0.670694864048338</c:v>
                </c:pt>
                <c:pt idx="1404">
                  <c:v>0.67073170731707299</c:v>
                </c:pt>
                <c:pt idx="1405">
                  <c:v>0.67079303675048296</c:v>
                </c:pt>
                <c:pt idx="1406">
                  <c:v>0.67083206339530599</c:v>
                </c:pt>
                <c:pt idx="1407">
                  <c:v>0.670886075949367</c:v>
                </c:pt>
                <c:pt idx="1408">
                  <c:v>0.67114093959731502</c:v>
                </c:pt>
                <c:pt idx="1409">
                  <c:v>0.67115902964959595</c:v>
                </c:pt>
                <c:pt idx="1410">
                  <c:v>0.67129629629629595</c:v>
                </c:pt>
                <c:pt idx="1411">
                  <c:v>0.67132867132867102</c:v>
                </c:pt>
                <c:pt idx="1412">
                  <c:v>0.67138193688792203</c:v>
                </c:pt>
                <c:pt idx="1413">
                  <c:v>0.67149220489977701</c:v>
                </c:pt>
                <c:pt idx="1414">
                  <c:v>0.67164179104477595</c:v>
                </c:pt>
                <c:pt idx="1415">
                  <c:v>0.67166474432910395</c:v>
                </c:pt>
                <c:pt idx="1416">
                  <c:v>0.67175572519084004</c:v>
                </c:pt>
                <c:pt idx="1417">
                  <c:v>0.67177304964538997</c:v>
                </c:pt>
                <c:pt idx="1418">
                  <c:v>0.67179487179487196</c:v>
                </c:pt>
                <c:pt idx="1419">
                  <c:v>0.67204301075268802</c:v>
                </c:pt>
                <c:pt idx="1420">
                  <c:v>0.67213114754098302</c:v>
                </c:pt>
                <c:pt idx="1421">
                  <c:v>0.67235494880546098</c:v>
                </c:pt>
                <c:pt idx="1422">
                  <c:v>0.67244701348747604</c:v>
                </c:pt>
                <c:pt idx="1423">
                  <c:v>0.67253521126760596</c:v>
                </c:pt>
                <c:pt idx="1424">
                  <c:v>0.67276887871853497</c:v>
                </c:pt>
                <c:pt idx="1425">
                  <c:v>0.67276887871853497</c:v>
                </c:pt>
                <c:pt idx="1426">
                  <c:v>0.67282321899736097</c:v>
                </c:pt>
                <c:pt idx="1427">
                  <c:v>0.67299864314789704</c:v>
                </c:pt>
                <c:pt idx="1428">
                  <c:v>0.67302798982188305</c:v>
                </c:pt>
                <c:pt idx="1429">
                  <c:v>0.67315716272600801</c:v>
                </c:pt>
                <c:pt idx="1430">
                  <c:v>0.67322834645669305</c:v>
                </c:pt>
                <c:pt idx="1431">
                  <c:v>0.67346938775510201</c:v>
                </c:pt>
                <c:pt idx="1432">
                  <c:v>0.67357512953367904</c:v>
                </c:pt>
                <c:pt idx="1433">
                  <c:v>0.67371202113606299</c:v>
                </c:pt>
                <c:pt idx="1434">
                  <c:v>0.67449664429530198</c:v>
                </c:pt>
                <c:pt idx="1435">
                  <c:v>0.67452830188679203</c:v>
                </c:pt>
                <c:pt idx="1436">
                  <c:v>0.67458432304037996</c:v>
                </c:pt>
                <c:pt idx="1437">
                  <c:v>0.67467652495378905</c:v>
                </c:pt>
                <c:pt idx="1438">
                  <c:v>0.67480719794344501</c:v>
                </c:pt>
                <c:pt idx="1439">
                  <c:v>0.67482517482517501</c:v>
                </c:pt>
                <c:pt idx="1440">
                  <c:v>0.67486033519553101</c:v>
                </c:pt>
                <c:pt idx="1441">
                  <c:v>0.67495126705652997</c:v>
                </c:pt>
                <c:pt idx="1442">
                  <c:v>0.67500000000000004</c:v>
                </c:pt>
                <c:pt idx="1443">
                  <c:v>0.67513200905204895</c:v>
                </c:pt>
                <c:pt idx="1444">
                  <c:v>0.67525195968645002</c:v>
                </c:pt>
                <c:pt idx="1445">
                  <c:v>0.67529411764705904</c:v>
                </c:pt>
                <c:pt idx="1446">
                  <c:v>0.67534456355283301</c:v>
                </c:pt>
                <c:pt idx="1447">
                  <c:v>0.67538461538461503</c:v>
                </c:pt>
                <c:pt idx="1448">
                  <c:v>0.67557932263814602</c:v>
                </c:pt>
                <c:pt idx="1449">
                  <c:v>0.67567567567567599</c:v>
                </c:pt>
                <c:pt idx="1450">
                  <c:v>0.67567567567567599</c:v>
                </c:pt>
                <c:pt idx="1451">
                  <c:v>0.67574257425742601</c:v>
                </c:pt>
                <c:pt idx="1452">
                  <c:v>0.67599067599067597</c:v>
                </c:pt>
                <c:pt idx="1453">
                  <c:v>0.67619047619047601</c:v>
                </c:pt>
                <c:pt idx="1454">
                  <c:v>0.67656415694591698</c:v>
                </c:pt>
                <c:pt idx="1455">
                  <c:v>0.67670011148272002</c:v>
                </c:pt>
                <c:pt idx="1456">
                  <c:v>0.67682926829268297</c:v>
                </c:pt>
                <c:pt idx="1457">
                  <c:v>0.67684021543985595</c:v>
                </c:pt>
                <c:pt idx="1458">
                  <c:v>0.67709497206703895</c:v>
                </c:pt>
                <c:pt idx="1459">
                  <c:v>0.67728882144663605</c:v>
                </c:pt>
                <c:pt idx="1460">
                  <c:v>0.67730337078651703</c:v>
                </c:pt>
                <c:pt idx="1461">
                  <c:v>0.67736339982653904</c:v>
                </c:pt>
                <c:pt idx="1462">
                  <c:v>0.67741935483870996</c:v>
                </c:pt>
                <c:pt idx="1463">
                  <c:v>0.67746913580246904</c:v>
                </c:pt>
                <c:pt idx="1464">
                  <c:v>0.67767767767767795</c:v>
                </c:pt>
                <c:pt idx="1465">
                  <c:v>0.67770034843205595</c:v>
                </c:pt>
                <c:pt idx="1466">
                  <c:v>0.67786259541984695</c:v>
                </c:pt>
                <c:pt idx="1467">
                  <c:v>0.677966101694915</c:v>
                </c:pt>
                <c:pt idx="1468">
                  <c:v>0.677966101694915</c:v>
                </c:pt>
                <c:pt idx="1469">
                  <c:v>0.67819548872180402</c:v>
                </c:pt>
                <c:pt idx="1470">
                  <c:v>0.678321678321678</c:v>
                </c:pt>
                <c:pt idx="1471">
                  <c:v>0.678378378378378</c:v>
                </c:pt>
                <c:pt idx="1472">
                  <c:v>0.678378378378378</c:v>
                </c:pt>
                <c:pt idx="1473">
                  <c:v>0.67857142857142905</c:v>
                </c:pt>
                <c:pt idx="1474">
                  <c:v>0.67857142857142905</c:v>
                </c:pt>
                <c:pt idx="1475">
                  <c:v>0.67858407079645999</c:v>
                </c:pt>
                <c:pt idx="1476">
                  <c:v>0.67876588021778606</c:v>
                </c:pt>
                <c:pt idx="1477">
                  <c:v>0.67887323943662004</c:v>
                </c:pt>
                <c:pt idx="1478">
                  <c:v>0.67894736842105297</c:v>
                </c:pt>
                <c:pt idx="1479">
                  <c:v>0.67894736842105297</c:v>
                </c:pt>
                <c:pt idx="1480">
                  <c:v>0.67897623400365603</c:v>
                </c:pt>
                <c:pt idx="1481">
                  <c:v>0.67899408284023699</c:v>
                </c:pt>
                <c:pt idx="1482">
                  <c:v>0.67901234567901203</c:v>
                </c:pt>
                <c:pt idx="1483">
                  <c:v>0.67916999201915396</c:v>
                </c:pt>
                <c:pt idx="1484">
                  <c:v>0.67926565874730005</c:v>
                </c:pt>
                <c:pt idx="1485">
                  <c:v>0.67946577629382299</c:v>
                </c:pt>
                <c:pt idx="1486">
                  <c:v>0.67954911433172305</c:v>
                </c:pt>
                <c:pt idx="1487">
                  <c:v>0.67961165048543704</c:v>
                </c:pt>
                <c:pt idx="1488">
                  <c:v>0.67961165048543704</c:v>
                </c:pt>
                <c:pt idx="1489">
                  <c:v>0.67971014492753601</c:v>
                </c:pt>
                <c:pt idx="1490">
                  <c:v>0.68017366136034696</c:v>
                </c:pt>
                <c:pt idx="1491">
                  <c:v>0.68018018018018001</c:v>
                </c:pt>
                <c:pt idx="1492">
                  <c:v>0.68019480519480502</c:v>
                </c:pt>
                <c:pt idx="1493">
                  <c:v>0.68023255813953498</c:v>
                </c:pt>
                <c:pt idx="1494">
                  <c:v>0.68030690537084404</c:v>
                </c:pt>
                <c:pt idx="1495">
                  <c:v>0.68032786885245899</c:v>
                </c:pt>
                <c:pt idx="1496">
                  <c:v>0.68042526579111895</c:v>
                </c:pt>
                <c:pt idx="1497">
                  <c:v>0.68055555555555503</c:v>
                </c:pt>
                <c:pt idx="1498">
                  <c:v>0.68055555555555503</c:v>
                </c:pt>
                <c:pt idx="1499">
                  <c:v>0.68063872255489</c:v>
                </c:pt>
                <c:pt idx="1500">
                  <c:v>0.68070175438596503</c:v>
                </c:pt>
                <c:pt idx="1501">
                  <c:v>0.68079470198675496</c:v>
                </c:pt>
                <c:pt idx="1502">
                  <c:v>0.68126094570928197</c:v>
                </c:pt>
                <c:pt idx="1503">
                  <c:v>0.68128916741271295</c:v>
                </c:pt>
                <c:pt idx="1504">
                  <c:v>0.68135593220338997</c:v>
                </c:pt>
                <c:pt idx="1505">
                  <c:v>0.681724845995893</c:v>
                </c:pt>
                <c:pt idx="1506">
                  <c:v>0.68214285714285705</c:v>
                </c:pt>
                <c:pt idx="1507">
                  <c:v>0.68243243243243201</c:v>
                </c:pt>
                <c:pt idx="1508">
                  <c:v>0.68258426966292096</c:v>
                </c:pt>
                <c:pt idx="1509">
                  <c:v>0.68262653898768799</c:v>
                </c:pt>
                <c:pt idx="1510">
                  <c:v>0.68263473053892199</c:v>
                </c:pt>
                <c:pt idx="1511">
                  <c:v>0.68265682656826598</c:v>
                </c:pt>
                <c:pt idx="1512">
                  <c:v>0.68306010928961702</c:v>
                </c:pt>
                <c:pt idx="1513">
                  <c:v>0.68313458262350901</c:v>
                </c:pt>
                <c:pt idx="1514">
                  <c:v>0.683168316831683</c:v>
                </c:pt>
                <c:pt idx="1515">
                  <c:v>0.68339100346020798</c:v>
                </c:pt>
                <c:pt idx="1516">
                  <c:v>0.68339768339768303</c:v>
                </c:pt>
                <c:pt idx="1517">
                  <c:v>0.68345323741007202</c:v>
                </c:pt>
                <c:pt idx="1518">
                  <c:v>0.68369829683698302</c:v>
                </c:pt>
                <c:pt idx="1519">
                  <c:v>0.68381897086174803</c:v>
                </c:pt>
                <c:pt idx="1520">
                  <c:v>0.68404907975460105</c:v>
                </c:pt>
                <c:pt idx="1521">
                  <c:v>0.68421052631578905</c:v>
                </c:pt>
                <c:pt idx="1522">
                  <c:v>0.68421052631578905</c:v>
                </c:pt>
                <c:pt idx="1523">
                  <c:v>0.68421052631578905</c:v>
                </c:pt>
                <c:pt idx="1524">
                  <c:v>0.68432203389830504</c:v>
                </c:pt>
                <c:pt idx="1525">
                  <c:v>0.684486373165618</c:v>
                </c:pt>
                <c:pt idx="1526">
                  <c:v>0.68451519536903005</c:v>
                </c:pt>
                <c:pt idx="1527">
                  <c:v>0.68456375838926198</c:v>
                </c:pt>
                <c:pt idx="1528">
                  <c:v>0.68464730290456399</c:v>
                </c:pt>
                <c:pt idx="1529">
                  <c:v>0.68468468468468502</c:v>
                </c:pt>
                <c:pt idx="1530">
                  <c:v>0.68484848484848504</c:v>
                </c:pt>
                <c:pt idx="1531">
                  <c:v>0.68505079825834503</c:v>
                </c:pt>
                <c:pt idx="1532">
                  <c:v>0.68531889290012005</c:v>
                </c:pt>
                <c:pt idx="1533">
                  <c:v>0.68541080912214902</c:v>
                </c:pt>
                <c:pt idx="1534">
                  <c:v>0.68548387096774199</c:v>
                </c:pt>
                <c:pt idx="1535">
                  <c:v>0.68556701030927802</c:v>
                </c:pt>
                <c:pt idx="1536">
                  <c:v>0.68566493955094998</c:v>
                </c:pt>
                <c:pt idx="1537">
                  <c:v>0.68571428571428605</c:v>
                </c:pt>
                <c:pt idx="1538">
                  <c:v>0.68571428571428605</c:v>
                </c:pt>
                <c:pt idx="1539">
                  <c:v>0.68571428571428605</c:v>
                </c:pt>
                <c:pt idx="1540">
                  <c:v>0.68571428571428605</c:v>
                </c:pt>
                <c:pt idx="1541">
                  <c:v>0.68574766355140204</c:v>
                </c:pt>
                <c:pt idx="1542">
                  <c:v>0.68627450980392102</c:v>
                </c:pt>
                <c:pt idx="1543">
                  <c:v>0.68630136986301404</c:v>
                </c:pt>
                <c:pt idx="1544">
                  <c:v>0.68641114982578399</c:v>
                </c:pt>
                <c:pt idx="1545">
                  <c:v>0.68647764449291204</c:v>
                </c:pt>
                <c:pt idx="1546">
                  <c:v>0.68660287081339699</c:v>
                </c:pt>
                <c:pt idx="1547">
                  <c:v>0.68661971830985902</c:v>
                </c:pt>
                <c:pt idx="1548">
                  <c:v>0.68663594470046097</c:v>
                </c:pt>
                <c:pt idx="1549">
                  <c:v>0.68670309653916195</c:v>
                </c:pt>
                <c:pt idx="1550">
                  <c:v>0.68676545733265204</c:v>
                </c:pt>
                <c:pt idx="1551">
                  <c:v>0.68677042801556398</c:v>
                </c:pt>
                <c:pt idx="1552">
                  <c:v>0.68681983071342201</c:v>
                </c:pt>
                <c:pt idx="1553">
                  <c:v>0.686878727634195</c:v>
                </c:pt>
                <c:pt idx="1554">
                  <c:v>0.68694550063371296</c:v>
                </c:pt>
                <c:pt idx="1555">
                  <c:v>0.68717948717948696</c:v>
                </c:pt>
                <c:pt idx="1556">
                  <c:v>0.687242798353909</c:v>
                </c:pt>
                <c:pt idx="1557">
                  <c:v>0.68727705112960702</c:v>
                </c:pt>
                <c:pt idx="1558">
                  <c:v>0.68741291221551304</c:v>
                </c:pt>
                <c:pt idx="1559">
                  <c:v>0.6875</c:v>
                </c:pt>
                <c:pt idx="1560">
                  <c:v>0.6875</c:v>
                </c:pt>
                <c:pt idx="1561">
                  <c:v>0.68759811616954503</c:v>
                </c:pt>
                <c:pt idx="1562">
                  <c:v>0.68763102725366898</c:v>
                </c:pt>
                <c:pt idx="1563">
                  <c:v>0.68764568764568801</c:v>
                </c:pt>
                <c:pt idx="1564">
                  <c:v>0.68783068783068801</c:v>
                </c:pt>
                <c:pt idx="1565">
                  <c:v>0.68794326241134696</c:v>
                </c:pt>
                <c:pt idx="1566">
                  <c:v>0.68799999999999994</c:v>
                </c:pt>
                <c:pt idx="1567">
                  <c:v>0.68807707747892399</c:v>
                </c:pt>
                <c:pt idx="1568">
                  <c:v>0.68817204301075297</c:v>
                </c:pt>
                <c:pt idx="1569">
                  <c:v>0.68822328114363496</c:v>
                </c:pt>
                <c:pt idx="1570">
                  <c:v>0.68831168831168799</c:v>
                </c:pt>
                <c:pt idx="1571">
                  <c:v>0.68844221105527603</c:v>
                </c:pt>
                <c:pt idx="1572">
                  <c:v>0.68888888888888899</c:v>
                </c:pt>
                <c:pt idx="1573">
                  <c:v>0.68893528183716102</c:v>
                </c:pt>
                <c:pt idx="1574">
                  <c:v>0.68901989683124498</c:v>
                </c:pt>
                <c:pt idx="1575">
                  <c:v>0.68905950095969304</c:v>
                </c:pt>
                <c:pt idx="1576">
                  <c:v>0.68920282542886002</c:v>
                </c:pt>
                <c:pt idx="1577">
                  <c:v>0.68948035487959403</c:v>
                </c:pt>
                <c:pt idx="1578">
                  <c:v>0.68949044585987296</c:v>
                </c:pt>
                <c:pt idx="1579">
                  <c:v>0.68953687821612297</c:v>
                </c:pt>
                <c:pt idx="1580">
                  <c:v>0.68956849602010895</c:v>
                </c:pt>
                <c:pt idx="1581">
                  <c:v>0.68969696969697003</c:v>
                </c:pt>
                <c:pt idx="1582">
                  <c:v>0.68974943052391802</c:v>
                </c:pt>
                <c:pt idx="1583">
                  <c:v>0.68975468975469001</c:v>
                </c:pt>
                <c:pt idx="1584">
                  <c:v>0.69020172910662803</c:v>
                </c:pt>
                <c:pt idx="1585">
                  <c:v>0.690217391304348</c:v>
                </c:pt>
                <c:pt idx="1586">
                  <c:v>0.69035532994923798</c:v>
                </c:pt>
                <c:pt idx="1587">
                  <c:v>0.69049098819142296</c:v>
                </c:pt>
                <c:pt idx="1588">
                  <c:v>0.69054441260745003</c:v>
                </c:pt>
                <c:pt idx="1589">
                  <c:v>0.69058295964125505</c:v>
                </c:pt>
                <c:pt idx="1590">
                  <c:v>0.69090909090909103</c:v>
                </c:pt>
                <c:pt idx="1591">
                  <c:v>0.69094138543516903</c:v>
                </c:pt>
                <c:pt idx="1592">
                  <c:v>0.69097222222222199</c:v>
                </c:pt>
                <c:pt idx="1593">
                  <c:v>0.69117647058823495</c:v>
                </c:pt>
                <c:pt idx="1594">
                  <c:v>0.69117647058823495</c:v>
                </c:pt>
                <c:pt idx="1595">
                  <c:v>0.69135802469135799</c:v>
                </c:pt>
                <c:pt idx="1596">
                  <c:v>0.691542288557214</c:v>
                </c:pt>
                <c:pt idx="1597">
                  <c:v>0.69160231660231697</c:v>
                </c:pt>
                <c:pt idx="1598">
                  <c:v>0.69169960474308301</c:v>
                </c:pt>
                <c:pt idx="1599">
                  <c:v>0.69190600522193202</c:v>
                </c:pt>
                <c:pt idx="1600">
                  <c:v>0.69207317073170704</c:v>
                </c:pt>
                <c:pt idx="1601">
                  <c:v>0.69215686274509802</c:v>
                </c:pt>
                <c:pt idx="1602">
                  <c:v>0.69215876089061001</c:v>
                </c:pt>
                <c:pt idx="1603">
                  <c:v>0.69230769230769196</c:v>
                </c:pt>
                <c:pt idx="1604">
                  <c:v>0.69230769230769196</c:v>
                </c:pt>
                <c:pt idx="1605">
                  <c:v>0.69240196078431404</c:v>
                </c:pt>
                <c:pt idx="1606">
                  <c:v>0.69248826291079801</c:v>
                </c:pt>
                <c:pt idx="1607">
                  <c:v>0.69285714285714295</c:v>
                </c:pt>
                <c:pt idx="1608">
                  <c:v>0.69298245614035103</c:v>
                </c:pt>
                <c:pt idx="1609">
                  <c:v>0.69301712779973601</c:v>
                </c:pt>
                <c:pt idx="1610">
                  <c:v>0.693029490616622</c:v>
                </c:pt>
                <c:pt idx="1611">
                  <c:v>0.69323843416370101</c:v>
                </c:pt>
                <c:pt idx="1612">
                  <c:v>0.69330855018587301</c:v>
                </c:pt>
                <c:pt idx="1613">
                  <c:v>0.69337442218798095</c:v>
                </c:pt>
                <c:pt idx="1614">
                  <c:v>0.69339272457312495</c:v>
                </c:pt>
                <c:pt idx="1615">
                  <c:v>0.69341894060995202</c:v>
                </c:pt>
                <c:pt idx="1616">
                  <c:v>0.69349845201238403</c:v>
                </c:pt>
                <c:pt idx="1617">
                  <c:v>0.69358974358974301</c:v>
                </c:pt>
                <c:pt idx="1618">
                  <c:v>0.69366197183098599</c:v>
                </c:pt>
                <c:pt idx="1619">
                  <c:v>0.69377162629757805</c:v>
                </c:pt>
                <c:pt idx="1620">
                  <c:v>0.69393939393939397</c:v>
                </c:pt>
                <c:pt idx="1621">
                  <c:v>0.69407008086253397</c:v>
                </c:pt>
                <c:pt idx="1622">
                  <c:v>0.69420035149384896</c:v>
                </c:pt>
                <c:pt idx="1623">
                  <c:v>0.69422572178477704</c:v>
                </c:pt>
                <c:pt idx="1624">
                  <c:v>0.69426751592356695</c:v>
                </c:pt>
                <c:pt idx="1625">
                  <c:v>0.69431279620853104</c:v>
                </c:pt>
                <c:pt idx="1626">
                  <c:v>0.69449081803004997</c:v>
                </c:pt>
                <c:pt idx="1627">
                  <c:v>0.69458762886597902</c:v>
                </c:pt>
                <c:pt idx="1628">
                  <c:v>0.69465960048919695</c:v>
                </c:pt>
                <c:pt idx="1629">
                  <c:v>0.69471947194719497</c:v>
                </c:pt>
                <c:pt idx="1630">
                  <c:v>0.69473684210526299</c:v>
                </c:pt>
                <c:pt idx="1631">
                  <c:v>0.69481132075471697</c:v>
                </c:pt>
                <c:pt idx="1632">
                  <c:v>0.69482173174872697</c:v>
                </c:pt>
                <c:pt idx="1633">
                  <c:v>0.69483870967741901</c:v>
                </c:pt>
                <c:pt idx="1634">
                  <c:v>0.69512966476913296</c:v>
                </c:pt>
                <c:pt idx="1635">
                  <c:v>0.69581190301249096</c:v>
                </c:pt>
                <c:pt idx="1636">
                  <c:v>0.69585253456221197</c:v>
                </c:pt>
                <c:pt idx="1637">
                  <c:v>0.69592476489028199</c:v>
                </c:pt>
                <c:pt idx="1638">
                  <c:v>0.69599999999999995</c:v>
                </c:pt>
                <c:pt idx="1639">
                  <c:v>0.69614299153339598</c:v>
                </c:pt>
                <c:pt idx="1640">
                  <c:v>0.69620253164557</c:v>
                </c:pt>
                <c:pt idx="1641">
                  <c:v>0.69626168224299101</c:v>
                </c:pt>
                <c:pt idx="1642">
                  <c:v>0.69637462235649505</c:v>
                </c:pt>
                <c:pt idx="1643">
                  <c:v>0.69662921348314599</c:v>
                </c:pt>
                <c:pt idx="1644">
                  <c:v>0.69672678690714795</c:v>
                </c:pt>
                <c:pt idx="1645">
                  <c:v>0.69683481701285799</c:v>
                </c:pt>
                <c:pt idx="1646">
                  <c:v>0.69689737470167101</c:v>
                </c:pt>
                <c:pt idx="1647">
                  <c:v>0.69692058346839503</c:v>
                </c:pt>
                <c:pt idx="1648">
                  <c:v>0.69696969696969702</c:v>
                </c:pt>
                <c:pt idx="1649">
                  <c:v>0.69706498951782003</c:v>
                </c:pt>
                <c:pt idx="1650">
                  <c:v>0.69727891156462596</c:v>
                </c:pt>
                <c:pt idx="1651">
                  <c:v>0.69734151329243299</c:v>
                </c:pt>
                <c:pt idx="1652">
                  <c:v>0.69742198100407005</c:v>
                </c:pt>
                <c:pt idx="1653">
                  <c:v>0.69745454545454499</c:v>
                </c:pt>
                <c:pt idx="1654">
                  <c:v>0.69768786127167604</c:v>
                </c:pt>
                <c:pt idx="1655">
                  <c:v>0.69769503546099298</c:v>
                </c:pt>
                <c:pt idx="1656">
                  <c:v>0.69772727272727297</c:v>
                </c:pt>
                <c:pt idx="1657">
                  <c:v>0.69797859690844199</c:v>
                </c:pt>
                <c:pt idx="1658">
                  <c:v>0.69805194805194803</c:v>
                </c:pt>
                <c:pt idx="1659">
                  <c:v>0.698074974670719</c:v>
                </c:pt>
                <c:pt idx="1660">
                  <c:v>0.69825436408977504</c:v>
                </c:pt>
                <c:pt idx="1661">
                  <c:v>0.69834087481146301</c:v>
                </c:pt>
                <c:pt idx="1662">
                  <c:v>0.69838709677419297</c:v>
                </c:pt>
                <c:pt idx="1663">
                  <c:v>0.69847328244274798</c:v>
                </c:pt>
                <c:pt idx="1664">
                  <c:v>0.69860064585575898</c:v>
                </c:pt>
                <c:pt idx="1665">
                  <c:v>0.69875424688561705</c:v>
                </c:pt>
                <c:pt idx="1666">
                  <c:v>0.69877049180327899</c:v>
                </c:pt>
                <c:pt idx="1667">
                  <c:v>0.698972099853157</c:v>
                </c:pt>
                <c:pt idx="1668">
                  <c:v>0.69917355371900802</c:v>
                </c:pt>
                <c:pt idx="1669">
                  <c:v>0.69922879177377895</c:v>
                </c:pt>
                <c:pt idx="1670">
                  <c:v>0.69929078014184398</c:v>
                </c:pt>
                <c:pt idx="1671">
                  <c:v>0.69944341372912799</c:v>
                </c:pt>
                <c:pt idx="1672">
                  <c:v>0.69948186528497402</c:v>
                </c:pt>
                <c:pt idx="1673">
                  <c:v>0.69950248756218902</c:v>
                </c:pt>
                <c:pt idx="1674">
                  <c:v>0.69953775038520805</c:v>
                </c:pt>
                <c:pt idx="1675">
                  <c:v>0.69958847736625496</c:v>
                </c:pt>
                <c:pt idx="1676">
                  <c:v>0.69968051118210794</c:v>
                </c:pt>
                <c:pt idx="1677">
                  <c:v>0.69969040247678005</c:v>
                </c:pt>
                <c:pt idx="1678">
                  <c:v>0.69991617770326897</c:v>
                </c:pt>
                <c:pt idx="1679">
                  <c:v>0.7</c:v>
                </c:pt>
                <c:pt idx="1680">
                  <c:v>0.7</c:v>
                </c:pt>
                <c:pt idx="1681">
                  <c:v>0.7</c:v>
                </c:pt>
                <c:pt idx="1682">
                  <c:v>0.70056497175141197</c:v>
                </c:pt>
                <c:pt idx="1683">
                  <c:v>0.70059215396003005</c:v>
                </c:pt>
                <c:pt idx="1684">
                  <c:v>0.70063694267515897</c:v>
                </c:pt>
                <c:pt idx="1685">
                  <c:v>0.70068965517241399</c:v>
                </c:pt>
                <c:pt idx="1686">
                  <c:v>0.70075757575757602</c:v>
                </c:pt>
                <c:pt idx="1687">
                  <c:v>0.70087336244541498</c:v>
                </c:pt>
                <c:pt idx="1688">
                  <c:v>0.70087976539589403</c:v>
                </c:pt>
                <c:pt idx="1689">
                  <c:v>0.700953961012028</c:v>
                </c:pt>
                <c:pt idx="1690">
                  <c:v>0.70098039215686303</c:v>
                </c:pt>
                <c:pt idx="1691">
                  <c:v>0.70109066121336105</c:v>
                </c:pt>
                <c:pt idx="1692">
                  <c:v>0.70129870129870098</c:v>
                </c:pt>
                <c:pt idx="1693">
                  <c:v>0.70140280561122204</c:v>
                </c:pt>
                <c:pt idx="1694">
                  <c:v>0.70155038759689903</c:v>
                </c:pt>
                <c:pt idx="1695">
                  <c:v>0.70158730158730098</c:v>
                </c:pt>
                <c:pt idx="1696">
                  <c:v>0.70164609053497895</c:v>
                </c:pt>
                <c:pt idx="1697">
                  <c:v>0.70166666666666699</c:v>
                </c:pt>
                <c:pt idx="1698">
                  <c:v>0.70175438596491202</c:v>
                </c:pt>
                <c:pt idx="1699">
                  <c:v>0.70186335403726696</c:v>
                </c:pt>
                <c:pt idx="1700">
                  <c:v>0.70193740685544004</c:v>
                </c:pt>
                <c:pt idx="1701">
                  <c:v>0.70246085011185699</c:v>
                </c:pt>
                <c:pt idx="1702">
                  <c:v>0.702572347266881</c:v>
                </c:pt>
                <c:pt idx="1703">
                  <c:v>0.70260223048327097</c:v>
                </c:pt>
                <c:pt idx="1704">
                  <c:v>0.70287958115183202</c:v>
                </c:pt>
                <c:pt idx="1705">
                  <c:v>0.70315789473684198</c:v>
                </c:pt>
                <c:pt idx="1706">
                  <c:v>0.70320855614973299</c:v>
                </c:pt>
                <c:pt idx="1707">
                  <c:v>0.70329670329670302</c:v>
                </c:pt>
                <c:pt idx="1708">
                  <c:v>0.70370370370370405</c:v>
                </c:pt>
                <c:pt idx="1709">
                  <c:v>0.70380434782608703</c:v>
                </c:pt>
                <c:pt idx="1710">
                  <c:v>0.70380434782608703</c:v>
                </c:pt>
                <c:pt idx="1711">
                  <c:v>0.70385126162018596</c:v>
                </c:pt>
                <c:pt idx="1712">
                  <c:v>0.70391061452514003</c:v>
                </c:pt>
                <c:pt idx="1713">
                  <c:v>0.70392749244713004</c:v>
                </c:pt>
                <c:pt idx="1714">
                  <c:v>0.70414201183432001</c:v>
                </c:pt>
                <c:pt idx="1715">
                  <c:v>0.70425321463897095</c:v>
                </c:pt>
                <c:pt idx="1716">
                  <c:v>0.70438799076212499</c:v>
                </c:pt>
                <c:pt idx="1717">
                  <c:v>0.70443349753694595</c:v>
                </c:pt>
                <c:pt idx="1718">
                  <c:v>0.70464135021096996</c:v>
                </c:pt>
                <c:pt idx="1719">
                  <c:v>0.70479704797048004</c:v>
                </c:pt>
                <c:pt idx="1720">
                  <c:v>0.70497630331753602</c:v>
                </c:pt>
                <c:pt idx="1721">
                  <c:v>0.70524017467248901</c:v>
                </c:pt>
                <c:pt idx="1722">
                  <c:v>0.70524691358024705</c:v>
                </c:pt>
                <c:pt idx="1723">
                  <c:v>0.70532915360501602</c:v>
                </c:pt>
                <c:pt idx="1724">
                  <c:v>0.70547945205479401</c:v>
                </c:pt>
                <c:pt idx="1725">
                  <c:v>0.70549738219895297</c:v>
                </c:pt>
                <c:pt idx="1726">
                  <c:v>0.70552147239263796</c:v>
                </c:pt>
                <c:pt idx="1727">
                  <c:v>0.70575221238938102</c:v>
                </c:pt>
                <c:pt idx="1728">
                  <c:v>0.70610687022900798</c:v>
                </c:pt>
                <c:pt idx="1729">
                  <c:v>0.70622059592263497</c:v>
                </c:pt>
                <c:pt idx="1730">
                  <c:v>0.70622796709753199</c:v>
                </c:pt>
                <c:pt idx="1731">
                  <c:v>0.70628768303186895</c:v>
                </c:pt>
                <c:pt idx="1732">
                  <c:v>0.70642201834862395</c:v>
                </c:pt>
                <c:pt idx="1733">
                  <c:v>0.70663811563169199</c:v>
                </c:pt>
                <c:pt idx="1734">
                  <c:v>0.70675105485232104</c:v>
                </c:pt>
                <c:pt idx="1735">
                  <c:v>0.706806282722513</c:v>
                </c:pt>
                <c:pt idx="1736">
                  <c:v>0.70682730923694803</c:v>
                </c:pt>
                <c:pt idx="1737">
                  <c:v>0.70689655172413801</c:v>
                </c:pt>
                <c:pt idx="1738">
                  <c:v>0.70689655172413801</c:v>
                </c:pt>
                <c:pt idx="1739">
                  <c:v>0.70700636942675099</c:v>
                </c:pt>
                <c:pt idx="1740">
                  <c:v>0.70717131474103601</c:v>
                </c:pt>
                <c:pt idx="1741">
                  <c:v>0.70727432077125296</c:v>
                </c:pt>
                <c:pt idx="1742">
                  <c:v>0.707317073170732</c:v>
                </c:pt>
                <c:pt idx="1743">
                  <c:v>0.707317073170732</c:v>
                </c:pt>
                <c:pt idx="1744">
                  <c:v>0.70747217806041296</c:v>
                </c:pt>
                <c:pt idx="1745">
                  <c:v>0.70757180156657995</c:v>
                </c:pt>
                <c:pt idx="1746">
                  <c:v>0.70804059328649505</c:v>
                </c:pt>
                <c:pt idx="1747">
                  <c:v>0.70826010544815499</c:v>
                </c:pt>
                <c:pt idx="1748">
                  <c:v>0.708296557811121</c:v>
                </c:pt>
                <c:pt idx="1749">
                  <c:v>0.70833333333333304</c:v>
                </c:pt>
                <c:pt idx="1750">
                  <c:v>0.70836653386454196</c:v>
                </c:pt>
                <c:pt idx="1751">
                  <c:v>0.70839064649243499</c:v>
                </c:pt>
                <c:pt idx="1752">
                  <c:v>0.708554857419043</c:v>
                </c:pt>
                <c:pt idx="1753">
                  <c:v>0.70859337493998997</c:v>
                </c:pt>
                <c:pt idx="1754">
                  <c:v>0.70866141732283505</c:v>
                </c:pt>
                <c:pt idx="1755">
                  <c:v>0.708860759493671</c:v>
                </c:pt>
                <c:pt idx="1756">
                  <c:v>0.70903954802259905</c:v>
                </c:pt>
                <c:pt idx="1757">
                  <c:v>0.70905923344947697</c:v>
                </c:pt>
                <c:pt idx="1758">
                  <c:v>0.70909090909090899</c:v>
                </c:pt>
                <c:pt idx="1759">
                  <c:v>0.70918367346938804</c:v>
                </c:pt>
                <c:pt idx="1760">
                  <c:v>0.70932754880694104</c:v>
                </c:pt>
                <c:pt idx="1761">
                  <c:v>0.70945945945945899</c:v>
                </c:pt>
                <c:pt idx="1762">
                  <c:v>0.70962962962963005</c:v>
                </c:pt>
                <c:pt idx="1763">
                  <c:v>0.70967741935483897</c:v>
                </c:pt>
                <c:pt idx="1764">
                  <c:v>0.70967741935483897</c:v>
                </c:pt>
                <c:pt idx="1765">
                  <c:v>0.70975918884664102</c:v>
                </c:pt>
                <c:pt idx="1766">
                  <c:v>0.70990990990990999</c:v>
                </c:pt>
                <c:pt idx="1767">
                  <c:v>0.70993117010816098</c:v>
                </c:pt>
                <c:pt idx="1768">
                  <c:v>0.71002132196162004</c:v>
                </c:pt>
                <c:pt idx="1769">
                  <c:v>0.71006711409395995</c:v>
                </c:pt>
                <c:pt idx="1770">
                  <c:v>0.71020408163265303</c:v>
                </c:pt>
                <c:pt idx="1771">
                  <c:v>0.71026490066225201</c:v>
                </c:pt>
                <c:pt idx="1772">
                  <c:v>0.71038251366120198</c:v>
                </c:pt>
                <c:pt idx="1773">
                  <c:v>0.71055276381909505</c:v>
                </c:pt>
                <c:pt idx="1774">
                  <c:v>0.71069182389937102</c:v>
                </c:pt>
                <c:pt idx="1775">
                  <c:v>0.71071953010278999</c:v>
                </c:pt>
                <c:pt idx="1776">
                  <c:v>0.71079136690647504</c:v>
                </c:pt>
                <c:pt idx="1777">
                  <c:v>0.71079192546583803</c:v>
                </c:pt>
                <c:pt idx="1778">
                  <c:v>0.71084337349397597</c:v>
                </c:pt>
                <c:pt idx="1779">
                  <c:v>0.71111111111111103</c:v>
                </c:pt>
                <c:pt idx="1780">
                  <c:v>0.71112440191387605</c:v>
                </c:pt>
                <c:pt idx="1781">
                  <c:v>0.71128107074569802</c:v>
                </c:pt>
                <c:pt idx="1782">
                  <c:v>0.71128608923884495</c:v>
                </c:pt>
                <c:pt idx="1783">
                  <c:v>0.71134020618556704</c:v>
                </c:pt>
                <c:pt idx="1784">
                  <c:v>0.711433756805808</c:v>
                </c:pt>
                <c:pt idx="1785">
                  <c:v>0.71146245059288504</c:v>
                </c:pt>
                <c:pt idx="1786">
                  <c:v>0.71148184494602495</c:v>
                </c:pt>
                <c:pt idx="1787">
                  <c:v>0.71150442477876097</c:v>
                </c:pt>
                <c:pt idx="1788">
                  <c:v>0.71153846153846101</c:v>
                </c:pt>
                <c:pt idx="1789">
                  <c:v>0.71168437025796705</c:v>
                </c:pt>
                <c:pt idx="1790">
                  <c:v>0.71186440677966101</c:v>
                </c:pt>
                <c:pt idx="1791">
                  <c:v>0.71188340807174899</c:v>
                </c:pt>
                <c:pt idx="1792">
                  <c:v>0.71188576228475398</c:v>
                </c:pt>
                <c:pt idx="1793">
                  <c:v>0.71195297191378204</c:v>
                </c:pt>
                <c:pt idx="1794">
                  <c:v>0.71205357142857095</c:v>
                </c:pt>
                <c:pt idx="1795">
                  <c:v>0.712643678160919</c:v>
                </c:pt>
                <c:pt idx="1796">
                  <c:v>0.71270036991368702</c:v>
                </c:pt>
                <c:pt idx="1797">
                  <c:v>0.71290322580645205</c:v>
                </c:pt>
                <c:pt idx="1798">
                  <c:v>0.71293103448275896</c:v>
                </c:pt>
                <c:pt idx="1799">
                  <c:v>0.71293375394321801</c:v>
                </c:pt>
                <c:pt idx="1800">
                  <c:v>0.71302428256070605</c:v>
                </c:pt>
                <c:pt idx="1801">
                  <c:v>0.71309771309771297</c:v>
                </c:pt>
                <c:pt idx="1802">
                  <c:v>0.713307532003572</c:v>
                </c:pt>
                <c:pt idx="1803">
                  <c:v>0.713450292397661</c:v>
                </c:pt>
                <c:pt idx="1804">
                  <c:v>0.71348314606741603</c:v>
                </c:pt>
                <c:pt idx="1805">
                  <c:v>0.71359223300970898</c:v>
                </c:pt>
                <c:pt idx="1806">
                  <c:v>0.713607594936709</c:v>
                </c:pt>
                <c:pt idx="1807">
                  <c:v>0.71367521367521403</c:v>
                </c:pt>
                <c:pt idx="1808">
                  <c:v>0.71403812824956703</c:v>
                </c:pt>
                <c:pt idx="1809">
                  <c:v>0.71416666666666695</c:v>
                </c:pt>
                <c:pt idx="1810">
                  <c:v>0.71428571428571397</c:v>
                </c:pt>
                <c:pt idx="1811">
                  <c:v>0.71428571428571397</c:v>
                </c:pt>
                <c:pt idx="1812">
                  <c:v>0.71428571428571397</c:v>
                </c:pt>
                <c:pt idx="1813">
                  <c:v>0.71433256805510004</c:v>
                </c:pt>
                <c:pt idx="1814">
                  <c:v>0.71438547486033499</c:v>
                </c:pt>
                <c:pt idx="1815">
                  <c:v>0.71444823663253698</c:v>
                </c:pt>
                <c:pt idx="1816">
                  <c:v>0.71446229913473402</c:v>
                </c:pt>
                <c:pt idx="1817">
                  <c:v>0.71446384039900201</c:v>
                </c:pt>
                <c:pt idx="1818">
                  <c:v>0.71454880294659295</c:v>
                </c:pt>
                <c:pt idx="1819">
                  <c:v>0.71466666666666701</c:v>
                </c:pt>
                <c:pt idx="1820">
                  <c:v>0.71508379888268203</c:v>
                </c:pt>
                <c:pt idx="1821">
                  <c:v>0.71521035598705496</c:v>
                </c:pt>
                <c:pt idx="1822">
                  <c:v>0.71525679758308203</c:v>
                </c:pt>
                <c:pt idx="1823">
                  <c:v>0.71540469973890297</c:v>
                </c:pt>
                <c:pt idx="1824">
                  <c:v>0.715451577801959</c:v>
                </c:pt>
                <c:pt idx="1825">
                  <c:v>0.71551724137931005</c:v>
                </c:pt>
                <c:pt idx="1826">
                  <c:v>0.71554993678887502</c:v>
                </c:pt>
                <c:pt idx="1827">
                  <c:v>0.71573604060913698</c:v>
                </c:pt>
                <c:pt idx="1828">
                  <c:v>0.71577217962760098</c:v>
                </c:pt>
                <c:pt idx="1829">
                  <c:v>0.71580741371964196</c:v>
                </c:pt>
                <c:pt idx="1830">
                  <c:v>0.715817694369973</c:v>
                </c:pt>
                <c:pt idx="1831">
                  <c:v>0.71614429331756402</c:v>
                </c:pt>
                <c:pt idx="1832">
                  <c:v>0.71634615384615397</c:v>
                </c:pt>
                <c:pt idx="1833">
                  <c:v>0.716444444444444</c:v>
                </c:pt>
                <c:pt idx="1834">
                  <c:v>0.71656050955413997</c:v>
                </c:pt>
                <c:pt idx="1835">
                  <c:v>0.71664651350261999</c:v>
                </c:pt>
                <c:pt idx="1836">
                  <c:v>0.71674876847290603</c:v>
                </c:pt>
                <c:pt idx="1837">
                  <c:v>0.71678321678321699</c:v>
                </c:pt>
                <c:pt idx="1838">
                  <c:v>0.71692745376955902</c:v>
                </c:pt>
                <c:pt idx="1839">
                  <c:v>0.71713147410358602</c:v>
                </c:pt>
                <c:pt idx="1840">
                  <c:v>0.71739130434782605</c:v>
                </c:pt>
                <c:pt idx="1841">
                  <c:v>0.717592592592592</c:v>
                </c:pt>
                <c:pt idx="1842">
                  <c:v>0.71762208067940503</c:v>
                </c:pt>
                <c:pt idx="1843">
                  <c:v>0.71777844853606998</c:v>
                </c:pt>
                <c:pt idx="1844">
                  <c:v>0.71806167400881105</c:v>
                </c:pt>
                <c:pt idx="1845">
                  <c:v>0.718152866242038</c:v>
                </c:pt>
                <c:pt idx="1846">
                  <c:v>0.71830985915492995</c:v>
                </c:pt>
                <c:pt idx="1847">
                  <c:v>0.71846153846153804</c:v>
                </c:pt>
                <c:pt idx="1848">
                  <c:v>0.71853614995536996</c:v>
                </c:pt>
                <c:pt idx="1849">
                  <c:v>0.71875</c:v>
                </c:pt>
                <c:pt idx="1850">
                  <c:v>0.71875</c:v>
                </c:pt>
                <c:pt idx="1851">
                  <c:v>0.71911764705882297</c:v>
                </c:pt>
                <c:pt idx="1852">
                  <c:v>0.71917808219178103</c:v>
                </c:pt>
                <c:pt idx="1853">
                  <c:v>0.71927083333333297</c:v>
                </c:pt>
                <c:pt idx="1854">
                  <c:v>0.71946308724832198</c:v>
                </c:pt>
                <c:pt idx="1855">
                  <c:v>0.71955028107432795</c:v>
                </c:pt>
                <c:pt idx="1856">
                  <c:v>0.71981776765375804</c:v>
                </c:pt>
                <c:pt idx="1857">
                  <c:v>0.71988246816846202</c:v>
                </c:pt>
                <c:pt idx="1858">
                  <c:v>0.719893546240852</c:v>
                </c:pt>
                <c:pt idx="1859">
                  <c:v>0.71989528795811497</c:v>
                </c:pt>
                <c:pt idx="1860">
                  <c:v>0.72</c:v>
                </c:pt>
                <c:pt idx="1861">
                  <c:v>0.72</c:v>
                </c:pt>
                <c:pt idx="1862">
                  <c:v>0.72</c:v>
                </c:pt>
                <c:pt idx="1863">
                  <c:v>0.72006472491909401</c:v>
                </c:pt>
                <c:pt idx="1864">
                  <c:v>0.72023121387283195</c:v>
                </c:pt>
                <c:pt idx="1865">
                  <c:v>0.72035794183445201</c:v>
                </c:pt>
                <c:pt idx="1866">
                  <c:v>0.72047244094488205</c:v>
                </c:pt>
                <c:pt idx="1867">
                  <c:v>0.72053872053872103</c:v>
                </c:pt>
                <c:pt idx="1868">
                  <c:v>0.72056921086675296</c:v>
                </c:pt>
                <c:pt idx="1869">
                  <c:v>0.72058823529411797</c:v>
                </c:pt>
                <c:pt idx="1870">
                  <c:v>0.72058823529411797</c:v>
                </c:pt>
                <c:pt idx="1871">
                  <c:v>0.72063758389261701</c:v>
                </c:pt>
                <c:pt idx="1872">
                  <c:v>0.72078376487053897</c:v>
                </c:pt>
                <c:pt idx="1873">
                  <c:v>0.72101790763430695</c:v>
                </c:pt>
                <c:pt idx="1874">
                  <c:v>0.72108345534407003</c:v>
                </c:pt>
                <c:pt idx="1875">
                  <c:v>0.72108843537415002</c:v>
                </c:pt>
                <c:pt idx="1876">
                  <c:v>0.72121212121212097</c:v>
                </c:pt>
                <c:pt idx="1877">
                  <c:v>0.72128514056224902</c:v>
                </c:pt>
                <c:pt idx="1878">
                  <c:v>0.72140543234487897</c:v>
                </c:pt>
                <c:pt idx="1879">
                  <c:v>0.72150259067357503</c:v>
                </c:pt>
                <c:pt idx="1880">
                  <c:v>0.72160000000000002</c:v>
                </c:pt>
                <c:pt idx="1881">
                  <c:v>0.72160356347438703</c:v>
                </c:pt>
                <c:pt idx="1882">
                  <c:v>0.721830985915493</c:v>
                </c:pt>
                <c:pt idx="1883">
                  <c:v>0.72186642268984402</c:v>
                </c:pt>
                <c:pt idx="1884">
                  <c:v>0.72204472843450496</c:v>
                </c:pt>
                <c:pt idx="1885">
                  <c:v>0.72210526315789503</c:v>
                </c:pt>
                <c:pt idx="1886">
                  <c:v>0.72222222222222199</c:v>
                </c:pt>
                <c:pt idx="1887">
                  <c:v>0.72222222222222199</c:v>
                </c:pt>
                <c:pt idx="1888">
                  <c:v>0.72249388753056198</c:v>
                </c:pt>
                <c:pt idx="1889">
                  <c:v>0.72264150943396199</c:v>
                </c:pt>
                <c:pt idx="1890">
                  <c:v>0.722727272727273</c:v>
                </c:pt>
                <c:pt idx="1891">
                  <c:v>0.72275862068965502</c:v>
                </c:pt>
                <c:pt idx="1892">
                  <c:v>0.72277227722772297</c:v>
                </c:pt>
                <c:pt idx="1893">
                  <c:v>0.72292191435768305</c:v>
                </c:pt>
                <c:pt idx="1894">
                  <c:v>0.72307692307692295</c:v>
                </c:pt>
                <c:pt idx="1895">
                  <c:v>0.72311827956989205</c:v>
                </c:pt>
                <c:pt idx="1896">
                  <c:v>0.72314049586776896</c:v>
                </c:pt>
                <c:pt idx="1897">
                  <c:v>0.72321428571428603</c:v>
                </c:pt>
                <c:pt idx="1898">
                  <c:v>0.72336265884652995</c:v>
                </c:pt>
                <c:pt idx="1899">
                  <c:v>0.72352941176470598</c:v>
                </c:pt>
                <c:pt idx="1900">
                  <c:v>0.72364864864864897</c:v>
                </c:pt>
                <c:pt idx="1901">
                  <c:v>0.723699421965318</c:v>
                </c:pt>
                <c:pt idx="1902">
                  <c:v>0.72372372372372396</c:v>
                </c:pt>
                <c:pt idx="1903">
                  <c:v>0.723856209150327</c:v>
                </c:pt>
                <c:pt idx="1904">
                  <c:v>0.72391017173051497</c:v>
                </c:pt>
                <c:pt idx="1905">
                  <c:v>0.723981900452489</c:v>
                </c:pt>
                <c:pt idx="1906">
                  <c:v>0.72400388726919296</c:v>
                </c:pt>
                <c:pt idx="1907">
                  <c:v>0.724007561436673</c:v>
                </c:pt>
                <c:pt idx="1908">
                  <c:v>0.72413793103448298</c:v>
                </c:pt>
                <c:pt idx="1909">
                  <c:v>0.72422062350119898</c:v>
                </c:pt>
                <c:pt idx="1910">
                  <c:v>0.72431077694235602</c:v>
                </c:pt>
                <c:pt idx="1911">
                  <c:v>0.72438162544169604</c:v>
                </c:pt>
                <c:pt idx="1912">
                  <c:v>0.724444444444444</c:v>
                </c:pt>
                <c:pt idx="1913">
                  <c:v>0.72451790633608804</c:v>
                </c:pt>
                <c:pt idx="1914">
                  <c:v>0.724609375</c:v>
                </c:pt>
                <c:pt idx="1915">
                  <c:v>0.72477064220183496</c:v>
                </c:pt>
                <c:pt idx="1916">
                  <c:v>0.72489082969432295</c:v>
                </c:pt>
                <c:pt idx="1917">
                  <c:v>0.72492401215805502</c:v>
                </c:pt>
                <c:pt idx="1918">
                  <c:v>0.72537313432835804</c:v>
                </c:pt>
                <c:pt idx="1919">
                  <c:v>0.72556390977443597</c:v>
                </c:pt>
                <c:pt idx="1920">
                  <c:v>0.72556390977443597</c:v>
                </c:pt>
                <c:pt idx="1921">
                  <c:v>0.72580645161290303</c:v>
                </c:pt>
                <c:pt idx="1922">
                  <c:v>0.72585227272727304</c:v>
                </c:pt>
                <c:pt idx="1923">
                  <c:v>0.725862931465733</c:v>
                </c:pt>
                <c:pt idx="1924">
                  <c:v>0.72609400324149098</c:v>
                </c:pt>
                <c:pt idx="1925">
                  <c:v>0.72619047619047605</c:v>
                </c:pt>
                <c:pt idx="1926">
                  <c:v>0.72625698324022303</c:v>
                </c:pt>
                <c:pt idx="1927">
                  <c:v>0.72642857142857098</c:v>
                </c:pt>
                <c:pt idx="1928">
                  <c:v>0.72666666666666702</c:v>
                </c:pt>
                <c:pt idx="1929">
                  <c:v>0.72694394213381497</c:v>
                </c:pt>
                <c:pt idx="1930">
                  <c:v>0.72705882352941198</c:v>
                </c:pt>
                <c:pt idx="1931">
                  <c:v>0.72727272727272696</c:v>
                </c:pt>
                <c:pt idx="1932">
                  <c:v>0.72727272727272696</c:v>
                </c:pt>
                <c:pt idx="1933">
                  <c:v>0.72730148687124296</c:v>
                </c:pt>
                <c:pt idx="1934">
                  <c:v>0.72773393461104796</c:v>
                </c:pt>
                <c:pt idx="1935">
                  <c:v>0.72774869109947604</c:v>
                </c:pt>
                <c:pt idx="1936">
                  <c:v>0.72797089733225495</c:v>
                </c:pt>
                <c:pt idx="1937">
                  <c:v>0.72804532577903702</c:v>
                </c:pt>
                <c:pt idx="1938">
                  <c:v>0.72807017543859598</c:v>
                </c:pt>
                <c:pt idx="1939">
                  <c:v>0.72808132147395199</c:v>
                </c:pt>
                <c:pt idx="1940">
                  <c:v>0.72815533980582503</c:v>
                </c:pt>
                <c:pt idx="1941">
                  <c:v>0.72819100091827405</c:v>
                </c:pt>
                <c:pt idx="1942">
                  <c:v>0.72820512820512795</c:v>
                </c:pt>
                <c:pt idx="1943">
                  <c:v>0.72839506172839497</c:v>
                </c:pt>
                <c:pt idx="1944">
                  <c:v>0.72881355932203395</c:v>
                </c:pt>
                <c:pt idx="1945">
                  <c:v>0.72890025575447603</c:v>
                </c:pt>
                <c:pt idx="1946">
                  <c:v>0.72901678657074298</c:v>
                </c:pt>
                <c:pt idx="1947">
                  <c:v>0.72901921132457004</c:v>
                </c:pt>
                <c:pt idx="1948">
                  <c:v>0.72923076923076902</c:v>
                </c:pt>
                <c:pt idx="1949">
                  <c:v>0.72926829268292703</c:v>
                </c:pt>
                <c:pt idx="1950">
                  <c:v>0.72928176795580102</c:v>
                </c:pt>
                <c:pt idx="1951">
                  <c:v>0.72941176470588198</c:v>
                </c:pt>
                <c:pt idx="1952">
                  <c:v>0.72944297082228104</c:v>
                </c:pt>
                <c:pt idx="1953">
                  <c:v>0.72950819672131095</c:v>
                </c:pt>
                <c:pt idx="1954">
                  <c:v>0.72956909361069799</c:v>
                </c:pt>
                <c:pt idx="1955">
                  <c:v>0.72967032967032996</c:v>
                </c:pt>
                <c:pt idx="1956">
                  <c:v>0.72979493365500603</c:v>
                </c:pt>
                <c:pt idx="1957">
                  <c:v>0.72979797979798</c:v>
                </c:pt>
                <c:pt idx="1958">
                  <c:v>0.72989377845220005</c:v>
                </c:pt>
                <c:pt idx="1959">
                  <c:v>0.72998137802607099</c:v>
                </c:pt>
                <c:pt idx="1960">
                  <c:v>0.73001858736059499</c:v>
                </c:pt>
                <c:pt idx="1961">
                  <c:v>0.73015873015873001</c:v>
                </c:pt>
                <c:pt idx="1962">
                  <c:v>0.73023255813953503</c:v>
                </c:pt>
                <c:pt idx="1963">
                  <c:v>0.73039215686274495</c:v>
                </c:pt>
                <c:pt idx="1964">
                  <c:v>0.73041168658698497</c:v>
                </c:pt>
                <c:pt idx="1965">
                  <c:v>0.73051948051948001</c:v>
                </c:pt>
                <c:pt idx="1966">
                  <c:v>0.73060344827586199</c:v>
                </c:pt>
                <c:pt idx="1967">
                  <c:v>0.73063583815028899</c:v>
                </c:pt>
                <c:pt idx="1968">
                  <c:v>0.73076923076923095</c:v>
                </c:pt>
                <c:pt idx="1969">
                  <c:v>0.730964467005076</c:v>
                </c:pt>
                <c:pt idx="1970">
                  <c:v>0.73098125689084903</c:v>
                </c:pt>
                <c:pt idx="1971">
                  <c:v>0.73102310231023104</c:v>
                </c:pt>
                <c:pt idx="1972">
                  <c:v>0.73114754098360601</c:v>
                </c:pt>
                <c:pt idx="1973">
                  <c:v>0.73118279569892497</c:v>
                </c:pt>
                <c:pt idx="1974">
                  <c:v>0.73126213592233003</c:v>
                </c:pt>
                <c:pt idx="1975">
                  <c:v>0.731343283582089</c:v>
                </c:pt>
                <c:pt idx="1976">
                  <c:v>0.73141486810551604</c:v>
                </c:pt>
                <c:pt idx="1977">
                  <c:v>0.73148148148148096</c:v>
                </c:pt>
                <c:pt idx="1978">
                  <c:v>0.73170731707317105</c:v>
                </c:pt>
                <c:pt idx="1979">
                  <c:v>0.73197781885397395</c:v>
                </c:pt>
                <c:pt idx="1980">
                  <c:v>0.73198847262247801</c:v>
                </c:pt>
                <c:pt idx="1981">
                  <c:v>0.73201692524682604</c:v>
                </c:pt>
                <c:pt idx="1982">
                  <c:v>0.73207036535859304</c:v>
                </c:pt>
                <c:pt idx="1983">
                  <c:v>0.73219373219373196</c:v>
                </c:pt>
                <c:pt idx="1984">
                  <c:v>0.73221757322175696</c:v>
                </c:pt>
                <c:pt idx="1985">
                  <c:v>0.73225806451612896</c:v>
                </c:pt>
                <c:pt idx="1986">
                  <c:v>0.73227206946454404</c:v>
                </c:pt>
                <c:pt idx="1987">
                  <c:v>0.73229070837166499</c:v>
                </c:pt>
                <c:pt idx="1988">
                  <c:v>0.73239436619718301</c:v>
                </c:pt>
                <c:pt idx="1989">
                  <c:v>0.73251942286348504</c:v>
                </c:pt>
                <c:pt idx="1990">
                  <c:v>0.73277661795407101</c:v>
                </c:pt>
                <c:pt idx="1991">
                  <c:v>0.73304263565891503</c:v>
                </c:pt>
                <c:pt idx="1992">
                  <c:v>0.73309608540925297</c:v>
                </c:pt>
                <c:pt idx="1993">
                  <c:v>0.733307453416149</c:v>
                </c:pt>
                <c:pt idx="1994">
                  <c:v>0.73357664233576603</c:v>
                </c:pt>
                <c:pt idx="1995">
                  <c:v>0.73360655737704905</c:v>
                </c:pt>
                <c:pt idx="1996">
                  <c:v>0.73369565217391297</c:v>
                </c:pt>
                <c:pt idx="1997">
                  <c:v>0.734006734006734</c:v>
                </c:pt>
                <c:pt idx="1998">
                  <c:v>0.73416289592760198</c:v>
                </c:pt>
                <c:pt idx="1999">
                  <c:v>0.734177215189873</c:v>
                </c:pt>
                <c:pt idx="2000">
                  <c:v>0.73422897196261705</c:v>
                </c:pt>
                <c:pt idx="2001">
                  <c:v>0.73427331887201697</c:v>
                </c:pt>
                <c:pt idx="2002">
                  <c:v>0.73429084380610399</c:v>
                </c:pt>
                <c:pt idx="2003">
                  <c:v>0.734317343173432</c:v>
                </c:pt>
                <c:pt idx="2004">
                  <c:v>0.734403669724771</c:v>
                </c:pt>
                <c:pt idx="2005">
                  <c:v>0.734513274336283</c:v>
                </c:pt>
                <c:pt idx="2006">
                  <c:v>0.734732824427481</c:v>
                </c:pt>
                <c:pt idx="2007">
                  <c:v>0.73473684210526302</c:v>
                </c:pt>
                <c:pt idx="2008">
                  <c:v>0.73497942386831305</c:v>
                </c:pt>
                <c:pt idx="2009">
                  <c:v>0.73518518518518505</c:v>
                </c:pt>
                <c:pt idx="2010">
                  <c:v>0.73549257759784104</c:v>
                </c:pt>
                <c:pt idx="2011">
                  <c:v>0.73561811505507901</c:v>
                </c:pt>
                <c:pt idx="2012">
                  <c:v>0.73566878980891703</c:v>
                </c:pt>
                <c:pt idx="2013">
                  <c:v>0.73568281938325997</c:v>
                </c:pt>
                <c:pt idx="2014">
                  <c:v>0.73572744014733005</c:v>
                </c:pt>
                <c:pt idx="2015">
                  <c:v>0.73578595317725703</c:v>
                </c:pt>
                <c:pt idx="2016">
                  <c:v>0.73584905660377298</c:v>
                </c:pt>
                <c:pt idx="2017">
                  <c:v>0.73595505617977497</c:v>
                </c:pt>
                <c:pt idx="2018">
                  <c:v>0.73605947955390305</c:v>
                </c:pt>
                <c:pt idx="2019">
                  <c:v>0.73675496688741704</c:v>
                </c:pt>
                <c:pt idx="2020">
                  <c:v>0.73684210526315796</c:v>
                </c:pt>
                <c:pt idx="2021">
                  <c:v>0.73684210526315796</c:v>
                </c:pt>
                <c:pt idx="2022">
                  <c:v>0.73684210526315796</c:v>
                </c:pt>
                <c:pt idx="2023">
                  <c:v>0.736925515055467</c:v>
                </c:pt>
                <c:pt idx="2024">
                  <c:v>0.73703041144901604</c:v>
                </c:pt>
                <c:pt idx="2025">
                  <c:v>0.73713490959666195</c:v>
                </c:pt>
                <c:pt idx="2026">
                  <c:v>0.73726541554959801</c:v>
                </c:pt>
                <c:pt idx="2027">
                  <c:v>0.737550471063257</c:v>
                </c:pt>
                <c:pt idx="2028">
                  <c:v>0.73770491803278704</c:v>
                </c:pt>
                <c:pt idx="2029">
                  <c:v>0.73770491803278704</c:v>
                </c:pt>
                <c:pt idx="2030">
                  <c:v>0.73778195488721798</c:v>
                </c:pt>
                <c:pt idx="2031">
                  <c:v>0.73791348600508899</c:v>
                </c:pt>
                <c:pt idx="2032">
                  <c:v>0.73825503355704702</c:v>
                </c:pt>
                <c:pt idx="2033">
                  <c:v>0.73833671399594303</c:v>
                </c:pt>
                <c:pt idx="2034">
                  <c:v>0.73840078973346501</c:v>
                </c:pt>
                <c:pt idx="2035">
                  <c:v>0.73841554559043299</c:v>
                </c:pt>
                <c:pt idx="2036">
                  <c:v>0.73846153846153795</c:v>
                </c:pt>
                <c:pt idx="2037">
                  <c:v>0.73850574712643702</c:v>
                </c:pt>
                <c:pt idx="2038">
                  <c:v>0.73856912318450796</c:v>
                </c:pt>
                <c:pt idx="2039">
                  <c:v>0.73857868020304596</c:v>
                </c:pt>
                <c:pt idx="2040">
                  <c:v>0.738721804511278</c:v>
                </c:pt>
                <c:pt idx="2041">
                  <c:v>0.73873873873873896</c:v>
                </c:pt>
                <c:pt idx="2042">
                  <c:v>0.73878627968337696</c:v>
                </c:pt>
                <c:pt idx="2043">
                  <c:v>0.73883161512027495</c:v>
                </c:pt>
                <c:pt idx="2044">
                  <c:v>0.73892617449664399</c:v>
                </c:pt>
                <c:pt idx="2045">
                  <c:v>0.739144419427469</c:v>
                </c:pt>
                <c:pt idx="2046">
                  <c:v>0.73933649289099501</c:v>
                </c:pt>
                <c:pt idx="2047">
                  <c:v>0.73945409429280395</c:v>
                </c:pt>
                <c:pt idx="2048">
                  <c:v>0.73946360153256696</c:v>
                </c:pt>
                <c:pt idx="2049">
                  <c:v>0.73951434878587197</c:v>
                </c:pt>
                <c:pt idx="2050">
                  <c:v>0.73962986598596003</c:v>
                </c:pt>
                <c:pt idx="2051">
                  <c:v>0.73972602739726001</c:v>
                </c:pt>
                <c:pt idx="2052">
                  <c:v>0.73976608187134496</c:v>
                </c:pt>
                <c:pt idx="2053">
                  <c:v>0.73980582524271798</c:v>
                </c:pt>
                <c:pt idx="2054">
                  <c:v>0.73989898989898994</c:v>
                </c:pt>
                <c:pt idx="2055">
                  <c:v>0.73997233748271096</c:v>
                </c:pt>
                <c:pt idx="2056">
                  <c:v>0.74019607843137303</c:v>
                </c:pt>
                <c:pt idx="2057">
                  <c:v>0.740234375</c:v>
                </c:pt>
                <c:pt idx="2058">
                  <c:v>0.740629685157421</c:v>
                </c:pt>
                <c:pt idx="2059">
                  <c:v>0.74074074074074103</c:v>
                </c:pt>
                <c:pt idx="2060">
                  <c:v>0.74074074074074103</c:v>
                </c:pt>
                <c:pt idx="2061">
                  <c:v>0.74114441416893695</c:v>
                </c:pt>
                <c:pt idx="2062">
                  <c:v>0.74134245404018795</c:v>
                </c:pt>
                <c:pt idx="2063">
                  <c:v>0.74153846153846203</c:v>
                </c:pt>
                <c:pt idx="2064">
                  <c:v>0.74159292035398205</c:v>
                </c:pt>
                <c:pt idx="2065">
                  <c:v>0.74165341812400598</c:v>
                </c:pt>
                <c:pt idx="2066">
                  <c:v>0.74166666666666703</c:v>
                </c:pt>
                <c:pt idx="2067">
                  <c:v>0.74175824175824201</c:v>
                </c:pt>
                <c:pt idx="2068">
                  <c:v>0.74177215189873402</c:v>
                </c:pt>
                <c:pt idx="2069">
                  <c:v>0.74177831912302095</c:v>
                </c:pt>
                <c:pt idx="2070">
                  <c:v>0.74188790560471995</c:v>
                </c:pt>
                <c:pt idx="2071">
                  <c:v>0.74193548387096797</c:v>
                </c:pt>
                <c:pt idx="2072">
                  <c:v>0.74193548387096797</c:v>
                </c:pt>
                <c:pt idx="2073">
                  <c:v>0.74201091192517499</c:v>
                </c:pt>
                <c:pt idx="2074">
                  <c:v>0.74234234234234198</c:v>
                </c:pt>
                <c:pt idx="2075">
                  <c:v>0.74235807860262004</c:v>
                </c:pt>
                <c:pt idx="2076">
                  <c:v>0.74257425742574201</c:v>
                </c:pt>
                <c:pt idx="2077">
                  <c:v>0.74267782426778195</c:v>
                </c:pt>
                <c:pt idx="2078">
                  <c:v>0.74275782155272296</c:v>
                </c:pt>
                <c:pt idx="2079">
                  <c:v>0.74285714285714299</c:v>
                </c:pt>
                <c:pt idx="2080">
                  <c:v>0.74295774647887303</c:v>
                </c:pt>
                <c:pt idx="2081">
                  <c:v>0.74327354260089695</c:v>
                </c:pt>
                <c:pt idx="2082">
                  <c:v>0.74333333333333296</c:v>
                </c:pt>
                <c:pt idx="2083">
                  <c:v>0.74336283185840701</c:v>
                </c:pt>
                <c:pt idx="2084">
                  <c:v>0.74337957124842402</c:v>
                </c:pt>
                <c:pt idx="2085">
                  <c:v>0.74344569288389495</c:v>
                </c:pt>
                <c:pt idx="2086">
                  <c:v>0.743654822335025</c:v>
                </c:pt>
                <c:pt idx="2087">
                  <c:v>0.74369747899159699</c:v>
                </c:pt>
                <c:pt idx="2088">
                  <c:v>0.74374680959673301</c:v>
                </c:pt>
                <c:pt idx="2089">
                  <c:v>0.744268077601411</c:v>
                </c:pt>
                <c:pt idx="2090">
                  <c:v>0.74430823117337996</c:v>
                </c:pt>
                <c:pt idx="2091">
                  <c:v>0.74437627811860896</c:v>
                </c:pt>
                <c:pt idx="2092">
                  <c:v>0.74444444444444402</c:v>
                </c:pt>
                <c:pt idx="2093">
                  <c:v>0.74452554744525501</c:v>
                </c:pt>
                <c:pt idx="2094">
                  <c:v>0.74462540716612402</c:v>
                </c:pt>
                <c:pt idx="2095">
                  <c:v>0.74463519313304705</c:v>
                </c:pt>
                <c:pt idx="2096">
                  <c:v>0.745</c:v>
                </c:pt>
                <c:pt idx="2097">
                  <c:v>0.74504950495049505</c:v>
                </c:pt>
                <c:pt idx="2098">
                  <c:v>0.74509803921568596</c:v>
                </c:pt>
                <c:pt idx="2099">
                  <c:v>0.74528301886792403</c:v>
                </c:pt>
                <c:pt idx="2100">
                  <c:v>0.74534161490683204</c:v>
                </c:pt>
                <c:pt idx="2101">
                  <c:v>0.74546675621222303</c:v>
                </c:pt>
                <c:pt idx="2102">
                  <c:v>0.74558303886925803</c:v>
                </c:pt>
                <c:pt idx="2103">
                  <c:v>0.74581005586592197</c:v>
                </c:pt>
                <c:pt idx="2104">
                  <c:v>0.74590163934426201</c:v>
                </c:pt>
                <c:pt idx="2105">
                  <c:v>0.74607329842931902</c:v>
                </c:pt>
                <c:pt idx="2106">
                  <c:v>0.74621212121212099</c:v>
                </c:pt>
                <c:pt idx="2107">
                  <c:v>0.74626865671641796</c:v>
                </c:pt>
                <c:pt idx="2108">
                  <c:v>0.74628413411683403</c:v>
                </c:pt>
                <c:pt idx="2109">
                  <c:v>0.74634146341463403</c:v>
                </c:pt>
                <c:pt idx="2110">
                  <c:v>0.74637681159420299</c:v>
                </c:pt>
                <c:pt idx="2111">
                  <c:v>0.74647887323943696</c:v>
                </c:pt>
                <c:pt idx="2112">
                  <c:v>0.74652777777777801</c:v>
                </c:pt>
                <c:pt idx="2113">
                  <c:v>0.74666666666666703</c:v>
                </c:pt>
                <c:pt idx="2114">
                  <c:v>0.74671052631578905</c:v>
                </c:pt>
                <c:pt idx="2115">
                  <c:v>0.747058823529412</c:v>
                </c:pt>
                <c:pt idx="2116">
                  <c:v>0.74706413730804</c:v>
                </c:pt>
                <c:pt idx="2117">
                  <c:v>0.747282608695652</c:v>
                </c:pt>
                <c:pt idx="2118">
                  <c:v>0.747435897435897</c:v>
                </c:pt>
                <c:pt idx="2119">
                  <c:v>0.74767864352038804</c:v>
                </c:pt>
                <c:pt idx="2120">
                  <c:v>0.74773960216998203</c:v>
                </c:pt>
                <c:pt idx="2121">
                  <c:v>0.74782608695652197</c:v>
                </c:pt>
                <c:pt idx="2122">
                  <c:v>0.74796084828711196</c:v>
                </c:pt>
                <c:pt idx="2123">
                  <c:v>0.74803149606299202</c:v>
                </c:pt>
                <c:pt idx="2124">
                  <c:v>0.74803836094158704</c:v>
                </c:pt>
                <c:pt idx="2125">
                  <c:v>0.74806201550387597</c:v>
                </c:pt>
                <c:pt idx="2126">
                  <c:v>0.74828060522696005</c:v>
                </c:pt>
                <c:pt idx="2127">
                  <c:v>0.748571428571428</c:v>
                </c:pt>
                <c:pt idx="2128">
                  <c:v>0.74863883847549895</c:v>
                </c:pt>
                <c:pt idx="2129">
                  <c:v>0.74866310160427796</c:v>
                </c:pt>
                <c:pt idx="2130">
                  <c:v>0.74880382775119603</c:v>
                </c:pt>
                <c:pt idx="2131">
                  <c:v>0.74904214559386995</c:v>
                </c:pt>
                <c:pt idx="2132">
                  <c:v>0.74912648497554102</c:v>
                </c:pt>
                <c:pt idx="2133">
                  <c:v>0.74916387959866204</c:v>
                </c:pt>
                <c:pt idx="2134">
                  <c:v>0.749185667752443</c:v>
                </c:pt>
                <c:pt idx="2135">
                  <c:v>0.74921630094043901</c:v>
                </c:pt>
                <c:pt idx="2136">
                  <c:v>0.74932126696832602</c:v>
                </c:pt>
                <c:pt idx="2137">
                  <c:v>0.74938574938574898</c:v>
                </c:pt>
                <c:pt idx="2138">
                  <c:v>0.74962140333165095</c:v>
                </c:pt>
                <c:pt idx="2139">
                  <c:v>0.74979287489643698</c:v>
                </c:pt>
                <c:pt idx="2140">
                  <c:v>0.74984167194426798</c:v>
                </c:pt>
                <c:pt idx="2141">
                  <c:v>0.75</c:v>
                </c:pt>
                <c:pt idx="2142">
                  <c:v>0.75</c:v>
                </c:pt>
                <c:pt idx="2143">
                  <c:v>0.75</c:v>
                </c:pt>
                <c:pt idx="2144">
                  <c:v>0.75</c:v>
                </c:pt>
                <c:pt idx="2145">
                  <c:v>0.75</c:v>
                </c:pt>
                <c:pt idx="2146">
                  <c:v>0.75</c:v>
                </c:pt>
                <c:pt idx="2147">
                  <c:v>0.75</c:v>
                </c:pt>
                <c:pt idx="2148">
                  <c:v>0.75</c:v>
                </c:pt>
                <c:pt idx="2149">
                  <c:v>0.75</c:v>
                </c:pt>
                <c:pt idx="2150">
                  <c:v>0.75030699959066705</c:v>
                </c:pt>
                <c:pt idx="2151">
                  <c:v>0.750346740638003</c:v>
                </c:pt>
                <c:pt idx="2152">
                  <c:v>0.75036179450072404</c:v>
                </c:pt>
                <c:pt idx="2153">
                  <c:v>0.750385208012327</c:v>
                </c:pt>
                <c:pt idx="2154">
                  <c:v>0.750544662309368</c:v>
                </c:pt>
                <c:pt idx="2155">
                  <c:v>0.75066079295154198</c:v>
                </c:pt>
                <c:pt idx="2156">
                  <c:v>0.75071633237822299</c:v>
                </c:pt>
                <c:pt idx="2157">
                  <c:v>0.75081967213114698</c:v>
                </c:pt>
                <c:pt idx="2158">
                  <c:v>0.750977835723598</c:v>
                </c:pt>
                <c:pt idx="2159">
                  <c:v>0.75103163686382401</c:v>
                </c:pt>
                <c:pt idx="2160">
                  <c:v>0.75107296137338997</c:v>
                </c:pt>
                <c:pt idx="2161">
                  <c:v>0.75107296137338997</c:v>
                </c:pt>
                <c:pt idx="2162">
                  <c:v>0.75109170305676798</c:v>
                </c:pt>
                <c:pt idx="2163">
                  <c:v>0.75115919629057204</c:v>
                </c:pt>
                <c:pt idx="2164">
                  <c:v>0.75138121546961301</c:v>
                </c:pt>
                <c:pt idx="2165">
                  <c:v>0.75159235668789803</c:v>
                </c:pt>
                <c:pt idx="2166">
                  <c:v>0.75163398692810401</c:v>
                </c:pt>
                <c:pt idx="2167">
                  <c:v>0.75167785234899298</c:v>
                </c:pt>
                <c:pt idx="2168">
                  <c:v>0.75189873417721498</c:v>
                </c:pt>
                <c:pt idx="2169">
                  <c:v>0.75196232339089497</c:v>
                </c:pt>
                <c:pt idx="2170">
                  <c:v>0.75205254515599296</c:v>
                </c:pt>
                <c:pt idx="2171">
                  <c:v>0.75209643605870002</c:v>
                </c:pt>
                <c:pt idx="2172">
                  <c:v>0.75221238938053103</c:v>
                </c:pt>
                <c:pt idx="2173">
                  <c:v>0.75231481481481499</c:v>
                </c:pt>
                <c:pt idx="2174">
                  <c:v>0.75274725274725296</c:v>
                </c:pt>
                <c:pt idx="2175">
                  <c:v>0.75288303130148304</c:v>
                </c:pt>
                <c:pt idx="2176">
                  <c:v>0.75291375291375295</c:v>
                </c:pt>
                <c:pt idx="2177">
                  <c:v>0.75311203319502096</c:v>
                </c:pt>
                <c:pt idx="2178">
                  <c:v>0.75333333333333297</c:v>
                </c:pt>
                <c:pt idx="2179">
                  <c:v>0.75335775335775301</c:v>
                </c:pt>
                <c:pt idx="2180">
                  <c:v>0.75379426644182101</c:v>
                </c:pt>
                <c:pt idx="2181">
                  <c:v>0.75381679389313005</c:v>
                </c:pt>
                <c:pt idx="2182">
                  <c:v>0.75414364640884002</c:v>
                </c:pt>
                <c:pt idx="2183">
                  <c:v>0.75438596491228105</c:v>
                </c:pt>
                <c:pt idx="2184">
                  <c:v>0.75458248472505096</c:v>
                </c:pt>
                <c:pt idx="2185">
                  <c:v>0.75458308693081</c:v>
                </c:pt>
                <c:pt idx="2186">
                  <c:v>0.75480769230769196</c:v>
                </c:pt>
                <c:pt idx="2187">
                  <c:v>0.75480769230769196</c:v>
                </c:pt>
                <c:pt idx="2188">
                  <c:v>0.75502392344497604</c:v>
                </c:pt>
                <c:pt idx="2189">
                  <c:v>0.75510204081632604</c:v>
                </c:pt>
                <c:pt idx="2190">
                  <c:v>0.75514018691588802</c:v>
                </c:pt>
                <c:pt idx="2191">
                  <c:v>0.75525269733106204</c:v>
                </c:pt>
                <c:pt idx="2192">
                  <c:v>0.75528700906344404</c:v>
                </c:pt>
                <c:pt idx="2193">
                  <c:v>0.75530410183875496</c:v>
                </c:pt>
                <c:pt idx="2194">
                  <c:v>0.75541125541125498</c:v>
                </c:pt>
                <c:pt idx="2195">
                  <c:v>0.75541125541125498</c:v>
                </c:pt>
                <c:pt idx="2196">
                  <c:v>0.755424063116371</c:v>
                </c:pt>
                <c:pt idx="2197">
                  <c:v>0.75549450549450503</c:v>
                </c:pt>
                <c:pt idx="2198">
                  <c:v>0.75569494882799604</c:v>
                </c:pt>
                <c:pt idx="2199">
                  <c:v>0.75575447570332499</c:v>
                </c:pt>
                <c:pt idx="2200">
                  <c:v>0.75578406169665802</c:v>
                </c:pt>
                <c:pt idx="2201">
                  <c:v>0.75588865096359703</c:v>
                </c:pt>
                <c:pt idx="2202">
                  <c:v>0.75605460149713799</c:v>
                </c:pt>
                <c:pt idx="2203">
                  <c:v>0.75612472160356303</c:v>
                </c:pt>
                <c:pt idx="2204">
                  <c:v>0.75621890547263704</c:v>
                </c:pt>
                <c:pt idx="2205">
                  <c:v>0.75632183908046002</c:v>
                </c:pt>
                <c:pt idx="2206">
                  <c:v>0.75641025641025605</c:v>
                </c:pt>
                <c:pt idx="2207">
                  <c:v>0.75657894736842102</c:v>
                </c:pt>
                <c:pt idx="2208">
                  <c:v>0.75668449197860999</c:v>
                </c:pt>
                <c:pt idx="2209">
                  <c:v>0.75700934579439205</c:v>
                </c:pt>
                <c:pt idx="2210">
                  <c:v>0.75706214689265505</c:v>
                </c:pt>
                <c:pt idx="2211">
                  <c:v>0.75724637681159401</c:v>
                </c:pt>
                <c:pt idx="2212">
                  <c:v>0.75728155339805803</c:v>
                </c:pt>
                <c:pt idx="2213">
                  <c:v>0.75739644970414199</c:v>
                </c:pt>
                <c:pt idx="2214">
                  <c:v>0.75742971887550203</c:v>
                </c:pt>
                <c:pt idx="2215">
                  <c:v>0.75757575757575701</c:v>
                </c:pt>
                <c:pt idx="2216">
                  <c:v>0.75770925110132203</c:v>
                </c:pt>
                <c:pt idx="2217">
                  <c:v>0.75776397515527905</c:v>
                </c:pt>
                <c:pt idx="2218">
                  <c:v>0.75776397515527905</c:v>
                </c:pt>
                <c:pt idx="2219">
                  <c:v>0.75782414307004498</c:v>
                </c:pt>
                <c:pt idx="2220">
                  <c:v>0.75799086757990897</c:v>
                </c:pt>
                <c:pt idx="2221">
                  <c:v>0.75824175824175799</c:v>
                </c:pt>
                <c:pt idx="2222">
                  <c:v>0.75830815709969801</c:v>
                </c:pt>
                <c:pt idx="2223">
                  <c:v>0.75831873905429104</c:v>
                </c:pt>
                <c:pt idx="2224">
                  <c:v>0.75874547647768398</c:v>
                </c:pt>
                <c:pt idx="2225">
                  <c:v>0.75892857142857095</c:v>
                </c:pt>
                <c:pt idx="2226">
                  <c:v>0.75903614457831303</c:v>
                </c:pt>
                <c:pt idx="2227">
                  <c:v>0.75906735751295296</c:v>
                </c:pt>
                <c:pt idx="2228">
                  <c:v>0.75909090909090904</c:v>
                </c:pt>
                <c:pt idx="2229">
                  <c:v>0.75925925925925897</c:v>
                </c:pt>
                <c:pt idx="2230">
                  <c:v>0.75929549902152604</c:v>
                </c:pt>
                <c:pt idx="2231">
                  <c:v>0.75934579439252303</c:v>
                </c:pt>
                <c:pt idx="2232">
                  <c:v>0.75937904269081502</c:v>
                </c:pt>
                <c:pt idx="2233">
                  <c:v>0.759439050701187</c:v>
                </c:pt>
                <c:pt idx="2234">
                  <c:v>0.75959079283887498</c:v>
                </c:pt>
                <c:pt idx="2235">
                  <c:v>0.75981524249422605</c:v>
                </c:pt>
                <c:pt idx="2236">
                  <c:v>0.759914255091104</c:v>
                </c:pt>
                <c:pt idx="2237">
                  <c:v>0.76010101010101006</c:v>
                </c:pt>
                <c:pt idx="2238">
                  <c:v>0.760170293282876</c:v>
                </c:pt>
                <c:pt idx="2239">
                  <c:v>0.76033057851239705</c:v>
                </c:pt>
                <c:pt idx="2240">
                  <c:v>0.76041666666666696</c:v>
                </c:pt>
                <c:pt idx="2241">
                  <c:v>0.76047430830039497</c:v>
                </c:pt>
                <c:pt idx="2242">
                  <c:v>0.76053215077605296</c:v>
                </c:pt>
                <c:pt idx="2243">
                  <c:v>0.76066199872692497</c:v>
                </c:pt>
                <c:pt idx="2244">
                  <c:v>0.76073619631901801</c:v>
                </c:pt>
                <c:pt idx="2245">
                  <c:v>0.76076555023923398</c:v>
                </c:pt>
                <c:pt idx="2246">
                  <c:v>0.76076555023923398</c:v>
                </c:pt>
                <c:pt idx="2247">
                  <c:v>0.76078431372549005</c:v>
                </c:pt>
                <c:pt idx="2248">
                  <c:v>0.76096997690531198</c:v>
                </c:pt>
                <c:pt idx="2249">
                  <c:v>0.76116838487972505</c:v>
                </c:pt>
                <c:pt idx="2250">
                  <c:v>0.76144578313252997</c:v>
                </c:pt>
                <c:pt idx="2251">
                  <c:v>0.76146788990825698</c:v>
                </c:pt>
                <c:pt idx="2252">
                  <c:v>0.76180698151950699</c:v>
                </c:pt>
                <c:pt idx="2253">
                  <c:v>0.76182432432432401</c:v>
                </c:pt>
                <c:pt idx="2254">
                  <c:v>0.76195899772209597</c:v>
                </c:pt>
                <c:pt idx="2255">
                  <c:v>0.76213592233009697</c:v>
                </c:pt>
                <c:pt idx="2256">
                  <c:v>0.76213991769547296</c:v>
                </c:pt>
                <c:pt idx="2257">
                  <c:v>0.76237623762376205</c:v>
                </c:pt>
                <c:pt idx="2258">
                  <c:v>0.76239669421487599</c:v>
                </c:pt>
                <c:pt idx="2259">
                  <c:v>0.76244665718349902</c:v>
                </c:pt>
                <c:pt idx="2260">
                  <c:v>0.76255230125522999</c:v>
                </c:pt>
                <c:pt idx="2261">
                  <c:v>0.76260504201680701</c:v>
                </c:pt>
                <c:pt idx="2262">
                  <c:v>0.76271186440677996</c:v>
                </c:pt>
                <c:pt idx="2263">
                  <c:v>0.76274757690686901</c:v>
                </c:pt>
                <c:pt idx="2264">
                  <c:v>0.76307796152548102</c:v>
                </c:pt>
                <c:pt idx="2265">
                  <c:v>0.76311605723370401</c:v>
                </c:pt>
                <c:pt idx="2266">
                  <c:v>0.76313181367690797</c:v>
                </c:pt>
                <c:pt idx="2267">
                  <c:v>0.76329331046312199</c:v>
                </c:pt>
                <c:pt idx="2268">
                  <c:v>0.76329331046312199</c:v>
                </c:pt>
                <c:pt idx="2269">
                  <c:v>0.76331360946745597</c:v>
                </c:pt>
                <c:pt idx="2270">
                  <c:v>0.76343381389252896</c:v>
                </c:pt>
                <c:pt idx="2271">
                  <c:v>0.76346604215456704</c:v>
                </c:pt>
                <c:pt idx="2272">
                  <c:v>0.76361386138613896</c:v>
                </c:pt>
                <c:pt idx="2273">
                  <c:v>0.76380368098159501</c:v>
                </c:pt>
                <c:pt idx="2274">
                  <c:v>0.76433121019108297</c:v>
                </c:pt>
                <c:pt idx="2275">
                  <c:v>0.76441917140536098</c:v>
                </c:pt>
                <c:pt idx="2276">
                  <c:v>0.76461038961038996</c:v>
                </c:pt>
                <c:pt idx="2277">
                  <c:v>0.76466480446927398</c:v>
                </c:pt>
                <c:pt idx="2278">
                  <c:v>0.76470588235294101</c:v>
                </c:pt>
                <c:pt idx="2279">
                  <c:v>0.76470588235294101</c:v>
                </c:pt>
                <c:pt idx="2280">
                  <c:v>0.765021459227468</c:v>
                </c:pt>
                <c:pt idx="2281">
                  <c:v>0.76524390243902396</c:v>
                </c:pt>
                <c:pt idx="2282">
                  <c:v>0.76527777777777795</c:v>
                </c:pt>
                <c:pt idx="2283">
                  <c:v>0.76529338327091101</c:v>
                </c:pt>
                <c:pt idx="2284">
                  <c:v>0.765625</c:v>
                </c:pt>
                <c:pt idx="2285">
                  <c:v>0.765625</c:v>
                </c:pt>
                <c:pt idx="2286">
                  <c:v>0.76569037656903804</c:v>
                </c:pt>
                <c:pt idx="2287">
                  <c:v>0.76569297700435002</c:v>
                </c:pt>
                <c:pt idx="2288">
                  <c:v>0.76585365853658505</c:v>
                </c:pt>
                <c:pt idx="2289">
                  <c:v>0.76602564102564097</c:v>
                </c:pt>
                <c:pt idx="2290">
                  <c:v>0.76608629825889496</c:v>
                </c:pt>
                <c:pt idx="2291">
                  <c:v>0.76612480335605704</c:v>
                </c:pt>
                <c:pt idx="2292">
                  <c:v>0.76616915422885601</c:v>
                </c:pt>
                <c:pt idx="2293">
                  <c:v>0.76623376623376604</c:v>
                </c:pt>
                <c:pt idx="2294">
                  <c:v>0.76635514018691597</c:v>
                </c:pt>
                <c:pt idx="2295">
                  <c:v>0.76638655462184901</c:v>
                </c:pt>
                <c:pt idx="2296">
                  <c:v>0.76666666666666705</c:v>
                </c:pt>
                <c:pt idx="2297">
                  <c:v>0.76666666666666705</c:v>
                </c:pt>
                <c:pt idx="2298">
                  <c:v>0.76697736351531298</c:v>
                </c:pt>
                <c:pt idx="2299">
                  <c:v>0.76712328767123295</c:v>
                </c:pt>
                <c:pt idx="2300">
                  <c:v>0.76744186046511598</c:v>
                </c:pt>
                <c:pt idx="2301">
                  <c:v>0.76748582230623796</c:v>
                </c:pt>
                <c:pt idx="2302">
                  <c:v>0.76750330250990695</c:v>
                </c:pt>
                <c:pt idx="2303">
                  <c:v>0.76756756756756805</c:v>
                </c:pt>
                <c:pt idx="2304">
                  <c:v>0.76760563380281699</c:v>
                </c:pt>
                <c:pt idx="2305">
                  <c:v>0.76764705882352902</c:v>
                </c:pt>
                <c:pt idx="2306">
                  <c:v>0.76790450928382004</c:v>
                </c:pt>
                <c:pt idx="2307">
                  <c:v>0.76801801801801795</c:v>
                </c:pt>
                <c:pt idx="2308">
                  <c:v>0.76802507836990597</c:v>
                </c:pt>
                <c:pt idx="2309">
                  <c:v>0.76811594202898503</c:v>
                </c:pt>
                <c:pt idx="2310">
                  <c:v>0.76816860465116299</c:v>
                </c:pt>
                <c:pt idx="2311">
                  <c:v>0.76833156216790599</c:v>
                </c:pt>
                <c:pt idx="2312">
                  <c:v>0.76844783715012699</c:v>
                </c:pt>
                <c:pt idx="2313">
                  <c:v>0.76854599406528201</c:v>
                </c:pt>
                <c:pt idx="2314">
                  <c:v>0.76876267748478699</c:v>
                </c:pt>
                <c:pt idx="2315">
                  <c:v>0.76918918918918899</c:v>
                </c:pt>
                <c:pt idx="2316">
                  <c:v>0.76929902395740901</c:v>
                </c:pt>
                <c:pt idx="2317">
                  <c:v>0.76937018577254201</c:v>
                </c:pt>
                <c:pt idx="2318">
                  <c:v>0.76946107784431095</c:v>
                </c:pt>
                <c:pt idx="2319">
                  <c:v>0.76953125</c:v>
                </c:pt>
                <c:pt idx="2320">
                  <c:v>0.769640479360852</c:v>
                </c:pt>
                <c:pt idx="2321">
                  <c:v>0.76966292134831504</c:v>
                </c:pt>
                <c:pt idx="2322">
                  <c:v>0.76982097186700804</c:v>
                </c:pt>
                <c:pt idx="2323">
                  <c:v>0.76993166287015902</c:v>
                </c:pt>
                <c:pt idx="2324">
                  <c:v>0.77003484320557503</c:v>
                </c:pt>
                <c:pt idx="2325">
                  <c:v>0.77008928571428603</c:v>
                </c:pt>
                <c:pt idx="2326">
                  <c:v>0.77015437392795905</c:v>
                </c:pt>
                <c:pt idx="2327">
                  <c:v>0.77033730158730196</c:v>
                </c:pt>
                <c:pt idx="2328">
                  <c:v>0.77034883720930203</c:v>
                </c:pt>
                <c:pt idx="2329">
                  <c:v>0.77035490605428003</c:v>
                </c:pt>
                <c:pt idx="2330">
                  <c:v>0.77055346587856</c:v>
                </c:pt>
                <c:pt idx="2331">
                  <c:v>0.77070063694267499</c:v>
                </c:pt>
                <c:pt idx="2332">
                  <c:v>0.77104642014162095</c:v>
                </c:pt>
                <c:pt idx="2333">
                  <c:v>0.77121067683508104</c:v>
                </c:pt>
                <c:pt idx="2334">
                  <c:v>0.77128116938950997</c:v>
                </c:pt>
                <c:pt idx="2335">
                  <c:v>0.77135171486213805</c:v>
                </c:pt>
                <c:pt idx="2336">
                  <c:v>0.77137870855148305</c:v>
                </c:pt>
                <c:pt idx="2337">
                  <c:v>0.77158034528552399</c:v>
                </c:pt>
                <c:pt idx="2338">
                  <c:v>0.77164366373902105</c:v>
                </c:pt>
                <c:pt idx="2339">
                  <c:v>0.77177914110429402</c:v>
                </c:pt>
                <c:pt idx="2340">
                  <c:v>0.77205882352941202</c:v>
                </c:pt>
                <c:pt idx="2341">
                  <c:v>0.77222222222222203</c:v>
                </c:pt>
                <c:pt idx="2342">
                  <c:v>0.77251184834123199</c:v>
                </c:pt>
                <c:pt idx="2343">
                  <c:v>0.772519083969466</c:v>
                </c:pt>
                <c:pt idx="2344">
                  <c:v>0.77272727272727304</c:v>
                </c:pt>
                <c:pt idx="2345">
                  <c:v>0.77272727272727304</c:v>
                </c:pt>
                <c:pt idx="2346">
                  <c:v>0.77283372365339598</c:v>
                </c:pt>
                <c:pt idx="2347">
                  <c:v>0.77307692307692299</c:v>
                </c:pt>
                <c:pt idx="2348">
                  <c:v>0.77313432835820906</c:v>
                </c:pt>
                <c:pt idx="2349">
                  <c:v>0.7734375</c:v>
                </c:pt>
                <c:pt idx="2350">
                  <c:v>0.773622047244094</c:v>
                </c:pt>
                <c:pt idx="2351">
                  <c:v>0.77366255144032903</c:v>
                </c:pt>
                <c:pt idx="2352">
                  <c:v>0.77366255144032903</c:v>
                </c:pt>
                <c:pt idx="2353">
                  <c:v>0.77369439071566704</c:v>
                </c:pt>
                <c:pt idx="2354">
                  <c:v>0.77374301675977597</c:v>
                </c:pt>
                <c:pt idx="2355">
                  <c:v>0.77376425855513298</c:v>
                </c:pt>
                <c:pt idx="2356">
                  <c:v>0.77386934673366803</c:v>
                </c:pt>
                <c:pt idx="2357">
                  <c:v>0.77388535031847105</c:v>
                </c:pt>
                <c:pt idx="2358">
                  <c:v>0.77430555555555602</c:v>
                </c:pt>
                <c:pt idx="2359">
                  <c:v>0.77464788732394396</c:v>
                </c:pt>
                <c:pt idx="2360">
                  <c:v>0.77469135802469102</c:v>
                </c:pt>
                <c:pt idx="2361">
                  <c:v>0.77488372093023306</c:v>
                </c:pt>
                <c:pt idx="2362">
                  <c:v>0.77496483825597695</c:v>
                </c:pt>
                <c:pt idx="2363">
                  <c:v>0.77502214348981402</c:v>
                </c:pt>
                <c:pt idx="2364">
                  <c:v>0.77510040160642601</c:v>
                </c:pt>
                <c:pt idx="2365">
                  <c:v>0.77533577533577502</c:v>
                </c:pt>
                <c:pt idx="2366">
                  <c:v>0.77551020408163296</c:v>
                </c:pt>
                <c:pt idx="2367">
                  <c:v>0.77551020408163296</c:v>
                </c:pt>
                <c:pt idx="2368">
                  <c:v>0.77606574216743696</c:v>
                </c:pt>
                <c:pt idx="2369">
                  <c:v>0.776173285198556</c:v>
                </c:pt>
                <c:pt idx="2370">
                  <c:v>0.77652485904664303</c:v>
                </c:pt>
                <c:pt idx="2371">
                  <c:v>0.77659574468085102</c:v>
                </c:pt>
                <c:pt idx="2372">
                  <c:v>0.77694610778443096</c:v>
                </c:pt>
                <c:pt idx="2373">
                  <c:v>0.77699115044247802</c:v>
                </c:pt>
                <c:pt idx="2374">
                  <c:v>0.77702702702702697</c:v>
                </c:pt>
                <c:pt idx="2375">
                  <c:v>0.77724358974358998</c:v>
                </c:pt>
                <c:pt idx="2376">
                  <c:v>0.77777777777777801</c:v>
                </c:pt>
                <c:pt idx="2377">
                  <c:v>0.77777777777777801</c:v>
                </c:pt>
                <c:pt idx="2378">
                  <c:v>0.77800829875518696</c:v>
                </c:pt>
                <c:pt idx="2379">
                  <c:v>0.77815699658703097</c:v>
                </c:pt>
                <c:pt idx="2380">
                  <c:v>0.77857142857142903</c:v>
                </c:pt>
                <c:pt idx="2381">
                  <c:v>0.77868852459016402</c:v>
                </c:pt>
                <c:pt idx="2382">
                  <c:v>0.77876106194690298</c:v>
                </c:pt>
                <c:pt idx="2383">
                  <c:v>0.77938144329896897</c:v>
                </c:pt>
                <c:pt idx="2384">
                  <c:v>0.77942998760842597</c:v>
                </c:pt>
                <c:pt idx="2385">
                  <c:v>0.77966101694915202</c:v>
                </c:pt>
                <c:pt idx="2386">
                  <c:v>0.77995110024449898</c:v>
                </c:pt>
                <c:pt idx="2387">
                  <c:v>0.78020134228187898</c:v>
                </c:pt>
                <c:pt idx="2388">
                  <c:v>0.78021289918597403</c:v>
                </c:pt>
                <c:pt idx="2389">
                  <c:v>0.780287474332649</c:v>
                </c:pt>
                <c:pt idx="2390">
                  <c:v>0.78048780487804903</c:v>
                </c:pt>
                <c:pt idx="2391">
                  <c:v>0.78063241106719405</c:v>
                </c:pt>
                <c:pt idx="2392">
                  <c:v>0.78073089700996701</c:v>
                </c:pt>
                <c:pt idx="2393">
                  <c:v>0.78082191780821897</c:v>
                </c:pt>
                <c:pt idx="2394">
                  <c:v>0.78100263852242702</c:v>
                </c:pt>
                <c:pt idx="2395">
                  <c:v>0.78114478114478103</c:v>
                </c:pt>
                <c:pt idx="2396">
                  <c:v>0.78130841121495298</c:v>
                </c:pt>
                <c:pt idx="2397">
                  <c:v>0.78136882129277596</c:v>
                </c:pt>
                <c:pt idx="2398">
                  <c:v>0.78147268408551096</c:v>
                </c:pt>
                <c:pt idx="2399">
                  <c:v>0.78149100257069404</c:v>
                </c:pt>
                <c:pt idx="2400">
                  <c:v>0.78181818181818197</c:v>
                </c:pt>
                <c:pt idx="2401">
                  <c:v>0.78199052132701397</c:v>
                </c:pt>
                <c:pt idx="2402">
                  <c:v>0.78229665071770305</c:v>
                </c:pt>
                <c:pt idx="2403">
                  <c:v>0.78238341968911895</c:v>
                </c:pt>
                <c:pt idx="2404">
                  <c:v>0.78245614035087696</c:v>
                </c:pt>
                <c:pt idx="2405">
                  <c:v>0.78254545454545399</c:v>
                </c:pt>
                <c:pt idx="2406">
                  <c:v>0.78260869565217395</c:v>
                </c:pt>
                <c:pt idx="2407">
                  <c:v>0.78269617706237404</c:v>
                </c:pt>
                <c:pt idx="2408">
                  <c:v>0.78289473684210498</c:v>
                </c:pt>
                <c:pt idx="2409">
                  <c:v>0.78294573643410803</c:v>
                </c:pt>
                <c:pt idx="2410">
                  <c:v>0.78319327731092403</c:v>
                </c:pt>
                <c:pt idx="2411">
                  <c:v>0.78425196850393697</c:v>
                </c:pt>
                <c:pt idx="2412">
                  <c:v>0.78429602888086603</c:v>
                </c:pt>
                <c:pt idx="2413">
                  <c:v>0.78438899552143304</c:v>
                </c:pt>
                <c:pt idx="2414">
                  <c:v>0.78448275862068995</c:v>
                </c:pt>
                <c:pt idx="2415">
                  <c:v>0.78461538461538505</c:v>
                </c:pt>
                <c:pt idx="2416">
                  <c:v>0.78469750889679701</c:v>
                </c:pt>
                <c:pt idx="2417">
                  <c:v>0.78478964401294504</c:v>
                </c:pt>
                <c:pt idx="2418">
                  <c:v>0.785263157894737</c:v>
                </c:pt>
                <c:pt idx="2419">
                  <c:v>0.78588516746411496</c:v>
                </c:pt>
                <c:pt idx="2420">
                  <c:v>0.78608515057113204</c:v>
                </c:pt>
                <c:pt idx="2421">
                  <c:v>0.78613569321533905</c:v>
                </c:pt>
                <c:pt idx="2422">
                  <c:v>0.78620689655172404</c:v>
                </c:pt>
                <c:pt idx="2423">
                  <c:v>0.78629032258064502</c:v>
                </c:pt>
                <c:pt idx="2424">
                  <c:v>0.78636363636363604</c:v>
                </c:pt>
                <c:pt idx="2425">
                  <c:v>0.78656716417910399</c:v>
                </c:pt>
                <c:pt idx="2426">
                  <c:v>0.786885245901639</c:v>
                </c:pt>
                <c:pt idx="2427">
                  <c:v>0.78714859437750995</c:v>
                </c:pt>
                <c:pt idx="2428">
                  <c:v>0.78723404255319096</c:v>
                </c:pt>
                <c:pt idx="2429">
                  <c:v>0.78737541528239197</c:v>
                </c:pt>
                <c:pt idx="2430">
                  <c:v>0.78751013787510105</c:v>
                </c:pt>
                <c:pt idx="2431">
                  <c:v>0.787610619469026</c:v>
                </c:pt>
                <c:pt idx="2432">
                  <c:v>0.78776978417266197</c:v>
                </c:pt>
                <c:pt idx="2433">
                  <c:v>0.78781512605042003</c:v>
                </c:pt>
                <c:pt idx="2434">
                  <c:v>0.78787878787878796</c:v>
                </c:pt>
                <c:pt idx="2435">
                  <c:v>0.78815196394076004</c:v>
                </c:pt>
                <c:pt idx="2436">
                  <c:v>0.78818998716302902</c:v>
                </c:pt>
                <c:pt idx="2437">
                  <c:v>0.78823529411764703</c:v>
                </c:pt>
                <c:pt idx="2438">
                  <c:v>0.78823529411764703</c:v>
                </c:pt>
                <c:pt idx="2439">
                  <c:v>0.78837209302325595</c:v>
                </c:pt>
                <c:pt idx="2440">
                  <c:v>0.78893442622950805</c:v>
                </c:pt>
                <c:pt idx="2441">
                  <c:v>0.78903654485049801</c:v>
                </c:pt>
                <c:pt idx="2442">
                  <c:v>0.7890625</c:v>
                </c:pt>
                <c:pt idx="2443">
                  <c:v>0.78927203065134099</c:v>
                </c:pt>
                <c:pt idx="2444">
                  <c:v>0.78928987194412104</c:v>
                </c:pt>
                <c:pt idx="2445">
                  <c:v>0.78935698447893599</c:v>
                </c:pt>
                <c:pt idx="2446">
                  <c:v>0.78947368421052599</c:v>
                </c:pt>
                <c:pt idx="2447">
                  <c:v>0.78947368421052599</c:v>
                </c:pt>
                <c:pt idx="2448">
                  <c:v>0.78956999085086899</c:v>
                </c:pt>
                <c:pt idx="2449">
                  <c:v>0.78964667214461803</c:v>
                </c:pt>
                <c:pt idx="2450">
                  <c:v>0.78982300884955703</c:v>
                </c:pt>
                <c:pt idx="2451">
                  <c:v>0.79041916167664705</c:v>
                </c:pt>
                <c:pt idx="2452">
                  <c:v>0.79051383399209496</c:v>
                </c:pt>
                <c:pt idx="2453">
                  <c:v>0.79061371841155204</c:v>
                </c:pt>
                <c:pt idx="2454">
                  <c:v>0.790874524714829</c:v>
                </c:pt>
                <c:pt idx="2455">
                  <c:v>0.79093198992443303</c:v>
                </c:pt>
                <c:pt idx="2456">
                  <c:v>0.79108838568298001</c:v>
                </c:pt>
                <c:pt idx="2457">
                  <c:v>0.79118773946360099</c:v>
                </c:pt>
                <c:pt idx="2458">
                  <c:v>0.79155672823219003</c:v>
                </c:pt>
                <c:pt idx="2459">
                  <c:v>0.79160419790104897</c:v>
                </c:pt>
                <c:pt idx="2460">
                  <c:v>0.791619479048698</c:v>
                </c:pt>
                <c:pt idx="2461">
                  <c:v>0.79166666666666696</c:v>
                </c:pt>
                <c:pt idx="2462">
                  <c:v>0.79166666666666696</c:v>
                </c:pt>
                <c:pt idx="2463">
                  <c:v>0.79203539823008795</c:v>
                </c:pt>
                <c:pt idx="2464">
                  <c:v>0.79217603911980405</c:v>
                </c:pt>
                <c:pt idx="2465">
                  <c:v>0.79295154185021999</c:v>
                </c:pt>
                <c:pt idx="2466">
                  <c:v>0.79310344827586199</c:v>
                </c:pt>
                <c:pt idx="2467">
                  <c:v>0.79313632030505199</c:v>
                </c:pt>
                <c:pt idx="2468">
                  <c:v>0.79327521793275202</c:v>
                </c:pt>
                <c:pt idx="2469">
                  <c:v>0.79334098737083802</c:v>
                </c:pt>
                <c:pt idx="2470">
                  <c:v>0.793548387096774</c:v>
                </c:pt>
                <c:pt idx="2471">
                  <c:v>0.79356568364611202</c:v>
                </c:pt>
                <c:pt idx="2472">
                  <c:v>0.79357798165137605</c:v>
                </c:pt>
                <c:pt idx="2473">
                  <c:v>0.793604651162791</c:v>
                </c:pt>
                <c:pt idx="2474">
                  <c:v>0.79362416107382505</c:v>
                </c:pt>
                <c:pt idx="2475">
                  <c:v>0.79365079365079405</c:v>
                </c:pt>
                <c:pt idx="2476">
                  <c:v>0.79389312977099202</c:v>
                </c:pt>
                <c:pt idx="2477">
                  <c:v>0.79392971246006405</c:v>
                </c:pt>
                <c:pt idx="2478">
                  <c:v>0.79400260756192997</c:v>
                </c:pt>
                <c:pt idx="2479">
                  <c:v>0.79420084865629403</c:v>
                </c:pt>
                <c:pt idx="2480">
                  <c:v>0.79422382671480096</c:v>
                </c:pt>
                <c:pt idx="2481">
                  <c:v>0.79439252336448596</c:v>
                </c:pt>
                <c:pt idx="2482">
                  <c:v>0.79444444444444395</c:v>
                </c:pt>
                <c:pt idx="2483">
                  <c:v>0.79452054794520499</c:v>
                </c:pt>
                <c:pt idx="2484">
                  <c:v>0.79579929988331399</c:v>
                </c:pt>
                <c:pt idx="2485">
                  <c:v>0.79591836734693899</c:v>
                </c:pt>
                <c:pt idx="2486">
                  <c:v>0.79591836734693899</c:v>
                </c:pt>
                <c:pt idx="2487">
                  <c:v>0.79621280432822406</c:v>
                </c:pt>
                <c:pt idx="2488">
                  <c:v>0.79634464751958201</c:v>
                </c:pt>
                <c:pt idx="2489">
                  <c:v>0.79659949622166204</c:v>
                </c:pt>
                <c:pt idx="2490">
                  <c:v>0.79661016949152497</c:v>
                </c:pt>
                <c:pt idx="2491">
                  <c:v>0.79672578444747599</c:v>
                </c:pt>
                <c:pt idx="2492">
                  <c:v>0.79674796747967502</c:v>
                </c:pt>
                <c:pt idx="2493">
                  <c:v>0.79704797047970499</c:v>
                </c:pt>
                <c:pt idx="2494">
                  <c:v>0.79710144927536197</c:v>
                </c:pt>
                <c:pt idx="2495">
                  <c:v>0.79714285714285704</c:v>
                </c:pt>
                <c:pt idx="2496">
                  <c:v>0.79746835443038</c:v>
                </c:pt>
                <c:pt idx="2497">
                  <c:v>0.79752066115702502</c:v>
                </c:pt>
                <c:pt idx="2498">
                  <c:v>0.797752808988764</c:v>
                </c:pt>
                <c:pt idx="2499">
                  <c:v>0.79801980198019795</c:v>
                </c:pt>
                <c:pt idx="2500">
                  <c:v>0.798165137614679</c:v>
                </c:pt>
                <c:pt idx="2501">
                  <c:v>0.79824561403508798</c:v>
                </c:pt>
                <c:pt idx="2502">
                  <c:v>0.79829545454545403</c:v>
                </c:pt>
                <c:pt idx="2503">
                  <c:v>0.79838709677419295</c:v>
                </c:pt>
                <c:pt idx="2504">
                  <c:v>0.79848866498740501</c:v>
                </c:pt>
                <c:pt idx="2505">
                  <c:v>0.79862306368330505</c:v>
                </c:pt>
                <c:pt idx="2506">
                  <c:v>0.798785117691724</c:v>
                </c:pt>
                <c:pt idx="2507">
                  <c:v>0.79896907216494795</c:v>
                </c:pt>
                <c:pt idx="2508">
                  <c:v>0.79896907216494795</c:v>
                </c:pt>
                <c:pt idx="2509">
                  <c:v>0.79898218829516499</c:v>
                </c:pt>
                <c:pt idx="2510">
                  <c:v>0.79933110367893001</c:v>
                </c:pt>
                <c:pt idx="2511">
                  <c:v>0.79939209726443805</c:v>
                </c:pt>
                <c:pt idx="2512">
                  <c:v>0.79943502824858703</c:v>
                </c:pt>
                <c:pt idx="2513">
                  <c:v>0.79966611018363898</c:v>
                </c:pt>
                <c:pt idx="2514">
                  <c:v>0.8</c:v>
                </c:pt>
                <c:pt idx="2515">
                  <c:v>0.8</c:v>
                </c:pt>
                <c:pt idx="2516">
                  <c:v>0.80017528483786104</c:v>
                </c:pt>
                <c:pt idx="2517">
                  <c:v>0.80019120458891002</c:v>
                </c:pt>
                <c:pt idx="2518">
                  <c:v>0.80049413218035803</c:v>
                </c:pt>
                <c:pt idx="2519">
                  <c:v>0.80076628352490398</c:v>
                </c:pt>
                <c:pt idx="2520">
                  <c:v>0.80108499095840902</c:v>
                </c:pt>
                <c:pt idx="2521">
                  <c:v>0.80124223602484501</c:v>
                </c:pt>
                <c:pt idx="2522">
                  <c:v>0.80131004366812197</c:v>
                </c:pt>
                <c:pt idx="2523">
                  <c:v>0.80133185349611502</c:v>
                </c:pt>
                <c:pt idx="2524">
                  <c:v>0.80165289256198302</c:v>
                </c:pt>
                <c:pt idx="2525">
                  <c:v>0.80181543116490195</c:v>
                </c:pt>
                <c:pt idx="2526">
                  <c:v>0.80188679245283001</c:v>
                </c:pt>
                <c:pt idx="2527">
                  <c:v>0.80236486486486502</c:v>
                </c:pt>
                <c:pt idx="2528">
                  <c:v>0.80284552845528501</c:v>
                </c:pt>
                <c:pt idx="2529">
                  <c:v>0.802874743326489</c:v>
                </c:pt>
                <c:pt idx="2530">
                  <c:v>0.802955665024631</c:v>
                </c:pt>
                <c:pt idx="2531">
                  <c:v>0.80299251870324195</c:v>
                </c:pt>
                <c:pt idx="2532">
                  <c:v>0.80309627479438805</c:v>
                </c:pt>
                <c:pt idx="2533">
                  <c:v>0.80337078651685401</c:v>
                </c:pt>
                <c:pt idx="2534">
                  <c:v>0.80341880341880301</c:v>
                </c:pt>
                <c:pt idx="2535">
                  <c:v>0.80365296803652997</c:v>
                </c:pt>
                <c:pt idx="2536">
                  <c:v>0.80392156862745101</c:v>
                </c:pt>
                <c:pt idx="2537">
                  <c:v>0.80392156862745101</c:v>
                </c:pt>
                <c:pt idx="2538">
                  <c:v>0.80397022332506196</c:v>
                </c:pt>
                <c:pt idx="2539">
                  <c:v>0.80406654343807804</c:v>
                </c:pt>
                <c:pt idx="2540">
                  <c:v>0.80434782608695599</c:v>
                </c:pt>
                <c:pt idx="2541">
                  <c:v>0.80457746478873204</c:v>
                </c:pt>
                <c:pt idx="2542">
                  <c:v>0.80533333333333301</c:v>
                </c:pt>
                <c:pt idx="2543">
                  <c:v>0.80541455160744502</c:v>
                </c:pt>
                <c:pt idx="2544">
                  <c:v>0.80545163014430798</c:v>
                </c:pt>
                <c:pt idx="2545">
                  <c:v>0.80569514237855899</c:v>
                </c:pt>
                <c:pt idx="2546">
                  <c:v>0.805755395683453</c:v>
                </c:pt>
                <c:pt idx="2547">
                  <c:v>0.80588235294117605</c:v>
                </c:pt>
                <c:pt idx="2548">
                  <c:v>0.80597014925373101</c:v>
                </c:pt>
                <c:pt idx="2549">
                  <c:v>0.80597014925373101</c:v>
                </c:pt>
                <c:pt idx="2550">
                  <c:v>0.80597014925373101</c:v>
                </c:pt>
                <c:pt idx="2551">
                  <c:v>0.80597014925373101</c:v>
                </c:pt>
                <c:pt idx="2552">
                  <c:v>0.806034482758621</c:v>
                </c:pt>
                <c:pt idx="2553">
                  <c:v>0.80612244897959195</c:v>
                </c:pt>
                <c:pt idx="2554">
                  <c:v>0.806201550387597</c:v>
                </c:pt>
                <c:pt idx="2555">
                  <c:v>0.80622837370242195</c:v>
                </c:pt>
                <c:pt idx="2556">
                  <c:v>0.80641106222501602</c:v>
                </c:pt>
                <c:pt idx="2557">
                  <c:v>0.80651340996168597</c:v>
                </c:pt>
                <c:pt idx="2558">
                  <c:v>0.80662983425414403</c:v>
                </c:pt>
                <c:pt idx="2559">
                  <c:v>0.80677966101694898</c:v>
                </c:pt>
                <c:pt idx="2560">
                  <c:v>0.80681818181818199</c:v>
                </c:pt>
                <c:pt idx="2561">
                  <c:v>0.80693069306930698</c:v>
                </c:pt>
                <c:pt idx="2562">
                  <c:v>0.80708661417322802</c:v>
                </c:pt>
                <c:pt idx="2563">
                  <c:v>0.80740740740740702</c:v>
                </c:pt>
                <c:pt idx="2564">
                  <c:v>0.80743243243243201</c:v>
                </c:pt>
                <c:pt idx="2565">
                  <c:v>0.807726075504829</c:v>
                </c:pt>
                <c:pt idx="2566">
                  <c:v>0.80778708723509096</c:v>
                </c:pt>
                <c:pt idx="2567">
                  <c:v>0.80804387568555802</c:v>
                </c:pt>
                <c:pt idx="2568">
                  <c:v>0.80851063829787195</c:v>
                </c:pt>
                <c:pt idx="2569">
                  <c:v>0.80864197530864201</c:v>
                </c:pt>
                <c:pt idx="2570">
                  <c:v>0.80882352941176505</c:v>
                </c:pt>
                <c:pt idx="2571">
                  <c:v>0.80888888888888899</c:v>
                </c:pt>
                <c:pt idx="2572">
                  <c:v>0.80898876404494402</c:v>
                </c:pt>
                <c:pt idx="2573">
                  <c:v>0.80899908172635404</c:v>
                </c:pt>
                <c:pt idx="2574">
                  <c:v>0.80919395465995003</c:v>
                </c:pt>
                <c:pt idx="2575">
                  <c:v>0.80928689883913796</c:v>
                </c:pt>
                <c:pt idx="2576">
                  <c:v>0.80949105914718</c:v>
                </c:pt>
                <c:pt idx="2577">
                  <c:v>0.80952380952380898</c:v>
                </c:pt>
                <c:pt idx="2578">
                  <c:v>0.80968096809681001</c:v>
                </c:pt>
                <c:pt idx="2579">
                  <c:v>0.80968280467445697</c:v>
                </c:pt>
                <c:pt idx="2580">
                  <c:v>0.80979827089337197</c:v>
                </c:pt>
                <c:pt idx="2581">
                  <c:v>0.80982367758186402</c:v>
                </c:pt>
                <c:pt idx="2582">
                  <c:v>0.80985915492957705</c:v>
                </c:pt>
                <c:pt idx="2583">
                  <c:v>0.80991735537190102</c:v>
                </c:pt>
                <c:pt idx="2584">
                  <c:v>0.80998914223669904</c:v>
                </c:pt>
                <c:pt idx="2585">
                  <c:v>0.81002638522427395</c:v>
                </c:pt>
                <c:pt idx="2586">
                  <c:v>0.810126582278481</c:v>
                </c:pt>
                <c:pt idx="2587">
                  <c:v>0.81081081081081097</c:v>
                </c:pt>
                <c:pt idx="2588">
                  <c:v>0.81092012133468105</c:v>
                </c:pt>
                <c:pt idx="2589">
                  <c:v>0.81147540983606603</c:v>
                </c:pt>
                <c:pt idx="2590">
                  <c:v>0.81189903846153799</c:v>
                </c:pt>
                <c:pt idx="2591">
                  <c:v>0.81203007518796999</c:v>
                </c:pt>
                <c:pt idx="2592">
                  <c:v>0.81231671554252205</c:v>
                </c:pt>
                <c:pt idx="2593">
                  <c:v>0.81242672919109005</c:v>
                </c:pt>
                <c:pt idx="2594">
                  <c:v>0.81286549707602296</c:v>
                </c:pt>
                <c:pt idx="2595">
                  <c:v>0.81307339449541305</c:v>
                </c:pt>
                <c:pt idx="2596">
                  <c:v>0.81338028169014098</c:v>
                </c:pt>
                <c:pt idx="2597">
                  <c:v>0.81341107871720097</c:v>
                </c:pt>
                <c:pt idx="2598">
                  <c:v>0.81350954478707804</c:v>
                </c:pt>
                <c:pt idx="2599">
                  <c:v>0.81366459627329202</c:v>
                </c:pt>
                <c:pt idx="2600">
                  <c:v>0.81368821292775695</c:v>
                </c:pt>
                <c:pt idx="2601">
                  <c:v>0.81375358166189105</c:v>
                </c:pt>
                <c:pt idx="2602">
                  <c:v>0.814180929095355</c:v>
                </c:pt>
                <c:pt idx="2603">
                  <c:v>0.81445783132530103</c:v>
                </c:pt>
                <c:pt idx="2604">
                  <c:v>0.81481481481481499</c:v>
                </c:pt>
                <c:pt idx="2605">
                  <c:v>0.81520692974013498</c:v>
                </c:pt>
                <c:pt idx="2606">
                  <c:v>0.81546811397557695</c:v>
                </c:pt>
                <c:pt idx="2607">
                  <c:v>0.81592039800994998</c:v>
                </c:pt>
                <c:pt idx="2608">
                  <c:v>0.81617647058823495</c:v>
                </c:pt>
                <c:pt idx="2609">
                  <c:v>0.81619937694704003</c:v>
                </c:pt>
                <c:pt idx="2610">
                  <c:v>0.81626506024096401</c:v>
                </c:pt>
                <c:pt idx="2611">
                  <c:v>0.81632653061224503</c:v>
                </c:pt>
                <c:pt idx="2612">
                  <c:v>0.81642512077294704</c:v>
                </c:pt>
                <c:pt idx="2613">
                  <c:v>0.81666666666666698</c:v>
                </c:pt>
                <c:pt idx="2614">
                  <c:v>0.81666666666666698</c:v>
                </c:pt>
                <c:pt idx="2615">
                  <c:v>0.816831683168317</c:v>
                </c:pt>
                <c:pt idx="2616">
                  <c:v>0.817155756207675</c:v>
                </c:pt>
                <c:pt idx="2617">
                  <c:v>0.81724137931034502</c:v>
                </c:pt>
                <c:pt idx="2618">
                  <c:v>0.81731784582893297</c:v>
                </c:pt>
                <c:pt idx="2619">
                  <c:v>0.817320703653586</c:v>
                </c:pt>
                <c:pt idx="2620">
                  <c:v>0.81757877280265301</c:v>
                </c:pt>
                <c:pt idx="2621">
                  <c:v>0.81780250347705097</c:v>
                </c:pt>
                <c:pt idx="2622">
                  <c:v>0.81781376518218596</c:v>
                </c:pt>
                <c:pt idx="2623">
                  <c:v>0.81806930693069302</c:v>
                </c:pt>
                <c:pt idx="2624">
                  <c:v>0.81810766721044004</c:v>
                </c:pt>
                <c:pt idx="2625">
                  <c:v>0.81818181818181801</c:v>
                </c:pt>
                <c:pt idx="2626">
                  <c:v>0.81818181818181801</c:v>
                </c:pt>
                <c:pt idx="2627">
                  <c:v>0.81830985915493004</c:v>
                </c:pt>
                <c:pt idx="2628">
                  <c:v>0.81884057971014501</c:v>
                </c:pt>
                <c:pt idx="2629">
                  <c:v>0.81921979067554695</c:v>
                </c:pt>
                <c:pt idx="2630">
                  <c:v>0.81947162426614495</c:v>
                </c:pt>
                <c:pt idx="2631">
                  <c:v>0.81951219512195095</c:v>
                </c:pt>
                <c:pt idx="2632">
                  <c:v>0.81978798586572399</c:v>
                </c:pt>
                <c:pt idx="2633">
                  <c:v>0.81983805668016196</c:v>
                </c:pt>
                <c:pt idx="2634">
                  <c:v>0.82004089979550099</c:v>
                </c:pt>
                <c:pt idx="2635">
                  <c:v>0.82005899705014695</c:v>
                </c:pt>
                <c:pt idx="2636">
                  <c:v>0.8203125</c:v>
                </c:pt>
                <c:pt idx="2637">
                  <c:v>0.820359281437126</c:v>
                </c:pt>
                <c:pt idx="2638">
                  <c:v>0.82120582120582097</c:v>
                </c:pt>
                <c:pt idx="2639">
                  <c:v>0.82142857142857095</c:v>
                </c:pt>
                <c:pt idx="2640">
                  <c:v>0.82223847841989794</c:v>
                </c:pt>
                <c:pt idx="2641">
                  <c:v>0.82233502538071102</c:v>
                </c:pt>
                <c:pt idx="2642">
                  <c:v>0.82246376811594202</c:v>
                </c:pt>
                <c:pt idx="2643">
                  <c:v>0.82287188306104897</c:v>
                </c:pt>
                <c:pt idx="2644">
                  <c:v>0.82302405498281805</c:v>
                </c:pt>
                <c:pt idx="2645">
                  <c:v>0.82316258351893101</c:v>
                </c:pt>
                <c:pt idx="2646">
                  <c:v>0.82352941176470595</c:v>
                </c:pt>
                <c:pt idx="2647">
                  <c:v>0.82352941176470595</c:v>
                </c:pt>
                <c:pt idx="2648">
                  <c:v>0.82379862700228801</c:v>
                </c:pt>
                <c:pt idx="2649">
                  <c:v>0.82446808510638303</c:v>
                </c:pt>
                <c:pt idx="2650">
                  <c:v>0.82446808510638303</c:v>
                </c:pt>
                <c:pt idx="2651">
                  <c:v>0.82456140350877205</c:v>
                </c:pt>
                <c:pt idx="2652">
                  <c:v>0.82527881040892204</c:v>
                </c:pt>
                <c:pt idx="2653">
                  <c:v>0.82531645569620204</c:v>
                </c:pt>
                <c:pt idx="2654">
                  <c:v>0.82539682539682502</c:v>
                </c:pt>
                <c:pt idx="2655">
                  <c:v>0.82554517133956395</c:v>
                </c:pt>
                <c:pt idx="2656">
                  <c:v>0.82622950819672103</c:v>
                </c:pt>
                <c:pt idx="2657">
                  <c:v>0.82637362637362599</c:v>
                </c:pt>
                <c:pt idx="2658">
                  <c:v>0.826446280991736</c:v>
                </c:pt>
                <c:pt idx="2659">
                  <c:v>0.82677165354330695</c:v>
                </c:pt>
                <c:pt idx="2660">
                  <c:v>0.82697622996130504</c:v>
                </c:pt>
                <c:pt idx="2661">
                  <c:v>0.82710280373831802</c:v>
                </c:pt>
                <c:pt idx="2662">
                  <c:v>0.82714054927302105</c:v>
                </c:pt>
                <c:pt idx="2663">
                  <c:v>0.82746478873239404</c:v>
                </c:pt>
                <c:pt idx="2664">
                  <c:v>0.82758620689655205</c:v>
                </c:pt>
                <c:pt idx="2665">
                  <c:v>0.82781456953642396</c:v>
                </c:pt>
                <c:pt idx="2666">
                  <c:v>0.82801664355062399</c:v>
                </c:pt>
                <c:pt idx="2667">
                  <c:v>0.82819383259911905</c:v>
                </c:pt>
                <c:pt idx="2668">
                  <c:v>0.828402366863905</c:v>
                </c:pt>
                <c:pt idx="2669">
                  <c:v>0.82857142857142896</c:v>
                </c:pt>
                <c:pt idx="2670">
                  <c:v>0.82926829268292701</c:v>
                </c:pt>
                <c:pt idx="2671">
                  <c:v>0.82926829268292701</c:v>
                </c:pt>
                <c:pt idx="2672">
                  <c:v>0.82932166301969401</c:v>
                </c:pt>
                <c:pt idx="2673">
                  <c:v>0.82933333333333303</c:v>
                </c:pt>
                <c:pt idx="2674">
                  <c:v>0.82985074626865696</c:v>
                </c:pt>
                <c:pt idx="2675">
                  <c:v>0.830232558139535</c:v>
                </c:pt>
                <c:pt idx="2676">
                  <c:v>0.83037974683544302</c:v>
                </c:pt>
                <c:pt idx="2677">
                  <c:v>0.83039647577092501</c:v>
                </c:pt>
                <c:pt idx="2678">
                  <c:v>0.83046683046683001</c:v>
                </c:pt>
                <c:pt idx="2679">
                  <c:v>0.830578512396694</c:v>
                </c:pt>
                <c:pt idx="2680">
                  <c:v>0.83058470764617698</c:v>
                </c:pt>
                <c:pt idx="2681">
                  <c:v>0.83098591549295797</c:v>
                </c:pt>
                <c:pt idx="2682">
                  <c:v>0.83150984682713303</c:v>
                </c:pt>
                <c:pt idx="2683">
                  <c:v>0.83157894736842097</c:v>
                </c:pt>
                <c:pt idx="2684">
                  <c:v>0.83163265306122403</c:v>
                </c:pt>
                <c:pt idx="2685">
                  <c:v>0.83182640144665498</c:v>
                </c:pt>
                <c:pt idx="2686">
                  <c:v>0.83274523641496101</c:v>
                </c:pt>
                <c:pt idx="2687">
                  <c:v>0.83285917496443795</c:v>
                </c:pt>
                <c:pt idx="2688">
                  <c:v>0.83333333333333304</c:v>
                </c:pt>
                <c:pt idx="2689">
                  <c:v>0.83333333333333304</c:v>
                </c:pt>
                <c:pt idx="2690">
                  <c:v>0.83333333333333304</c:v>
                </c:pt>
                <c:pt idx="2691">
                  <c:v>0.83353884093711506</c:v>
                </c:pt>
                <c:pt idx="2692">
                  <c:v>0.83371298405466998</c:v>
                </c:pt>
                <c:pt idx="2693">
                  <c:v>0.83389830508474605</c:v>
                </c:pt>
                <c:pt idx="2694">
                  <c:v>0.83418367346938804</c:v>
                </c:pt>
                <c:pt idx="2695">
                  <c:v>0.83435582822085896</c:v>
                </c:pt>
                <c:pt idx="2696">
                  <c:v>0.83440514469453397</c:v>
                </c:pt>
                <c:pt idx="2697">
                  <c:v>0.83461538461538498</c:v>
                </c:pt>
                <c:pt idx="2698">
                  <c:v>0.83501683501683499</c:v>
                </c:pt>
                <c:pt idx="2699">
                  <c:v>0.83529411764705896</c:v>
                </c:pt>
                <c:pt idx="2700">
                  <c:v>0.83561643835616395</c:v>
                </c:pt>
                <c:pt idx="2701">
                  <c:v>0.83566433566433596</c:v>
                </c:pt>
                <c:pt idx="2702">
                  <c:v>0.83589743589743604</c:v>
                </c:pt>
                <c:pt idx="2703">
                  <c:v>0.83597883597883604</c:v>
                </c:pt>
                <c:pt idx="2704">
                  <c:v>0.83606557377049195</c:v>
                </c:pt>
                <c:pt idx="2705">
                  <c:v>0.83636363636363598</c:v>
                </c:pt>
                <c:pt idx="2706">
                  <c:v>0.83646112600536204</c:v>
                </c:pt>
                <c:pt idx="2707">
                  <c:v>0.83695652173913004</c:v>
                </c:pt>
                <c:pt idx="2708">
                  <c:v>0.83774834437086099</c:v>
                </c:pt>
                <c:pt idx="2709">
                  <c:v>0.83847980997624705</c:v>
                </c:pt>
                <c:pt idx="2710">
                  <c:v>0.83856502242152497</c:v>
                </c:pt>
                <c:pt idx="2711">
                  <c:v>0.83870967741935498</c:v>
                </c:pt>
                <c:pt idx="2712">
                  <c:v>0.83892617449664397</c:v>
                </c:pt>
                <c:pt idx="2713">
                  <c:v>0.83908045977011503</c:v>
                </c:pt>
                <c:pt idx="2714">
                  <c:v>0.83957219251336901</c:v>
                </c:pt>
                <c:pt idx="2715">
                  <c:v>0.83957219251336901</c:v>
                </c:pt>
                <c:pt idx="2716">
                  <c:v>0.83963691376701999</c:v>
                </c:pt>
                <c:pt idx="2717">
                  <c:v>0.83974358974358998</c:v>
                </c:pt>
                <c:pt idx="2718">
                  <c:v>0.84</c:v>
                </c:pt>
                <c:pt idx="2719">
                  <c:v>0.84</c:v>
                </c:pt>
                <c:pt idx="2720">
                  <c:v>0.840425531914894</c:v>
                </c:pt>
                <c:pt idx="2721">
                  <c:v>0.840501792114695</c:v>
                </c:pt>
                <c:pt idx="2722">
                  <c:v>0.84070796460177</c:v>
                </c:pt>
                <c:pt idx="2723">
                  <c:v>0.84076433121019101</c:v>
                </c:pt>
                <c:pt idx="2724">
                  <c:v>0.84125379170879699</c:v>
                </c:pt>
                <c:pt idx="2725">
                  <c:v>0.84164588528678297</c:v>
                </c:pt>
                <c:pt idx="2726">
                  <c:v>0.84181675802662503</c:v>
                </c:pt>
                <c:pt idx="2727">
                  <c:v>0.84189189189189195</c:v>
                </c:pt>
                <c:pt idx="2728">
                  <c:v>0.84210526315789502</c:v>
                </c:pt>
                <c:pt idx="2729">
                  <c:v>0.84210526315789502</c:v>
                </c:pt>
                <c:pt idx="2730">
                  <c:v>0.84217506631299699</c:v>
                </c:pt>
                <c:pt idx="2731">
                  <c:v>0.84246575342465801</c:v>
                </c:pt>
                <c:pt idx="2732">
                  <c:v>0.84269662921348298</c:v>
                </c:pt>
                <c:pt idx="2733">
                  <c:v>0.84285714285714297</c:v>
                </c:pt>
                <c:pt idx="2734">
                  <c:v>0.84293193717277504</c:v>
                </c:pt>
                <c:pt idx="2735">
                  <c:v>0.84294871794871795</c:v>
                </c:pt>
                <c:pt idx="2736">
                  <c:v>0.84328358208955201</c:v>
                </c:pt>
                <c:pt idx="2737">
                  <c:v>0.84343434343434298</c:v>
                </c:pt>
                <c:pt idx="2738">
                  <c:v>0.84355828220858897</c:v>
                </c:pt>
                <c:pt idx="2739">
                  <c:v>0.84389140271493202</c:v>
                </c:pt>
                <c:pt idx="2740">
                  <c:v>0.84393063583814998</c:v>
                </c:pt>
                <c:pt idx="2741">
                  <c:v>0.84412955465587003</c:v>
                </c:pt>
                <c:pt idx="2742">
                  <c:v>0.844327176781003</c:v>
                </c:pt>
                <c:pt idx="2743">
                  <c:v>0.84456928838951295</c:v>
                </c:pt>
                <c:pt idx="2744">
                  <c:v>0.84468524251805999</c:v>
                </c:pt>
                <c:pt idx="2745">
                  <c:v>0.84482758620689702</c:v>
                </c:pt>
                <c:pt idx="2746">
                  <c:v>0.84501845018450195</c:v>
                </c:pt>
                <c:pt idx="2747">
                  <c:v>0.84547069271758402</c:v>
                </c:pt>
                <c:pt idx="2748">
                  <c:v>0.84582441113490403</c:v>
                </c:pt>
                <c:pt idx="2749">
                  <c:v>0.84634146341463401</c:v>
                </c:pt>
                <c:pt idx="2750">
                  <c:v>0.84688090737240096</c:v>
                </c:pt>
                <c:pt idx="2751">
                  <c:v>0.84713375796178303</c:v>
                </c:pt>
                <c:pt idx="2752">
                  <c:v>0.84732824427480902</c:v>
                </c:pt>
                <c:pt idx="2753">
                  <c:v>0.84741784037558698</c:v>
                </c:pt>
                <c:pt idx="2754">
                  <c:v>0.847942754919499</c:v>
                </c:pt>
                <c:pt idx="2755">
                  <c:v>0.84817813765182204</c:v>
                </c:pt>
                <c:pt idx="2756">
                  <c:v>0.84892086330935301</c:v>
                </c:pt>
                <c:pt idx="2757">
                  <c:v>0.84913793103448298</c:v>
                </c:pt>
                <c:pt idx="2758">
                  <c:v>0.84984025559105403</c:v>
                </c:pt>
                <c:pt idx="2759">
                  <c:v>0.85</c:v>
                </c:pt>
                <c:pt idx="2760">
                  <c:v>0.85</c:v>
                </c:pt>
                <c:pt idx="2761">
                  <c:v>0.85</c:v>
                </c:pt>
                <c:pt idx="2762">
                  <c:v>0.85049019607843102</c:v>
                </c:pt>
                <c:pt idx="2763">
                  <c:v>0.85057471264367801</c:v>
                </c:pt>
                <c:pt idx="2764">
                  <c:v>0.85067873303167396</c:v>
                </c:pt>
                <c:pt idx="2765">
                  <c:v>0.85105067985166905</c:v>
                </c:pt>
                <c:pt idx="2766">
                  <c:v>0.85123966942148799</c:v>
                </c:pt>
                <c:pt idx="2767">
                  <c:v>0.851515151515152</c:v>
                </c:pt>
                <c:pt idx="2768">
                  <c:v>0.85157699443413704</c:v>
                </c:pt>
                <c:pt idx="2769">
                  <c:v>0.85326086956521696</c:v>
                </c:pt>
                <c:pt idx="2770">
                  <c:v>0.85344827586206895</c:v>
                </c:pt>
                <c:pt idx="2771">
                  <c:v>0.85426008968609901</c:v>
                </c:pt>
                <c:pt idx="2772">
                  <c:v>0.85436893203883502</c:v>
                </c:pt>
                <c:pt idx="2773">
                  <c:v>0.85454545454545405</c:v>
                </c:pt>
                <c:pt idx="2774">
                  <c:v>0.85492227979274604</c:v>
                </c:pt>
                <c:pt idx="2775">
                  <c:v>0.855036855036855</c:v>
                </c:pt>
                <c:pt idx="2776">
                  <c:v>0.85526315789473695</c:v>
                </c:pt>
                <c:pt idx="2777">
                  <c:v>0.856573705179283</c:v>
                </c:pt>
                <c:pt idx="2778">
                  <c:v>0.85660377358490603</c:v>
                </c:pt>
                <c:pt idx="2779">
                  <c:v>0.85668789808917201</c:v>
                </c:pt>
                <c:pt idx="2780">
                  <c:v>0.85679611650485399</c:v>
                </c:pt>
                <c:pt idx="2781">
                  <c:v>0.85714285714285698</c:v>
                </c:pt>
                <c:pt idx="2782">
                  <c:v>0.85714285714285698</c:v>
                </c:pt>
                <c:pt idx="2783">
                  <c:v>0.85714285714285698</c:v>
                </c:pt>
                <c:pt idx="2784">
                  <c:v>0.85714285714285698</c:v>
                </c:pt>
                <c:pt idx="2785">
                  <c:v>0.85714285714285698</c:v>
                </c:pt>
                <c:pt idx="2786">
                  <c:v>0.85714285714285698</c:v>
                </c:pt>
                <c:pt idx="2787">
                  <c:v>0.85750000000000004</c:v>
                </c:pt>
                <c:pt idx="2788">
                  <c:v>0.85786802030456799</c:v>
                </c:pt>
                <c:pt idx="2789">
                  <c:v>0.85809312638580904</c:v>
                </c:pt>
                <c:pt idx="2790">
                  <c:v>0.85835095137420703</c:v>
                </c:pt>
                <c:pt idx="2791">
                  <c:v>0.85887096774193505</c:v>
                </c:pt>
                <c:pt idx="2792">
                  <c:v>0.85887096774193505</c:v>
                </c:pt>
                <c:pt idx="2793">
                  <c:v>0.85950413223140498</c:v>
                </c:pt>
                <c:pt idx="2794">
                  <c:v>0.859649122807017</c:v>
                </c:pt>
                <c:pt idx="2795">
                  <c:v>0.86092715231788097</c:v>
                </c:pt>
                <c:pt idx="2796">
                  <c:v>0.86111111111111105</c:v>
                </c:pt>
                <c:pt idx="2797">
                  <c:v>0.861788617886179</c:v>
                </c:pt>
                <c:pt idx="2798">
                  <c:v>0.861788617886179</c:v>
                </c:pt>
                <c:pt idx="2799">
                  <c:v>0.86206896551724099</c:v>
                </c:pt>
                <c:pt idx="2800">
                  <c:v>0.86232558139534898</c:v>
                </c:pt>
                <c:pt idx="2801">
                  <c:v>0.86250000000000004</c:v>
                </c:pt>
                <c:pt idx="2802">
                  <c:v>0.86283185840707999</c:v>
                </c:pt>
                <c:pt idx="2803">
                  <c:v>0.863125638406537</c:v>
                </c:pt>
                <c:pt idx="2804">
                  <c:v>0.86330935251798602</c:v>
                </c:pt>
                <c:pt idx="2805">
                  <c:v>0.86350974930362101</c:v>
                </c:pt>
                <c:pt idx="2806">
                  <c:v>0.86372360844529705</c:v>
                </c:pt>
                <c:pt idx="2807">
                  <c:v>0.863849765258216</c:v>
                </c:pt>
                <c:pt idx="2808">
                  <c:v>0.86458333333333304</c:v>
                </c:pt>
                <c:pt idx="2809">
                  <c:v>0.86491935483870996</c:v>
                </c:pt>
                <c:pt idx="2810">
                  <c:v>0.86511627906976696</c:v>
                </c:pt>
                <c:pt idx="2811">
                  <c:v>0.86516853932584303</c:v>
                </c:pt>
                <c:pt idx="2812">
                  <c:v>0.86627906976744196</c:v>
                </c:pt>
                <c:pt idx="2813">
                  <c:v>0.86637931034482796</c:v>
                </c:pt>
                <c:pt idx="2814">
                  <c:v>0.86666666666666703</c:v>
                </c:pt>
                <c:pt idx="2815">
                  <c:v>0.86666666666666703</c:v>
                </c:pt>
                <c:pt idx="2816">
                  <c:v>0.86666666666666703</c:v>
                </c:pt>
                <c:pt idx="2817">
                  <c:v>0.866863905325444</c:v>
                </c:pt>
                <c:pt idx="2818">
                  <c:v>0.86688311688311703</c:v>
                </c:pt>
                <c:pt idx="2819">
                  <c:v>0.86742424242424199</c:v>
                </c:pt>
                <c:pt idx="2820">
                  <c:v>0.86773255813953498</c:v>
                </c:pt>
                <c:pt idx="2821">
                  <c:v>0.86896551724137905</c:v>
                </c:pt>
                <c:pt idx="2822">
                  <c:v>0.87012987012986998</c:v>
                </c:pt>
                <c:pt idx="2823">
                  <c:v>0.87022900763358801</c:v>
                </c:pt>
                <c:pt idx="2824">
                  <c:v>0.87043189368770801</c:v>
                </c:pt>
                <c:pt idx="2825">
                  <c:v>0.87114845938375296</c:v>
                </c:pt>
                <c:pt idx="2826">
                  <c:v>0.87148594377510002</c:v>
                </c:pt>
                <c:pt idx="2827">
                  <c:v>0.87203791469194303</c:v>
                </c:pt>
                <c:pt idx="2828">
                  <c:v>0.87207872078720805</c:v>
                </c:pt>
                <c:pt idx="2829">
                  <c:v>0.872274143302181</c:v>
                </c:pt>
                <c:pt idx="2830">
                  <c:v>0.87301587301587302</c:v>
                </c:pt>
                <c:pt idx="2831">
                  <c:v>0.87305699481865295</c:v>
                </c:pt>
                <c:pt idx="2832">
                  <c:v>0.873417721518987</c:v>
                </c:pt>
                <c:pt idx="2833">
                  <c:v>0.87360594795539004</c:v>
                </c:pt>
                <c:pt idx="2834">
                  <c:v>0.875</c:v>
                </c:pt>
                <c:pt idx="2835">
                  <c:v>0.875</c:v>
                </c:pt>
                <c:pt idx="2836">
                  <c:v>0.87557603686635899</c:v>
                </c:pt>
                <c:pt idx="2837">
                  <c:v>0.87589498806682597</c:v>
                </c:pt>
                <c:pt idx="2838">
                  <c:v>0.87596899224806202</c:v>
                </c:pt>
                <c:pt idx="2839">
                  <c:v>0.87598944591029004</c:v>
                </c:pt>
                <c:pt idx="2840">
                  <c:v>0.87610619469026496</c:v>
                </c:pt>
                <c:pt idx="2841">
                  <c:v>0.87776141384388795</c:v>
                </c:pt>
                <c:pt idx="2842">
                  <c:v>0.87920792079207899</c:v>
                </c:pt>
                <c:pt idx="2843">
                  <c:v>0.87969446212603397</c:v>
                </c:pt>
                <c:pt idx="2844">
                  <c:v>0.87980769230769196</c:v>
                </c:pt>
                <c:pt idx="2845">
                  <c:v>0.88135593220339004</c:v>
                </c:pt>
                <c:pt idx="2846">
                  <c:v>0.88172043010752699</c:v>
                </c:pt>
                <c:pt idx="2847">
                  <c:v>0.88196958725561203</c:v>
                </c:pt>
                <c:pt idx="2848">
                  <c:v>0.88235294117647101</c:v>
                </c:pt>
                <c:pt idx="2849">
                  <c:v>0.88235294117647101</c:v>
                </c:pt>
                <c:pt idx="2850">
                  <c:v>0.8828125</c:v>
                </c:pt>
                <c:pt idx="2851">
                  <c:v>0.88311688311688297</c:v>
                </c:pt>
                <c:pt idx="2852">
                  <c:v>0.88328075709779197</c:v>
                </c:pt>
                <c:pt idx="2853">
                  <c:v>0.88372093023255804</c:v>
                </c:pt>
                <c:pt idx="2854">
                  <c:v>0.88372093023255804</c:v>
                </c:pt>
                <c:pt idx="2855">
                  <c:v>0.88383838383838398</c:v>
                </c:pt>
                <c:pt idx="2856">
                  <c:v>0.88527918781725901</c:v>
                </c:pt>
                <c:pt idx="2857">
                  <c:v>0.88530465949820802</c:v>
                </c:pt>
                <c:pt idx="2858">
                  <c:v>0.88541666666666696</c:v>
                </c:pt>
                <c:pt idx="2859">
                  <c:v>0.88636363636363602</c:v>
                </c:pt>
                <c:pt idx="2860">
                  <c:v>0.88649425287356298</c:v>
                </c:pt>
                <c:pt idx="2861">
                  <c:v>0.88679245283018904</c:v>
                </c:pt>
                <c:pt idx="2862">
                  <c:v>0.88682170542635697</c:v>
                </c:pt>
                <c:pt idx="2863">
                  <c:v>0.88717948717948703</c:v>
                </c:pt>
                <c:pt idx="2864">
                  <c:v>0.88828337874659402</c:v>
                </c:pt>
                <c:pt idx="2865">
                  <c:v>0.88888888888888895</c:v>
                </c:pt>
                <c:pt idx="2866">
                  <c:v>0.88888888888888895</c:v>
                </c:pt>
                <c:pt idx="2867">
                  <c:v>0.89145907473309605</c:v>
                </c:pt>
                <c:pt idx="2868">
                  <c:v>0.89200000000000002</c:v>
                </c:pt>
                <c:pt idx="2869">
                  <c:v>0.89204545454545503</c:v>
                </c:pt>
                <c:pt idx="2870">
                  <c:v>0.89215686274509798</c:v>
                </c:pt>
                <c:pt idx="2871">
                  <c:v>0.89300411522633705</c:v>
                </c:pt>
                <c:pt idx="2872">
                  <c:v>0.89300998573466495</c:v>
                </c:pt>
                <c:pt idx="2873">
                  <c:v>0.89361702127659604</c:v>
                </c:pt>
                <c:pt idx="2874">
                  <c:v>0.89445910290237496</c:v>
                </c:pt>
                <c:pt idx="2875">
                  <c:v>0.89552238805970097</c:v>
                </c:pt>
                <c:pt idx="2876">
                  <c:v>0.89576547231270298</c:v>
                </c:pt>
                <c:pt idx="2877">
                  <c:v>0.89583333333333304</c:v>
                </c:pt>
                <c:pt idx="2878">
                  <c:v>0.896321070234114</c:v>
                </c:pt>
                <c:pt idx="2879">
                  <c:v>0.89720998531571206</c:v>
                </c:pt>
                <c:pt idx="2880">
                  <c:v>0.89767441860465103</c:v>
                </c:pt>
                <c:pt idx="2881">
                  <c:v>0.897887323943662</c:v>
                </c:pt>
                <c:pt idx="2882">
                  <c:v>0.89795918367346905</c:v>
                </c:pt>
                <c:pt idx="2883">
                  <c:v>0.89795918367346905</c:v>
                </c:pt>
                <c:pt idx="2884">
                  <c:v>0.89800000000000002</c:v>
                </c:pt>
                <c:pt idx="2885">
                  <c:v>0.89805825242718396</c:v>
                </c:pt>
                <c:pt idx="2886">
                  <c:v>0.89835164835164805</c:v>
                </c:pt>
                <c:pt idx="2887">
                  <c:v>0.89837398373983701</c:v>
                </c:pt>
                <c:pt idx="2888">
                  <c:v>0.89915966386554602</c:v>
                </c:pt>
                <c:pt idx="2889">
                  <c:v>0.89922480620154999</c:v>
                </c:pt>
                <c:pt idx="2890">
                  <c:v>0.9</c:v>
                </c:pt>
                <c:pt idx="2891">
                  <c:v>0.90046296296296302</c:v>
                </c:pt>
                <c:pt idx="2892">
                  <c:v>0.90092879256965896</c:v>
                </c:pt>
                <c:pt idx="2893">
                  <c:v>0.90133333333333299</c:v>
                </c:pt>
                <c:pt idx="2894">
                  <c:v>0.90186915887850505</c:v>
                </c:pt>
                <c:pt idx="2895">
                  <c:v>0.90361445783132499</c:v>
                </c:pt>
                <c:pt idx="2896">
                  <c:v>0.90400000000000003</c:v>
                </c:pt>
                <c:pt idx="2897">
                  <c:v>0.90526315789473699</c:v>
                </c:pt>
                <c:pt idx="2898">
                  <c:v>0.90532544378698199</c:v>
                </c:pt>
                <c:pt idx="2899">
                  <c:v>0.90588235294117603</c:v>
                </c:pt>
                <c:pt idx="2900">
                  <c:v>0.90789473684210498</c:v>
                </c:pt>
                <c:pt idx="2901">
                  <c:v>0.91089108910891103</c:v>
                </c:pt>
                <c:pt idx="2902">
                  <c:v>0.911392405063291</c:v>
                </c:pt>
                <c:pt idx="2903">
                  <c:v>0.91155234657039697</c:v>
                </c:pt>
                <c:pt idx="2904">
                  <c:v>0.91208791208791196</c:v>
                </c:pt>
                <c:pt idx="2905">
                  <c:v>0.91566265060241003</c:v>
                </c:pt>
                <c:pt idx="2906">
                  <c:v>0.91585127201565597</c:v>
                </c:pt>
                <c:pt idx="2907">
                  <c:v>0.91666666666666696</c:v>
                </c:pt>
                <c:pt idx="2908">
                  <c:v>0.91752577319587603</c:v>
                </c:pt>
                <c:pt idx="2909">
                  <c:v>0.91858037578288099</c:v>
                </c:pt>
                <c:pt idx="2910">
                  <c:v>0.91910739191073898</c:v>
                </c:pt>
                <c:pt idx="2911">
                  <c:v>0.91929824561403495</c:v>
                </c:pt>
                <c:pt idx="2912">
                  <c:v>0.91964285714285698</c:v>
                </c:pt>
                <c:pt idx="2913">
                  <c:v>0.92035398230088505</c:v>
                </c:pt>
                <c:pt idx="2914">
                  <c:v>0.92105263157894701</c:v>
                </c:pt>
                <c:pt idx="2915">
                  <c:v>0.92156862745098</c:v>
                </c:pt>
                <c:pt idx="2916">
                  <c:v>0.92207792207792205</c:v>
                </c:pt>
                <c:pt idx="2917">
                  <c:v>0.92253521126760596</c:v>
                </c:pt>
                <c:pt idx="2918">
                  <c:v>0.92261001517450703</c:v>
                </c:pt>
                <c:pt idx="2919">
                  <c:v>0.922818791946309</c:v>
                </c:pt>
                <c:pt idx="2920">
                  <c:v>0.92622950819672101</c:v>
                </c:pt>
                <c:pt idx="2921">
                  <c:v>0.92708333333333304</c:v>
                </c:pt>
                <c:pt idx="2922">
                  <c:v>0.92732558139534904</c:v>
                </c:pt>
                <c:pt idx="2923">
                  <c:v>0.92777777777777803</c:v>
                </c:pt>
                <c:pt idx="2924">
                  <c:v>0.92920353982300896</c:v>
                </c:pt>
                <c:pt idx="2925">
                  <c:v>0.92950819672131102</c:v>
                </c:pt>
                <c:pt idx="2926">
                  <c:v>0.929824561403509</c:v>
                </c:pt>
                <c:pt idx="2927">
                  <c:v>0.93156424581005604</c:v>
                </c:pt>
                <c:pt idx="2928">
                  <c:v>0.93200000000000005</c:v>
                </c:pt>
                <c:pt idx="2929">
                  <c:v>0.93229166666666696</c:v>
                </c:pt>
                <c:pt idx="2930">
                  <c:v>0.93322475570032604</c:v>
                </c:pt>
                <c:pt idx="2931">
                  <c:v>0.93406593406593397</c:v>
                </c:pt>
                <c:pt idx="2932">
                  <c:v>0.93432835820895499</c:v>
                </c:pt>
                <c:pt idx="2933">
                  <c:v>0.934782608695652</c:v>
                </c:pt>
                <c:pt idx="2934">
                  <c:v>0.93541666666666701</c:v>
                </c:pt>
                <c:pt idx="2935">
                  <c:v>0.94019933554817303</c:v>
                </c:pt>
                <c:pt idx="2936">
                  <c:v>0.94029850746268695</c:v>
                </c:pt>
                <c:pt idx="2937">
                  <c:v>0.94117647058823495</c:v>
                </c:pt>
                <c:pt idx="2938">
                  <c:v>0.94276094276094302</c:v>
                </c:pt>
                <c:pt idx="2939">
                  <c:v>0.94298245614035103</c:v>
                </c:pt>
                <c:pt idx="2940">
                  <c:v>0.94485294117647101</c:v>
                </c:pt>
                <c:pt idx="2941">
                  <c:v>0.94545454545454499</c:v>
                </c:pt>
                <c:pt idx="2942">
                  <c:v>0.94594594594594605</c:v>
                </c:pt>
                <c:pt idx="2943">
                  <c:v>0.94707520891364905</c:v>
                </c:pt>
                <c:pt idx="2944">
                  <c:v>0.947194719471947</c:v>
                </c:pt>
                <c:pt idx="2945">
                  <c:v>0.94736842105263097</c:v>
                </c:pt>
                <c:pt idx="2946">
                  <c:v>0.94915254237288105</c:v>
                </c:pt>
                <c:pt idx="2947">
                  <c:v>0.95016611295681097</c:v>
                </c:pt>
                <c:pt idx="2948">
                  <c:v>0.95443645083932804</c:v>
                </c:pt>
                <c:pt idx="2949">
                  <c:v>0.95454545454545503</c:v>
                </c:pt>
                <c:pt idx="2950">
                  <c:v>0.95488721804511301</c:v>
                </c:pt>
                <c:pt idx="2951">
                  <c:v>0.95644599303135902</c:v>
                </c:pt>
                <c:pt idx="2952">
                  <c:v>0.95652173913043503</c:v>
                </c:pt>
                <c:pt idx="2953">
                  <c:v>0.95774647887323905</c:v>
                </c:pt>
                <c:pt idx="2954">
                  <c:v>0.96036585365853699</c:v>
                </c:pt>
                <c:pt idx="2955">
                  <c:v>0.96086956521739098</c:v>
                </c:pt>
                <c:pt idx="2956">
                  <c:v>0.96219931271477699</c:v>
                </c:pt>
                <c:pt idx="2957">
                  <c:v>0.96566523605150201</c:v>
                </c:pt>
                <c:pt idx="2958">
                  <c:v>0.96727272727272695</c:v>
                </c:pt>
                <c:pt idx="2959">
                  <c:v>0.968992248062015</c:v>
                </c:pt>
                <c:pt idx="2960">
                  <c:v>0.96908809891808301</c:v>
                </c:pt>
                <c:pt idx="2961">
                  <c:v>0.96955503512880603</c:v>
                </c:pt>
                <c:pt idx="2962">
                  <c:v>0.96969696969696995</c:v>
                </c:pt>
                <c:pt idx="2963">
                  <c:v>0.97</c:v>
                </c:pt>
                <c:pt idx="2964">
                  <c:v>0.97142857142857097</c:v>
                </c:pt>
                <c:pt idx="2965">
                  <c:v>0.97196261682243001</c:v>
                </c:pt>
                <c:pt idx="2966">
                  <c:v>0.972727272727273</c:v>
                </c:pt>
                <c:pt idx="2967">
                  <c:v>0.97333333333333305</c:v>
                </c:pt>
                <c:pt idx="2968">
                  <c:v>0.97523809523809502</c:v>
                </c:pt>
                <c:pt idx="2969">
                  <c:v>0.97777777777777797</c:v>
                </c:pt>
                <c:pt idx="2970">
                  <c:v>0.97872340425531901</c:v>
                </c:pt>
                <c:pt idx="2971">
                  <c:v>0.97891566265060204</c:v>
                </c:pt>
                <c:pt idx="2972">
                  <c:v>0.97991071428571397</c:v>
                </c:pt>
                <c:pt idx="2973">
                  <c:v>0.980582524271845</c:v>
                </c:pt>
                <c:pt idx="2974">
                  <c:v>0.98245614035087703</c:v>
                </c:pt>
                <c:pt idx="2975">
                  <c:v>0.983108108108108</c:v>
                </c:pt>
                <c:pt idx="2976">
                  <c:v>0.98529411764705899</c:v>
                </c:pt>
                <c:pt idx="2977">
                  <c:v>0.98571428571428599</c:v>
                </c:pt>
                <c:pt idx="2978">
                  <c:v>0.98604651162790702</c:v>
                </c:pt>
                <c:pt idx="2979">
                  <c:v>0.986206896551724</c:v>
                </c:pt>
                <c:pt idx="2980">
                  <c:v>0.98687664041994705</c:v>
                </c:pt>
                <c:pt idx="2981">
                  <c:v>0.98936170212765995</c:v>
                </c:pt>
                <c:pt idx="2982">
                  <c:v>0.99013157894736803</c:v>
                </c:pt>
                <c:pt idx="2983">
                  <c:v>0.99105145413870199</c:v>
                </c:pt>
                <c:pt idx="2984">
                  <c:v>0.991578947368421</c:v>
                </c:pt>
                <c:pt idx="2985">
                  <c:v>0.99206349206349198</c:v>
                </c:pt>
                <c:pt idx="2986">
                  <c:v>0.992932862190813</c:v>
                </c:pt>
                <c:pt idx="2987">
                  <c:v>0.99326599326599296</c:v>
                </c:pt>
                <c:pt idx="2988">
                  <c:v>0.99438202247190999</c:v>
                </c:pt>
                <c:pt idx="2989">
                  <c:v>0.99439775910364103</c:v>
                </c:pt>
                <c:pt idx="2990">
                  <c:v>0.995444191343964</c:v>
                </c:pt>
                <c:pt idx="2991">
                  <c:v>0.99593495934959297</c:v>
                </c:pt>
                <c:pt idx="2992">
                  <c:v>0.99596774193548399</c:v>
                </c:pt>
                <c:pt idx="2993">
                  <c:v>0.99638989169675096</c:v>
                </c:pt>
                <c:pt idx="2994">
                  <c:v>0.99659863945578198</c:v>
                </c:pt>
                <c:pt idx="2995">
                  <c:v>1</c:v>
                </c:pt>
                <c:pt idx="2996">
                  <c:v>1</c:v>
                </c:pt>
                <c:pt idx="2997">
                  <c:v>1</c:v>
                </c:pt>
                <c:pt idx="2998">
                  <c:v>1</c:v>
                </c:pt>
                <c:pt idx="2999">
                  <c:v>1</c:v>
                </c:pt>
                <c:pt idx="3000">
                  <c:v>1</c:v>
                </c:pt>
                <c:pt idx="3001">
                  <c:v>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042264"/>
        <c:axId val="205042656"/>
      </c:scatterChart>
      <c:valAx>
        <c:axId val="205042264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Campus % of Econ. Disadvantaged</a:t>
                </a:r>
                <a:r>
                  <a:rPr lang="en-US" baseline="0" dirty="0" smtClean="0"/>
                  <a:t> Students</a:t>
                </a:r>
                <a:endParaRPr lang="en-US" dirty="0"/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205042656"/>
        <c:crosses val="autoZero"/>
        <c:crossBetween val="midCat"/>
      </c:valAx>
      <c:valAx>
        <c:axId val="205042656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P% of </a:t>
                </a:r>
                <a:r>
                  <a:rPr lang="en-US" sz="1000" b="1" i="0" baseline="0" dirty="0" err="1" smtClean="0">
                    <a:effectLst/>
                  </a:rPr>
                  <a:t>EcoDis</a:t>
                </a:r>
                <a:r>
                  <a:rPr lang="en-US" sz="1000" b="1" i="0" baseline="0" dirty="0" smtClean="0">
                    <a:effectLst/>
                  </a:rPr>
                  <a:t> Students Meeting </a:t>
                </a:r>
                <a:endParaRPr lang="en-US" sz="1000" dirty="0" smtClean="0">
                  <a:effectLst/>
                </a:endParaRPr>
              </a:p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Phase-In Passing Standard</a:t>
                </a:r>
                <a:endParaRPr lang="en-US" sz="1000" dirty="0" smtClean="0">
                  <a:effectLst/>
                </a:endParaRPr>
              </a:p>
              <a:p>
                <a:pPr>
                  <a:defRPr/>
                </a:pPr>
                <a:endParaRPr lang="en-US" sz="1000" dirty="0"/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205042264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b="1" i="0" baseline="0" dirty="0" smtClean="0">
                <a:effectLst/>
              </a:rPr>
              <a:t>Student Achievement (Min. Passing Std.) for </a:t>
            </a:r>
            <a:r>
              <a:rPr lang="en-US" sz="1200" b="1" i="0" baseline="0" dirty="0" smtClean="0">
                <a:solidFill>
                  <a:srgbClr val="C00000"/>
                </a:solidFill>
                <a:effectLst/>
              </a:rPr>
              <a:t>NON</a:t>
            </a:r>
            <a:r>
              <a:rPr lang="en-US" sz="1200" b="1" i="0" baseline="0" dirty="0" smtClean="0">
                <a:effectLst/>
              </a:rPr>
              <a:t> Economically Disadvantaged Students Across </a:t>
            </a:r>
            <a:r>
              <a:rPr lang="en-US" sz="1200" b="1" i="0" u="sng" baseline="0" dirty="0" smtClean="0">
                <a:solidFill>
                  <a:srgbClr val="C00000"/>
                </a:solidFill>
                <a:effectLst/>
              </a:rPr>
              <a:t>Urban</a:t>
            </a:r>
            <a:r>
              <a:rPr lang="en-US" sz="1200" b="1" i="0" baseline="0" dirty="0" smtClean="0">
                <a:effectLst/>
              </a:rPr>
              <a:t> Campuses in Texas</a:t>
            </a:r>
            <a:endParaRPr lang="en-US" sz="1200" dirty="0" smtClean="0"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Urban NonEco Phase In'!$B$1</c:f>
              <c:strCache>
                <c:ptCount val="1"/>
                <c:pt idx="0">
                  <c:v>EcoDis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Urban NonEco Phase In'!$B$2:$B$2834</c:f>
              <c:numCache>
                <c:formatCode>0%</c:formatCode>
                <c:ptCount val="2833"/>
                <c:pt idx="0">
                  <c:v>0.94799999999999995</c:v>
                </c:pt>
                <c:pt idx="1">
                  <c:v>0.58599999999999997</c:v>
                </c:pt>
                <c:pt idx="2">
                  <c:v>6.3E-2</c:v>
                </c:pt>
                <c:pt idx="3">
                  <c:v>0.875</c:v>
                </c:pt>
                <c:pt idx="4">
                  <c:v>0.91400000000000003</c:v>
                </c:pt>
                <c:pt idx="5">
                  <c:v>0.95699999999999996</c:v>
                </c:pt>
                <c:pt idx="6">
                  <c:v>0.92500000000000004</c:v>
                </c:pt>
                <c:pt idx="7">
                  <c:v>0.61199999999999999</c:v>
                </c:pt>
                <c:pt idx="8">
                  <c:v>0.66700000000000004</c:v>
                </c:pt>
                <c:pt idx="9">
                  <c:v>0.80700000000000005</c:v>
                </c:pt>
                <c:pt idx="10">
                  <c:v>0.90900000000000003</c:v>
                </c:pt>
                <c:pt idx="11">
                  <c:v>0</c:v>
                </c:pt>
                <c:pt idx="12">
                  <c:v>0.877</c:v>
                </c:pt>
                <c:pt idx="13">
                  <c:v>0.38500000000000001</c:v>
                </c:pt>
                <c:pt idx="14">
                  <c:v>0.86399999999999999</c:v>
                </c:pt>
                <c:pt idx="15">
                  <c:v>0.89800000000000002</c:v>
                </c:pt>
                <c:pt idx="16">
                  <c:v>0.89800000000000002</c:v>
                </c:pt>
                <c:pt idx="17">
                  <c:v>0.91800000000000004</c:v>
                </c:pt>
                <c:pt idx="18">
                  <c:v>0.55000000000000004</c:v>
                </c:pt>
                <c:pt idx="19">
                  <c:v>0.96799999999999997</c:v>
                </c:pt>
                <c:pt idx="20">
                  <c:v>0.92200000000000004</c:v>
                </c:pt>
                <c:pt idx="21">
                  <c:v>1</c:v>
                </c:pt>
                <c:pt idx="22">
                  <c:v>0.877</c:v>
                </c:pt>
                <c:pt idx="23">
                  <c:v>0.88</c:v>
                </c:pt>
                <c:pt idx="24">
                  <c:v>0.88900000000000001</c:v>
                </c:pt>
                <c:pt idx="25">
                  <c:v>0.53300000000000003</c:v>
                </c:pt>
                <c:pt idx="26">
                  <c:v>0.95399999999999996</c:v>
                </c:pt>
                <c:pt idx="27">
                  <c:v>0.92600000000000005</c:v>
                </c:pt>
                <c:pt idx="28">
                  <c:v>0.92500000000000004</c:v>
                </c:pt>
                <c:pt idx="29">
                  <c:v>0.51500000000000001</c:v>
                </c:pt>
                <c:pt idx="30">
                  <c:v>0.92100000000000004</c:v>
                </c:pt>
                <c:pt idx="31">
                  <c:v>0.53800000000000003</c:v>
                </c:pt>
                <c:pt idx="32">
                  <c:v>0.91400000000000003</c:v>
                </c:pt>
                <c:pt idx="33">
                  <c:v>0.97</c:v>
                </c:pt>
                <c:pt idx="34">
                  <c:v>0.51100000000000001</c:v>
                </c:pt>
                <c:pt idx="35">
                  <c:v>0.95299999999999996</c:v>
                </c:pt>
                <c:pt idx="36">
                  <c:v>0.14000000000000001</c:v>
                </c:pt>
                <c:pt idx="37">
                  <c:v>0.93600000000000005</c:v>
                </c:pt>
                <c:pt idx="38">
                  <c:v>0.96299999999999997</c:v>
                </c:pt>
                <c:pt idx="39">
                  <c:v>0.95099999999999996</c:v>
                </c:pt>
                <c:pt idx="40">
                  <c:v>0.85299999999999998</c:v>
                </c:pt>
                <c:pt idx="41">
                  <c:v>0.92800000000000005</c:v>
                </c:pt>
                <c:pt idx="42">
                  <c:v>0.88500000000000001</c:v>
                </c:pt>
                <c:pt idx="43">
                  <c:v>0.90400000000000003</c:v>
                </c:pt>
                <c:pt idx="44">
                  <c:v>0.78800000000000003</c:v>
                </c:pt>
                <c:pt idx="45">
                  <c:v>0.97699999999999998</c:v>
                </c:pt>
                <c:pt idx="46">
                  <c:v>0.96399999999999997</c:v>
                </c:pt>
                <c:pt idx="47">
                  <c:v>0.82899999999999996</c:v>
                </c:pt>
                <c:pt idx="48">
                  <c:v>0.96699999999999997</c:v>
                </c:pt>
                <c:pt idx="49">
                  <c:v>0.97099999999999997</c:v>
                </c:pt>
                <c:pt idx="50">
                  <c:v>0.91</c:v>
                </c:pt>
                <c:pt idx="51">
                  <c:v>0.93700000000000006</c:v>
                </c:pt>
                <c:pt idx="52">
                  <c:v>0.90900000000000003</c:v>
                </c:pt>
                <c:pt idx="53">
                  <c:v>0.95299999999999996</c:v>
                </c:pt>
                <c:pt idx="54">
                  <c:v>0.95699999999999996</c:v>
                </c:pt>
                <c:pt idx="55">
                  <c:v>0.98699999999999999</c:v>
                </c:pt>
                <c:pt idx="56">
                  <c:v>0.88100000000000001</c:v>
                </c:pt>
                <c:pt idx="57">
                  <c:v>0.95799999999999996</c:v>
                </c:pt>
                <c:pt idx="58">
                  <c:v>0.60399999999999998</c:v>
                </c:pt>
                <c:pt idx="59">
                  <c:v>0.89300000000000002</c:v>
                </c:pt>
                <c:pt idx="60">
                  <c:v>0.97299999999999998</c:v>
                </c:pt>
                <c:pt idx="61">
                  <c:v>0.96899999999999997</c:v>
                </c:pt>
                <c:pt idx="62">
                  <c:v>0.59799999999999998</c:v>
                </c:pt>
                <c:pt idx="63">
                  <c:v>0.94599999999999995</c:v>
                </c:pt>
                <c:pt idx="64">
                  <c:v>0.94199999999999995</c:v>
                </c:pt>
                <c:pt idx="65">
                  <c:v>1</c:v>
                </c:pt>
                <c:pt idx="66">
                  <c:v>0.79600000000000004</c:v>
                </c:pt>
                <c:pt idx="67">
                  <c:v>0.95599999999999996</c:v>
                </c:pt>
                <c:pt idx="68">
                  <c:v>0.93700000000000006</c:v>
                </c:pt>
                <c:pt idx="69">
                  <c:v>0.56100000000000005</c:v>
                </c:pt>
                <c:pt idx="70">
                  <c:v>0.85299999999999998</c:v>
                </c:pt>
                <c:pt idx="71">
                  <c:v>0.90300000000000002</c:v>
                </c:pt>
                <c:pt idx="72">
                  <c:v>0.34399999999999997</c:v>
                </c:pt>
                <c:pt idx="73">
                  <c:v>0.92700000000000005</c:v>
                </c:pt>
                <c:pt idx="74">
                  <c:v>0.71199999999999997</c:v>
                </c:pt>
                <c:pt idx="75">
                  <c:v>0.95699999999999996</c:v>
                </c:pt>
                <c:pt idx="76">
                  <c:v>0.92700000000000005</c:v>
                </c:pt>
                <c:pt idx="77">
                  <c:v>0.153</c:v>
                </c:pt>
                <c:pt idx="78">
                  <c:v>0.69199999999999995</c:v>
                </c:pt>
                <c:pt idx="79">
                  <c:v>0.90500000000000003</c:v>
                </c:pt>
                <c:pt idx="80">
                  <c:v>0.89300000000000002</c:v>
                </c:pt>
                <c:pt idx="81">
                  <c:v>0.92100000000000004</c:v>
                </c:pt>
                <c:pt idx="82">
                  <c:v>0.90700000000000003</c:v>
                </c:pt>
                <c:pt idx="83">
                  <c:v>0.58699999999999997</c:v>
                </c:pt>
                <c:pt idx="84">
                  <c:v>0.94199999999999995</c:v>
                </c:pt>
                <c:pt idx="85">
                  <c:v>0.96499999999999997</c:v>
                </c:pt>
                <c:pt idx="86">
                  <c:v>0.96299999999999997</c:v>
                </c:pt>
                <c:pt idx="87">
                  <c:v>0.93899999999999995</c:v>
                </c:pt>
                <c:pt idx="88">
                  <c:v>0.93400000000000005</c:v>
                </c:pt>
                <c:pt idx="89">
                  <c:v>0.40799999999999997</c:v>
                </c:pt>
                <c:pt idx="90">
                  <c:v>0.624</c:v>
                </c:pt>
                <c:pt idx="91">
                  <c:v>0.57299999999999995</c:v>
                </c:pt>
                <c:pt idx="92">
                  <c:v>0.94599999999999995</c:v>
                </c:pt>
                <c:pt idx="93">
                  <c:v>0.95099999999999996</c:v>
                </c:pt>
                <c:pt idx="94">
                  <c:v>0.30499999999999999</c:v>
                </c:pt>
                <c:pt idx="95">
                  <c:v>0.96599999999999997</c:v>
                </c:pt>
                <c:pt idx="96">
                  <c:v>0.91</c:v>
                </c:pt>
                <c:pt idx="97">
                  <c:v>0.93500000000000005</c:v>
                </c:pt>
                <c:pt idx="98">
                  <c:v>0.872</c:v>
                </c:pt>
                <c:pt idx="99">
                  <c:v>0.96299999999999997</c:v>
                </c:pt>
                <c:pt idx="100">
                  <c:v>0.81299999999999994</c:v>
                </c:pt>
                <c:pt idx="101">
                  <c:v>0.91300000000000003</c:v>
                </c:pt>
                <c:pt idx="102">
                  <c:v>0.85699999999999998</c:v>
                </c:pt>
                <c:pt idx="103">
                  <c:v>0.63400000000000001</c:v>
                </c:pt>
                <c:pt idx="104">
                  <c:v>0.86699999999999999</c:v>
                </c:pt>
                <c:pt idx="105">
                  <c:v>0.95299999999999996</c:v>
                </c:pt>
                <c:pt idx="106">
                  <c:v>0.95299999999999996</c:v>
                </c:pt>
                <c:pt idx="107">
                  <c:v>0.9</c:v>
                </c:pt>
                <c:pt idx="108">
                  <c:v>0.94299999999999995</c:v>
                </c:pt>
                <c:pt idx="109">
                  <c:v>0.88300000000000001</c:v>
                </c:pt>
                <c:pt idx="110">
                  <c:v>0.93700000000000006</c:v>
                </c:pt>
                <c:pt idx="111">
                  <c:v>0.95499999999999996</c:v>
                </c:pt>
                <c:pt idx="112">
                  <c:v>0.93799999999999994</c:v>
                </c:pt>
                <c:pt idx="113">
                  <c:v>0.92</c:v>
                </c:pt>
                <c:pt idx="114">
                  <c:v>0.96199999999999997</c:v>
                </c:pt>
                <c:pt idx="115">
                  <c:v>0.93500000000000005</c:v>
                </c:pt>
                <c:pt idx="116">
                  <c:v>0.89900000000000002</c:v>
                </c:pt>
                <c:pt idx="117">
                  <c:v>0.93600000000000005</c:v>
                </c:pt>
                <c:pt idx="118">
                  <c:v>0.90900000000000003</c:v>
                </c:pt>
                <c:pt idx="119">
                  <c:v>0.92100000000000004</c:v>
                </c:pt>
                <c:pt idx="120">
                  <c:v>0.91700000000000004</c:v>
                </c:pt>
                <c:pt idx="121">
                  <c:v>0.96699999999999997</c:v>
                </c:pt>
                <c:pt idx="122">
                  <c:v>0.33300000000000002</c:v>
                </c:pt>
                <c:pt idx="123">
                  <c:v>0.90900000000000003</c:v>
                </c:pt>
                <c:pt idx="124">
                  <c:v>0.84599999999999997</c:v>
                </c:pt>
                <c:pt idx="125">
                  <c:v>0.91700000000000004</c:v>
                </c:pt>
                <c:pt idx="126">
                  <c:v>0.98099999999999998</c:v>
                </c:pt>
                <c:pt idx="127">
                  <c:v>0.94699999999999995</c:v>
                </c:pt>
                <c:pt idx="128">
                  <c:v>0.55200000000000005</c:v>
                </c:pt>
                <c:pt idx="129">
                  <c:v>0.89700000000000002</c:v>
                </c:pt>
                <c:pt idx="130">
                  <c:v>0.92</c:v>
                </c:pt>
                <c:pt idx="131">
                  <c:v>0.90300000000000002</c:v>
                </c:pt>
                <c:pt idx="132">
                  <c:v>0.88</c:v>
                </c:pt>
                <c:pt idx="133">
                  <c:v>0.94599999999999995</c:v>
                </c:pt>
                <c:pt idx="134">
                  <c:v>0.94399999999999995</c:v>
                </c:pt>
                <c:pt idx="135">
                  <c:v>0.90200000000000002</c:v>
                </c:pt>
                <c:pt idx="136">
                  <c:v>0.88300000000000001</c:v>
                </c:pt>
                <c:pt idx="137">
                  <c:v>0.82899999999999996</c:v>
                </c:pt>
                <c:pt idx="138">
                  <c:v>0.92800000000000005</c:v>
                </c:pt>
                <c:pt idx="139">
                  <c:v>0.93700000000000006</c:v>
                </c:pt>
                <c:pt idx="140">
                  <c:v>0.96399999999999997</c:v>
                </c:pt>
                <c:pt idx="141">
                  <c:v>0.83299999999999996</c:v>
                </c:pt>
                <c:pt idx="142">
                  <c:v>0.91300000000000003</c:v>
                </c:pt>
                <c:pt idx="143">
                  <c:v>0.86599999999999999</c:v>
                </c:pt>
                <c:pt idx="144">
                  <c:v>0.97899999999999998</c:v>
                </c:pt>
                <c:pt idx="145">
                  <c:v>0.92400000000000004</c:v>
                </c:pt>
                <c:pt idx="146">
                  <c:v>0.97699999999999998</c:v>
                </c:pt>
                <c:pt idx="147">
                  <c:v>0.81399999999999995</c:v>
                </c:pt>
                <c:pt idx="148">
                  <c:v>0.90400000000000003</c:v>
                </c:pt>
                <c:pt idx="149">
                  <c:v>0.89200000000000002</c:v>
                </c:pt>
                <c:pt idx="150">
                  <c:v>0.48599999999999999</c:v>
                </c:pt>
                <c:pt idx="151">
                  <c:v>0.90400000000000003</c:v>
                </c:pt>
                <c:pt idx="152">
                  <c:v>0.629</c:v>
                </c:pt>
                <c:pt idx="153">
                  <c:v>0.85599999999999998</c:v>
                </c:pt>
                <c:pt idx="154">
                  <c:v>0.873</c:v>
                </c:pt>
                <c:pt idx="155">
                  <c:v>0.88600000000000001</c:v>
                </c:pt>
                <c:pt idx="156">
                  <c:v>0.91100000000000003</c:v>
                </c:pt>
                <c:pt idx="157">
                  <c:v>0.79400000000000004</c:v>
                </c:pt>
                <c:pt idx="158">
                  <c:v>0.28599999999999998</c:v>
                </c:pt>
                <c:pt idx="159">
                  <c:v>0.90100000000000002</c:v>
                </c:pt>
                <c:pt idx="160">
                  <c:v>0.90300000000000002</c:v>
                </c:pt>
                <c:pt idx="161">
                  <c:v>0.89900000000000002</c:v>
                </c:pt>
                <c:pt idx="162">
                  <c:v>0.82399999999999995</c:v>
                </c:pt>
                <c:pt idx="163">
                  <c:v>0.88500000000000001</c:v>
                </c:pt>
                <c:pt idx="164">
                  <c:v>0.8</c:v>
                </c:pt>
                <c:pt idx="165">
                  <c:v>0.95699999999999996</c:v>
                </c:pt>
                <c:pt idx="166">
                  <c:v>0.93200000000000005</c:v>
                </c:pt>
                <c:pt idx="167">
                  <c:v>0.95399999999999996</c:v>
                </c:pt>
                <c:pt idx="168">
                  <c:v>0.92200000000000004</c:v>
                </c:pt>
                <c:pt idx="169">
                  <c:v>0.94199999999999995</c:v>
                </c:pt>
                <c:pt idx="170">
                  <c:v>0.78200000000000003</c:v>
                </c:pt>
                <c:pt idx="171">
                  <c:v>0.93600000000000005</c:v>
                </c:pt>
                <c:pt idx="172">
                  <c:v>0.92400000000000004</c:v>
                </c:pt>
                <c:pt idx="173">
                  <c:v>0.95099999999999996</c:v>
                </c:pt>
                <c:pt idx="174">
                  <c:v>0.96299999999999997</c:v>
                </c:pt>
                <c:pt idx="175">
                  <c:v>0.52700000000000002</c:v>
                </c:pt>
                <c:pt idx="176">
                  <c:v>0.89200000000000002</c:v>
                </c:pt>
                <c:pt idx="177">
                  <c:v>0.93500000000000005</c:v>
                </c:pt>
                <c:pt idx="178">
                  <c:v>0.94599999999999995</c:v>
                </c:pt>
                <c:pt idx="179">
                  <c:v>0.84899999999999998</c:v>
                </c:pt>
                <c:pt idx="180">
                  <c:v>0.94199999999999995</c:v>
                </c:pt>
                <c:pt idx="181">
                  <c:v>0.97399999999999998</c:v>
                </c:pt>
                <c:pt idx="182">
                  <c:v>0.91800000000000004</c:v>
                </c:pt>
                <c:pt idx="183">
                  <c:v>0.88600000000000001</c:v>
                </c:pt>
                <c:pt idx="184">
                  <c:v>0.95499999999999996</c:v>
                </c:pt>
                <c:pt idx="185">
                  <c:v>0.84</c:v>
                </c:pt>
                <c:pt idx="186">
                  <c:v>0.97699999999999998</c:v>
                </c:pt>
                <c:pt idx="187">
                  <c:v>0.90200000000000002</c:v>
                </c:pt>
                <c:pt idx="188">
                  <c:v>0.91</c:v>
                </c:pt>
                <c:pt idx="189">
                  <c:v>0.90200000000000002</c:v>
                </c:pt>
                <c:pt idx="190">
                  <c:v>0.70699999999999996</c:v>
                </c:pt>
                <c:pt idx="191">
                  <c:v>0.88</c:v>
                </c:pt>
                <c:pt idx="192">
                  <c:v>0.83899999999999997</c:v>
                </c:pt>
                <c:pt idx="193">
                  <c:v>0.84099999999999997</c:v>
                </c:pt>
                <c:pt idx="194">
                  <c:v>0.96799999999999997</c:v>
                </c:pt>
                <c:pt idx="195">
                  <c:v>0.83099999999999996</c:v>
                </c:pt>
                <c:pt idx="196">
                  <c:v>0.91</c:v>
                </c:pt>
                <c:pt idx="197">
                  <c:v>0.66500000000000004</c:v>
                </c:pt>
                <c:pt idx="198">
                  <c:v>0.91400000000000003</c:v>
                </c:pt>
                <c:pt idx="199">
                  <c:v>0.94399999999999995</c:v>
                </c:pt>
                <c:pt idx="200">
                  <c:v>0.94699999999999995</c:v>
                </c:pt>
                <c:pt idx="201">
                  <c:v>0.874</c:v>
                </c:pt>
                <c:pt idx="202">
                  <c:v>1</c:v>
                </c:pt>
                <c:pt idx="203">
                  <c:v>0.93</c:v>
                </c:pt>
                <c:pt idx="204">
                  <c:v>0.91800000000000004</c:v>
                </c:pt>
                <c:pt idx="205">
                  <c:v>0.85399999999999998</c:v>
                </c:pt>
                <c:pt idx="206">
                  <c:v>0.90300000000000002</c:v>
                </c:pt>
                <c:pt idx="207">
                  <c:v>0.64500000000000002</c:v>
                </c:pt>
                <c:pt idx="208">
                  <c:v>0.93300000000000005</c:v>
                </c:pt>
                <c:pt idx="209">
                  <c:v>0.92</c:v>
                </c:pt>
                <c:pt idx="210">
                  <c:v>0.88400000000000001</c:v>
                </c:pt>
                <c:pt idx="211">
                  <c:v>0.85599999999999998</c:v>
                </c:pt>
                <c:pt idx="212">
                  <c:v>0.78600000000000003</c:v>
                </c:pt>
                <c:pt idx="213">
                  <c:v>0.67300000000000004</c:v>
                </c:pt>
                <c:pt idx="214">
                  <c:v>0.93100000000000005</c:v>
                </c:pt>
                <c:pt idx="215">
                  <c:v>0.94099999999999995</c:v>
                </c:pt>
                <c:pt idx="216">
                  <c:v>0.89800000000000002</c:v>
                </c:pt>
                <c:pt idx="217">
                  <c:v>0.91300000000000003</c:v>
                </c:pt>
                <c:pt idx="218">
                  <c:v>0.93400000000000005</c:v>
                </c:pt>
                <c:pt idx="219">
                  <c:v>0.82599999999999996</c:v>
                </c:pt>
                <c:pt idx="220">
                  <c:v>0.86799999999999999</c:v>
                </c:pt>
                <c:pt idx="221">
                  <c:v>0.86099999999999999</c:v>
                </c:pt>
                <c:pt idx="222">
                  <c:v>0.93</c:v>
                </c:pt>
                <c:pt idx="223">
                  <c:v>0.85699999999999998</c:v>
                </c:pt>
                <c:pt idx="224">
                  <c:v>0.92600000000000005</c:v>
                </c:pt>
                <c:pt idx="225">
                  <c:v>0.87</c:v>
                </c:pt>
                <c:pt idx="226">
                  <c:v>0.95199999999999996</c:v>
                </c:pt>
                <c:pt idx="227">
                  <c:v>0.68500000000000005</c:v>
                </c:pt>
                <c:pt idx="228">
                  <c:v>0.92</c:v>
                </c:pt>
                <c:pt idx="229">
                  <c:v>0.88200000000000001</c:v>
                </c:pt>
                <c:pt idx="230">
                  <c:v>0.88800000000000001</c:v>
                </c:pt>
                <c:pt idx="231">
                  <c:v>0.64700000000000002</c:v>
                </c:pt>
                <c:pt idx="232">
                  <c:v>0.93500000000000005</c:v>
                </c:pt>
                <c:pt idx="233">
                  <c:v>0.97</c:v>
                </c:pt>
                <c:pt idx="234">
                  <c:v>0.70499999999999996</c:v>
                </c:pt>
                <c:pt idx="235">
                  <c:v>0.84</c:v>
                </c:pt>
                <c:pt idx="236">
                  <c:v>0.86599999999999999</c:v>
                </c:pt>
                <c:pt idx="237">
                  <c:v>0.89600000000000002</c:v>
                </c:pt>
                <c:pt idx="238">
                  <c:v>0.85299999999999998</c:v>
                </c:pt>
                <c:pt idx="239">
                  <c:v>0.64700000000000002</c:v>
                </c:pt>
                <c:pt idx="240">
                  <c:v>0.93899999999999995</c:v>
                </c:pt>
                <c:pt idx="241">
                  <c:v>0.88600000000000001</c:v>
                </c:pt>
                <c:pt idx="242">
                  <c:v>0.91100000000000003</c:v>
                </c:pt>
                <c:pt idx="243">
                  <c:v>0.93799999999999994</c:v>
                </c:pt>
                <c:pt idx="244">
                  <c:v>0.71799999999999997</c:v>
                </c:pt>
                <c:pt idx="245">
                  <c:v>0.96</c:v>
                </c:pt>
                <c:pt idx="246">
                  <c:v>0.90400000000000003</c:v>
                </c:pt>
                <c:pt idx="247">
                  <c:v>0.92</c:v>
                </c:pt>
                <c:pt idx="248">
                  <c:v>0.66700000000000004</c:v>
                </c:pt>
                <c:pt idx="249">
                  <c:v>0.90100000000000002</c:v>
                </c:pt>
                <c:pt idx="250">
                  <c:v>0.86699999999999999</c:v>
                </c:pt>
                <c:pt idx="251">
                  <c:v>0.89</c:v>
                </c:pt>
                <c:pt idx="252">
                  <c:v>0.51500000000000001</c:v>
                </c:pt>
                <c:pt idx="253">
                  <c:v>0.92200000000000004</c:v>
                </c:pt>
                <c:pt idx="254">
                  <c:v>0.86299999999999999</c:v>
                </c:pt>
                <c:pt idx="255">
                  <c:v>0.84599999999999997</c:v>
                </c:pt>
                <c:pt idx="256">
                  <c:v>0.90100000000000002</c:v>
                </c:pt>
                <c:pt idx="257">
                  <c:v>0.89500000000000002</c:v>
                </c:pt>
                <c:pt idx="258">
                  <c:v>0.58599999999999997</c:v>
                </c:pt>
                <c:pt idx="259">
                  <c:v>0.86799999999999999</c:v>
                </c:pt>
                <c:pt idx="260">
                  <c:v>0.94099999999999995</c:v>
                </c:pt>
                <c:pt idx="261">
                  <c:v>0.52300000000000002</c:v>
                </c:pt>
                <c:pt idx="262">
                  <c:v>0.97399999999999998</c:v>
                </c:pt>
                <c:pt idx="263">
                  <c:v>0.80400000000000005</c:v>
                </c:pt>
                <c:pt idx="264">
                  <c:v>0.97</c:v>
                </c:pt>
                <c:pt idx="265">
                  <c:v>0.61499999999999999</c:v>
                </c:pt>
                <c:pt idx="266">
                  <c:v>0.71699999999999997</c:v>
                </c:pt>
                <c:pt idx="267">
                  <c:v>0.94</c:v>
                </c:pt>
                <c:pt idx="268">
                  <c:v>0.90800000000000003</c:v>
                </c:pt>
                <c:pt idx="269">
                  <c:v>0.90100000000000002</c:v>
                </c:pt>
                <c:pt idx="270">
                  <c:v>0.95299999999999996</c:v>
                </c:pt>
                <c:pt idx="271">
                  <c:v>0.65</c:v>
                </c:pt>
                <c:pt idx="272">
                  <c:v>0.80100000000000005</c:v>
                </c:pt>
                <c:pt idx="273">
                  <c:v>0.82199999999999995</c:v>
                </c:pt>
                <c:pt idx="274">
                  <c:v>0.94599999999999995</c:v>
                </c:pt>
                <c:pt idx="275">
                  <c:v>0.78800000000000003</c:v>
                </c:pt>
                <c:pt idx="276">
                  <c:v>0.92300000000000004</c:v>
                </c:pt>
                <c:pt idx="277">
                  <c:v>0.89900000000000002</c:v>
                </c:pt>
                <c:pt idx="278">
                  <c:v>0.90800000000000003</c:v>
                </c:pt>
                <c:pt idx="279">
                  <c:v>0.68200000000000005</c:v>
                </c:pt>
                <c:pt idx="280">
                  <c:v>0.96199999999999997</c:v>
                </c:pt>
                <c:pt idx="281">
                  <c:v>0.505</c:v>
                </c:pt>
                <c:pt idx="282">
                  <c:v>0.89900000000000002</c:v>
                </c:pt>
                <c:pt idx="283">
                  <c:v>0.88100000000000001</c:v>
                </c:pt>
                <c:pt idx="284">
                  <c:v>0.91800000000000004</c:v>
                </c:pt>
                <c:pt idx="285">
                  <c:v>0</c:v>
                </c:pt>
                <c:pt idx="286">
                  <c:v>0.91900000000000004</c:v>
                </c:pt>
                <c:pt idx="287">
                  <c:v>0.33700000000000002</c:v>
                </c:pt>
                <c:pt idx="288">
                  <c:v>0.87</c:v>
                </c:pt>
                <c:pt idx="289">
                  <c:v>0.72499999999999998</c:v>
                </c:pt>
                <c:pt idx="290">
                  <c:v>0.73399999999999999</c:v>
                </c:pt>
                <c:pt idx="291">
                  <c:v>0.89700000000000002</c:v>
                </c:pt>
                <c:pt idx="292">
                  <c:v>0.88400000000000001</c:v>
                </c:pt>
                <c:pt idx="293">
                  <c:v>0.93500000000000005</c:v>
                </c:pt>
                <c:pt idx="294">
                  <c:v>0.59099999999999997</c:v>
                </c:pt>
                <c:pt idx="295">
                  <c:v>0.73299999999999998</c:v>
                </c:pt>
                <c:pt idx="296">
                  <c:v>0.83499999999999996</c:v>
                </c:pt>
                <c:pt idx="297">
                  <c:v>0.61099999999999999</c:v>
                </c:pt>
                <c:pt idx="298">
                  <c:v>0.97</c:v>
                </c:pt>
                <c:pt idx="299">
                  <c:v>0.75700000000000001</c:v>
                </c:pt>
                <c:pt idx="300">
                  <c:v>0.90500000000000003</c:v>
                </c:pt>
                <c:pt idx="301">
                  <c:v>0.92300000000000004</c:v>
                </c:pt>
                <c:pt idx="302">
                  <c:v>0.89700000000000002</c:v>
                </c:pt>
                <c:pt idx="303">
                  <c:v>0.91400000000000003</c:v>
                </c:pt>
                <c:pt idx="304">
                  <c:v>0.90300000000000002</c:v>
                </c:pt>
                <c:pt idx="305">
                  <c:v>0.90400000000000003</c:v>
                </c:pt>
                <c:pt idx="306">
                  <c:v>0.92700000000000005</c:v>
                </c:pt>
                <c:pt idx="307">
                  <c:v>0.88200000000000001</c:v>
                </c:pt>
                <c:pt idx="308">
                  <c:v>0.92100000000000004</c:v>
                </c:pt>
                <c:pt idx="309">
                  <c:v>0.60899999999999999</c:v>
                </c:pt>
                <c:pt idx="310">
                  <c:v>0.83899999999999997</c:v>
                </c:pt>
                <c:pt idx="311">
                  <c:v>0.95099999999999996</c:v>
                </c:pt>
                <c:pt idx="312">
                  <c:v>0.9</c:v>
                </c:pt>
                <c:pt idx="313">
                  <c:v>0.879</c:v>
                </c:pt>
                <c:pt idx="314">
                  <c:v>0.81899999999999995</c:v>
                </c:pt>
                <c:pt idx="315">
                  <c:v>0.92300000000000004</c:v>
                </c:pt>
                <c:pt idx="316">
                  <c:v>0.86299999999999999</c:v>
                </c:pt>
                <c:pt idx="317">
                  <c:v>0.93400000000000005</c:v>
                </c:pt>
                <c:pt idx="318">
                  <c:v>0.73399999999999999</c:v>
                </c:pt>
                <c:pt idx="319">
                  <c:v>0.91300000000000003</c:v>
                </c:pt>
                <c:pt idx="320">
                  <c:v>0.86</c:v>
                </c:pt>
                <c:pt idx="321">
                  <c:v>0.90800000000000003</c:v>
                </c:pt>
                <c:pt idx="322">
                  <c:v>0.94799999999999995</c:v>
                </c:pt>
                <c:pt idx="323">
                  <c:v>0.81</c:v>
                </c:pt>
                <c:pt idx="324">
                  <c:v>0.95</c:v>
                </c:pt>
                <c:pt idx="325">
                  <c:v>0.91600000000000004</c:v>
                </c:pt>
                <c:pt idx="326">
                  <c:v>0.72499999999999998</c:v>
                </c:pt>
                <c:pt idx="327">
                  <c:v>0.48499999999999999</c:v>
                </c:pt>
                <c:pt idx="328">
                  <c:v>0.86699999999999999</c:v>
                </c:pt>
                <c:pt idx="329">
                  <c:v>0.76500000000000001</c:v>
                </c:pt>
                <c:pt idx="330">
                  <c:v>0.86199999999999999</c:v>
                </c:pt>
                <c:pt idx="331">
                  <c:v>0.54500000000000004</c:v>
                </c:pt>
                <c:pt idx="332">
                  <c:v>0.94599999999999995</c:v>
                </c:pt>
                <c:pt idx="333">
                  <c:v>0.90900000000000003</c:v>
                </c:pt>
                <c:pt idx="334">
                  <c:v>0.86799999999999999</c:v>
                </c:pt>
                <c:pt idx="335">
                  <c:v>0.91100000000000003</c:v>
                </c:pt>
                <c:pt idx="336">
                  <c:v>0.95099999999999996</c:v>
                </c:pt>
                <c:pt idx="337">
                  <c:v>0.82199999999999995</c:v>
                </c:pt>
                <c:pt idx="338">
                  <c:v>0.84</c:v>
                </c:pt>
                <c:pt idx="339">
                  <c:v>0.82599999999999996</c:v>
                </c:pt>
                <c:pt idx="340">
                  <c:v>0.71</c:v>
                </c:pt>
                <c:pt idx="341">
                  <c:v>0.88200000000000001</c:v>
                </c:pt>
                <c:pt idx="342">
                  <c:v>0.95299999999999996</c:v>
                </c:pt>
                <c:pt idx="343">
                  <c:v>0.877</c:v>
                </c:pt>
                <c:pt idx="344">
                  <c:v>0.79300000000000004</c:v>
                </c:pt>
                <c:pt idx="345">
                  <c:v>0.68300000000000005</c:v>
                </c:pt>
                <c:pt idx="346">
                  <c:v>0.84499999999999997</c:v>
                </c:pt>
                <c:pt idx="347">
                  <c:v>0.93</c:v>
                </c:pt>
                <c:pt idx="348">
                  <c:v>0.91900000000000004</c:v>
                </c:pt>
                <c:pt idx="349">
                  <c:v>0.875</c:v>
                </c:pt>
                <c:pt idx="350">
                  <c:v>0.91</c:v>
                </c:pt>
                <c:pt idx="351">
                  <c:v>0.90800000000000003</c:v>
                </c:pt>
                <c:pt idx="352">
                  <c:v>0.88800000000000001</c:v>
                </c:pt>
                <c:pt idx="353">
                  <c:v>0.89400000000000002</c:v>
                </c:pt>
                <c:pt idx="354">
                  <c:v>0.92900000000000005</c:v>
                </c:pt>
                <c:pt idx="355">
                  <c:v>0.72</c:v>
                </c:pt>
                <c:pt idx="356">
                  <c:v>0.88800000000000001</c:v>
                </c:pt>
                <c:pt idx="357">
                  <c:v>0.877</c:v>
                </c:pt>
                <c:pt idx="358">
                  <c:v>0.94599999999999995</c:v>
                </c:pt>
                <c:pt idx="359">
                  <c:v>0.86699999999999999</c:v>
                </c:pt>
                <c:pt idx="360">
                  <c:v>0.89</c:v>
                </c:pt>
                <c:pt idx="361">
                  <c:v>0.90100000000000002</c:v>
                </c:pt>
                <c:pt idx="362">
                  <c:v>0.91500000000000004</c:v>
                </c:pt>
                <c:pt idx="363">
                  <c:v>0.86299999999999999</c:v>
                </c:pt>
                <c:pt idx="364">
                  <c:v>0.94</c:v>
                </c:pt>
                <c:pt idx="365">
                  <c:v>0.82899999999999996</c:v>
                </c:pt>
                <c:pt idx="366">
                  <c:v>0.875</c:v>
                </c:pt>
                <c:pt idx="367">
                  <c:v>0.877</c:v>
                </c:pt>
                <c:pt idx="368">
                  <c:v>0.92</c:v>
                </c:pt>
                <c:pt idx="369">
                  <c:v>0.80400000000000005</c:v>
                </c:pt>
                <c:pt idx="370">
                  <c:v>0.873</c:v>
                </c:pt>
                <c:pt idx="371">
                  <c:v>0.92200000000000004</c:v>
                </c:pt>
                <c:pt idx="372">
                  <c:v>0.80300000000000005</c:v>
                </c:pt>
                <c:pt idx="373">
                  <c:v>0.80100000000000005</c:v>
                </c:pt>
                <c:pt idx="374">
                  <c:v>0.96299999999999997</c:v>
                </c:pt>
                <c:pt idx="375">
                  <c:v>0.36</c:v>
                </c:pt>
                <c:pt idx="376">
                  <c:v>0.68799999999999994</c:v>
                </c:pt>
                <c:pt idx="377">
                  <c:v>0.95099999999999996</c:v>
                </c:pt>
                <c:pt idx="378">
                  <c:v>0.72299999999999998</c:v>
                </c:pt>
                <c:pt idx="379">
                  <c:v>0.92100000000000004</c:v>
                </c:pt>
                <c:pt idx="380">
                  <c:v>0.86699999999999999</c:v>
                </c:pt>
                <c:pt idx="381">
                  <c:v>0.94399999999999995</c:v>
                </c:pt>
                <c:pt idx="382">
                  <c:v>0.96199999999999997</c:v>
                </c:pt>
                <c:pt idx="383">
                  <c:v>0.95299999999999996</c:v>
                </c:pt>
                <c:pt idx="384">
                  <c:v>0.89200000000000002</c:v>
                </c:pt>
                <c:pt idx="385">
                  <c:v>0.94599999999999995</c:v>
                </c:pt>
                <c:pt idx="386">
                  <c:v>0.95099999999999996</c:v>
                </c:pt>
                <c:pt idx="387">
                  <c:v>0.93300000000000005</c:v>
                </c:pt>
                <c:pt idx="388">
                  <c:v>0.95899999999999996</c:v>
                </c:pt>
                <c:pt idx="389">
                  <c:v>0.86099999999999999</c:v>
                </c:pt>
                <c:pt idx="390">
                  <c:v>0.86399999999999999</c:v>
                </c:pt>
                <c:pt idx="391">
                  <c:v>0.91100000000000003</c:v>
                </c:pt>
                <c:pt idx="392">
                  <c:v>0.82899999999999996</c:v>
                </c:pt>
                <c:pt idx="393">
                  <c:v>0.68799999999999994</c:v>
                </c:pt>
                <c:pt idx="394">
                  <c:v>0.84899999999999998</c:v>
                </c:pt>
                <c:pt idx="395">
                  <c:v>0.95599999999999996</c:v>
                </c:pt>
                <c:pt idx="396">
                  <c:v>0.83499999999999996</c:v>
                </c:pt>
                <c:pt idx="397">
                  <c:v>0.91600000000000004</c:v>
                </c:pt>
                <c:pt idx="398">
                  <c:v>0.76300000000000001</c:v>
                </c:pt>
                <c:pt idx="399">
                  <c:v>0.95399999999999996</c:v>
                </c:pt>
                <c:pt idx="400">
                  <c:v>0.83899999999999997</c:v>
                </c:pt>
                <c:pt idx="401">
                  <c:v>0.5</c:v>
                </c:pt>
                <c:pt idx="402">
                  <c:v>0.88800000000000001</c:v>
                </c:pt>
                <c:pt idx="403">
                  <c:v>0.89100000000000001</c:v>
                </c:pt>
                <c:pt idx="404">
                  <c:v>0.876</c:v>
                </c:pt>
                <c:pt idx="405">
                  <c:v>0.86</c:v>
                </c:pt>
                <c:pt idx="406">
                  <c:v>0.93899999999999995</c:v>
                </c:pt>
                <c:pt idx="407">
                  <c:v>0.94</c:v>
                </c:pt>
                <c:pt idx="408">
                  <c:v>0.97299999999999998</c:v>
                </c:pt>
                <c:pt idx="409">
                  <c:v>0.96299999999999997</c:v>
                </c:pt>
                <c:pt idx="410">
                  <c:v>0.91800000000000004</c:v>
                </c:pt>
                <c:pt idx="411">
                  <c:v>0.88300000000000001</c:v>
                </c:pt>
                <c:pt idx="412">
                  <c:v>0.94</c:v>
                </c:pt>
                <c:pt idx="413">
                  <c:v>0.94399999999999995</c:v>
                </c:pt>
                <c:pt idx="414">
                  <c:v>0.86199999999999999</c:v>
                </c:pt>
                <c:pt idx="415">
                  <c:v>0.88</c:v>
                </c:pt>
                <c:pt idx="416">
                  <c:v>0.83899999999999997</c:v>
                </c:pt>
                <c:pt idx="417">
                  <c:v>0.89900000000000002</c:v>
                </c:pt>
                <c:pt idx="418">
                  <c:v>0.94199999999999995</c:v>
                </c:pt>
                <c:pt idx="419">
                  <c:v>0.879</c:v>
                </c:pt>
                <c:pt idx="420">
                  <c:v>0.86199999999999999</c:v>
                </c:pt>
                <c:pt idx="421">
                  <c:v>0.92</c:v>
                </c:pt>
                <c:pt idx="422">
                  <c:v>0.91800000000000004</c:v>
                </c:pt>
                <c:pt idx="423">
                  <c:v>0.83499999999999996</c:v>
                </c:pt>
                <c:pt idx="424">
                  <c:v>0.90900000000000003</c:v>
                </c:pt>
                <c:pt idx="425">
                  <c:v>0.85399999999999998</c:v>
                </c:pt>
                <c:pt idx="426">
                  <c:v>0.91100000000000003</c:v>
                </c:pt>
                <c:pt idx="427">
                  <c:v>0.83</c:v>
                </c:pt>
                <c:pt idx="428">
                  <c:v>0.94199999999999995</c:v>
                </c:pt>
                <c:pt idx="429">
                  <c:v>0.76200000000000001</c:v>
                </c:pt>
                <c:pt idx="430">
                  <c:v>0.94399999999999995</c:v>
                </c:pt>
                <c:pt idx="431">
                  <c:v>0.92800000000000005</c:v>
                </c:pt>
                <c:pt idx="432">
                  <c:v>0.84199999999999997</c:v>
                </c:pt>
                <c:pt idx="433">
                  <c:v>0.94799999999999995</c:v>
                </c:pt>
                <c:pt idx="434">
                  <c:v>0.79100000000000004</c:v>
                </c:pt>
                <c:pt idx="435">
                  <c:v>0.879</c:v>
                </c:pt>
                <c:pt idx="436">
                  <c:v>0.97599999999999998</c:v>
                </c:pt>
                <c:pt idx="437">
                  <c:v>0.85599999999999998</c:v>
                </c:pt>
                <c:pt idx="438">
                  <c:v>0.89100000000000001</c:v>
                </c:pt>
                <c:pt idx="439">
                  <c:v>0.84</c:v>
                </c:pt>
                <c:pt idx="440">
                  <c:v>0.88800000000000001</c:v>
                </c:pt>
                <c:pt idx="441">
                  <c:v>0.879</c:v>
                </c:pt>
                <c:pt idx="442">
                  <c:v>0.83399999999999996</c:v>
                </c:pt>
                <c:pt idx="443">
                  <c:v>0.65</c:v>
                </c:pt>
                <c:pt idx="444">
                  <c:v>0.96099999999999997</c:v>
                </c:pt>
                <c:pt idx="445">
                  <c:v>0.91</c:v>
                </c:pt>
                <c:pt idx="446">
                  <c:v>0.93300000000000005</c:v>
                </c:pt>
                <c:pt idx="447">
                  <c:v>0.79400000000000004</c:v>
                </c:pt>
                <c:pt idx="448">
                  <c:v>0.81599999999999995</c:v>
                </c:pt>
                <c:pt idx="449">
                  <c:v>0.89400000000000002</c:v>
                </c:pt>
                <c:pt idx="450">
                  <c:v>0.85199999999999998</c:v>
                </c:pt>
                <c:pt idx="451">
                  <c:v>0.59699999999999998</c:v>
                </c:pt>
                <c:pt idx="452">
                  <c:v>0.88100000000000001</c:v>
                </c:pt>
                <c:pt idx="453">
                  <c:v>0.93100000000000005</c:v>
                </c:pt>
                <c:pt idx="454">
                  <c:v>0.66800000000000004</c:v>
                </c:pt>
                <c:pt idx="455">
                  <c:v>0.80400000000000005</c:v>
                </c:pt>
                <c:pt idx="456">
                  <c:v>0.90600000000000003</c:v>
                </c:pt>
                <c:pt idx="457">
                  <c:v>0.92800000000000005</c:v>
                </c:pt>
                <c:pt idx="458">
                  <c:v>0.76100000000000001</c:v>
                </c:pt>
                <c:pt idx="459">
                  <c:v>0.91</c:v>
                </c:pt>
                <c:pt idx="460">
                  <c:v>0.96299999999999997</c:v>
                </c:pt>
                <c:pt idx="461">
                  <c:v>0.61799999999999999</c:v>
                </c:pt>
                <c:pt idx="462">
                  <c:v>0.86199999999999999</c:v>
                </c:pt>
                <c:pt idx="463">
                  <c:v>0.93100000000000005</c:v>
                </c:pt>
                <c:pt idx="464">
                  <c:v>0.55200000000000005</c:v>
                </c:pt>
                <c:pt idx="465">
                  <c:v>0.83799999999999997</c:v>
                </c:pt>
                <c:pt idx="466">
                  <c:v>0.92400000000000004</c:v>
                </c:pt>
                <c:pt idx="467">
                  <c:v>0.874</c:v>
                </c:pt>
                <c:pt idx="468">
                  <c:v>0.89700000000000002</c:v>
                </c:pt>
                <c:pt idx="469">
                  <c:v>0.93200000000000005</c:v>
                </c:pt>
                <c:pt idx="470">
                  <c:v>0.93200000000000005</c:v>
                </c:pt>
                <c:pt idx="471">
                  <c:v>0.85399999999999998</c:v>
                </c:pt>
                <c:pt idx="472">
                  <c:v>0.90700000000000003</c:v>
                </c:pt>
                <c:pt idx="473">
                  <c:v>0.434</c:v>
                </c:pt>
                <c:pt idx="474">
                  <c:v>0.91</c:v>
                </c:pt>
                <c:pt idx="475">
                  <c:v>0.83499999999999996</c:v>
                </c:pt>
                <c:pt idx="476">
                  <c:v>0.91300000000000003</c:v>
                </c:pt>
                <c:pt idx="477">
                  <c:v>0.92900000000000005</c:v>
                </c:pt>
                <c:pt idx="478">
                  <c:v>0.74199999999999999</c:v>
                </c:pt>
                <c:pt idx="479">
                  <c:v>0.91900000000000004</c:v>
                </c:pt>
                <c:pt idx="480">
                  <c:v>0.95599999999999996</c:v>
                </c:pt>
                <c:pt idx="481">
                  <c:v>0.66600000000000004</c:v>
                </c:pt>
                <c:pt idx="482">
                  <c:v>0.91100000000000003</c:v>
                </c:pt>
                <c:pt idx="483">
                  <c:v>0.71499999999999997</c:v>
                </c:pt>
                <c:pt idx="484">
                  <c:v>0.85799999999999998</c:v>
                </c:pt>
                <c:pt idx="485">
                  <c:v>0.61</c:v>
                </c:pt>
                <c:pt idx="486">
                  <c:v>0.86599999999999999</c:v>
                </c:pt>
                <c:pt idx="487">
                  <c:v>0.872</c:v>
                </c:pt>
                <c:pt idx="488">
                  <c:v>0.88700000000000001</c:v>
                </c:pt>
                <c:pt idx="489">
                  <c:v>0.89900000000000002</c:v>
                </c:pt>
                <c:pt idx="490">
                  <c:v>0.84399999999999997</c:v>
                </c:pt>
                <c:pt idx="491">
                  <c:v>0.85099999999999998</c:v>
                </c:pt>
                <c:pt idx="492">
                  <c:v>0.78900000000000003</c:v>
                </c:pt>
                <c:pt idx="493">
                  <c:v>0.90900000000000003</c:v>
                </c:pt>
                <c:pt idx="494">
                  <c:v>0.94199999999999995</c:v>
                </c:pt>
                <c:pt idx="495">
                  <c:v>0.86299999999999999</c:v>
                </c:pt>
                <c:pt idx="496">
                  <c:v>0.94199999999999995</c:v>
                </c:pt>
                <c:pt idx="497">
                  <c:v>0.872</c:v>
                </c:pt>
                <c:pt idx="498">
                  <c:v>0.94</c:v>
                </c:pt>
                <c:pt idx="499">
                  <c:v>0.49299999999999999</c:v>
                </c:pt>
                <c:pt idx="500">
                  <c:v>0.97599999999999998</c:v>
                </c:pt>
                <c:pt idx="501">
                  <c:v>0.77500000000000002</c:v>
                </c:pt>
                <c:pt idx="502">
                  <c:v>0.94699999999999995</c:v>
                </c:pt>
                <c:pt idx="503">
                  <c:v>0.81</c:v>
                </c:pt>
                <c:pt idx="504">
                  <c:v>0.88200000000000001</c:v>
                </c:pt>
                <c:pt idx="505">
                  <c:v>0.877</c:v>
                </c:pt>
                <c:pt idx="506">
                  <c:v>0.81599999999999995</c:v>
                </c:pt>
                <c:pt idx="507">
                  <c:v>0.83699999999999997</c:v>
                </c:pt>
                <c:pt idx="508">
                  <c:v>0.91300000000000003</c:v>
                </c:pt>
                <c:pt idx="509">
                  <c:v>0.91800000000000004</c:v>
                </c:pt>
                <c:pt idx="510">
                  <c:v>0.75600000000000001</c:v>
                </c:pt>
                <c:pt idx="511">
                  <c:v>0.73799999999999999</c:v>
                </c:pt>
                <c:pt idx="512">
                  <c:v>0.78600000000000003</c:v>
                </c:pt>
                <c:pt idx="513">
                  <c:v>0.95</c:v>
                </c:pt>
                <c:pt idx="514">
                  <c:v>0.67300000000000004</c:v>
                </c:pt>
                <c:pt idx="515">
                  <c:v>0.54900000000000004</c:v>
                </c:pt>
                <c:pt idx="516">
                  <c:v>0.72</c:v>
                </c:pt>
                <c:pt idx="517">
                  <c:v>0.73799999999999999</c:v>
                </c:pt>
                <c:pt idx="518">
                  <c:v>0.89</c:v>
                </c:pt>
                <c:pt idx="519">
                  <c:v>0.59799999999999998</c:v>
                </c:pt>
                <c:pt idx="520">
                  <c:v>0.84199999999999997</c:v>
                </c:pt>
                <c:pt idx="521">
                  <c:v>0.86499999999999999</c:v>
                </c:pt>
                <c:pt idx="522">
                  <c:v>0.93799999999999994</c:v>
                </c:pt>
                <c:pt idx="523">
                  <c:v>0.96799999999999997</c:v>
                </c:pt>
                <c:pt idx="524">
                  <c:v>0.73399999999999999</c:v>
                </c:pt>
                <c:pt idx="525">
                  <c:v>0.874</c:v>
                </c:pt>
                <c:pt idx="526">
                  <c:v>0.91600000000000004</c:v>
                </c:pt>
                <c:pt idx="527">
                  <c:v>0.92800000000000005</c:v>
                </c:pt>
                <c:pt idx="528">
                  <c:v>0.74</c:v>
                </c:pt>
                <c:pt idx="529">
                  <c:v>0.93300000000000005</c:v>
                </c:pt>
                <c:pt idx="530">
                  <c:v>0.95699999999999996</c:v>
                </c:pt>
                <c:pt idx="531">
                  <c:v>0.91300000000000003</c:v>
                </c:pt>
                <c:pt idx="532">
                  <c:v>0.89500000000000002</c:v>
                </c:pt>
                <c:pt idx="533">
                  <c:v>0.93700000000000006</c:v>
                </c:pt>
                <c:pt idx="534">
                  <c:v>0.47399999999999998</c:v>
                </c:pt>
                <c:pt idx="535">
                  <c:v>0.83199999999999996</c:v>
                </c:pt>
                <c:pt idx="536">
                  <c:v>0.84099999999999997</c:v>
                </c:pt>
                <c:pt idx="537">
                  <c:v>0.79100000000000004</c:v>
                </c:pt>
                <c:pt idx="538">
                  <c:v>0.503</c:v>
                </c:pt>
                <c:pt idx="539">
                  <c:v>0.81299999999999994</c:v>
                </c:pt>
                <c:pt idx="540">
                  <c:v>0.88500000000000001</c:v>
                </c:pt>
                <c:pt idx="541">
                  <c:v>0.95899999999999996</c:v>
                </c:pt>
                <c:pt idx="542">
                  <c:v>0.72699999999999998</c:v>
                </c:pt>
                <c:pt idx="543">
                  <c:v>0.75700000000000001</c:v>
                </c:pt>
                <c:pt idx="544">
                  <c:v>0.84</c:v>
                </c:pt>
                <c:pt idx="545">
                  <c:v>0.74099999999999999</c:v>
                </c:pt>
                <c:pt idx="546">
                  <c:v>0.78200000000000003</c:v>
                </c:pt>
                <c:pt idx="547">
                  <c:v>0.91500000000000004</c:v>
                </c:pt>
                <c:pt idx="548">
                  <c:v>0.432</c:v>
                </c:pt>
                <c:pt idx="549">
                  <c:v>0.878</c:v>
                </c:pt>
                <c:pt idx="550">
                  <c:v>0.89600000000000002</c:v>
                </c:pt>
                <c:pt idx="551">
                  <c:v>0.89800000000000002</c:v>
                </c:pt>
                <c:pt idx="552">
                  <c:v>0.90400000000000003</c:v>
                </c:pt>
                <c:pt idx="553">
                  <c:v>0.91</c:v>
                </c:pt>
                <c:pt idx="554">
                  <c:v>0.91600000000000004</c:v>
                </c:pt>
                <c:pt idx="555">
                  <c:v>0.93400000000000005</c:v>
                </c:pt>
                <c:pt idx="556">
                  <c:v>0.72899999999999998</c:v>
                </c:pt>
                <c:pt idx="557">
                  <c:v>0.89100000000000001</c:v>
                </c:pt>
                <c:pt idx="558">
                  <c:v>0.84799999999999998</c:v>
                </c:pt>
                <c:pt idx="559">
                  <c:v>0.71299999999999997</c:v>
                </c:pt>
                <c:pt idx="560">
                  <c:v>0.83299999999999996</c:v>
                </c:pt>
                <c:pt idx="561">
                  <c:v>0.89</c:v>
                </c:pt>
                <c:pt idx="562">
                  <c:v>0.96499999999999997</c:v>
                </c:pt>
                <c:pt idx="563">
                  <c:v>0.61899999999999999</c:v>
                </c:pt>
                <c:pt idx="564">
                  <c:v>0.83299999999999996</c:v>
                </c:pt>
                <c:pt idx="565">
                  <c:v>0.85199999999999998</c:v>
                </c:pt>
                <c:pt idx="566">
                  <c:v>0.86399999999999999</c:v>
                </c:pt>
                <c:pt idx="567">
                  <c:v>0.85</c:v>
                </c:pt>
                <c:pt idx="568">
                  <c:v>0.91700000000000004</c:v>
                </c:pt>
                <c:pt idx="569">
                  <c:v>0.88600000000000001</c:v>
                </c:pt>
                <c:pt idx="570">
                  <c:v>0.92300000000000004</c:v>
                </c:pt>
                <c:pt idx="571">
                  <c:v>0.83199999999999996</c:v>
                </c:pt>
                <c:pt idx="572">
                  <c:v>0.86399999999999999</c:v>
                </c:pt>
                <c:pt idx="573">
                  <c:v>0.93100000000000005</c:v>
                </c:pt>
                <c:pt idx="574">
                  <c:v>0.86599999999999999</c:v>
                </c:pt>
                <c:pt idx="575">
                  <c:v>0.78700000000000003</c:v>
                </c:pt>
                <c:pt idx="576">
                  <c:v>0.82599999999999996</c:v>
                </c:pt>
                <c:pt idx="577">
                  <c:v>0.875</c:v>
                </c:pt>
                <c:pt idx="578">
                  <c:v>0.93799999999999994</c:v>
                </c:pt>
                <c:pt idx="579">
                  <c:v>0.871</c:v>
                </c:pt>
                <c:pt idx="580">
                  <c:v>0.94099999999999995</c:v>
                </c:pt>
                <c:pt idx="581">
                  <c:v>0.92200000000000004</c:v>
                </c:pt>
                <c:pt idx="582">
                  <c:v>0.91300000000000003</c:v>
                </c:pt>
                <c:pt idx="583">
                  <c:v>0.71899999999999997</c:v>
                </c:pt>
                <c:pt idx="584">
                  <c:v>0.94099999999999995</c:v>
                </c:pt>
                <c:pt idx="585">
                  <c:v>0.91200000000000003</c:v>
                </c:pt>
                <c:pt idx="586">
                  <c:v>0.78300000000000003</c:v>
                </c:pt>
                <c:pt idx="587">
                  <c:v>0.747</c:v>
                </c:pt>
                <c:pt idx="588">
                  <c:v>0.70399999999999996</c:v>
                </c:pt>
                <c:pt idx="589">
                  <c:v>0.90800000000000003</c:v>
                </c:pt>
                <c:pt idx="590">
                  <c:v>0.92</c:v>
                </c:pt>
                <c:pt idx="591">
                  <c:v>0.86</c:v>
                </c:pt>
                <c:pt idx="592">
                  <c:v>0.79200000000000004</c:v>
                </c:pt>
                <c:pt idx="593">
                  <c:v>0.9</c:v>
                </c:pt>
                <c:pt idx="594">
                  <c:v>0.52900000000000003</c:v>
                </c:pt>
                <c:pt idx="595">
                  <c:v>0.93100000000000005</c:v>
                </c:pt>
                <c:pt idx="596">
                  <c:v>0.85699999999999998</c:v>
                </c:pt>
                <c:pt idx="597">
                  <c:v>0.90700000000000003</c:v>
                </c:pt>
                <c:pt idx="598">
                  <c:v>0.80600000000000005</c:v>
                </c:pt>
                <c:pt idx="599">
                  <c:v>0.89500000000000002</c:v>
                </c:pt>
                <c:pt idx="600">
                  <c:v>0.86299999999999999</c:v>
                </c:pt>
                <c:pt idx="601">
                  <c:v>0.84499999999999997</c:v>
                </c:pt>
                <c:pt idx="602">
                  <c:v>0.876</c:v>
                </c:pt>
                <c:pt idx="603">
                  <c:v>0.82899999999999996</c:v>
                </c:pt>
                <c:pt idx="604">
                  <c:v>0.86799999999999999</c:v>
                </c:pt>
                <c:pt idx="605">
                  <c:v>0.624</c:v>
                </c:pt>
                <c:pt idx="606">
                  <c:v>0.876</c:v>
                </c:pt>
                <c:pt idx="607">
                  <c:v>0.70299999999999996</c:v>
                </c:pt>
                <c:pt idx="608">
                  <c:v>0.71299999999999997</c:v>
                </c:pt>
                <c:pt idx="609">
                  <c:v>0.91800000000000004</c:v>
                </c:pt>
                <c:pt idx="610">
                  <c:v>0.89400000000000002</c:v>
                </c:pt>
                <c:pt idx="611">
                  <c:v>0.95</c:v>
                </c:pt>
                <c:pt idx="612">
                  <c:v>0.77700000000000002</c:v>
                </c:pt>
                <c:pt idx="613">
                  <c:v>0.53600000000000003</c:v>
                </c:pt>
                <c:pt idx="614">
                  <c:v>0.86399999999999999</c:v>
                </c:pt>
                <c:pt idx="615">
                  <c:v>0.83899999999999997</c:v>
                </c:pt>
                <c:pt idx="616">
                  <c:v>0.91900000000000004</c:v>
                </c:pt>
                <c:pt idx="617">
                  <c:v>0.93300000000000005</c:v>
                </c:pt>
                <c:pt idx="618">
                  <c:v>0.88800000000000001</c:v>
                </c:pt>
                <c:pt idx="619">
                  <c:v>0.93100000000000005</c:v>
                </c:pt>
                <c:pt idx="620">
                  <c:v>0.91600000000000004</c:v>
                </c:pt>
                <c:pt idx="621">
                  <c:v>0.91500000000000004</c:v>
                </c:pt>
                <c:pt idx="622">
                  <c:v>0.88600000000000001</c:v>
                </c:pt>
                <c:pt idx="623">
                  <c:v>0.85299999999999998</c:v>
                </c:pt>
                <c:pt idx="624">
                  <c:v>0.76100000000000001</c:v>
                </c:pt>
                <c:pt idx="625">
                  <c:v>0.82799999999999996</c:v>
                </c:pt>
                <c:pt idx="626">
                  <c:v>0.89600000000000002</c:v>
                </c:pt>
                <c:pt idx="627">
                  <c:v>0.90600000000000003</c:v>
                </c:pt>
                <c:pt idx="628">
                  <c:v>0.84199999999999997</c:v>
                </c:pt>
                <c:pt idx="629">
                  <c:v>0.95499999999999996</c:v>
                </c:pt>
                <c:pt idx="630">
                  <c:v>0.92800000000000005</c:v>
                </c:pt>
                <c:pt idx="631">
                  <c:v>0.83099999999999996</c:v>
                </c:pt>
                <c:pt idx="632">
                  <c:v>0.84599999999999997</c:v>
                </c:pt>
                <c:pt idx="633">
                  <c:v>0.93100000000000005</c:v>
                </c:pt>
                <c:pt idx="634">
                  <c:v>0.84499999999999997</c:v>
                </c:pt>
                <c:pt idx="635">
                  <c:v>0.86699999999999999</c:v>
                </c:pt>
                <c:pt idx="636">
                  <c:v>0.86</c:v>
                </c:pt>
                <c:pt idx="637">
                  <c:v>0.88200000000000001</c:v>
                </c:pt>
                <c:pt idx="638">
                  <c:v>0.89900000000000002</c:v>
                </c:pt>
                <c:pt idx="639">
                  <c:v>0.86799999999999999</c:v>
                </c:pt>
                <c:pt idx="640">
                  <c:v>0.91900000000000004</c:v>
                </c:pt>
                <c:pt idx="641">
                  <c:v>0.85099999999999998</c:v>
                </c:pt>
                <c:pt idx="642">
                  <c:v>0.82099999999999995</c:v>
                </c:pt>
                <c:pt idx="643">
                  <c:v>0.77300000000000002</c:v>
                </c:pt>
                <c:pt idx="644">
                  <c:v>0.79500000000000004</c:v>
                </c:pt>
                <c:pt idx="645">
                  <c:v>0.50900000000000001</c:v>
                </c:pt>
                <c:pt idx="646">
                  <c:v>0.64</c:v>
                </c:pt>
                <c:pt idx="647">
                  <c:v>0.72899999999999998</c:v>
                </c:pt>
                <c:pt idx="648">
                  <c:v>0.85699999999999998</c:v>
                </c:pt>
                <c:pt idx="649">
                  <c:v>0.94599999999999995</c:v>
                </c:pt>
                <c:pt idx="650">
                  <c:v>0.82199999999999995</c:v>
                </c:pt>
                <c:pt idx="651">
                  <c:v>0.86299999999999999</c:v>
                </c:pt>
                <c:pt idx="652">
                  <c:v>0.93500000000000005</c:v>
                </c:pt>
                <c:pt idx="653">
                  <c:v>0.879</c:v>
                </c:pt>
                <c:pt idx="654">
                  <c:v>0.95299999999999996</c:v>
                </c:pt>
                <c:pt idx="655">
                  <c:v>0.83899999999999997</c:v>
                </c:pt>
                <c:pt idx="656">
                  <c:v>0.92500000000000004</c:v>
                </c:pt>
                <c:pt idx="657">
                  <c:v>0.874</c:v>
                </c:pt>
                <c:pt idx="658">
                  <c:v>0.9</c:v>
                </c:pt>
                <c:pt idx="659">
                  <c:v>0.93500000000000005</c:v>
                </c:pt>
                <c:pt idx="660">
                  <c:v>0.93899999999999995</c:v>
                </c:pt>
                <c:pt idx="661">
                  <c:v>0.78500000000000003</c:v>
                </c:pt>
                <c:pt idx="662">
                  <c:v>0.78300000000000003</c:v>
                </c:pt>
                <c:pt idx="663">
                  <c:v>0.80700000000000005</c:v>
                </c:pt>
                <c:pt idx="664">
                  <c:v>0.85</c:v>
                </c:pt>
                <c:pt idx="665">
                  <c:v>0.80200000000000005</c:v>
                </c:pt>
                <c:pt idx="666">
                  <c:v>0.91400000000000003</c:v>
                </c:pt>
                <c:pt idx="667">
                  <c:v>0.94799999999999995</c:v>
                </c:pt>
                <c:pt idx="668">
                  <c:v>0.86799999999999999</c:v>
                </c:pt>
                <c:pt idx="669">
                  <c:v>0.85099999999999998</c:v>
                </c:pt>
                <c:pt idx="670">
                  <c:v>0.89500000000000002</c:v>
                </c:pt>
                <c:pt idx="671">
                  <c:v>0.81399999999999995</c:v>
                </c:pt>
                <c:pt idx="672">
                  <c:v>0.86499999999999999</c:v>
                </c:pt>
                <c:pt idx="673">
                  <c:v>0.73499999999999999</c:v>
                </c:pt>
                <c:pt idx="674">
                  <c:v>0.90700000000000003</c:v>
                </c:pt>
                <c:pt idx="675">
                  <c:v>0.88500000000000001</c:v>
                </c:pt>
                <c:pt idx="676">
                  <c:v>0.68200000000000005</c:v>
                </c:pt>
                <c:pt idx="677">
                  <c:v>0.93400000000000005</c:v>
                </c:pt>
                <c:pt idx="678">
                  <c:v>0.73399999999999999</c:v>
                </c:pt>
                <c:pt idx="679">
                  <c:v>0.85299999999999998</c:v>
                </c:pt>
                <c:pt idx="680">
                  <c:v>0.85899999999999999</c:v>
                </c:pt>
                <c:pt idx="681">
                  <c:v>0.874</c:v>
                </c:pt>
                <c:pt idx="682">
                  <c:v>0.96499999999999997</c:v>
                </c:pt>
                <c:pt idx="683">
                  <c:v>0.95299999999999996</c:v>
                </c:pt>
                <c:pt idx="684">
                  <c:v>0.89300000000000002</c:v>
                </c:pt>
                <c:pt idx="685">
                  <c:v>0.79400000000000004</c:v>
                </c:pt>
                <c:pt idx="686">
                  <c:v>0.89300000000000002</c:v>
                </c:pt>
                <c:pt idx="687">
                  <c:v>0.91900000000000004</c:v>
                </c:pt>
                <c:pt idx="688">
                  <c:v>0.85899999999999999</c:v>
                </c:pt>
                <c:pt idx="689">
                  <c:v>0.55600000000000005</c:v>
                </c:pt>
                <c:pt idx="690">
                  <c:v>0.77600000000000002</c:v>
                </c:pt>
                <c:pt idx="691">
                  <c:v>0.876</c:v>
                </c:pt>
                <c:pt idx="692">
                  <c:v>0.94799999999999995</c:v>
                </c:pt>
                <c:pt idx="693">
                  <c:v>0.85499999999999998</c:v>
                </c:pt>
                <c:pt idx="694">
                  <c:v>0.95799999999999996</c:v>
                </c:pt>
                <c:pt idx="695">
                  <c:v>0.72299999999999998</c:v>
                </c:pt>
                <c:pt idx="696">
                  <c:v>0.66700000000000004</c:v>
                </c:pt>
                <c:pt idx="697">
                  <c:v>0.85</c:v>
                </c:pt>
                <c:pt idx="698">
                  <c:v>0.84199999999999997</c:v>
                </c:pt>
                <c:pt idx="699">
                  <c:v>0.86099999999999999</c:v>
                </c:pt>
                <c:pt idx="700">
                  <c:v>0.88800000000000001</c:v>
                </c:pt>
                <c:pt idx="701">
                  <c:v>0.82899999999999996</c:v>
                </c:pt>
                <c:pt idx="702">
                  <c:v>0.90300000000000002</c:v>
                </c:pt>
                <c:pt idx="703">
                  <c:v>0.70299999999999996</c:v>
                </c:pt>
                <c:pt idx="704">
                  <c:v>0.83799999999999997</c:v>
                </c:pt>
                <c:pt idx="705">
                  <c:v>0.88</c:v>
                </c:pt>
                <c:pt idx="706">
                  <c:v>0.91100000000000003</c:v>
                </c:pt>
                <c:pt idx="707">
                  <c:v>0.89200000000000002</c:v>
                </c:pt>
                <c:pt idx="708">
                  <c:v>0.94799999999999995</c:v>
                </c:pt>
                <c:pt idx="709">
                  <c:v>0.60299999999999998</c:v>
                </c:pt>
                <c:pt idx="710">
                  <c:v>0.79900000000000004</c:v>
                </c:pt>
                <c:pt idx="711">
                  <c:v>0.875</c:v>
                </c:pt>
                <c:pt idx="712">
                  <c:v>0.88400000000000001</c:v>
                </c:pt>
                <c:pt idx="713">
                  <c:v>0.90100000000000002</c:v>
                </c:pt>
                <c:pt idx="714">
                  <c:v>0.68100000000000005</c:v>
                </c:pt>
                <c:pt idx="715">
                  <c:v>0.879</c:v>
                </c:pt>
                <c:pt idx="716">
                  <c:v>0.81399999999999995</c:v>
                </c:pt>
                <c:pt idx="717">
                  <c:v>0.9</c:v>
                </c:pt>
                <c:pt idx="718">
                  <c:v>0.82299999999999995</c:v>
                </c:pt>
                <c:pt idx="719">
                  <c:v>0.746</c:v>
                </c:pt>
                <c:pt idx="720">
                  <c:v>0.80400000000000005</c:v>
                </c:pt>
                <c:pt idx="721">
                  <c:v>0.86399999999999999</c:v>
                </c:pt>
                <c:pt idx="722">
                  <c:v>0.97499999999999998</c:v>
                </c:pt>
                <c:pt idx="723">
                  <c:v>0.83199999999999996</c:v>
                </c:pt>
                <c:pt idx="724">
                  <c:v>0.81100000000000005</c:v>
                </c:pt>
                <c:pt idx="725">
                  <c:v>0.84099999999999997</c:v>
                </c:pt>
                <c:pt idx="726">
                  <c:v>0.876</c:v>
                </c:pt>
                <c:pt idx="727">
                  <c:v>0.82099999999999995</c:v>
                </c:pt>
                <c:pt idx="728">
                  <c:v>0.78400000000000003</c:v>
                </c:pt>
                <c:pt idx="729">
                  <c:v>0.86099999999999999</c:v>
                </c:pt>
                <c:pt idx="730">
                  <c:v>0.93</c:v>
                </c:pt>
                <c:pt idx="731">
                  <c:v>0.9</c:v>
                </c:pt>
                <c:pt idx="732">
                  <c:v>0.40400000000000003</c:v>
                </c:pt>
                <c:pt idx="733">
                  <c:v>0.83</c:v>
                </c:pt>
                <c:pt idx="734">
                  <c:v>0.871</c:v>
                </c:pt>
                <c:pt idx="735">
                  <c:v>0.89100000000000001</c:v>
                </c:pt>
                <c:pt idx="736">
                  <c:v>0.69599999999999995</c:v>
                </c:pt>
                <c:pt idx="737">
                  <c:v>0.82899999999999996</c:v>
                </c:pt>
                <c:pt idx="738">
                  <c:v>0.92700000000000005</c:v>
                </c:pt>
                <c:pt idx="739">
                  <c:v>0.77100000000000002</c:v>
                </c:pt>
                <c:pt idx="740">
                  <c:v>0.876</c:v>
                </c:pt>
                <c:pt idx="741">
                  <c:v>0.86499999999999999</c:v>
                </c:pt>
                <c:pt idx="742">
                  <c:v>0.83399999999999996</c:v>
                </c:pt>
                <c:pt idx="743">
                  <c:v>0.56699999999999995</c:v>
                </c:pt>
                <c:pt idx="744">
                  <c:v>0.84499999999999997</c:v>
                </c:pt>
                <c:pt idx="745">
                  <c:v>0.83199999999999996</c:v>
                </c:pt>
                <c:pt idx="746">
                  <c:v>0.49199999999999999</c:v>
                </c:pt>
                <c:pt idx="747">
                  <c:v>0.84499999999999997</c:v>
                </c:pt>
                <c:pt idx="748">
                  <c:v>0.92</c:v>
                </c:pt>
                <c:pt idx="749">
                  <c:v>0.80300000000000005</c:v>
                </c:pt>
                <c:pt idx="750">
                  <c:v>0.95399999999999996</c:v>
                </c:pt>
                <c:pt idx="751">
                  <c:v>0.53800000000000003</c:v>
                </c:pt>
                <c:pt idx="752">
                  <c:v>0.70099999999999996</c:v>
                </c:pt>
                <c:pt idx="753">
                  <c:v>0.90100000000000002</c:v>
                </c:pt>
                <c:pt idx="754">
                  <c:v>0.85499999999999998</c:v>
                </c:pt>
                <c:pt idx="755">
                  <c:v>0.49099999999999999</c:v>
                </c:pt>
                <c:pt idx="756">
                  <c:v>0.92700000000000005</c:v>
                </c:pt>
                <c:pt idx="757">
                  <c:v>0.93100000000000005</c:v>
                </c:pt>
                <c:pt idx="758">
                  <c:v>0.78</c:v>
                </c:pt>
                <c:pt idx="759">
                  <c:v>0.81499999999999995</c:v>
                </c:pt>
                <c:pt idx="760">
                  <c:v>0.97699999999999998</c:v>
                </c:pt>
                <c:pt idx="761">
                  <c:v>0.435</c:v>
                </c:pt>
                <c:pt idx="762">
                  <c:v>0.79800000000000004</c:v>
                </c:pt>
                <c:pt idx="763">
                  <c:v>0.8</c:v>
                </c:pt>
                <c:pt idx="764">
                  <c:v>0.84399999999999997</c:v>
                </c:pt>
                <c:pt idx="765">
                  <c:v>0.86799999999999999</c:v>
                </c:pt>
                <c:pt idx="766">
                  <c:v>0.75800000000000001</c:v>
                </c:pt>
                <c:pt idx="767">
                  <c:v>0.85299999999999998</c:v>
                </c:pt>
                <c:pt idx="768">
                  <c:v>0.87</c:v>
                </c:pt>
                <c:pt idx="769">
                  <c:v>0.80800000000000005</c:v>
                </c:pt>
                <c:pt idx="770">
                  <c:v>0.88800000000000001</c:v>
                </c:pt>
                <c:pt idx="771">
                  <c:v>0.623</c:v>
                </c:pt>
                <c:pt idx="772">
                  <c:v>0.82199999999999995</c:v>
                </c:pt>
                <c:pt idx="773">
                  <c:v>0.73699999999999999</c:v>
                </c:pt>
                <c:pt idx="774">
                  <c:v>0.78900000000000003</c:v>
                </c:pt>
                <c:pt idx="775">
                  <c:v>0.88</c:v>
                </c:pt>
                <c:pt idx="776">
                  <c:v>0.75900000000000001</c:v>
                </c:pt>
                <c:pt idx="777">
                  <c:v>0.85</c:v>
                </c:pt>
                <c:pt idx="778">
                  <c:v>0.92300000000000004</c:v>
                </c:pt>
                <c:pt idx="779">
                  <c:v>0.9</c:v>
                </c:pt>
                <c:pt idx="780">
                  <c:v>0.89</c:v>
                </c:pt>
                <c:pt idx="781">
                  <c:v>0.85199999999999998</c:v>
                </c:pt>
                <c:pt idx="782">
                  <c:v>0.88100000000000001</c:v>
                </c:pt>
                <c:pt idx="783">
                  <c:v>0.84299999999999997</c:v>
                </c:pt>
                <c:pt idx="784">
                  <c:v>0.93200000000000005</c:v>
                </c:pt>
                <c:pt idx="785">
                  <c:v>0.92700000000000005</c:v>
                </c:pt>
                <c:pt idx="786">
                  <c:v>0.70799999999999996</c:v>
                </c:pt>
                <c:pt idx="787">
                  <c:v>0.69099999999999995</c:v>
                </c:pt>
                <c:pt idx="788">
                  <c:v>0.748</c:v>
                </c:pt>
                <c:pt idx="789">
                  <c:v>0.82699999999999996</c:v>
                </c:pt>
                <c:pt idx="790">
                  <c:v>0.77900000000000003</c:v>
                </c:pt>
                <c:pt idx="791">
                  <c:v>0.88200000000000001</c:v>
                </c:pt>
                <c:pt idx="792">
                  <c:v>0.86599999999999999</c:v>
                </c:pt>
                <c:pt idx="793">
                  <c:v>0.92200000000000004</c:v>
                </c:pt>
                <c:pt idx="794">
                  <c:v>0.80800000000000005</c:v>
                </c:pt>
                <c:pt idx="795">
                  <c:v>0.85499999999999998</c:v>
                </c:pt>
                <c:pt idx="796">
                  <c:v>0.93500000000000005</c:v>
                </c:pt>
                <c:pt idx="797">
                  <c:v>0.81399999999999995</c:v>
                </c:pt>
                <c:pt idx="798">
                  <c:v>0.83099999999999996</c:v>
                </c:pt>
                <c:pt idx="799">
                  <c:v>0.86099999999999999</c:v>
                </c:pt>
                <c:pt idx="800">
                  <c:v>0.93400000000000005</c:v>
                </c:pt>
                <c:pt idx="801">
                  <c:v>0.90900000000000003</c:v>
                </c:pt>
                <c:pt idx="802">
                  <c:v>0.79800000000000004</c:v>
                </c:pt>
                <c:pt idx="803">
                  <c:v>0.77600000000000002</c:v>
                </c:pt>
                <c:pt idx="804">
                  <c:v>0.78600000000000003</c:v>
                </c:pt>
                <c:pt idx="805">
                  <c:v>0.88600000000000001</c:v>
                </c:pt>
                <c:pt idx="806">
                  <c:v>0.95799999999999996</c:v>
                </c:pt>
                <c:pt idx="807">
                  <c:v>0.89400000000000002</c:v>
                </c:pt>
                <c:pt idx="808">
                  <c:v>0.77</c:v>
                </c:pt>
                <c:pt idx="809">
                  <c:v>0.75800000000000001</c:v>
                </c:pt>
                <c:pt idx="810">
                  <c:v>0.91</c:v>
                </c:pt>
                <c:pt idx="811">
                  <c:v>0.91300000000000003</c:v>
                </c:pt>
                <c:pt idx="812">
                  <c:v>0.77700000000000002</c:v>
                </c:pt>
                <c:pt idx="813">
                  <c:v>0.83099999999999996</c:v>
                </c:pt>
                <c:pt idx="814">
                  <c:v>0.93500000000000005</c:v>
                </c:pt>
                <c:pt idx="815">
                  <c:v>0.78</c:v>
                </c:pt>
                <c:pt idx="816">
                  <c:v>0.95599999999999996</c:v>
                </c:pt>
                <c:pt idx="817">
                  <c:v>0.86499999999999999</c:v>
                </c:pt>
                <c:pt idx="818">
                  <c:v>0.95</c:v>
                </c:pt>
                <c:pt idx="819">
                  <c:v>0.80200000000000005</c:v>
                </c:pt>
                <c:pt idx="820">
                  <c:v>0.78800000000000003</c:v>
                </c:pt>
                <c:pt idx="821">
                  <c:v>0.755</c:v>
                </c:pt>
                <c:pt idx="822">
                  <c:v>0.84599999999999997</c:v>
                </c:pt>
                <c:pt idx="823">
                  <c:v>0.74399999999999999</c:v>
                </c:pt>
                <c:pt idx="824">
                  <c:v>0.73899999999999999</c:v>
                </c:pt>
                <c:pt idx="825">
                  <c:v>0.66500000000000004</c:v>
                </c:pt>
                <c:pt idx="826">
                  <c:v>0.93300000000000005</c:v>
                </c:pt>
                <c:pt idx="827">
                  <c:v>0.85899999999999999</c:v>
                </c:pt>
                <c:pt idx="828">
                  <c:v>0.79500000000000004</c:v>
                </c:pt>
                <c:pt idx="829">
                  <c:v>0.73299999999999998</c:v>
                </c:pt>
                <c:pt idx="830">
                  <c:v>0.70199999999999996</c:v>
                </c:pt>
                <c:pt idx="831">
                  <c:v>0.85799999999999998</c:v>
                </c:pt>
                <c:pt idx="832">
                  <c:v>0.55400000000000005</c:v>
                </c:pt>
                <c:pt idx="833">
                  <c:v>0.96499999999999997</c:v>
                </c:pt>
                <c:pt idx="834">
                  <c:v>0.81899999999999995</c:v>
                </c:pt>
                <c:pt idx="835">
                  <c:v>0.82899999999999996</c:v>
                </c:pt>
                <c:pt idx="836">
                  <c:v>0.85699999999999998</c:v>
                </c:pt>
                <c:pt idx="837">
                  <c:v>0.88900000000000001</c:v>
                </c:pt>
                <c:pt idx="838">
                  <c:v>0.68300000000000005</c:v>
                </c:pt>
                <c:pt idx="839">
                  <c:v>0.94599999999999995</c:v>
                </c:pt>
                <c:pt idx="840">
                  <c:v>0.85299999999999998</c:v>
                </c:pt>
                <c:pt idx="841">
                  <c:v>0.66400000000000003</c:v>
                </c:pt>
                <c:pt idx="842">
                  <c:v>0.81599999999999995</c:v>
                </c:pt>
                <c:pt idx="843">
                  <c:v>0.85</c:v>
                </c:pt>
                <c:pt idx="844">
                  <c:v>0.78900000000000003</c:v>
                </c:pt>
                <c:pt idx="845">
                  <c:v>0.90500000000000003</c:v>
                </c:pt>
                <c:pt idx="846">
                  <c:v>0.79700000000000004</c:v>
                </c:pt>
                <c:pt idx="847">
                  <c:v>0.85299999999999998</c:v>
                </c:pt>
                <c:pt idx="848">
                  <c:v>0.68200000000000005</c:v>
                </c:pt>
                <c:pt idx="849">
                  <c:v>0.80600000000000005</c:v>
                </c:pt>
                <c:pt idx="850">
                  <c:v>0.68</c:v>
                </c:pt>
                <c:pt idx="851">
                  <c:v>0.88400000000000001</c:v>
                </c:pt>
                <c:pt idx="852">
                  <c:v>0.84499999999999997</c:v>
                </c:pt>
                <c:pt idx="853">
                  <c:v>0.83199999999999996</c:v>
                </c:pt>
                <c:pt idx="854">
                  <c:v>0.70799999999999996</c:v>
                </c:pt>
                <c:pt idx="855">
                  <c:v>0.877</c:v>
                </c:pt>
                <c:pt idx="856">
                  <c:v>0.78700000000000003</c:v>
                </c:pt>
                <c:pt idx="857">
                  <c:v>0.79400000000000004</c:v>
                </c:pt>
                <c:pt idx="858">
                  <c:v>0.86199999999999999</c:v>
                </c:pt>
                <c:pt idx="859">
                  <c:v>0.88600000000000001</c:v>
                </c:pt>
                <c:pt idx="860">
                  <c:v>0.85899999999999999</c:v>
                </c:pt>
                <c:pt idx="861">
                  <c:v>0.90600000000000003</c:v>
                </c:pt>
                <c:pt idx="862">
                  <c:v>0.26300000000000001</c:v>
                </c:pt>
                <c:pt idx="863">
                  <c:v>0.82599999999999996</c:v>
                </c:pt>
                <c:pt idx="864">
                  <c:v>0.876</c:v>
                </c:pt>
                <c:pt idx="865">
                  <c:v>0.74</c:v>
                </c:pt>
                <c:pt idx="866">
                  <c:v>0.73599999999999999</c:v>
                </c:pt>
                <c:pt idx="867">
                  <c:v>0.31900000000000001</c:v>
                </c:pt>
                <c:pt idx="868">
                  <c:v>0.83799999999999997</c:v>
                </c:pt>
                <c:pt idx="869">
                  <c:v>0.74</c:v>
                </c:pt>
                <c:pt idx="870">
                  <c:v>0.94199999999999995</c:v>
                </c:pt>
                <c:pt idx="871">
                  <c:v>0.86799999999999999</c:v>
                </c:pt>
                <c:pt idx="872">
                  <c:v>0.81899999999999995</c:v>
                </c:pt>
                <c:pt idx="873">
                  <c:v>0.82499999999999996</c:v>
                </c:pt>
                <c:pt idx="874">
                  <c:v>0.86899999999999999</c:v>
                </c:pt>
                <c:pt idx="875">
                  <c:v>0.94699999999999995</c:v>
                </c:pt>
                <c:pt idx="876">
                  <c:v>0.68600000000000005</c:v>
                </c:pt>
                <c:pt idx="877">
                  <c:v>0.72399999999999998</c:v>
                </c:pt>
                <c:pt idx="878">
                  <c:v>0.91900000000000004</c:v>
                </c:pt>
                <c:pt idx="879">
                  <c:v>0.83299999999999996</c:v>
                </c:pt>
                <c:pt idx="880">
                  <c:v>0.61799999999999999</c:v>
                </c:pt>
                <c:pt idx="881">
                  <c:v>0.78400000000000003</c:v>
                </c:pt>
                <c:pt idx="882">
                  <c:v>0.90500000000000003</c:v>
                </c:pt>
                <c:pt idx="883">
                  <c:v>0.91900000000000004</c:v>
                </c:pt>
                <c:pt idx="884">
                  <c:v>0.88</c:v>
                </c:pt>
                <c:pt idx="885">
                  <c:v>0.79400000000000004</c:v>
                </c:pt>
                <c:pt idx="886">
                  <c:v>0.80300000000000005</c:v>
                </c:pt>
                <c:pt idx="887">
                  <c:v>0.86</c:v>
                </c:pt>
                <c:pt idx="888">
                  <c:v>0.83699999999999997</c:v>
                </c:pt>
                <c:pt idx="889">
                  <c:v>0.876</c:v>
                </c:pt>
                <c:pt idx="890">
                  <c:v>0.84599999999999997</c:v>
                </c:pt>
                <c:pt idx="891">
                  <c:v>0.84799999999999998</c:v>
                </c:pt>
                <c:pt idx="892">
                  <c:v>0.85299999999999998</c:v>
                </c:pt>
                <c:pt idx="893">
                  <c:v>0.755</c:v>
                </c:pt>
                <c:pt idx="894">
                  <c:v>0.80800000000000005</c:v>
                </c:pt>
                <c:pt idx="895">
                  <c:v>0.88900000000000001</c:v>
                </c:pt>
                <c:pt idx="896">
                  <c:v>0.58299999999999996</c:v>
                </c:pt>
                <c:pt idx="897">
                  <c:v>0.90100000000000002</c:v>
                </c:pt>
                <c:pt idx="898">
                  <c:v>0.92300000000000004</c:v>
                </c:pt>
                <c:pt idx="899">
                  <c:v>0.71</c:v>
                </c:pt>
                <c:pt idx="900">
                  <c:v>0.92600000000000005</c:v>
                </c:pt>
                <c:pt idx="901">
                  <c:v>0.93100000000000005</c:v>
                </c:pt>
                <c:pt idx="902">
                  <c:v>0.877</c:v>
                </c:pt>
                <c:pt idx="903">
                  <c:v>0.57099999999999995</c:v>
                </c:pt>
                <c:pt idx="904">
                  <c:v>0.85099999999999998</c:v>
                </c:pt>
                <c:pt idx="905">
                  <c:v>0.76600000000000001</c:v>
                </c:pt>
                <c:pt idx="906">
                  <c:v>0.70399999999999996</c:v>
                </c:pt>
                <c:pt idx="907">
                  <c:v>0.76900000000000002</c:v>
                </c:pt>
                <c:pt idx="908">
                  <c:v>0.84499999999999997</c:v>
                </c:pt>
                <c:pt idx="909">
                  <c:v>0.68899999999999995</c:v>
                </c:pt>
                <c:pt idx="910">
                  <c:v>0.81799999999999995</c:v>
                </c:pt>
                <c:pt idx="911">
                  <c:v>0.79800000000000004</c:v>
                </c:pt>
                <c:pt idx="912">
                  <c:v>0.90800000000000003</c:v>
                </c:pt>
                <c:pt idx="913">
                  <c:v>0</c:v>
                </c:pt>
                <c:pt idx="914">
                  <c:v>0.70799999999999996</c:v>
                </c:pt>
                <c:pt idx="915">
                  <c:v>0.90200000000000002</c:v>
                </c:pt>
                <c:pt idx="916">
                  <c:v>0.69799999999999995</c:v>
                </c:pt>
                <c:pt idx="917">
                  <c:v>0.84199999999999997</c:v>
                </c:pt>
                <c:pt idx="918">
                  <c:v>0.89500000000000002</c:v>
                </c:pt>
                <c:pt idx="919">
                  <c:v>0.81499999999999995</c:v>
                </c:pt>
                <c:pt idx="920">
                  <c:v>0.5</c:v>
                </c:pt>
                <c:pt idx="921">
                  <c:v>0.83899999999999997</c:v>
                </c:pt>
                <c:pt idx="922">
                  <c:v>0.82299999999999995</c:v>
                </c:pt>
                <c:pt idx="923">
                  <c:v>0.83699999999999997</c:v>
                </c:pt>
                <c:pt idx="924">
                  <c:v>0.79500000000000004</c:v>
                </c:pt>
                <c:pt idx="925">
                  <c:v>0.78</c:v>
                </c:pt>
                <c:pt idx="926">
                  <c:v>0.75900000000000001</c:v>
                </c:pt>
                <c:pt idx="927">
                  <c:v>0.74299999999999999</c:v>
                </c:pt>
                <c:pt idx="928">
                  <c:v>0.628</c:v>
                </c:pt>
                <c:pt idx="929">
                  <c:v>0.9</c:v>
                </c:pt>
                <c:pt idx="930">
                  <c:v>0.79800000000000004</c:v>
                </c:pt>
                <c:pt idx="931">
                  <c:v>0.49099999999999999</c:v>
                </c:pt>
                <c:pt idx="932">
                  <c:v>0.71399999999999997</c:v>
                </c:pt>
                <c:pt idx="933">
                  <c:v>0.80700000000000005</c:v>
                </c:pt>
                <c:pt idx="934">
                  <c:v>0.81799999999999995</c:v>
                </c:pt>
                <c:pt idx="935">
                  <c:v>0.79500000000000004</c:v>
                </c:pt>
                <c:pt idx="936">
                  <c:v>0.77100000000000002</c:v>
                </c:pt>
                <c:pt idx="937">
                  <c:v>0.90400000000000003</c:v>
                </c:pt>
                <c:pt idx="938">
                  <c:v>0.76</c:v>
                </c:pt>
                <c:pt idx="939">
                  <c:v>0.88100000000000001</c:v>
                </c:pt>
                <c:pt idx="940">
                  <c:v>0.73099999999999998</c:v>
                </c:pt>
                <c:pt idx="941">
                  <c:v>0.73399999999999999</c:v>
                </c:pt>
                <c:pt idx="942">
                  <c:v>0.93899999999999995</c:v>
                </c:pt>
                <c:pt idx="943">
                  <c:v>0.72599999999999998</c:v>
                </c:pt>
                <c:pt idx="944">
                  <c:v>0.93700000000000006</c:v>
                </c:pt>
                <c:pt idx="945">
                  <c:v>0.90600000000000003</c:v>
                </c:pt>
                <c:pt idx="946">
                  <c:v>0.85499999999999998</c:v>
                </c:pt>
                <c:pt idx="947">
                  <c:v>0.94499999999999995</c:v>
                </c:pt>
                <c:pt idx="948">
                  <c:v>0.93600000000000005</c:v>
                </c:pt>
                <c:pt idx="949">
                  <c:v>0.92500000000000004</c:v>
                </c:pt>
                <c:pt idx="950">
                  <c:v>0.72499999999999998</c:v>
                </c:pt>
                <c:pt idx="951">
                  <c:v>0.77</c:v>
                </c:pt>
                <c:pt idx="952">
                  <c:v>0.91100000000000003</c:v>
                </c:pt>
                <c:pt idx="953">
                  <c:v>0.70599999999999996</c:v>
                </c:pt>
                <c:pt idx="954">
                  <c:v>0.88300000000000001</c:v>
                </c:pt>
                <c:pt idx="955">
                  <c:v>0.77400000000000002</c:v>
                </c:pt>
                <c:pt idx="956">
                  <c:v>0.83899999999999997</c:v>
                </c:pt>
                <c:pt idx="957">
                  <c:v>0.82</c:v>
                </c:pt>
                <c:pt idx="958">
                  <c:v>0.82299999999999995</c:v>
                </c:pt>
                <c:pt idx="959">
                  <c:v>0.874</c:v>
                </c:pt>
                <c:pt idx="960">
                  <c:v>0.68400000000000005</c:v>
                </c:pt>
                <c:pt idx="961">
                  <c:v>0.76</c:v>
                </c:pt>
                <c:pt idx="962">
                  <c:v>0.86599999999999999</c:v>
                </c:pt>
                <c:pt idx="963">
                  <c:v>0.83899999999999997</c:v>
                </c:pt>
                <c:pt idx="964">
                  <c:v>0.872</c:v>
                </c:pt>
                <c:pt idx="965">
                  <c:v>0.90400000000000003</c:v>
                </c:pt>
                <c:pt idx="966">
                  <c:v>0.70799999999999996</c:v>
                </c:pt>
                <c:pt idx="967">
                  <c:v>0.89</c:v>
                </c:pt>
                <c:pt idx="968">
                  <c:v>0.68799999999999994</c:v>
                </c:pt>
                <c:pt idx="969">
                  <c:v>0.86</c:v>
                </c:pt>
                <c:pt idx="970">
                  <c:v>0.89200000000000002</c:v>
                </c:pt>
                <c:pt idx="971">
                  <c:v>0.88100000000000001</c:v>
                </c:pt>
                <c:pt idx="972">
                  <c:v>0.876</c:v>
                </c:pt>
                <c:pt idx="973">
                  <c:v>0.79800000000000004</c:v>
                </c:pt>
                <c:pt idx="974">
                  <c:v>0.88</c:v>
                </c:pt>
                <c:pt idx="975">
                  <c:v>0.83499999999999996</c:v>
                </c:pt>
                <c:pt idx="976">
                  <c:v>0.627</c:v>
                </c:pt>
                <c:pt idx="977">
                  <c:v>0.85299999999999998</c:v>
                </c:pt>
                <c:pt idx="978">
                  <c:v>0.91200000000000003</c:v>
                </c:pt>
                <c:pt idx="979">
                  <c:v>0.84799999999999998</c:v>
                </c:pt>
                <c:pt idx="980">
                  <c:v>0.82099999999999995</c:v>
                </c:pt>
                <c:pt idx="981">
                  <c:v>0.91300000000000003</c:v>
                </c:pt>
                <c:pt idx="982">
                  <c:v>0.63600000000000001</c:v>
                </c:pt>
                <c:pt idx="983">
                  <c:v>0.66</c:v>
                </c:pt>
                <c:pt idx="984">
                  <c:v>0.75600000000000001</c:v>
                </c:pt>
                <c:pt idx="985">
                  <c:v>0.82399999999999995</c:v>
                </c:pt>
                <c:pt idx="986">
                  <c:v>0.81799999999999995</c:v>
                </c:pt>
                <c:pt idx="987">
                  <c:v>0.86099999999999999</c:v>
                </c:pt>
                <c:pt idx="988">
                  <c:v>0.83299999999999996</c:v>
                </c:pt>
                <c:pt idx="989">
                  <c:v>0.81399999999999995</c:v>
                </c:pt>
                <c:pt idx="990">
                  <c:v>0.71099999999999997</c:v>
                </c:pt>
                <c:pt idx="991">
                  <c:v>0.82899999999999996</c:v>
                </c:pt>
                <c:pt idx="992">
                  <c:v>0.85799999999999998</c:v>
                </c:pt>
                <c:pt idx="993">
                  <c:v>0.89500000000000002</c:v>
                </c:pt>
                <c:pt idx="994">
                  <c:v>0.80600000000000005</c:v>
                </c:pt>
                <c:pt idx="995">
                  <c:v>0.87</c:v>
                </c:pt>
                <c:pt idx="996">
                  <c:v>0.92</c:v>
                </c:pt>
                <c:pt idx="997">
                  <c:v>0.82599999999999996</c:v>
                </c:pt>
                <c:pt idx="998">
                  <c:v>0.83</c:v>
                </c:pt>
                <c:pt idx="999">
                  <c:v>0.72299999999999998</c:v>
                </c:pt>
                <c:pt idx="1000">
                  <c:v>0.94</c:v>
                </c:pt>
                <c:pt idx="1001">
                  <c:v>0.89400000000000002</c:v>
                </c:pt>
                <c:pt idx="1002">
                  <c:v>0.81899999999999995</c:v>
                </c:pt>
                <c:pt idx="1003">
                  <c:v>0.81499999999999995</c:v>
                </c:pt>
                <c:pt idx="1004">
                  <c:v>0.84099999999999997</c:v>
                </c:pt>
                <c:pt idx="1005">
                  <c:v>0.91400000000000003</c:v>
                </c:pt>
                <c:pt idx="1006">
                  <c:v>0.86499999999999999</c:v>
                </c:pt>
                <c:pt idx="1007">
                  <c:v>0.89</c:v>
                </c:pt>
                <c:pt idx="1008">
                  <c:v>0.83599999999999997</c:v>
                </c:pt>
                <c:pt idx="1009">
                  <c:v>0.83599999999999997</c:v>
                </c:pt>
                <c:pt idx="1010">
                  <c:v>0.90700000000000003</c:v>
                </c:pt>
                <c:pt idx="1011">
                  <c:v>0.91100000000000003</c:v>
                </c:pt>
                <c:pt idx="1012">
                  <c:v>0.755</c:v>
                </c:pt>
                <c:pt idx="1013">
                  <c:v>0.72799999999999998</c:v>
                </c:pt>
                <c:pt idx="1014">
                  <c:v>0.89300000000000002</c:v>
                </c:pt>
                <c:pt idx="1015">
                  <c:v>0.92500000000000004</c:v>
                </c:pt>
                <c:pt idx="1016">
                  <c:v>0.69299999999999995</c:v>
                </c:pt>
                <c:pt idx="1017">
                  <c:v>0.81100000000000005</c:v>
                </c:pt>
                <c:pt idx="1018">
                  <c:v>0.57199999999999995</c:v>
                </c:pt>
                <c:pt idx="1019">
                  <c:v>0.78600000000000003</c:v>
                </c:pt>
                <c:pt idx="1020">
                  <c:v>0.76900000000000002</c:v>
                </c:pt>
                <c:pt idx="1021">
                  <c:v>0.82499999999999996</c:v>
                </c:pt>
                <c:pt idx="1022">
                  <c:v>0.77200000000000002</c:v>
                </c:pt>
                <c:pt idx="1023">
                  <c:v>0.76</c:v>
                </c:pt>
                <c:pt idx="1024">
                  <c:v>0.70299999999999996</c:v>
                </c:pt>
                <c:pt idx="1025">
                  <c:v>0.84099999999999997</c:v>
                </c:pt>
                <c:pt idx="1026">
                  <c:v>0.90100000000000002</c:v>
                </c:pt>
                <c:pt idx="1027">
                  <c:v>0.92800000000000005</c:v>
                </c:pt>
                <c:pt idx="1028">
                  <c:v>0.84799999999999998</c:v>
                </c:pt>
                <c:pt idx="1029">
                  <c:v>0.79600000000000004</c:v>
                </c:pt>
                <c:pt idx="1030">
                  <c:v>0.80600000000000005</c:v>
                </c:pt>
                <c:pt idx="1031">
                  <c:v>0.82</c:v>
                </c:pt>
                <c:pt idx="1032">
                  <c:v>0.88</c:v>
                </c:pt>
                <c:pt idx="1033">
                  <c:v>0.81100000000000005</c:v>
                </c:pt>
                <c:pt idx="1034">
                  <c:v>0.72099999999999997</c:v>
                </c:pt>
                <c:pt idx="1035">
                  <c:v>0.72599999999999998</c:v>
                </c:pt>
                <c:pt idx="1036">
                  <c:v>0.83599999999999997</c:v>
                </c:pt>
                <c:pt idx="1037">
                  <c:v>0.92100000000000004</c:v>
                </c:pt>
                <c:pt idx="1038">
                  <c:v>0.91400000000000003</c:v>
                </c:pt>
                <c:pt idx="1039">
                  <c:v>0.89100000000000001</c:v>
                </c:pt>
                <c:pt idx="1040">
                  <c:v>0.84699999999999998</c:v>
                </c:pt>
                <c:pt idx="1041">
                  <c:v>0.9</c:v>
                </c:pt>
                <c:pt idx="1042">
                  <c:v>0.84599999999999997</c:v>
                </c:pt>
                <c:pt idx="1043">
                  <c:v>0.88200000000000001</c:v>
                </c:pt>
                <c:pt idx="1044">
                  <c:v>0.56999999999999995</c:v>
                </c:pt>
                <c:pt idx="1045">
                  <c:v>0.88900000000000001</c:v>
                </c:pt>
                <c:pt idx="1046">
                  <c:v>0.56999999999999995</c:v>
                </c:pt>
                <c:pt idx="1047">
                  <c:v>0.94599999999999995</c:v>
                </c:pt>
                <c:pt idx="1048">
                  <c:v>0.80700000000000005</c:v>
                </c:pt>
                <c:pt idx="1049">
                  <c:v>0.78400000000000003</c:v>
                </c:pt>
                <c:pt idx="1050">
                  <c:v>0.67300000000000004</c:v>
                </c:pt>
                <c:pt idx="1051">
                  <c:v>0.86599999999999999</c:v>
                </c:pt>
                <c:pt idx="1052">
                  <c:v>0.76</c:v>
                </c:pt>
                <c:pt idx="1053">
                  <c:v>0.82399999999999995</c:v>
                </c:pt>
                <c:pt idx="1054">
                  <c:v>0.69899999999999995</c:v>
                </c:pt>
                <c:pt idx="1055">
                  <c:v>0.80900000000000005</c:v>
                </c:pt>
                <c:pt idx="1056">
                  <c:v>0.44700000000000001</c:v>
                </c:pt>
                <c:pt idx="1057">
                  <c:v>0.68899999999999995</c:v>
                </c:pt>
                <c:pt idx="1058">
                  <c:v>0.82899999999999996</c:v>
                </c:pt>
                <c:pt idx="1059">
                  <c:v>0.88400000000000001</c:v>
                </c:pt>
                <c:pt idx="1060">
                  <c:v>0.90800000000000003</c:v>
                </c:pt>
                <c:pt idx="1061">
                  <c:v>0.76700000000000002</c:v>
                </c:pt>
                <c:pt idx="1062">
                  <c:v>0.80300000000000005</c:v>
                </c:pt>
                <c:pt idx="1063">
                  <c:v>0.69699999999999995</c:v>
                </c:pt>
                <c:pt idx="1064">
                  <c:v>0.91900000000000004</c:v>
                </c:pt>
                <c:pt idx="1065">
                  <c:v>0.70399999999999996</c:v>
                </c:pt>
                <c:pt idx="1066">
                  <c:v>0.65100000000000002</c:v>
                </c:pt>
                <c:pt idx="1067">
                  <c:v>0.72499999999999998</c:v>
                </c:pt>
                <c:pt idx="1068">
                  <c:v>0.92300000000000004</c:v>
                </c:pt>
                <c:pt idx="1069">
                  <c:v>0.77600000000000002</c:v>
                </c:pt>
                <c:pt idx="1070">
                  <c:v>0.89400000000000002</c:v>
                </c:pt>
                <c:pt idx="1071">
                  <c:v>0.91200000000000003</c:v>
                </c:pt>
                <c:pt idx="1072">
                  <c:v>0.88</c:v>
                </c:pt>
                <c:pt idx="1073">
                  <c:v>0.83699999999999997</c:v>
                </c:pt>
                <c:pt idx="1074">
                  <c:v>0.85799999999999998</c:v>
                </c:pt>
                <c:pt idx="1075">
                  <c:v>0.68</c:v>
                </c:pt>
                <c:pt idx="1076">
                  <c:v>0.82899999999999996</c:v>
                </c:pt>
                <c:pt idx="1077">
                  <c:v>0.90600000000000003</c:v>
                </c:pt>
                <c:pt idx="1078">
                  <c:v>0.746</c:v>
                </c:pt>
                <c:pt idx="1079">
                  <c:v>0.84499999999999997</c:v>
                </c:pt>
                <c:pt idx="1080">
                  <c:v>0.60599999999999998</c:v>
                </c:pt>
                <c:pt idx="1081">
                  <c:v>0.75900000000000001</c:v>
                </c:pt>
                <c:pt idx="1082">
                  <c:v>0.876</c:v>
                </c:pt>
                <c:pt idx="1083">
                  <c:v>0.69799999999999995</c:v>
                </c:pt>
                <c:pt idx="1084">
                  <c:v>0.85199999999999998</c:v>
                </c:pt>
                <c:pt idx="1085">
                  <c:v>0.20799999999999999</c:v>
                </c:pt>
                <c:pt idx="1086">
                  <c:v>0.84299999999999997</c:v>
                </c:pt>
                <c:pt idx="1087">
                  <c:v>0.70199999999999996</c:v>
                </c:pt>
                <c:pt idx="1088">
                  <c:v>0.77200000000000002</c:v>
                </c:pt>
                <c:pt idx="1089">
                  <c:v>0.69</c:v>
                </c:pt>
                <c:pt idx="1090">
                  <c:v>0.91100000000000003</c:v>
                </c:pt>
                <c:pt idx="1091">
                  <c:v>0.81399999999999995</c:v>
                </c:pt>
                <c:pt idx="1092">
                  <c:v>0.63600000000000001</c:v>
                </c:pt>
                <c:pt idx="1093">
                  <c:v>0.89800000000000002</c:v>
                </c:pt>
                <c:pt idx="1094">
                  <c:v>0.55500000000000005</c:v>
                </c:pt>
                <c:pt idx="1095">
                  <c:v>0.76900000000000002</c:v>
                </c:pt>
                <c:pt idx="1096">
                  <c:v>0.90200000000000002</c:v>
                </c:pt>
                <c:pt idx="1097">
                  <c:v>0.76</c:v>
                </c:pt>
                <c:pt idx="1098">
                  <c:v>0.81399999999999995</c:v>
                </c:pt>
                <c:pt idx="1099">
                  <c:v>0.76400000000000001</c:v>
                </c:pt>
                <c:pt idx="1100">
                  <c:v>0.79700000000000004</c:v>
                </c:pt>
                <c:pt idx="1101">
                  <c:v>0.91300000000000003</c:v>
                </c:pt>
                <c:pt idx="1102">
                  <c:v>0.59599999999999997</c:v>
                </c:pt>
                <c:pt idx="1103">
                  <c:v>0.81100000000000005</c:v>
                </c:pt>
                <c:pt idx="1104">
                  <c:v>0.89</c:v>
                </c:pt>
                <c:pt idx="1105">
                  <c:v>0.59499999999999997</c:v>
                </c:pt>
                <c:pt idx="1106">
                  <c:v>0.83299999999999996</c:v>
                </c:pt>
                <c:pt idx="1107">
                  <c:v>0.68100000000000005</c:v>
                </c:pt>
                <c:pt idx="1108">
                  <c:v>0.83199999999999996</c:v>
                </c:pt>
                <c:pt idx="1109">
                  <c:v>0.96899999999999997</c:v>
                </c:pt>
                <c:pt idx="1110">
                  <c:v>0.78900000000000003</c:v>
                </c:pt>
                <c:pt idx="1111">
                  <c:v>0.77300000000000002</c:v>
                </c:pt>
                <c:pt idx="1112">
                  <c:v>0.93200000000000005</c:v>
                </c:pt>
                <c:pt idx="1113">
                  <c:v>0.68200000000000005</c:v>
                </c:pt>
                <c:pt idx="1114">
                  <c:v>0.80500000000000005</c:v>
                </c:pt>
                <c:pt idx="1115">
                  <c:v>0.65400000000000003</c:v>
                </c:pt>
                <c:pt idx="1116">
                  <c:v>0.81599999999999995</c:v>
                </c:pt>
                <c:pt idx="1117">
                  <c:v>0.80100000000000005</c:v>
                </c:pt>
                <c:pt idx="1118">
                  <c:v>0.38700000000000001</c:v>
                </c:pt>
                <c:pt idx="1119">
                  <c:v>0.60099999999999998</c:v>
                </c:pt>
                <c:pt idx="1120">
                  <c:v>0.83799999999999997</c:v>
                </c:pt>
                <c:pt idx="1121">
                  <c:v>0.81699999999999995</c:v>
                </c:pt>
                <c:pt idx="1122">
                  <c:v>0.70399999999999996</c:v>
                </c:pt>
                <c:pt idx="1123">
                  <c:v>0.88500000000000001</c:v>
                </c:pt>
                <c:pt idx="1124">
                  <c:v>0.69299999999999995</c:v>
                </c:pt>
                <c:pt idx="1125">
                  <c:v>0.77600000000000002</c:v>
                </c:pt>
                <c:pt idx="1126">
                  <c:v>0.73199999999999998</c:v>
                </c:pt>
                <c:pt idx="1127">
                  <c:v>0.89</c:v>
                </c:pt>
                <c:pt idx="1128">
                  <c:v>0.84</c:v>
                </c:pt>
                <c:pt idx="1129">
                  <c:v>0.84099999999999997</c:v>
                </c:pt>
                <c:pt idx="1130">
                  <c:v>0.74199999999999999</c:v>
                </c:pt>
                <c:pt idx="1131">
                  <c:v>0.94299999999999995</c:v>
                </c:pt>
                <c:pt idx="1132">
                  <c:v>0.75700000000000001</c:v>
                </c:pt>
                <c:pt idx="1133">
                  <c:v>0.84499999999999997</c:v>
                </c:pt>
                <c:pt idx="1134">
                  <c:v>0.52</c:v>
                </c:pt>
                <c:pt idx="1135">
                  <c:v>0.94299999999999995</c:v>
                </c:pt>
                <c:pt idx="1136">
                  <c:v>0.67500000000000004</c:v>
                </c:pt>
                <c:pt idx="1137">
                  <c:v>0.69199999999999995</c:v>
                </c:pt>
                <c:pt idx="1138">
                  <c:v>0.90200000000000002</c:v>
                </c:pt>
                <c:pt idx="1139">
                  <c:v>0.76100000000000001</c:v>
                </c:pt>
                <c:pt idx="1140">
                  <c:v>0.66300000000000003</c:v>
                </c:pt>
                <c:pt idx="1141">
                  <c:v>0.64200000000000002</c:v>
                </c:pt>
                <c:pt idx="1142">
                  <c:v>0.66400000000000003</c:v>
                </c:pt>
                <c:pt idx="1143">
                  <c:v>0.78400000000000003</c:v>
                </c:pt>
                <c:pt idx="1144">
                  <c:v>0.68200000000000005</c:v>
                </c:pt>
                <c:pt idx="1145">
                  <c:v>0.873</c:v>
                </c:pt>
                <c:pt idx="1146">
                  <c:v>0.83499999999999996</c:v>
                </c:pt>
                <c:pt idx="1147">
                  <c:v>0.94299999999999995</c:v>
                </c:pt>
                <c:pt idx="1148">
                  <c:v>0.73499999999999999</c:v>
                </c:pt>
                <c:pt idx="1149">
                  <c:v>0.77500000000000002</c:v>
                </c:pt>
                <c:pt idx="1150">
                  <c:v>0.63800000000000001</c:v>
                </c:pt>
                <c:pt idx="1151">
                  <c:v>0.35299999999999998</c:v>
                </c:pt>
                <c:pt idx="1152">
                  <c:v>0.84899999999999998</c:v>
                </c:pt>
                <c:pt idx="1153">
                  <c:v>0.68</c:v>
                </c:pt>
                <c:pt idx="1154">
                  <c:v>0.76900000000000002</c:v>
                </c:pt>
                <c:pt idx="1155">
                  <c:v>0.81499999999999995</c:v>
                </c:pt>
                <c:pt idx="1156">
                  <c:v>0.873</c:v>
                </c:pt>
                <c:pt idx="1157">
                  <c:v>0.32200000000000001</c:v>
                </c:pt>
                <c:pt idx="1158">
                  <c:v>0.79900000000000004</c:v>
                </c:pt>
                <c:pt idx="1159">
                  <c:v>0.878</c:v>
                </c:pt>
                <c:pt idx="1160">
                  <c:v>0.754</c:v>
                </c:pt>
                <c:pt idx="1161">
                  <c:v>0.66800000000000004</c:v>
                </c:pt>
                <c:pt idx="1162">
                  <c:v>0.52500000000000002</c:v>
                </c:pt>
                <c:pt idx="1163">
                  <c:v>0.86499999999999999</c:v>
                </c:pt>
                <c:pt idx="1164">
                  <c:v>0.58499999999999996</c:v>
                </c:pt>
                <c:pt idx="1165">
                  <c:v>0.82599999999999996</c:v>
                </c:pt>
                <c:pt idx="1166">
                  <c:v>0.89500000000000002</c:v>
                </c:pt>
                <c:pt idx="1167">
                  <c:v>0.77100000000000002</c:v>
                </c:pt>
                <c:pt idx="1168">
                  <c:v>0.76100000000000001</c:v>
                </c:pt>
                <c:pt idx="1169">
                  <c:v>0.68500000000000005</c:v>
                </c:pt>
                <c:pt idx="1170">
                  <c:v>0.89600000000000002</c:v>
                </c:pt>
                <c:pt idx="1171">
                  <c:v>0.45700000000000002</c:v>
                </c:pt>
                <c:pt idx="1172">
                  <c:v>0.88900000000000001</c:v>
                </c:pt>
                <c:pt idx="1173">
                  <c:v>0.83199999999999996</c:v>
                </c:pt>
                <c:pt idx="1174">
                  <c:v>0.69</c:v>
                </c:pt>
                <c:pt idx="1175">
                  <c:v>0.90500000000000003</c:v>
                </c:pt>
                <c:pt idx="1176">
                  <c:v>0.94</c:v>
                </c:pt>
                <c:pt idx="1177">
                  <c:v>0.871</c:v>
                </c:pt>
                <c:pt idx="1178">
                  <c:v>0.78100000000000003</c:v>
                </c:pt>
                <c:pt idx="1179">
                  <c:v>0.73899999999999999</c:v>
                </c:pt>
                <c:pt idx="1180">
                  <c:v>0.95599999999999996</c:v>
                </c:pt>
                <c:pt idx="1181">
                  <c:v>0.76900000000000002</c:v>
                </c:pt>
                <c:pt idx="1182">
                  <c:v>0.54800000000000004</c:v>
                </c:pt>
                <c:pt idx="1183">
                  <c:v>0.622</c:v>
                </c:pt>
                <c:pt idx="1184">
                  <c:v>0.36699999999999999</c:v>
                </c:pt>
                <c:pt idx="1185">
                  <c:v>0.86699999999999999</c:v>
                </c:pt>
                <c:pt idx="1186">
                  <c:v>0.73799999999999999</c:v>
                </c:pt>
                <c:pt idx="1187">
                  <c:v>0.85399999999999998</c:v>
                </c:pt>
                <c:pt idx="1188">
                  <c:v>0.67300000000000004</c:v>
                </c:pt>
                <c:pt idx="1189">
                  <c:v>0.64100000000000001</c:v>
                </c:pt>
                <c:pt idx="1190">
                  <c:v>0.68799999999999994</c:v>
                </c:pt>
                <c:pt idx="1191">
                  <c:v>0.91</c:v>
                </c:pt>
                <c:pt idx="1192">
                  <c:v>0.77400000000000002</c:v>
                </c:pt>
                <c:pt idx="1193">
                  <c:v>0.63900000000000001</c:v>
                </c:pt>
                <c:pt idx="1194">
                  <c:v>0.65</c:v>
                </c:pt>
                <c:pt idx="1195">
                  <c:v>0.63800000000000001</c:v>
                </c:pt>
                <c:pt idx="1196">
                  <c:v>0.91</c:v>
                </c:pt>
                <c:pt idx="1197">
                  <c:v>0.89600000000000002</c:v>
                </c:pt>
                <c:pt idx="1198">
                  <c:v>0.94099999999999995</c:v>
                </c:pt>
                <c:pt idx="1199">
                  <c:v>0.93100000000000005</c:v>
                </c:pt>
                <c:pt idx="1200">
                  <c:v>0.91800000000000004</c:v>
                </c:pt>
                <c:pt idx="1201">
                  <c:v>0.86699999999999999</c:v>
                </c:pt>
                <c:pt idx="1202">
                  <c:v>0.74199999999999999</c:v>
                </c:pt>
                <c:pt idx="1203">
                  <c:v>0.86499999999999999</c:v>
                </c:pt>
                <c:pt idx="1204">
                  <c:v>0.77900000000000003</c:v>
                </c:pt>
                <c:pt idx="1205">
                  <c:v>0.51800000000000002</c:v>
                </c:pt>
                <c:pt idx="1206">
                  <c:v>0.82399999999999995</c:v>
                </c:pt>
                <c:pt idx="1207">
                  <c:v>0.69799999999999995</c:v>
                </c:pt>
                <c:pt idx="1208">
                  <c:v>0.68400000000000005</c:v>
                </c:pt>
                <c:pt idx="1209">
                  <c:v>0.70899999999999996</c:v>
                </c:pt>
                <c:pt idx="1210">
                  <c:v>0.57599999999999996</c:v>
                </c:pt>
                <c:pt idx="1211">
                  <c:v>0.79100000000000004</c:v>
                </c:pt>
                <c:pt idx="1212">
                  <c:v>0.71399999999999997</c:v>
                </c:pt>
                <c:pt idx="1213">
                  <c:v>0.80300000000000005</c:v>
                </c:pt>
                <c:pt idx="1214">
                  <c:v>0.82099999999999995</c:v>
                </c:pt>
                <c:pt idx="1215">
                  <c:v>0.86899999999999999</c:v>
                </c:pt>
                <c:pt idx="1216">
                  <c:v>0.875</c:v>
                </c:pt>
                <c:pt idx="1217">
                  <c:v>0.626</c:v>
                </c:pt>
                <c:pt idx="1218">
                  <c:v>0.877</c:v>
                </c:pt>
                <c:pt idx="1219">
                  <c:v>0.85799999999999998</c:v>
                </c:pt>
                <c:pt idx="1220">
                  <c:v>0.92600000000000005</c:v>
                </c:pt>
                <c:pt idx="1221">
                  <c:v>0.81799999999999995</c:v>
                </c:pt>
                <c:pt idx="1222">
                  <c:v>0.70699999999999996</c:v>
                </c:pt>
                <c:pt idx="1223">
                  <c:v>0.76300000000000001</c:v>
                </c:pt>
                <c:pt idx="1224">
                  <c:v>0.86099999999999999</c:v>
                </c:pt>
                <c:pt idx="1225">
                  <c:v>0.84299999999999997</c:v>
                </c:pt>
                <c:pt idx="1226">
                  <c:v>0.94199999999999995</c:v>
                </c:pt>
                <c:pt idx="1227">
                  <c:v>0.81399999999999995</c:v>
                </c:pt>
                <c:pt idx="1228">
                  <c:v>0.83899999999999997</c:v>
                </c:pt>
                <c:pt idx="1229">
                  <c:v>0.79200000000000004</c:v>
                </c:pt>
                <c:pt idx="1230">
                  <c:v>0.86199999999999999</c:v>
                </c:pt>
                <c:pt idx="1231">
                  <c:v>0.54700000000000004</c:v>
                </c:pt>
                <c:pt idx="1232">
                  <c:v>0.77900000000000003</c:v>
                </c:pt>
                <c:pt idx="1233">
                  <c:v>0.878</c:v>
                </c:pt>
                <c:pt idx="1234">
                  <c:v>0.71699999999999997</c:v>
                </c:pt>
                <c:pt idx="1235">
                  <c:v>0.93799999999999994</c:v>
                </c:pt>
                <c:pt idx="1236">
                  <c:v>0.81699999999999995</c:v>
                </c:pt>
                <c:pt idx="1237">
                  <c:v>0.81399999999999995</c:v>
                </c:pt>
                <c:pt idx="1238">
                  <c:v>0.92800000000000005</c:v>
                </c:pt>
                <c:pt idx="1239">
                  <c:v>0.69</c:v>
                </c:pt>
                <c:pt idx="1240">
                  <c:v>0.81699999999999995</c:v>
                </c:pt>
                <c:pt idx="1241">
                  <c:v>0.67500000000000004</c:v>
                </c:pt>
                <c:pt idx="1242">
                  <c:v>0.78900000000000003</c:v>
                </c:pt>
                <c:pt idx="1243">
                  <c:v>0.83899999999999997</c:v>
                </c:pt>
                <c:pt idx="1244">
                  <c:v>0.71499999999999997</c:v>
                </c:pt>
                <c:pt idx="1245">
                  <c:v>0.74299999999999999</c:v>
                </c:pt>
                <c:pt idx="1246">
                  <c:v>0.69</c:v>
                </c:pt>
                <c:pt idx="1247">
                  <c:v>0.85199999999999998</c:v>
                </c:pt>
                <c:pt idx="1248">
                  <c:v>0.61399999999999999</c:v>
                </c:pt>
                <c:pt idx="1249">
                  <c:v>0.85299999999999998</c:v>
                </c:pt>
                <c:pt idx="1250">
                  <c:v>0.878</c:v>
                </c:pt>
                <c:pt idx="1251">
                  <c:v>0.73699999999999999</c:v>
                </c:pt>
                <c:pt idx="1252">
                  <c:v>0.74099999999999999</c:v>
                </c:pt>
                <c:pt idx="1253">
                  <c:v>0.73299999999999998</c:v>
                </c:pt>
                <c:pt idx="1254">
                  <c:v>0.80300000000000005</c:v>
                </c:pt>
                <c:pt idx="1255">
                  <c:v>0.45400000000000001</c:v>
                </c:pt>
                <c:pt idx="1256">
                  <c:v>0.79100000000000004</c:v>
                </c:pt>
                <c:pt idx="1257">
                  <c:v>0.60099999999999998</c:v>
                </c:pt>
                <c:pt idx="1258">
                  <c:v>0.83899999999999997</c:v>
                </c:pt>
                <c:pt idx="1259">
                  <c:v>0.76300000000000001</c:v>
                </c:pt>
                <c:pt idx="1260">
                  <c:v>0.754</c:v>
                </c:pt>
                <c:pt idx="1261">
                  <c:v>0.76500000000000001</c:v>
                </c:pt>
                <c:pt idx="1262">
                  <c:v>0.754</c:v>
                </c:pt>
                <c:pt idx="1263">
                  <c:v>0.55200000000000005</c:v>
                </c:pt>
                <c:pt idx="1264">
                  <c:v>0.90800000000000003</c:v>
                </c:pt>
                <c:pt idx="1265">
                  <c:v>0.68700000000000006</c:v>
                </c:pt>
                <c:pt idx="1266">
                  <c:v>0.79300000000000004</c:v>
                </c:pt>
                <c:pt idx="1267">
                  <c:v>0.83</c:v>
                </c:pt>
                <c:pt idx="1268">
                  <c:v>0.79900000000000004</c:v>
                </c:pt>
                <c:pt idx="1269">
                  <c:v>0.76500000000000001</c:v>
                </c:pt>
                <c:pt idx="1270">
                  <c:v>0.71499999999999997</c:v>
                </c:pt>
                <c:pt idx="1271">
                  <c:v>0.77</c:v>
                </c:pt>
                <c:pt idx="1272">
                  <c:v>0.55800000000000005</c:v>
                </c:pt>
                <c:pt idx="1273">
                  <c:v>0.70099999999999996</c:v>
                </c:pt>
                <c:pt idx="1274">
                  <c:v>0.72699999999999998</c:v>
                </c:pt>
                <c:pt idx="1275">
                  <c:v>0.80900000000000005</c:v>
                </c:pt>
                <c:pt idx="1276">
                  <c:v>0.86</c:v>
                </c:pt>
                <c:pt idx="1277">
                  <c:v>0</c:v>
                </c:pt>
                <c:pt idx="1278">
                  <c:v>0.59499999999999997</c:v>
                </c:pt>
                <c:pt idx="1279">
                  <c:v>0.90900000000000003</c:v>
                </c:pt>
                <c:pt idx="1280">
                  <c:v>0.86399999999999999</c:v>
                </c:pt>
                <c:pt idx="1281">
                  <c:v>0.52500000000000002</c:v>
                </c:pt>
                <c:pt idx="1282">
                  <c:v>0.72899999999999998</c:v>
                </c:pt>
                <c:pt idx="1283">
                  <c:v>0.80900000000000005</c:v>
                </c:pt>
                <c:pt idx="1284">
                  <c:v>0.69399999999999995</c:v>
                </c:pt>
                <c:pt idx="1285">
                  <c:v>0.91100000000000003</c:v>
                </c:pt>
                <c:pt idx="1286">
                  <c:v>0.30499999999999999</c:v>
                </c:pt>
                <c:pt idx="1287">
                  <c:v>0.63100000000000001</c:v>
                </c:pt>
                <c:pt idx="1288">
                  <c:v>0.67</c:v>
                </c:pt>
                <c:pt idx="1289">
                  <c:v>0.69499999999999995</c:v>
                </c:pt>
                <c:pt idx="1290">
                  <c:v>0.745</c:v>
                </c:pt>
                <c:pt idx="1291">
                  <c:v>0.752</c:v>
                </c:pt>
                <c:pt idx="1292">
                  <c:v>0.84499999999999997</c:v>
                </c:pt>
                <c:pt idx="1293">
                  <c:v>0.89100000000000001</c:v>
                </c:pt>
                <c:pt idx="1294">
                  <c:v>0.85499999999999998</c:v>
                </c:pt>
                <c:pt idx="1295">
                  <c:v>0.58399999999999996</c:v>
                </c:pt>
                <c:pt idx="1296">
                  <c:v>0.93899999999999995</c:v>
                </c:pt>
                <c:pt idx="1297">
                  <c:v>0.93300000000000005</c:v>
                </c:pt>
                <c:pt idx="1298">
                  <c:v>0.72399999999999998</c:v>
                </c:pt>
                <c:pt idx="1299">
                  <c:v>0.65700000000000003</c:v>
                </c:pt>
                <c:pt idx="1300">
                  <c:v>0.34499999999999997</c:v>
                </c:pt>
                <c:pt idx="1301">
                  <c:v>0.68799999999999994</c:v>
                </c:pt>
                <c:pt idx="1302">
                  <c:v>0.68</c:v>
                </c:pt>
                <c:pt idx="1303">
                  <c:v>0.72899999999999998</c:v>
                </c:pt>
                <c:pt idx="1304">
                  <c:v>0.77300000000000002</c:v>
                </c:pt>
                <c:pt idx="1305">
                  <c:v>0.27100000000000002</c:v>
                </c:pt>
                <c:pt idx="1306">
                  <c:v>0.875</c:v>
                </c:pt>
                <c:pt idx="1307">
                  <c:v>0.623</c:v>
                </c:pt>
                <c:pt idx="1308">
                  <c:v>0.89900000000000002</c:v>
                </c:pt>
                <c:pt idx="1309">
                  <c:v>0.90100000000000002</c:v>
                </c:pt>
                <c:pt idx="1310">
                  <c:v>0.79900000000000004</c:v>
                </c:pt>
                <c:pt idx="1311">
                  <c:v>0.873</c:v>
                </c:pt>
                <c:pt idx="1312">
                  <c:v>0.755</c:v>
                </c:pt>
                <c:pt idx="1313">
                  <c:v>0.84099999999999997</c:v>
                </c:pt>
                <c:pt idx="1314">
                  <c:v>0.42399999999999999</c:v>
                </c:pt>
                <c:pt idx="1315">
                  <c:v>0.747</c:v>
                </c:pt>
                <c:pt idx="1316">
                  <c:v>0.69599999999999995</c:v>
                </c:pt>
                <c:pt idx="1317">
                  <c:v>0.68799999999999994</c:v>
                </c:pt>
                <c:pt idx="1318">
                  <c:v>0.82199999999999995</c:v>
                </c:pt>
                <c:pt idx="1319">
                  <c:v>0.89400000000000002</c:v>
                </c:pt>
                <c:pt idx="1320">
                  <c:v>0.84699999999999998</c:v>
                </c:pt>
                <c:pt idx="1321">
                  <c:v>0.89800000000000002</c:v>
                </c:pt>
                <c:pt idx="1322">
                  <c:v>0.624</c:v>
                </c:pt>
                <c:pt idx="1323">
                  <c:v>0.77300000000000002</c:v>
                </c:pt>
                <c:pt idx="1324">
                  <c:v>0.76100000000000001</c:v>
                </c:pt>
                <c:pt idx="1325">
                  <c:v>0.79500000000000004</c:v>
                </c:pt>
                <c:pt idx="1326">
                  <c:v>0.69399999999999995</c:v>
                </c:pt>
                <c:pt idx="1327">
                  <c:v>0.82399999999999995</c:v>
                </c:pt>
                <c:pt idx="1328">
                  <c:v>0.872</c:v>
                </c:pt>
                <c:pt idx="1329">
                  <c:v>0.752</c:v>
                </c:pt>
                <c:pt idx="1330">
                  <c:v>0.46700000000000003</c:v>
                </c:pt>
                <c:pt idx="1331">
                  <c:v>0.80400000000000005</c:v>
                </c:pt>
                <c:pt idx="1332">
                  <c:v>0.82399999999999995</c:v>
                </c:pt>
                <c:pt idx="1333">
                  <c:v>0.74399999999999999</c:v>
                </c:pt>
                <c:pt idx="1334">
                  <c:v>0.92600000000000005</c:v>
                </c:pt>
                <c:pt idx="1335">
                  <c:v>0.88600000000000001</c:v>
                </c:pt>
                <c:pt idx="1336">
                  <c:v>0.80300000000000005</c:v>
                </c:pt>
                <c:pt idx="1337">
                  <c:v>0.73599999999999999</c:v>
                </c:pt>
                <c:pt idx="1338">
                  <c:v>0.61</c:v>
                </c:pt>
                <c:pt idx="1339">
                  <c:v>0.63500000000000001</c:v>
                </c:pt>
                <c:pt idx="1340">
                  <c:v>0.73</c:v>
                </c:pt>
                <c:pt idx="1341">
                  <c:v>0.49099999999999999</c:v>
                </c:pt>
                <c:pt idx="1342">
                  <c:v>0.86599999999999999</c:v>
                </c:pt>
                <c:pt idx="1343">
                  <c:v>0.56999999999999995</c:v>
                </c:pt>
                <c:pt idx="1344">
                  <c:v>0.88700000000000001</c:v>
                </c:pt>
                <c:pt idx="1345">
                  <c:v>0.85</c:v>
                </c:pt>
                <c:pt idx="1346">
                  <c:v>0.71199999999999997</c:v>
                </c:pt>
                <c:pt idx="1347">
                  <c:v>0.70499999999999996</c:v>
                </c:pt>
                <c:pt idx="1348">
                  <c:v>0.81799999999999995</c:v>
                </c:pt>
                <c:pt idx="1349">
                  <c:v>0.86499999999999999</c:v>
                </c:pt>
                <c:pt idx="1350">
                  <c:v>0.79300000000000004</c:v>
                </c:pt>
                <c:pt idx="1351">
                  <c:v>0.68100000000000005</c:v>
                </c:pt>
                <c:pt idx="1352">
                  <c:v>0.65700000000000003</c:v>
                </c:pt>
                <c:pt idx="1353">
                  <c:v>0.83</c:v>
                </c:pt>
                <c:pt idx="1354">
                  <c:v>0.78200000000000003</c:v>
                </c:pt>
                <c:pt idx="1355">
                  <c:v>0.89400000000000002</c:v>
                </c:pt>
                <c:pt idx="1356">
                  <c:v>0.91400000000000003</c:v>
                </c:pt>
                <c:pt idx="1357">
                  <c:v>0.91300000000000003</c:v>
                </c:pt>
                <c:pt idx="1358">
                  <c:v>0.748</c:v>
                </c:pt>
                <c:pt idx="1359">
                  <c:v>0.53500000000000003</c:v>
                </c:pt>
                <c:pt idx="1360">
                  <c:v>0.64800000000000002</c:v>
                </c:pt>
                <c:pt idx="1361">
                  <c:v>0.752</c:v>
                </c:pt>
                <c:pt idx="1362">
                  <c:v>0.78</c:v>
                </c:pt>
                <c:pt idx="1363">
                  <c:v>0.83499999999999996</c:v>
                </c:pt>
                <c:pt idx="1364">
                  <c:v>0.70399999999999996</c:v>
                </c:pt>
                <c:pt idx="1365">
                  <c:v>0.83899999999999997</c:v>
                </c:pt>
                <c:pt idx="1366">
                  <c:v>0.746</c:v>
                </c:pt>
                <c:pt idx="1367">
                  <c:v>0.80800000000000005</c:v>
                </c:pt>
                <c:pt idx="1368">
                  <c:v>0.78400000000000003</c:v>
                </c:pt>
                <c:pt idx="1369">
                  <c:v>0.89800000000000002</c:v>
                </c:pt>
                <c:pt idx="1370">
                  <c:v>0.747</c:v>
                </c:pt>
                <c:pt idx="1371">
                  <c:v>0.88300000000000001</c:v>
                </c:pt>
                <c:pt idx="1372">
                  <c:v>0.79200000000000004</c:v>
                </c:pt>
                <c:pt idx="1373">
                  <c:v>0.83</c:v>
                </c:pt>
                <c:pt idx="1374">
                  <c:v>0.73199999999999998</c:v>
                </c:pt>
                <c:pt idx="1375">
                  <c:v>0.77200000000000002</c:v>
                </c:pt>
                <c:pt idx="1376">
                  <c:v>0.92500000000000004</c:v>
                </c:pt>
                <c:pt idx="1377">
                  <c:v>0.77900000000000003</c:v>
                </c:pt>
                <c:pt idx="1378">
                  <c:v>0.74099999999999999</c:v>
                </c:pt>
                <c:pt idx="1379">
                  <c:v>0.83699999999999997</c:v>
                </c:pt>
                <c:pt idx="1380">
                  <c:v>0.76300000000000001</c:v>
                </c:pt>
                <c:pt idx="1381">
                  <c:v>0.87</c:v>
                </c:pt>
                <c:pt idx="1382">
                  <c:v>0.58299999999999996</c:v>
                </c:pt>
                <c:pt idx="1383">
                  <c:v>0.59499999999999997</c:v>
                </c:pt>
                <c:pt idx="1384">
                  <c:v>0.40200000000000002</c:v>
                </c:pt>
                <c:pt idx="1385">
                  <c:v>0.60599999999999998</c:v>
                </c:pt>
                <c:pt idx="1386">
                  <c:v>0.45700000000000002</c:v>
                </c:pt>
                <c:pt idx="1387">
                  <c:v>0.58899999999999997</c:v>
                </c:pt>
                <c:pt idx="1388">
                  <c:v>0.185</c:v>
                </c:pt>
                <c:pt idx="1389">
                  <c:v>0.78100000000000003</c:v>
                </c:pt>
                <c:pt idx="1390">
                  <c:v>0.87</c:v>
                </c:pt>
                <c:pt idx="1391">
                  <c:v>0.71</c:v>
                </c:pt>
                <c:pt idx="1392">
                  <c:v>0.89400000000000002</c:v>
                </c:pt>
                <c:pt idx="1393">
                  <c:v>0.70699999999999996</c:v>
                </c:pt>
                <c:pt idx="1394">
                  <c:v>0.68799999999999994</c:v>
                </c:pt>
                <c:pt idx="1395">
                  <c:v>0.65100000000000002</c:v>
                </c:pt>
                <c:pt idx="1396">
                  <c:v>0.94599999999999995</c:v>
                </c:pt>
                <c:pt idx="1397">
                  <c:v>0.93300000000000005</c:v>
                </c:pt>
                <c:pt idx="1398">
                  <c:v>0.92500000000000004</c:v>
                </c:pt>
                <c:pt idx="1399">
                  <c:v>0.50600000000000001</c:v>
                </c:pt>
                <c:pt idx="1400">
                  <c:v>0.73199999999999998</c:v>
                </c:pt>
                <c:pt idx="1401">
                  <c:v>0.54100000000000004</c:v>
                </c:pt>
                <c:pt idx="1402">
                  <c:v>0.48</c:v>
                </c:pt>
                <c:pt idx="1403">
                  <c:v>0.49399999999999999</c:v>
                </c:pt>
                <c:pt idx="1404">
                  <c:v>0.64200000000000002</c:v>
                </c:pt>
                <c:pt idx="1405">
                  <c:v>0.86099999999999999</c:v>
                </c:pt>
                <c:pt idx="1406">
                  <c:v>0.61099999999999999</c:v>
                </c:pt>
                <c:pt idx="1407">
                  <c:v>0.80400000000000005</c:v>
                </c:pt>
                <c:pt idx="1408">
                  <c:v>0.75900000000000001</c:v>
                </c:pt>
                <c:pt idx="1409">
                  <c:v>0.73599999999999999</c:v>
                </c:pt>
                <c:pt idx="1410">
                  <c:v>0.65800000000000003</c:v>
                </c:pt>
                <c:pt idx="1411">
                  <c:v>0.74299999999999999</c:v>
                </c:pt>
                <c:pt idx="1412">
                  <c:v>0.69799999999999995</c:v>
                </c:pt>
                <c:pt idx="1413">
                  <c:v>0.871</c:v>
                </c:pt>
                <c:pt idx="1414">
                  <c:v>0.67900000000000005</c:v>
                </c:pt>
                <c:pt idx="1415">
                  <c:v>0.67700000000000005</c:v>
                </c:pt>
                <c:pt idx="1416">
                  <c:v>0.503</c:v>
                </c:pt>
                <c:pt idx="1417">
                  <c:v>0.754</c:v>
                </c:pt>
                <c:pt idx="1418">
                  <c:v>0.92300000000000004</c:v>
                </c:pt>
                <c:pt idx="1419">
                  <c:v>0.754</c:v>
                </c:pt>
                <c:pt idx="1420">
                  <c:v>0.68600000000000005</c:v>
                </c:pt>
                <c:pt idx="1421">
                  <c:v>0.76100000000000001</c:v>
                </c:pt>
                <c:pt idx="1422">
                  <c:v>0.48699999999999999</c:v>
                </c:pt>
                <c:pt idx="1423">
                  <c:v>0.73099999999999998</c:v>
                </c:pt>
                <c:pt idx="1424">
                  <c:v>0.51</c:v>
                </c:pt>
                <c:pt idx="1425">
                  <c:v>0.92800000000000005</c:v>
                </c:pt>
                <c:pt idx="1426">
                  <c:v>0.90700000000000003</c:v>
                </c:pt>
                <c:pt idx="1427">
                  <c:v>0.54300000000000004</c:v>
                </c:pt>
                <c:pt idx="1428">
                  <c:v>0.79600000000000004</c:v>
                </c:pt>
                <c:pt idx="1429">
                  <c:v>0.46100000000000002</c:v>
                </c:pt>
                <c:pt idx="1430">
                  <c:v>0.91600000000000004</c:v>
                </c:pt>
                <c:pt idx="1431">
                  <c:v>0.63</c:v>
                </c:pt>
                <c:pt idx="1432">
                  <c:v>0.61599999999999999</c:v>
                </c:pt>
                <c:pt idx="1433">
                  <c:v>0.75900000000000001</c:v>
                </c:pt>
                <c:pt idx="1434">
                  <c:v>0.82</c:v>
                </c:pt>
                <c:pt idx="1435">
                  <c:v>0.80800000000000005</c:v>
                </c:pt>
                <c:pt idx="1436">
                  <c:v>0.62</c:v>
                </c:pt>
                <c:pt idx="1437">
                  <c:v>0.76400000000000001</c:v>
                </c:pt>
                <c:pt idx="1438">
                  <c:v>0.25900000000000001</c:v>
                </c:pt>
                <c:pt idx="1439">
                  <c:v>0.70299999999999996</c:v>
                </c:pt>
                <c:pt idx="1440">
                  <c:v>0.88600000000000001</c:v>
                </c:pt>
                <c:pt idx="1441">
                  <c:v>0.54</c:v>
                </c:pt>
                <c:pt idx="1442">
                  <c:v>0.88700000000000001</c:v>
                </c:pt>
                <c:pt idx="1443">
                  <c:v>0.69799999999999995</c:v>
                </c:pt>
                <c:pt idx="1444">
                  <c:v>0.34699999999999998</c:v>
                </c:pt>
                <c:pt idx="1445">
                  <c:v>0.86899999999999999</c:v>
                </c:pt>
                <c:pt idx="1446">
                  <c:v>0.54500000000000004</c:v>
                </c:pt>
                <c:pt idx="1447">
                  <c:v>0.89300000000000002</c:v>
                </c:pt>
                <c:pt idx="1448">
                  <c:v>0.80200000000000005</c:v>
                </c:pt>
                <c:pt idx="1449">
                  <c:v>0.60699999999999998</c:v>
                </c:pt>
                <c:pt idx="1450">
                  <c:v>0.89900000000000002</c:v>
                </c:pt>
                <c:pt idx="1451">
                  <c:v>0.83</c:v>
                </c:pt>
                <c:pt idx="1452">
                  <c:v>0.81100000000000005</c:v>
                </c:pt>
                <c:pt idx="1453">
                  <c:v>0.85799999999999998</c:v>
                </c:pt>
                <c:pt idx="1454">
                  <c:v>0.86399999999999999</c:v>
                </c:pt>
                <c:pt idx="1455">
                  <c:v>0.76200000000000001</c:v>
                </c:pt>
                <c:pt idx="1456">
                  <c:v>0.68600000000000005</c:v>
                </c:pt>
                <c:pt idx="1457">
                  <c:v>0.89100000000000001</c:v>
                </c:pt>
                <c:pt idx="1458">
                  <c:v>0.498</c:v>
                </c:pt>
                <c:pt idx="1459">
                  <c:v>0.87</c:v>
                </c:pt>
                <c:pt idx="1460">
                  <c:v>0.78600000000000003</c:v>
                </c:pt>
                <c:pt idx="1461">
                  <c:v>0.82699999999999996</c:v>
                </c:pt>
                <c:pt idx="1462">
                  <c:v>0.80500000000000005</c:v>
                </c:pt>
                <c:pt idx="1463">
                  <c:v>0.184</c:v>
                </c:pt>
                <c:pt idx="1464">
                  <c:v>0.91800000000000004</c:v>
                </c:pt>
                <c:pt idx="1465">
                  <c:v>0.62</c:v>
                </c:pt>
                <c:pt idx="1466">
                  <c:v>0.84599999999999997</c:v>
                </c:pt>
                <c:pt idx="1467">
                  <c:v>0.70399999999999996</c:v>
                </c:pt>
                <c:pt idx="1468">
                  <c:v>0.628</c:v>
                </c:pt>
                <c:pt idx="1469">
                  <c:v>0.94099999999999995</c:v>
                </c:pt>
                <c:pt idx="1470">
                  <c:v>0.53300000000000003</c:v>
                </c:pt>
                <c:pt idx="1471">
                  <c:v>0.56100000000000005</c:v>
                </c:pt>
                <c:pt idx="1472">
                  <c:v>0.59899999999999998</c:v>
                </c:pt>
                <c:pt idx="1473">
                  <c:v>0.81200000000000006</c:v>
                </c:pt>
                <c:pt idx="1474">
                  <c:v>0.71699999999999997</c:v>
                </c:pt>
                <c:pt idx="1475">
                  <c:v>0.72499999999999998</c:v>
                </c:pt>
                <c:pt idx="1476">
                  <c:v>0.48399999999999999</c:v>
                </c:pt>
                <c:pt idx="1477">
                  <c:v>0.73099999999999998</c:v>
                </c:pt>
                <c:pt idx="1478">
                  <c:v>0.66</c:v>
                </c:pt>
                <c:pt idx="1479">
                  <c:v>0.72199999999999998</c:v>
                </c:pt>
                <c:pt idx="1480">
                  <c:v>0.81399999999999995</c:v>
                </c:pt>
                <c:pt idx="1481">
                  <c:v>0.625</c:v>
                </c:pt>
                <c:pt idx="1482">
                  <c:v>0.72099999999999997</c:v>
                </c:pt>
                <c:pt idx="1483">
                  <c:v>0.60599999999999998</c:v>
                </c:pt>
                <c:pt idx="1484">
                  <c:v>0.745</c:v>
                </c:pt>
                <c:pt idx="1485">
                  <c:v>0.63700000000000001</c:v>
                </c:pt>
                <c:pt idx="1486">
                  <c:v>0.72799999999999998</c:v>
                </c:pt>
                <c:pt idx="1487">
                  <c:v>0.57299999999999995</c:v>
                </c:pt>
                <c:pt idx="1488">
                  <c:v>0.82099999999999995</c:v>
                </c:pt>
                <c:pt idx="1489">
                  <c:v>0.68</c:v>
                </c:pt>
                <c:pt idx="1490">
                  <c:v>0.68600000000000005</c:v>
                </c:pt>
                <c:pt idx="1491">
                  <c:v>0.72</c:v>
                </c:pt>
                <c:pt idx="1492">
                  <c:v>0.49399999999999999</c:v>
                </c:pt>
                <c:pt idx="1493">
                  <c:v>0.79500000000000004</c:v>
                </c:pt>
                <c:pt idx="1494">
                  <c:v>0.94799999999999995</c:v>
                </c:pt>
                <c:pt idx="1495">
                  <c:v>0.96299999999999997</c:v>
                </c:pt>
                <c:pt idx="1496">
                  <c:v>0.65900000000000003</c:v>
                </c:pt>
                <c:pt idx="1497">
                  <c:v>0.58399999999999996</c:v>
                </c:pt>
                <c:pt idx="1498">
                  <c:v>0.58699999999999997</c:v>
                </c:pt>
                <c:pt idx="1499">
                  <c:v>0.78200000000000003</c:v>
                </c:pt>
                <c:pt idx="1500">
                  <c:v>0.55200000000000005</c:v>
                </c:pt>
                <c:pt idx="1501">
                  <c:v>0.70599999999999996</c:v>
                </c:pt>
                <c:pt idx="1502">
                  <c:v>0.52300000000000002</c:v>
                </c:pt>
                <c:pt idx="1503">
                  <c:v>0.73799999999999999</c:v>
                </c:pt>
                <c:pt idx="1504">
                  <c:v>0.83</c:v>
                </c:pt>
                <c:pt idx="1505">
                  <c:v>0.72199999999999998</c:v>
                </c:pt>
                <c:pt idx="1506">
                  <c:v>0.51100000000000001</c:v>
                </c:pt>
                <c:pt idx="1507">
                  <c:v>0.60099999999999998</c:v>
                </c:pt>
                <c:pt idx="1508">
                  <c:v>0.79700000000000004</c:v>
                </c:pt>
                <c:pt idx="1509">
                  <c:v>0.60199999999999998</c:v>
                </c:pt>
                <c:pt idx="1510">
                  <c:v>0.67500000000000004</c:v>
                </c:pt>
                <c:pt idx="1511">
                  <c:v>0.70099999999999996</c:v>
                </c:pt>
                <c:pt idx="1512">
                  <c:v>0.754</c:v>
                </c:pt>
                <c:pt idx="1513">
                  <c:v>0.50900000000000001</c:v>
                </c:pt>
                <c:pt idx="1514">
                  <c:v>0.76600000000000001</c:v>
                </c:pt>
                <c:pt idx="1515">
                  <c:v>0.70799999999999996</c:v>
                </c:pt>
                <c:pt idx="1516">
                  <c:v>0.748</c:v>
                </c:pt>
                <c:pt idx="1517">
                  <c:v>0.877</c:v>
                </c:pt>
                <c:pt idx="1518">
                  <c:v>0.52900000000000003</c:v>
                </c:pt>
                <c:pt idx="1519">
                  <c:v>0.7</c:v>
                </c:pt>
                <c:pt idx="1520">
                  <c:v>0.89400000000000002</c:v>
                </c:pt>
                <c:pt idx="1521">
                  <c:v>0.878</c:v>
                </c:pt>
                <c:pt idx="1522">
                  <c:v>0.66800000000000004</c:v>
                </c:pt>
                <c:pt idx="1523">
                  <c:v>0.66700000000000004</c:v>
                </c:pt>
                <c:pt idx="1524">
                  <c:v>0.78600000000000003</c:v>
                </c:pt>
                <c:pt idx="1525">
                  <c:v>0.81200000000000006</c:v>
                </c:pt>
                <c:pt idx="1526">
                  <c:v>0.71799999999999997</c:v>
                </c:pt>
                <c:pt idx="1527">
                  <c:v>0.86799999999999999</c:v>
                </c:pt>
                <c:pt idx="1528">
                  <c:v>0.45500000000000002</c:v>
                </c:pt>
                <c:pt idx="1529">
                  <c:v>0.39400000000000002</c:v>
                </c:pt>
                <c:pt idx="1530">
                  <c:v>0.45600000000000002</c:v>
                </c:pt>
                <c:pt idx="1531">
                  <c:v>0.995</c:v>
                </c:pt>
                <c:pt idx="1532">
                  <c:v>0.80700000000000005</c:v>
                </c:pt>
                <c:pt idx="1533">
                  <c:v>0.47499999999999998</c:v>
                </c:pt>
                <c:pt idx="1534">
                  <c:v>0.69399999999999995</c:v>
                </c:pt>
                <c:pt idx="1535">
                  <c:v>0.66</c:v>
                </c:pt>
                <c:pt idx="1536">
                  <c:v>0.89600000000000002</c:v>
                </c:pt>
                <c:pt idx="1537">
                  <c:v>0.80900000000000005</c:v>
                </c:pt>
                <c:pt idx="1538">
                  <c:v>0.88600000000000001</c:v>
                </c:pt>
                <c:pt idx="1539">
                  <c:v>0.78200000000000003</c:v>
                </c:pt>
                <c:pt idx="1540">
                  <c:v>0.93400000000000005</c:v>
                </c:pt>
                <c:pt idx="1541">
                  <c:v>0.90700000000000003</c:v>
                </c:pt>
                <c:pt idx="1542">
                  <c:v>0.46300000000000002</c:v>
                </c:pt>
                <c:pt idx="1543">
                  <c:v>0.73499999999999999</c:v>
                </c:pt>
                <c:pt idx="1544">
                  <c:v>0.72199999999999998</c:v>
                </c:pt>
                <c:pt idx="1545">
                  <c:v>0.86299999999999999</c:v>
                </c:pt>
                <c:pt idx="1546">
                  <c:v>0.82399999999999995</c:v>
                </c:pt>
                <c:pt idx="1547">
                  <c:v>0.84299999999999997</c:v>
                </c:pt>
                <c:pt idx="1548">
                  <c:v>0.45400000000000001</c:v>
                </c:pt>
                <c:pt idx="1549">
                  <c:v>0.80600000000000005</c:v>
                </c:pt>
                <c:pt idx="1550">
                  <c:v>0.69599999999999995</c:v>
                </c:pt>
                <c:pt idx="1551">
                  <c:v>9.6000000000000002E-2</c:v>
                </c:pt>
                <c:pt idx="1552">
                  <c:v>0.51200000000000001</c:v>
                </c:pt>
                <c:pt idx="1553">
                  <c:v>0.67300000000000004</c:v>
                </c:pt>
                <c:pt idx="1554">
                  <c:v>0.93300000000000005</c:v>
                </c:pt>
                <c:pt idx="1555">
                  <c:v>0.76400000000000001</c:v>
                </c:pt>
                <c:pt idx="1556">
                  <c:v>0.72399999999999998</c:v>
                </c:pt>
                <c:pt idx="1557">
                  <c:v>0.53200000000000003</c:v>
                </c:pt>
                <c:pt idx="1558">
                  <c:v>0.439</c:v>
                </c:pt>
                <c:pt idx="1559">
                  <c:v>0.85099999999999998</c:v>
                </c:pt>
                <c:pt idx="1560">
                  <c:v>0.75900000000000001</c:v>
                </c:pt>
                <c:pt idx="1561">
                  <c:v>0.45400000000000001</c:v>
                </c:pt>
                <c:pt idx="1562">
                  <c:v>0.5</c:v>
                </c:pt>
                <c:pt idx="1563">
                  <c:v>0.88</c:v>
                </c:pt>
                <c:pt idx="1564">
                  <c:v>0.81799999999999995</c:v>
                </c:pt>
                <c:pt idx="1565">
                  <c:v>0.60699999999999998</c:v>
                </c:pt>
                <c:pt idx="1566">
                  <c:v>0.497</c:v>
                </c:pt>
                <c:pt idx="1567">
                  <c:v>0.52200000000000002</c:v>
                </c:pt>
                <c:pt idx="1568">
                  <c:v>0.80300000000000005</c:v>
                </c:pt>
                <c:pt idx="1569">
                  <c:v>0.89200000000000002</c:v>
                </c:pt>
                <c:pt idx="1570">
                  <c:v>0.77600000000000002</c:v>
                </c:pt>
                <c:pt idx="1571">
                  <c:v>0.84</c:v>
                </c:pt>
                <c:pt idx="1572">
                  <c:v>0.65200000000000002</c:v>
                </c:pt>
                <c:pt idx="1573">
                  <c:v>0.73599999999999999</c:v>
                </c:pt>
                <c:pt idx="1574">
                  <c:v>0.91300000000000003</c:v>
                </c:pt>
                <c:pt idx="1575">
                  <c:v>0.52700000000000002</c:v>
                </c:pt>
                <c:pt idx="1576">
                  <c:v>0.69399999999999995</c:v>
                </c:pt>
                <c:pt idx="1577">
                  <c:v>0.12</c:v>
                </c:pt>
                <c:pt idx="1578">
                  <c:v>0.72</c:v>
                </c:pt>
                <c:pt idx="1579">
                  <c:v>0.60599999999999998</c:v>
                </c:pt>
                <c:pt idx="1580">
                  <c:v>0.52700000000000002</c:v>
                </c:pt>
                <c:pt idx="1581">
                  <c:v>0.877</c:v>
                </c:pt>
                <c:pt idx="1582">
                  <c:v>0.505</c:v>
                </c:pt>
                <c:pt idx="1583">
                  <c:v>0.69599999999999995</c:v>
                </c:pt>
                <c:pt idx="1584">
                  <c:v>0.84199999999999997</c:v>
                </c:pt>
                <c:pt idx="1585">
                  <c:v>0.65100000000000002</c:v>
                </c:pt>
                <c:pt idx="1586">
                  <c:v>0.67800000000000005</c:v>
                </c:pt>
                <c:pt idx="1587">
                  <c:v>0.45500000000000002</c:v>
                </c:pt>
                <c:pt idx="1588">
                  <c:v>0.34100000000000003</c:v>
                </c:pt>
                <c:pt idx="1589">
                  <c:v>0.51500000000000001</c:v>
                </c:pt>
                <c:pt idx="1590">
                  <c:v>0.89300000000000002</c:v>
                </c:pt>
                <c:pt idx="1591">
                  <c:v>0.45500000000000002</c:v>
                </c:pt>
                <c:pt idx="1592">
                  <c:v>0.58499999999999996</c:v>
                </c:pt>
                <c:pt idx="1593">
                  <c:v>0.751</c:v>
                </c:pt>
                <c:pt idx="1594">
                  <c:v>0.66400000000000003</c:v>
                </c:pt>
                <c:pt idx="1595">
                  <c:v>0.89600000000000002</c:v>
                </c:pt>
                <c:pt idx="1596">
                  <c:v>0.625</c:v>
                </c:pt>
                <c:pt idx="1597">
                  <c:v>0.51900000000000002</c:v>
                </c:pt>
                <c:pt idx="1598">
                  <c:v>0.54500000000000004</c:v>
                </c:pt>
                <c:pt idx="1599">
                  <c:v>0.66</c:v>
                </c:pt>
                <c:pt idx="1600">
                  <c:v>0.66700000000000004</c:v>
                </c:pt>
                <c:pt idx="1601">
                  <c:v>0.69799999999999995</c:v>
                </c:pt>
                <c:pt idx="1602">
                  <c:v>0.51</c:v>
                </c:pt>
                <c:pt idx="1603">
                  <c:v>0.71</c:v>
                </c:pt>
                <c:pt idx="1604">
                  <c:v>0.49</c:v>
                </c:pt>
                <c:pt idx="1605">
                  <c:v>0.52500000000000002</c:v>
                </c:pt>
                <c:pt idx="1606">
                  <c:v>0.94099999999999995</c:v>
                </c:pt>
                <c:pt idx="1607">
                  <c:v>0.69</c:v>
                </c:pt>
                <c:pt idx="1608">
                  <c:v>0.83899999999999997</c:v>
                </c:pt>
                <c:pt idx="1609">
                  <c:v>0.93799999999999994</c:v>
                </c:pt>
                <c:pt idx="1610">
                  <c:v>0.76800000000000002</c:v>
                </c:pt>
                <c:pt idx="1611">
                  <c:v>0.81799999999999995</c:v>
                </c:pt>
                <c:pt idx="1612">
                  <c:v>0.79100000000000004</c:v>
                </c:pt>
                <c:pt idx="1613">
                  <c:v>0.36699999999999999</c:v>
                </c:pt>
                <c:pt idx="1614">
                  <c:v>0.69699999999999995</c:v>
                </c:pt>
                <c:pt idx="1615">
                  <c:v>0.63600000000000001</c:v>
                </c:pt>
                <c:pt idx="1616">
                  <c:v>0.56399999999999995</c:v>
                </c:pt>
                <c:pt idx="1617">
                  <c:v>0.88</c:v>
                </c:pt>
                <c:pt idx="1618">
                  <c:v>0.59699999999999998</c:v>
                </c:pt>
                <c:pt idx="1619">
                  <c:v>0.79200000000000004</c:v>
                </c:pt>
                <c:pt idx="1620">
                  <c:v>0.72499999999999998</c:v>
                </c:pt>
                <c:pt idx="1621">
                  <c:v>0.83099999999999996</c:v>
                </c:pt>
                <c:pt idx="1622">
                  <c:v>0.754</c:v>
                </c:pt>
                <c:pt idx="1623">
                  <c:v>0.13</c:v>
                </c:pt>
                <c:pt idx="1624">
                  <c:v>0.79200000000000004</c:v>
                </c:pt>
                <c:pt idx="1625">
                  <c:v>0.42399999999999999</c:v>
                </c:pt>
                <c:pt idx="1626">
                  <c:v>0.86199999999999999</c:v>
                </c:pt>
                <c:pt idx="1627">
                  <c:v>0.53900000000000003</c:v>
                </c:pt>
                <c:pt idx="1628">
                  <c:v>0.53100000000000003</c:v>
                </c:pt>
                <c:pt idx="1629">
                  <c:v>0.56699999999999995</c:v>
                </c:pt>
                <c:pt idx="1630">
                  <c:v>0.69299999999999995</c:v>
                </c:pt>
                <c:pt idx="1631">
                  <c:v>0.63200000000000001</c:v>
                </c:pt>
                <c:pt idx="1632">
                  <c:v>0.85499999999999998</c:v>
                </c:pt>
                <c:pt idx="1633">
                  <c:v>0.41499999999999998</c:v>
                </c:pt>
                <c:pt idx="1634">
                  <c:v>0.52</c:v>
                </c:pt>
                <c:pt idx="1635">
                  <c:v>0.65500000000000003</c:v>
                </c:pt>
                <c:pt idx="1636">
                  <c:v>0.56299999999999994</c:v>
                </c:pt>
                <c:pt idx="1637">
                  <c:v>0.69499999999999995</c:v>
                </c:pt>
                <c:pt idx="1638">
                  <c:v>0.879</c:v>
                </c:pt>
                <c:pt idx="1639">
                  <c:v>0.70499999999999996</c:v>
                </c:pt>
                <c:pt idx="1640">
                  <c:v>0.88300000000000001</c:v>
                </c:pt>
                <c:pt idx="1641">
                  <c:v>0.54200000000000004</c:v>
                </c:pt>
                <c:pt idx="1642">
                  <c:v>0.64200000000000002</c:v>
                </c:pt>
                <c:pt idx="1643">
                  <c:v>0.79</c:v>
                </c:pt>
                <c:pt idx="1644">
                  <c:v>0.78800000000000003</c:v>
                </c:pt>
                <c:pt idx="1645">
                  <c:v>0.65100000000000002</c:v>
                </c:pt>
                <c:pt idx="1646">
                  <c:v>0.5</c:v>
                </c:pt>
                <c:pt idx="1647">
                  <c:v>0.82899999999999996</c:v>
                </c:pt>
                <c:pt idx="1648">
                  <c:v>0.32700000000000001</c:v>
                </c:pt>
                <c:pt idx="1649">
                  <c:v>0.36199999999999999</c:v>
                </c:pt>
                <c:pt idx="1650">
                  <c:v>0.78200000000000003</c:v>
                </c:pt>
                <c:pt idx="1651">
                  <c:v>0.78</c:v>
                </c:pt>
                <c:pt idx="1652">
                  <c:v>0.65500000000000003</c:v>
                </c:pt>
                <c:pt idx="1653">
                  <c:v>0.82399999999999995</c:v>
                </c:pt>
                <c:pt idx="1654">
                  <c:v>0.82699999999999996</c:v>
                </c:pt>
                <c:pt idx="1655">
                  <c:v>0.56999999999999995</c:v>
                </c:pt>
                <c:pt idx="1656">
                  <c:v>0.76700000000000002</c:v>
                </c:pt>
                <c:pt idx="1657">
                  <c:v>0.78400000000000003</c:v>
                </c:pt>
                <c:pt idx="1658">
                  <c:v>0.60599999999999998</c:v>
                </c:pt>
                <c:pt idx="1659">
                  <c:v>0.85199999999999998</c:v>
                </c:pt>
                <c:pt idx="1660">
                  <c:v>0.73799999999999999</c:v>
                </c:pt>
                <c:pt idx="1661">
                  <c:v>0.47099999999999997</c:v>
                </c:pt>
                <c:pt idx="1662">
                  <c:v>0.9</c:v>
                </c:pt>
                <c:pt idx="1663">
                  <c:v>0.624</c:v>
                </c:pt>
                <c:pt idx="1664">
                  <c:v>0.70399999999999996</c:v>
                </c:pt>
                <c:pt idx="1665">
                  <c:v>0.49299999999999999</c:v>
                </c:pt>
                <c:pt idx="1666">
                  <c:v>0.69499999999999995</c:v>
                </c:pt>
                <c:pt idx="1667">
                  <c:v>0.71399999999999997</c:v>
                </c:pt>
                <c:pt idx="1668">
                  <c:v>0.68300000000000005</c:v>
                </c:pt>
                <c:pt idx="1669">
                  <c:v>0.496</c:v>
                </c:pt>
                <c:pt idx="1670">
                  <c:v>0.45200000000000001</c:v>
                </c:pt>
                <c:pt idx="1671">
                  <c:v>0.81499999999999995</c:v>
                </c:pt>
                <c:pt idx="1672">
                  <c:v>0.873</c:v>
                </c:pt>
                <c:pt idx="1673">
                  <c:v>0.58299999999999996</c:v>
                </c:pt>
                <c:pt idx="1674">
                  <c:v>0.36599999999999999</c:v>
                </c:pt>
                <c:pt idx="1675">
                  <c:v>0.73</c:v>
                </c:pt>
                <c:pt idx="1676">
                  <c:v>0.61499999999999999</c:v>
                </c:pt>
                <c:pt idx="1677">
                  <c:v>0.57899999999999996</c:v>
                </c:pt>
                <c:pt idx="1678">
                  <c:v>0.64900000000000002</c:v>
                </c:pt>
                <c:pt idx="1679">
                  <c:v>0.34200000000000003</c:v>
                </c:pt>
                <c:pt idx="1680">
                  <c:v>0.92300000000000004</c:v>
                </c:pt>
                <c:pt idx="1681">
                  <c:v>0.55300000000000005</c:v>
                </c:pt>
                <c:pt idx="1682">
                  <c:v>0.83299999999999996</c:v>
                </c:pt>
                <c:pt idx="1683">
                  <c:v>0.22</c:v>
                </c:pt>
                <c:pt idx="1684">
                  <c:v>0.68400000000000005</c:v>
                </c:pt>
                <c:pt idx="1685">
                  <c:v>0.70399999999999996</c:v>
                </c:pt>
                <c:pt idx="1686">
                  <c:v>0.746</c:v>
                </c:pt>
                <c:pt idx="1687">
                  <c:v>0.69599999999999995</c:v>
                </c:pt>
                <c:pt idx="1688">
                  <c:v>0.57799999999999996</c:v>
                </c:pt>
                <c:pt idx="1689">
                  <c:v>0.81699999999999995</c:v>
                </c:pt>
                <c:pt idx="1690">
                  <c:v>0.26300000000000001</c:v>
                </c:pt>
                <c:pt idx="1691">
                  <c:v>0.65</c:v>
                </c:pt>
                <c:pt idx="1692">
                  <c:v>0.85599999999999998</c:v>
                </c:pt>
                <c:pt idx="1693">
                  <c:v>0.73799999999999999</c:v>
                </c:pt>
                <c:pt idx="1694">
                  <c:v>0.41299999999999998</c:v>
                </c:pt>
                <c:pt idx="1695">
                  <c:v>0.92</c:v>
                </c:pt>
                <c:pt idx="1696">
                  <c:v>0.65600000000000003</c:v>
                </c:pt>
                <c:pt idx="1697">
                  <c:v>0.45400000000000001</c:v>
                </c:pt>
                <c:pt idx="1698">
                  <c:v>0.497</c:v>
                </c:pt>
                <c:pt idx="1699">
                  <c:v>0.52700000000000002</c:v>
                </c:pt>
                <c:pt idx="1700">
                  <c:v>0.67600000000000005</c:v>
                </c:pt>
                <c:pt idx="1701">
                  <c:v>0.499</c:v>
                </c:pt>
                <c:pt idx="1702">
                  <c:v>0.33600000000000002</c:v>
                </c:pt>
                <c:pt idx="1703">
                  <c:v>0.60399999999999998</c:v>
                </c:pt>
                <c:pt idx="1704">
                  <c:v>0.67500000000000004</c:v>
                </c:pt>
                <c:pt idx="1705">
                  <c:v>0.02</c:v>
                </c:pt>
                <c:pt idx="1706">
                  <c:v>0.61799999999999999</c:v>
                </c:pt>
                <c:pt idx="1707">
                  <c:v>0.36099999999999999</c:v>
                </c:pt>
                <c:pt idx="1708">
                  <c:v>0.88200000000000001</c:v>
                </c:pt>
                <c:pt idx="1709">
                  <c:v>0.48699999999999999</c:v>
                </c:pt>
                <c:pt idx="1710">
                  <c:v>0.85599999999999998</c:v>
                </c:pt>
                <c:pt idx="1711">
                  <c:v>0.77500000000000002</c:v>
                </c:pt>
                <c:pt idx="1712">
                  <c:v>0.746</c:v>
                </c:pt>
                <c:pt idx="1713">
                  <c:v>0.86199999999999999</c:v>
                </c:pt>
                <c:pt idx="1714">
                  <c:v>0.371</c:v>
                </c:pt>
                <c:pt idx="1715">
                  <c:v>0.57099999999999995</c:v>
                </c:pt>
                <c:pt idx="1716">
                  <c:v>0.58699999999999997</c:v>
                </c:pt>
                <c:pt idx="1717">
                  <c:v>0.79500000000000004</c:v>
                </c:pt>
                <c:pt idx="1718">
                  <c:v>0.72</c:v>
                </c:pt>
                <c:pt idx="1719">
                  <c:v>0.40400000000000003</c:v>
                </c:pt>
                <c:pt idx="1720">
                  <c:v>0.73499999999999999</c:v>
                </c:pt>
                <c:pt idx="1721">
                  <c:v>0.46700000000000003</c:v>
                </c:pt>
                <c:pt idx="1722">
                  <c:v>0.85299999999999998</c:v>
                </c:pt>
                <c:pt idx="1723">
                  <c:v>0.83799999999999997</c:v>
                </c:pt>
                <c:pt idx="1724">
                  <c:v>0.73799999999999999</c:v>
                </c:pt>
                <c:pt idx="1725">
                  <c:v>0.89</c:v>
                </c:pt>
                <c:pt idx="1726">
                  <c:v>0.89200000000000002</c:v>
                </c:pt>
                <c:pt idx="1727">
                  <c:v>0.67400000000000004</c:v>
                </c:pt>
                <c:pt idx="1728">
                  <c:v>0.92500000000000004</c:v>
                </c:pt>
                <c:pt idx="1729">
                  <c:v>0.52200000000000002</c:v>
                </c:pt>
                <c:pt idx="1730">
                  <c:v>0.60199999999999998</c:v>
                </c:pt>
                <c:pt idx="1731">
                  <c:v>0.69</c:v>
                </c:pt>
                <c:pt idx="1732">
                  <c:v>0.33500000000000002</c:v>
                </c:pt>
                <c:pt idx="1733">
                  <c:v>0.107</c:v>
                </c:pt>
                <c:pt idx="1734">
                  <c:v>0.91700000000000004</c:v>
                </c:pt>
                <c:pt idx="1735">
                  <c:v>0.44700000000000001</c:v>
                </c:pt>
                <c:pt idx="1736">
                  <c:v>0.32500000000000001</c:v>
                </c:pt>
                <c:pt idx="1737">
                  <c:v>0.88400000000000001</c:v>
                </c:pt>
                <c:pt idx="1738">
                  <c:v>0.77300000000000002</c:v>
                </c:pt>
                <c:pt idx="1739">
                  <c:v>0.628</c:v>
                </c:pt>
                <c:pt idx="1740">
                  <c:v>0.58199999999999996</c:v>
                </c:pt>
                <c:pt idx="1741">
                  <c:v>0.74</c:v>
                </c:pt>
                <c:pt idx="1742">
                  <c:v>0.79500000000000004</c:v>
                </c:pt>
                <c:pt idx="1743">
                  <c:v>0.62</c:v>
                </c:pt>
                <c:pt idx="1744">
                  <c:v>0.72299999999999998</c:v>
                </c:pt>
                <c:pt idx="1745">
                  <c:v>0.13300000000000001</c:v>
                </c:pt>
                <c:pt idx="1746">
                  <c:v>0.70799999999999996</c:v>
                </c:pt>
                <c:pt idx="1747">
                  <c:v>0.57399999999999995</c:v>
                </c:pt>
                <c:pt idx="1748">
                  <c:v>0.56799999999999995</c:v>
                </c:pt>
                <c:pt idx="1749">
                  <c:v>0.63100000000000001</c:v>
                </c:pt>
                <c:pt idx="1750">
                  <c:v>0.78</c:v>
                </c:pt>
                <c:pt idx="1751">
                  <c:v>0.80500000000000005</c:v>
                </c:pt>
                <c:pt idx="1752">
                  <c:v>0.41899999999999998</c:v>
                </c:pt>
                <c:pt idx="1753">
                  <c:v>0.53300000000000003</c:v>
                </c:pt>
                <c:pt idx="1754">
                  <c:v>0.46100000000000002</c:v>
                </c:pt>
                <c:pt idx="1755">
                  <c:v>0.90900000000000003</c:v>
                </c:pt>
                <c:pt idx="1756">
                  <c:v>0.68</c:v>
                </c:pt>
                <c:pt idx="1757">
                  <c:v>0.879</c:v>
                </c:pt>
                <c:pt idx="1758">
                  <c:v>0.876</c:v>
                </c:pt>
                <c:pt idx="1759">
                  <c:v>0.49</c:v>
                </c:pt>
                <c:pt idx="1760">
                  <c:v>0.61699999999999999</c:v>
                </c:pt>
                <c:pt idx="1761">
                  <c:v>0.83699999999999997</c:v>
                </c:pt>
                <c:pt idx="1762">
                  <c:v>0.57199999999999995</c:v>
                </c:pt>
                <c:pt idx="1763">
                  <c:v>0.878</c:v>
                </c:pt>
                <c:pt idx="1764">
                  <c:v>0.84199999999999997</c:v>
                </c:pt>
                <c:pt idx="1765">
                  <c:v>0.68600000000000005</c:v>
                </c:pt>
                <c:pt idx="1766">
                  <c:v>0.35</c:v>
                </c:pt>
                <c:pt idx="1767">
                  <c:v>0.50700000000000001</c:v>
                </c:pt>
                <c:pt idx="1768">
                  <c:v>0.29699999999999999</c:v>
                </c:pt>
                <c:pt idx="1769">
                  <c:v>0.46700000000000003</c:v>
                </c:pt>
                <c:pt idx="1770">
                  <c:v>0.47899999999999998</c:v>
                </c:pt>
                <c:pt idx="1771">
                  <c:v>0.49099999999999999</c:v>
                </c:pt>
                <c:pt idx="1772">
                  <c:v>0.45300000000000001</c:v>
                </c:pt>
                <c:pt idx="1773">
                  <c:v>0.63400000000000001</c:v>
                </c:pt>
                <c:pt idx="1774">
                  <c:v>0.875</c:v>
                </c:pt>
                <c:pt idx="1775">
                  <c:v>0.59099999999999997</c:v>
                </c:pt>
                <c:pt idx="1776">
                  <c:v>0.59399999999999997</c:v>
                </c:pt>
                <c:pt idx="1777">
                  <c:v>0.439</c:v>
                </c:pt>
                <c:pt idx="1778">
                  <c:v>0.80900000000000005</c:v>
                </c:pt>
                <c:pt idx="1779">
                  <c:v>0.90500000000000003</c:v>
                </c:pt>
                <c:pt idx="1780">
                  <c:v>0.43</c:v>
                </c:pt>
                <c:pt idx="1781">
                  <c:v>0.72199999999999998</c:v>
                </c:pt>
                <c:pt idx="1782">
                  <c:v>0.78400000000000003</c:v>
                </c:pt>
                <c:pt idx="1783">
                  <c:v>0.48599999999999999</c:v>
                </c:pt>
                <c:pt idx="1784">
                  <c:v>0.80900000000000005</c:v>
                </c:pt>
                <c:pt idx="1785">
                  <c:v>0.55000000000000004</c:v>
                </c:pt>
                <c:pt idx="1786">
                  <c:v>0.69299999999999995</c:v>
                </c:pt>
                <c:pt idx="1787">
                  <c:v>0.45500000000000002</c:v>
                </c:pt>
                <c:pt idx="1788">
                  <c:v>0.65200000000000002</c:v>
                </c:pt>
                <c:pt idx="1789">
                  <c:v>0.53100000000000003</c:v>
                </c:pt>
                <c:pt idx="1790">
                  <c:v>0.19</c:v>
                </c:pt>
                <c:pt idx="1791">
                  <c:v>0.68300000000000005</c:v>
                </c:pt>
                <c:pt idx="1792">
                  <c:v>0.67400000000000004</c:v>
                </c:pt>
                <c:pt idx="1793">
                  <c:v>0.42299999999999999</c:v>
                </c:pt>
                <c:pt idx="1794">
                  <c:v>0.79100000000000004</c:v>
                </c:pt>
                <c:pt idx="1795">
                  <c:v>0.86499999999999999</c:v>
                </c:pt>
                <c:pt idx="1796">
                  <c:v>0.73299999999999998</c:v>
                </c:pt>
                <c:pt idx="1797">
                  <c:v>0.40799999999999997</c:v>
                </c:pt>
                <c:pt idx="1798">
                  <c:v>0.69799999999999995</c:v>
                </c:pt>
                <c:pt idx="1799">
                  <c:v>0.54800000000000004</c:v>
                </c:pt>
                <c:pt idx="1800">
                  <c:v>0.53400000000000003</c:v>
                </c:pt>
                <c:pt idx="1801">
                  <c:v>0.64600000000000002</c:v>
                </c:pt>
                <c:pt idx="1802">
                  <c:v>0.77</c:v>
                </c:pt>
                <c:pt idx="1803">
                  <c:v>0.39300000000000002</c:v>
                </c:pt>
                <c:pt idx="1804">
                  <c:v>0.41599999999999998</c:v>
                </c:pt>
                <c:pt idx="1805">
                  <c:v>0.67400000000000004</c:v>
                </c:pt>
                <c:pt idx="1806">
                  <c:v>0.71599999999999997</c:v>
                </c:pt>
                <c:pt idx="1807">
                  <c:v>0.71499999999999997</c:v>
                </c:pt>
                <c:pt idx="1808">
                  <c:v>0.46899999999999997</c:v>
                </c:pt>
                <c:pt idx="1809">
                  <c:v>0.441</c:v>
                </c:pt>
                <c:pt idx="1810">
                  <c:v>0.629</c:v>
                </c:pt>
                <c:pt idx="1811">
                  <c:v>0.626</c:v>
                </c:pt>
                <c:pt idx="1812">
                  <c:v>0.60299999999999998</c:v>
                </c:pt>
                <c:pt idx="1813">
                  <c:v>0.41</c:v>
                </c:pt>
                <c:pt idx="1814">
                  <c:v>0.73899999999999999</c:v>
                </c:pt>
                <c:pt idx="1815">
                  <c:v>0.68700000000000006</c:v>
                </c:pt>
                <c:pt idx="1816">
                  <c:v>0.75800000000000001</c:v>
                </c:pt>
                <c:pt idx="1817">
                  <c:v>0.55900000000000005</c:v>
                </c:pt>
                <c:pt idx="1818">
                  <c:v>0.54300000000000004</c:v>
                </c:pt>
                <c:pt idx="1819">
                  <c:v>0.217</c:v>
                </c:pt>
                <c:pt idx="1820">
                  <c:v>0.66500000000000004</c:v>
                </c:pt>
                <c:pt idx="1821">
                  <c:v>0.76600000000000001</c:v>
                </c:pt>
                <c:pt idx="1822">
                  <c:v>0.38200000000000001</c:v>
                </c:pt>
                <c:pt idx="1823">
                  <c:v>0.70699999999999996</c:v>
                </c:pt>
                <c:pt idx="1824">
                  <c:v>0.72499999999999998</c:v>
                </c:pt>
                <c:pt idx="1825">
                  <c:v>0.91500000000000004</c:v>
                </c:pt>
                <c:pt idx="1826">
                  <c:v>0.8</c:v>
                </c:pt>
                <c:pt idx="1827">
                  <c:v>0.93700000000000006</c:v>
                </c:pt>
                <c:pt idx="1828">
                  <c:v>0.78500000000000003</c:v>
                </c:pt>
                <c:pt idx="1829">
                  <c:v>0.42599999999999999</c:v>
                </c:pt>
                <c:pt idx="1830">
                  <c:v>0.26100000000000001</c:v>
                </c:pt>
                <c:pt idx="1831">
                  <c:v>0.64600000000000002</c:v>
                </c:pt>
                <c:pt idx="1832">
                  <c:v>0.71399999999999997</c:v>
                </c:pt>
                <c:pt idx="1833">
                  <c:v>0.627</c:v>
                </c:pt>
                <c:pt idx="1834">
                  <c:v>0.46700000000000003</c:v>
                </c:pt>
                <c:pt idx="1835">
                  <c:v>0.41899999999999998</c:v>
                </c:pt>
                <c:pt idx="1836">
                  <c:v>0.85899999999999999</c:v>
                </c:pt>
                <c:pt idx="1837">
                  <c:v>0.35599999999999998</c:v>
                </c:pt>
                <c:pt idx="1838">
                  <c:v>0.83599999999999997</c:v>
                </c:pt>
                <c:pt idx="1839">
                  <c:v>0.82</c:v>
                </c:pt>
                <c:pt idx="1840">
                  <c:v>0.55800000000000005</c:v>
                </c:pt>
                <c:pt idx="1841">
                  <c:v>0.746</c:v>
                </c:pt>
                <c:pt idx="1842">
                  <c:v>0.875</c:v>
                </c:pt>
                <c:pt idx="1843">
                  <c:v>0.69699999999999995</c:v>
                </c:pt>
                <c:pt idx="1844">
                  <c:v>0.30199999999999999</c:v>
                </c:pt>
                <c:pt idx="1845">
                  <c:v>0.57599999999999996</c:v>
                </c:pt>
                <c:pt idx="1846">
                  <c:v>0.71499999999999997</c:v>
                </c:pt>
                <c:pt idx="1847">
                  <c:v>0.66500000000000004</c:v>
                </c:pt>
                <c:pt idx="1848">
                  <c:v>0.84899999999999998</c:v>
                </c:pt>
                <c:pt idx="1849">
                  <c:v>0.47899999999999998</c:v>
                </c:pt>
                <c:pt idx="1850">
                  <c:v>0.73799999999999999</c:v>
                </c:pt>
                <c:pt idx="1851">
                  <c:v>0.90400000000000003</c:v>
                </c:pt>
                <c:pt idx="1852">
                  <c:v>0.54900000000000004</c:v>
                </c:pt>
                <c:pt idx="1853">
                  <c:v>0.48099999999999998</c:v>
                </c:pt>
                <c:pt idx="1854">
                  <c:v>0.94299999999999995</c:v>
                </c:pt>
                <c:pt idx="1855">
                  <c:v>0.74299999999999999</c:v>
                </c:pt>
                <c:pt idx="1856">
                  <c:v>0.92200000000000004</c:v>
                </c:pt>
                <c:pt idx="1857">
                  <c:v>0.64500000000000002</c:v>
                </c:pt>
                <c:pt idx="1858">
                  <c:v>0.68500000000000005</c:v>
                </c:pt>
                <c:pt idx="1859">
                  <c:v>0.23100000000000001</c:v>
                </c:pt>
                <c:pt idx="1860">
                  <c:v>0.72099999999999997</c:v>
                </c:pt>
                <c:pt idx="1861">
                  <c:v>0.67400000000000004</c:v>
                </c:pt>
                <c:pt idx="1862">
                  <c:v>0.19</c:v>
                </c:pt>
                <c:pt idx="1863">
                  <c:v>0.66500000000000004</c:v>
                </c:pt>
                <c:pt idx="1864">
                  <c:v>0.61299999999999999</c:v>
                </c:pt>
                <c:pt idx="1865">
                  <c:v>0.53100000000000003</c:v>
                </c:pt>
                <c:pt idx="1866">
                  <c:v>0.42</c:v>
                </c:pt>
                <c:pt idx="1867">
                  <c:v>0.48799999999999999</c:v>
                </c:pt>
                <c:pt idx="1868">
                  <c:v>0.66100000000000003</c:v>
                </c:pt>
                <c:pt idx="1869">
                  <c:v>0.69799999999999995</c:v>
                </c:pt>
                <c:pt idx="1870">
                  <c:v>0.65800000000000003</c:v>
                </c:pt>
                <c:pt idx="1871">
                  <c:v>0.52200000000000002</c:v>
                </c:pt>
                <c:pt idx="1872">
                  <c:v>0.63700000000000001</c:v>
                </c:pt>
                <c:pt idx="1873">
                  <c:v>0.63700000000000001</c:v>
                </c:pt>
                <c:pt idx="1874">
                  <c:v>0.68300000000000005</c:v>
                </c:pt>
                <c:pt idx="1875">
                  <c:v>0.81399999999999995</c:v>
                </c:pt>
                <c:pt idx="1876">
                  <c:v>0.48099999999999998</c:v>
                </c:pt>
                <c:pt idx="1877">
                  <c:v>0.35099999999999998</c:v>
                </c:pt>
                <c:pt idx="1878">
                  <c:v>0.61799999999999999</c:v>
                </c:pt>
                <c:pt idx="1879">
                  <c:v>0.64100000000000001</c:v>
                </c:pt>
                <c:pt idx="1880">
                  <c:v>0.36299999999999999</c:v>
                </c:pt>
                <c:pt idx="1881">
                  <c:v>0.45100000000000001</c:v>
                </c:pt>
                <c:pt idx="1882">
                  <c:v>0.437</c:v>
                </c:pt>
                <c:pt idx="1883">
                  <c:v>0.90900000000000003</c:v>
                </c:pt>
                <c:pt idx="1884">
                  <c:v>0.33</c:v>
                </c:pt>
                <c:pt idx="1885">
                  <c:v>0.66600000000000004</c:v>
                </c:pt>
                <c:pt idx="1886">
                  <c:v>0.77400000000000002</c:v>
                </c:pt>
                <c:pt idx="1887">
                  <c:v>0.55700000000000005</c:v>
                </c:pt>
                <c:pt idx="1888">
                  <c:v>0.68400000000000005</c:v>
                </c:pt>
                <c:pt idx="1889">
                  <c:v>0.63600000000000001</c:v>
                </c:pt>
                <c:pt idx="1890">
                  <c:v>0.41899999999999998</c:v>
                </c:pt>
                <c:pt idx="1891">
                  <c:v>0.52900000000000003</c:v>
                </c:pt>
                <c:pt idx="1892">
                  <c:v>0.34499999999999997</c:v>
                </c:pt>
                <c:pt idx="1893">
                  <c:v>0.254</c:v>
                </c:pt>
                <c:pt idx="1894">
                  <c:v>0.54</c:v>
                </c:pt>
                <c:pt idx="1895">
                  <c:v>0.28599999999999998</c:v>
                </c:pt>
                <c:pt idx="1896">
                  <c:v>0.69599999999999995</c:v>
                </c:pt>
                <c:pt idx="1897">
                  <c:v>0.41699999999999998</c:v>
                </c:pt>
                <c:pt idx="1898">
                  <c:v>0.57499999999999996</c:v>
                </c:pt>
                <c:pt idx="1899">
                  <c:v>0.879</c:v>
                </c:pt>
                <c:pt idx="1900">
                  <c:v>0.41799999999999998</c:v>
                </c:pt>
                <c:pt idx="1901">
                  <c:v>0.90500000000000003</c:v>
                </c:pt>
                <c:pt idx="1902">
                  <c:v>0.68200000000000005</c:v>
                </c:pt>
                <c:pt idx="1903">
                  <c:v>0.184</c:v>
                </c:pt>
                <c:pt idx="1904">
                  <c:v>0.50900000000000001</c:v>
                </c:pt>
                <c:pt idx="1905">
                  <c:v>0.621</c:v>
                </c:pt>
                <c:pt idx="1906">
                  <c:v>0.68</c:v>
                </c:pt>
                <c:pt idx="1907">
                  <c:v>0.161</c:v>
                </c:pt>
                <c:pt idx="1908">
                  <c:v>0.41799999999999998</c:v>
                </c:pt>
                <c:pt idx="1909">
                  <c:v>0.76900000000000002</c:v>
                </c:pt>
                <c:pt idx="1910">
                  <c:v>0.69899999999999995</c:v>
                </c:pt>
                <c:pt idx="1911">
                  <c:v>0.55300000000000005</c:v>
                </c:pt>
                <c:pt idx="1912">
                  <c:v>0.69599999999999995</c:v>
                </c:pt>
                <c:pt idx="1913">
                  <c:v>0.748</c:v>
                </c:pt>
                <c:pt idx="1914">
                  <c:v>0.84799999999999998</c:v>
                </c:pt>
                <c:pt idx="1915">
                  <c:v>0.39500000000000002</c:v>
                </c:pt>
                <c:pt idx="1916">
                  <c:v>0.88200000000000001</c:v>
                </c:pt>
                <c:pt idx="1917">
                  <c:v>0.91900000000000004</c:v>
                </c:pt>
                <c:pt idx="1918">
                  <c:v>0.41499999999999998</c:v>
                </c:pt>
                <c:pt idx="1919">
                  <c:v>0.68100000000000005</c:v>
                </c:pt>
                <c:pt idx="1920">
                  <c:v>0.35799999999999998</c:v>
                </c:pt>
                <c:pt idx="1921">
                  <c:v>0.86899999999999999</c:v>
                </c:pt>
                <c:pt idx="1922">
                  <c:v>0.57699999999999996</c:v>
                </c:pt>
                <c:pt idx="1923">
                  <c:v>0.48499999999999999</c:v>
                </c:pt>
                <c:pt idx="1924">
                  <c:v>0.871</c:v>
                </c:pt>
                <c:pt idx="1925">
                  <c:v>0.72199999999999998</c:v>
                </c:pt>
                <c:pt idx="1926">
                  <c:v>0.378</c:v>
                </c:pt>
                <c:pt idx="1927">
                  <c:v>0.69699999999999995</c:v>
                </c:pt>
                <c:pt idx="1928">
                  <c:v>0.88300000000000001</c:v>
                </c:pt>
                <c:pt idx="1929">
                  <c:v>0.71499999999999997</c:v>
                </c:pt>
                <c:pt idx="1930">
                  <c:v>0.91800000000000004</c:v>
                </c:pt>
                <c:pt idx="1931">
                  <c:v>0.68500000000000005</c:v>
                </c:pt>
                <c:pt idx="1932">
                  <c:v>0.505</c:v>
                </c:pt>
                <c:pt idx="1933">
                  <c:v>0.44600000000000001</c:v>
                </c:pt>
                <c:pt idx="1934">
                  <c:v>0.41799999999999998</c:v>
                </c:pt>
                <c:pt idx="1935">
                  <c:v>0.54400000000000004</c:v>
                </c:pt>
                <c:pt idx="1936">
                  <c:v>0.64900000000000002</c:v>
                </c:pt>
                <c:pt idx="1937">
                  <c:v>0.88900000000000001</c:v>
                </c:pt>
                <c:pt idx="1938">
                  <c:v>0.42399999999999999</c:v>
                </c:pt>
                <c:pt idx="1939">
                  <c:v>0.59599999999999997</c:v>
                </c:pt>
                <c:pt idx="1940">
                  <c:v>0.59699999999999998</c:v>
                </c:pt>
                <c:pt idx="1941">
                  <c:v>0.89</c:v>
                </c:pt>
                <c:pt idx="1942">
                  <c:v>0.4</c:v>
                </c:pt>
                <c:pt idx="1943">
                  <c:v>0.75800000000000001</c:v>
                </c:pt>
                <c:pt idx="1944">
                  <c:v>0.71799999999999997</c:v>
                </c:pt>
                <c:pt idx="1945">
                  <c:v>0.67900000000000005</c:v>
                </c:pt>
                <c:pt idx="1946">
                  <c:v>0.33500000000000002</c:v>
                </c:pt>
                <c:pt idx="1947">
                  <c:v>0.84499999999999997</c:v>
                </c:pt>
                <c:pt idx="1948">
                  <c:v>0.63100000000000001</c:v>
                </c:pt>
                <c:pt idx="1949">
                  <c:v>0.41299999999999998</c:v>
                </c:pt>
                <c:pt idx="1950">
                  <c:v>0.43099999999999999</c:v>
                </c:pt>
                <c:pt idx="1951">
                  <c:v>0.35899999999999999</c:v>
                </c:pt>
                <c:pt idx="1952">
                  <c:v>0.75700000000000001</c:v>
                </c:pt>
                <c:pt idx="1953">
                  <c:v>0.45800000000000002</c:v>
                </c:pt>
                <c:pt idx="1954">
                  <c:v>0.42499999999999999</c:v>
                </c:pt>
                <c:pt idx="1955">
                  <c:v>0.42899999999999999</c:v>
                </c:pt>
                <c:pt idx="1956">
                  <c:v>0.79</c:v>
                </c:pt>
                <c:pt idx="1957">
                  <c:v>0.874</c:v>
                </c:pt>
                <c:pt idx="1958">
                  <c:v>0.54200000000000004</c:v>
                </c:pt>
                <c:pt idx="1959">
                  <c:v>0.5</c:v>
                </c:pt>
                <c:pt idx="1960">
                  <c:v>0.77400000000000002</c:v>
                </c:pt>
                <c:pt idx="1961">
                  <c:v>0.76900000000000002</c:v>
                </c:pt>
                <c:pt idx="1962">
                  <c:v>0.81599999999999995</c:v>
                </c:pt>
                <c:pt idx="1963">
                  <c:v>0.85699999999999998</c:v>
                </c:pt>
                <c:pt idx="1964">
                  <c:v>0.41099999999999998</c:v>
                </c:pt>
                <c:pt idx="1965">
                  <c:v>0.379</c:v>
                </c:pt>
                <c:pt idx="1966">
                  <c:v>0.58399999999999996</c:v>
                </c:pt>
                <c:pt idx="1967">
                  <c:v>0.59899999999999998</c:v>
                </c:pt>
                <c:pt idx="1968">
                  <c:v>0.87</c:v>
                </c:pt>
                <c:pt idx="1969">
                  <c:v>0.72</c:v>
                </c:pt>
                <c:pt idx="1970">
                  <c:v>0.65200000000000002</c:v>
                </c:pt>
                <c:pt idx="1971">
                  <c:v>0.57099999999999995</c:v>
                </c:pt>
                <c:pt idx="1972">
                  <c:v>0.42099999999999999</c:v>
                </c:pt>
                <c:pt idx="1973">
                  <c:v>0.39900000000000002</c:v>
                </c:pt>
                <c:pt idx="1974">
                  <c:v>0.47899999999999998</c:v>
                </c:pt>
                <c:pt idx="1975">
                  <c:v>0.622</c:v>
                </c:pt>
                <c:pt idx="1976">
                  <c:v>0.17799999999999999</c:v>
                </c:pt>
                <c:pt idx="1977">
                  <c:v>0.217</c:v>
                </c:pt>
                <c:pt idx="1978">
                  <c:v>0.63400000000000001</c:v>
                </c:pt>
                <c:pt idx="1979">
                  <c:v>0.69299999999999995</c:v>
                </c:pt>
                <c:pt idx="1980">
                  <c:v>0.70899999999999996</c:v>
                </c:pt>
                <c:pt idx="1981">
                  <c:v>0.61699999999999999</c:v>
                </c:pt>
                <c:pt idx="1982">
                  <c:v>0.627</c:v>
                </c:pt>
                <c:pt idx="1983">
                  <c:v>0.628</c:v>
                </c:pt>
                <c:pt idx="1984">
                  <c:v>0.90500000000000003</c:v>
                </c:pt>
                <c:pt idx="1985">
                  <c:v>0.78300000000000003</c:v>
                </c:pt>
                <c:pt idx="1986">
                  <c:v>0.53800000000000003</c:v>
                </c:pt>
                <c:pt idx="1987">
                  <c:v>0.378</c:v>
                </c:pt>
                <c:pt idx="1988">
                  <c:v>0.379</c:v>
                </c:pt>
                <c:pt idx="1989">
                  <c:v>0.70099999999999996</c:v>
                </c:pt>
                <c:pt idx="1990">
                  <c:v>0.32300000000000001</c:v>
                </c:pt>
                <c:pt idx="1991">
                  <c:v>0.14599999999999999</c:v>
                </c:pt>
                <c:pt idx="1992">
                  <c:v>0.872</c:v>
                </c:pt>
                <c:pt idx="1993">
                  <c:v>0.80600000000000005</c:v>
                </c:pt>
                <c:pt idx="1994">
                  <c:v>0.64100000000000001</c:v>
                </c:pt>
                <c:pt idx="1995">
                  <c:v>0.56299999999999994</c:v>
                </c:pt>
                <c:pt idx="1996">
                  <c:v>0.50800000000000001</c:v>
                </c:pt>
                <c:pt idx="1997">
                  <c:v>0.42</c:v>
                </c:pt>
                <c:pt idx="1998">
                  <c:v>0.82899999999999996</c:v>
                </c:pt>
                <c:pt idx="1999">
                  <c:v>0.51</c:v>
                </c:pt>
                <c:pt idx="2000">
                  <c:v>0.44800000000000001</c:v>
                </c:pt>
                <c:pt idx="2001">
                  <c:v>0.63600000000000001</c:v>
                </c:pt>
                <c:pt idx="2002">
                  <c:v>0.46100000000000002</c:v>
                </c:pt>
                <c:pt idx="2003">
                  <c:v>0.51900000000000002</c:v>
                </c:pt>
                <c:pt idx="2004">
                  <c:v>0.50600000000000001</c:v>
                </c:pt>
                <c:pt idx="2005">
                  <c:v>0.51900000000000002</c:v>
                </c:pt>
                <c:pt idx="2006">
                  <c:v>0.49</c:v>
                </c:pt>
                <c:pt idx="2007">
                  <c:v>0.42499999999999999</c:v>
                </c:pt>
                <c:pt idx="2008">
                  <c:v>0.59499999999999997</c:v>
                </c:pt>
                <c:pt idx="2009">
                  <c:v>0.36899999999999999</c:v>
                </c:pt>
                <c:pt idx="2010">
                  <c:v>0.625</c:v>
                </c:pt>
                <c:pt idx="2011">
                  <c:v>0.443</c:v>
                </c:pt>
                <c:pt idx="2012">
                  <c:v>0.5</c:v>
                </c:pt>
                <c:pt idx="2013">
                  <c:v>0.46100000000000002</c:v>
                </c:pt>
                <c:pt idx="2014">
                  <c:v>0.72</c:v>
                </c:pt>
                <c:pt idx="2015">
                  <c:v>0.81399999999999995</c:v>
                </c:pt>
                <c:pt idx="2016">
                  <c:v>0.48299999999999998</c:v>
                </c:pt>
                <c:pt idx="2017">
                  <c:v>0.56200000000000006</c:v>
                </c:pt>
                <c:pt idx="2018">
                  <c:v>0.255</c:v>
                </c:pt>
                <c:pt idx="2019">
                  <c:v>0.60499999999999998</c:v>
                </c:pt>
                <c:pt idx="2020">
                  <c:v>0.32800000000000001</c:v>
                </c:pt>
                <c:pt idx="2021">
                  <c:v>0.75900000000000001</c:v>
                </c:pt>
                <c:pt idx="2022">
                  <c:v>0.67100000000000004</c:v>
                </c:pt>
                <c:pt idx="2023">
                  <c:v>0.39100000000000001</c:v>
                </c:pt>
                <c:pt idx="2024">
                  <c:v>0.42399999999999999</c:v>
                </c:pt>
                <c:pt idx="2025">
                  <c:v>0.67400000000000004</c:v>
                </c:pt>
                <c:pt idx="2026">
                  <c:v>0.33800000000000002</c:v>
                </c:pt>
                <c:pt idx="2027">
                  <c:v>0.35199999999999998</c:v>
                </c:pt>
                <c:pt idx="2028">
                  <c:v>0.58099999999999996</c:v>
                </c:pt>
                <c:pt idx="2029">
                  <c:v>0.77200000000000002</c:v>
                </c:pt>
                <c:pt idx="2030">
                  <c:v>0.85099999999999998</c:v>
                </c:pt>
                <c:pt idx="2031">
                  <c:v>0.48699999999999999</c:v>
                </c:pt>
                <c:pt idx="2032">
                  <c:v>0.55900000000000005</c:v>
                </c:pt>
                <c:pt idx="2033">
                  <c:v>0.75900000000000001</c:v>
                </c:pt>
                <c:pt idx="2034">
                  <c:v>0.70499999999999996</c:v>
                </c:pt>
                <c:pt idx="2035">
                  <c:v>0.29699999999999999</c:v>
                </c:pt>
                <c:pt idx="2036">
                  <c:v>0.5</c:v>
                </c:pt>
                <c:pt idx="2037">
                  <c:v>0.60399999999999998</c:v>
                </c:pt>
                <c:pt idx="2038">
                  <c:v>0.66100000000000003</c:v>
                </c:pt>
                <c:pt idx="2039">
                  <c:v>0.52200000000000002</c:v>
                </c:pt>
                <c:pt idx="2040">
                  <c:v>0.41299999999999998</c:v>
                </c:pt>
                <c:pt idx="2041">
                  <c:v>0.68</c:v>
                </c:pt>
                <c:pt idx="2042">
                  <c:v>0.51</c:v>
                </c:pt>
                <c:pt idx="2043">
                  <c:v>0.41599999999999998</c:v>
                </c:pt>
                <c:pt idx="2044">
                  <c:v>0.81399999999999995</c:v>
                </c:pt>
                <c:pt idx="2045">
                  <c:v>0.88800000000000001</c:v>
                </c:pt>
                <c:pt idx="2046">
                  <c:v>0.25700000000000001</c:v>
                </c:pt>
                <c:pt idx="2047">
                  <c:v>0.29699999999999999</c:v>
                </c:pt>
                <c:pt idx="2048">
                  <c:v>0.157</c:v>
                </c:pt>
                <c:pt idx="2049">
                  <c:v>0.432</c:v>
                </c:pt>
                <c:pt idx="2050">
                  <c:v>0.75</c:v>
                </c:pt>
                <c:pt idx="2051">
                  <c:v>0.436</c:v>
                </c:pt>
                <c:pt idx="2052">
                  <c:v>0.433</c:v>
                </c:pt>
                <c:pt idx="2053">
                  <c:v>0.42199999999999999</c:v>
                </c:pt>
                <c:pt idx="2054">
                  <c:v>0.91300000000000003</c:v>
                </c:pt>
                <c:pt idx="2055">
                  <c:v>0.375</c:v>
                </c:pt>
                <c:pt idx="2056">
                  <c:v>0.32700000000000001</c:v>
                </c:pt>
                <c:pt idx="2057">
                  <c:v>0.55600000000000005</c:v>
                </c:pt>
                <c:pt idx="2058">
                  <c:v>0.14199999999999999</c:v>
                </c:pt>
                <c:pt idx="2059">
                  <c:v>0.55100000000000005</c:v>
                </c:pt>
                <c:pt idx="2060">
                  <c:v>0.41299999999999998</c:v>
                </c:pt>
                <c:pt idx="2061">
                  <c:v>0.47199999999999998</c:v>
                </c:pt>
                <c:pt idx="2062">
                  <c:v>0.47399999999999998</c:v>
                </c:pt>
                <c:pt idx="2063">
                  <c:v>0.45900000000000002</c:v>
                </c:pt>
                <c:pt idx="2064">
                  <c:v>0.68300000000000005</c:v>
                </c:pt>
                <c:pt idx="2065">
                  <c:v>0.82299999999999995</c:v>
                </c:pt>
                <c:pt idx="2066">
                  <c:v>0.627</c:v>
                </c:pt>
                <c:pt idx="2067">
                  <c:v>0.63700000000000001</c:v>
                </c:pt>
                <c:pt idx="2068">
                  <c:v>0.317</c:v>
                </c:pt>
                <c:pt idx="2069">
                  <c:v>0.30399999999999999</c:v>
                </c:pt>
                <c:pt idx="2070">
                  <c:v>0.312</c:v>
                </c:pt>
                <c:pt idx="2071">
                  <c:v>0.67500000000000004</c:v>
                </c:pt>
                <c:pt idx="2072">
                  <c:v>0.32200000000000001</c:v>
                </c:pt>
                <c:pt idx="2073">
                  <c:v>0.36899999999999999</c:v>
                </c:pt>
                <c:pt idx="2074">
                  <c:v>0.41599999999999998</c:v>
                </c:pt>
                <c:pt idx="2075">
                  <c:v>0.54</c:v>
                </c:pt>
                <c:pt idx="2076">
                  <c:v>0.64</c:v>
                </c:pt>
                <c:pt idx="2077">
                  <c:v>0.57599999999999996</c:v>
                </c:pt>
                <c:pt idx="2078">
                  <c:v>0.61799999999999999</c:v>
                </c:pt>
                <c:pt idx="2079">
                  <c:v>0.27100000000000002</c:v>
                </c:pt>
                <c:pt idx="2080">
                  <c:v>0.82899999999999996</c:v>
                </c:pt>
                <c:pt idx="2081">
                  <c:v>0.94299999999999995</c:v>
                </c:pt>
                <c:pt idx="2082">
                  <c:v>0.90600000000000003</c:v>
                </c:pt>
                <c:pt idx="2083">
                  <c:v>0.67</c:v>
                </c:pt>
                <c:pt idx="2084">
                  <c:v>0.59599999999999997</c:v>
                </c:pt>
                <c:pt idx="2085">
                  <c:v>0.73899999999999999</c:v>
                </c:pt>
                <c:pt idx="2086">
                  <c:v>0.85499999999999998</c:v>
                </c:pt>
                <c:pt idx="2087">
                  <c:v>0.47399999999999998</c:v>
                </c:pt>
                <c:pt idx="2088">
                  <c:v>0.32600000000000001</c:v>
                </c:pt>
                <c:pt idx="2089">
                  <c:v>0.36299999999999999</c:v>
                </c:pt>
                <c:pt idx="2090">
                  <c:v>0.41299999999999998</c:v>
                </c:pt>
                <c:pt idx="2091">
                  <c:v>0.76500000000000001</c:v>
                </c:pt>
                <c:pt idx="2092">
                  <c:v>0.13700000000000001</c:v>
                </c:pt>
                <c:pt idx="2093">
                  <c:v>0.247</c:v>
                </c:pt>
                <c:pt idx="2094">
                  <c:v>0.76600000000000001</c:v>
                </c:pt>
                <c:pt idx="2095">
                  <c:v>0.23799999999999999</c:v>
                </c:pt>
                <c:pt idx="2096">
                  <c:v>0.379</c:v>
                </c:pt>
                <c:pt idx="2097">
                  <c:v>0.60899999999999999</c:v>
                </c:pt>
                <c:pt idx="2098">
                  <c:v>0.499</c:v>
                </c:pt>
                <c:pt idx="2099">
                  <c:v>0.89400000000000002</c:v>
                </c:pt>
                <c:pt idx="2100">
                  <c:v>0.22</c:v>
                </c:pt>
                <c:pt idx="2101">
                  <c:v>0.61499999999999999</c:v>
                </c:pt>
                <c:pt idx="2102">
                  <c:v>0.439</c:v>
                </c:pt>
                <c:pt idx="2103">
                  <c:v>0.69499999999999995</c:v>
                </c:pt>
                <c:pt idx="2104">
                  <c:v>0.47399999999999998</c:v>
                </c:pt>
                <c:pt idx="2105">
                  <c:v>0.40300000000000002</c:v>
                </c:pt>
                <c:pt idx="2106">
                  <c:v>0.57899999999999996</c:v>
                </c:pt>
                <c:pt idx="2107">
                  <c:v>0.58199999999999996</c:v>
                </c:pt>
                <c:pt idx="2108">
                  <c:v>0.50800000000000001</c:v>
                </c:pt>
                <c:pt idx="2109">
                  <c:v>0.46700000000000003</c:v>
                </c:pt>
                <c:pt idx="2110">
                  <c:v>0.51800000000000002</c:v>
                </c:pt>
                <c:pt idx="2111">
                  <c:v>0.41</c:v>
                </c:pt>
                <c:pt idx="2112">
                  <c:v>0.31900000000000001</c:v>
                </c:pt>
                <c:pt idx="2113">
                  <c:v>0.9</c:v>
                </c:pt>
                <c:pt idx="2114">
                  <c:v>0.497</c:v>
                </c:pt>
                <c:pt idx="2115">
                  <c:v>0.88800000000000001</c:v>
                </c:pt>
                <c:pt idx="2116">
                  <c:v>0.13700000000000001</c:v>
                </c:pt>
                <c:pt idx="2117">
                  <c:v>0.55900000000000005</c:v>
                </c:pt>
                <c:pt idx="2118">
                  <c:v>0.372</c:v>
                </c:pt>
                <c:pt idx="2119">
                  <c:v>0.499</c:v>
                </c:pt>
                <c:pt idx="2120">
                  <c:v>0.72499999999999998</c:v>
                </c:pt>
                <c:pt idx="2121">
                  <c:v>0.78</c:v>
                </c:pt>
                <c:pt idx="2122">
                  <c:v>0.33</c:v>
                </c:pt>
                <c:pt idx="2123">
                  <c:v>0.63</c:v>
                </c:pt>
                <c:pt idx="2124">
                  <c:v>0.79700000000000004</c:v>
                </c:pt>
                <c:pt idx="2125">
                  <c:v>0.41699999999999998</c:v>
                </c:pt>
                <c:pt idx="2126">
                  <c:v>0.13100000000000001</c:v>
                </c:pt>
                <c:pt idx="2127">
                  <c:v>0.75</c:v>
                </c:pt>
                <c:pt idx="2128">
                  <c:v>0.27100000000000002</c:v>
                </c:pt>
                <c:pt idx="2129">
                  <c:v>0.34899999999999998</c:v>
                </c:pt>
                <c:pt idx="2130">
                  <c:v>0.41299999999999998</c:v>
                </c:pt>
                <c:pt idx="2131">
                  <c:v>0.308</c:v>
                </c:pt>
                <c:pt idx="2132">
                  <c:v>0.68899999999999995</c:v>
                </c:pt>
                <c:pt idx="2133">
                  <c:v>0.157</c:v>
                </c:pt>
                <c:pt idx="2134">
                  <c:v>0.374</c:v>
                </c:pt>
                <c:pt idx="2135">
                  <c:v>0.46600000000000003</c:v>
                </c:pt>
                <c:pt idx="2136">
                  <c:v>0.47</c:v>
                </c:pt>
                <c:pt idx="2137">
                  <c:v>0.25600000000000001</c:v>
                </c:pt>
                <c:pt idx="2138">
                  <c:v>0.36899999999999999</c:v>
                </c:pt>
                <c:pt idx="2139">
                  <c:v>0.56399999999999995</c:v>
                </c:pt>
                <c:pt idx="2140">
                  <c:v>0.45900000000000002</c:v>
                </c:pt>
                <c:pt idx="2141">
                  <c:v>0.91500000000000004</c:v>
                </c:pt>
                <c:pt idx="2142">
                  <c:v>0.55100000000000005</c:v>
                </c:pt>
                <c:pt idx="2143">
                  <c:v>0.68500000000000005</c:v>
                </c:pt>
                <c:pt idx="2144">
                  <c:v>0.35599999999999998</c:v>
                </c:pt>
                <c:pt idx="2145">
                  <c:v>0.25800000000000001</c:v>
                </c:pt>
                <c:pt idx="2146">
                  <c:v>0.159</c:v>
                </c:pt>
                <c:pt idx="2147">
                  <c:v>0.61299999999999999</c:v>
                </c:pt>
                <c:pt idx="2148">
                  <c:v>0.105</c:v>
                </c:pt>
                <c:pt idx="2149">
                  <c:v>0.33500000000000002</c:v>
                </c:pt>
                <c:pt idx="2150">
                  <c:v>0.59199999999999997</c:v>
                </c:pt>
                <c:pt idx="2151">
                  <c:v>0.34100000000000003</c:v>
                </c:pt>
                <c:pt idx="2152">
                  <c:v>0.27100000000000002</c:v>
                </c:pt>
                <c:pt idx="2153">
                  <c:v>0.51300000000000001</c:v>
                </c:pt>
                <c:pt idx="2154">
                  <c:v>0.70099999999999996</c:v>
                </c:pt>
                <c:pt idx="2155">
                  <c:v>0.54400000000000004</c:v>
                </c:pt>
                <c:pt idx="2156">
                  <c:v>0.72899999999999998</c:v>
                </c:pt>
                <c:pt idx="2157">
                  <c:v>0.34200000000000003</c:v>
                </c:pt>
                <c:pt idx="2158">
                  <c:v>0.17100000000000001</c:v>
                </c:pt>
                <c:pt idx="2159">
                  <c:v>0.55100000000000005</c:v>
                </c:pt>
                <c:pt idx="2160">
                  <c:v>0.84599999999999997</c:v>
                </c:pt>
                <c:pt idx="2161">
                  <c:v>0.876</c:v>
                </c:pt>
                <c:pt idx="2162">
                  <c:v>0.46800000000000003</c:v>
                </c:pt>
                <c:pt idx="2163">
                  <c:v>0.39</c:v>
                </c:pt>
                <c:pt idx="2164">
                  <c:v>0.50900000000000001</c:v>
                </c:pt>
                <c:pt idx="2165">
                  <c:v>0.51200000000000001</c:v>
                </c:pt>
                <c:pt idx="2166">
                  <c:v>0.35699999999999998</c:v>
                </c:pt>
                <c:pt idx="2167">
                  <c:v>0.79300000000000004</c:v>
                </c:pt>
                <c:pt idx="2168">
                  <c:v>0.53300000000000003</c:v>
                </c:pt>
                <c:pt idx="2169">
                  <c:v>0.46</c:v>
                </c:pt>
                <c:pt idx="2170">
                  <c:v>0.48799999999999999</c:v>
                </c:pt>
                <c:pt idx="2171">
                  <c:v>0.40600000000000003</c:v>
                </c:pt>
                <c:pt idx="2172">
                  <c:v>0.54400000000000004</c:v>
                </c:pt>
                <c:pt idx="2173">
                  <c:v>0.60099999999999998</c:v>
                </c:pt>
                <c:pt idx="2174">
                  <c:v>0.69699999999999995</c:v>
                </c:pt>
                <c:pt idx="2175">
                  <c:v>0.32100000000000001</c:v>
                </c:pt>
                <c:pt idx="2176">
                  <c:v>0.67</c:v>
                </c:pt>
                <c:pt idx="2177">
                  <c:v>0.28299999999999997</c:v>
                </c:pt>
                <c:pt idx="2178">
                  <c:v>0.19800000000000001</c:v>
                </c:pt>
                <c:pt idx="2179">
                  <c:v>0.49</c:v>
                </c:pt>
                <c:pt idx="2180">
                  <c:v>0.40600000000000003</c:v>
                </c:pt>
                <c:pt idx="2181">
                  <c:v>0.03</c:v>
                </c:pt>
                <c:pt idx="2182">
                  <c:v>0.39200000000000002</c:v>
                </c:pt>
                <c:pt idx="2183">
                  <c:v>0.57299999999999995</c:v>
                </c:pt>
                <c:pt idx="2184">
                  <c:v>0.186</c:v>
                </c:pt>
                <c:pt idx="2185">
                  <c:v>0.154</c:v>
                </c:pt>
                <c:pt idx="2186">
                  <c:v>0.76300000000000001</c:v>
                </c:pt>
                <c:pt idx="2187">
                  <c:v>0.60399999999999998</c:v>
                </c:pt>
                <c:pt idx="2188">
                  <c:v>0.54600000000000004</c:v>
                </c:pt>
                <c:pt idx="2189">
                  <c:v>0.4</c:v>
                </c:pt>
                <c:pt idx="2190">
                  <c:v>0.72499999999999998</c:v>
                </c:pt>
                <c:pt idx="2191">
                  <c:v>0.88700000000000001</c:v>
                </c:pt>
                <c:pt idx="2192">
                  <c:v>0.151</c:v>
                </c:pt>
                <c:pt idx="2193">
                  <c:v>0.498</c:v>
                </c:pt>
                <c:pt idx="2194">
                  <c:v>0.44600000000000001</c:v>
                </c:pt>
                <c:pt idx="2195">
                  <c:v>0.753</c:v>
                </c:pt>
                <c:pt idx="2196">
                  <c:v>0.05</c:v>
                </c:pt>
                <c:pt idx="2197">
                  <c:v>0.7</c:v>
                </c:pt>
                <c:pt idx="2198">
                  <c:v>0.58599999999999997</c:v>
                </c:pt>
                <c:pt idx="2199">
                  <c:v>0.40600000000000003</c:v>
                </c:pt>
                <c:pt idx="2200">
                  <c:v>0.41399999999999998</c:v>
                </c:pt>
                <c:pt idx="2201">
                  <c:v>0.23</c:v>
                </c:pt>
                <c:pt idx="2202">
                  <c:v>0.47699999999999998</c:v>
                </c:pt>
                <c:pt idx="2203">
                  <c:v>0.38500000000000001</c:v>
                </c:pt>
                <c:pt idx="2204">
                  <c:v>0.371</c:v>
                </c:pt>
                <c:pt idx="2205">
                  <c:v>0.67200000000000004</c:v>
                </c:pt>
                <c:pt idx="2206">
                  <c:v>0.8</c:v>
                </c:pt>
                <c:pt idx="2207">
                  <c:v>0.45200000000000001</c:v>
                </c:pt>
                <c:pt idx="2208">
                  <c:v>0.61799999999999999</c:v>
                </c:pt>
                <c:pt idx="2209">
                  <c:v>0.66400000000000003</c:v>
                </c:pt>
                <c:pt idx="2210">
                  <c:v>0.32</c:v>
                </c:pt>
                <c:pt idx="2211">
                  <c:v>0.48399999999999999</c:v>
                </c:pt>
                <c:pt idx="2212">
                  <c:v>0.73599999999999999</c:v>
                </c:pt>
                <c:pt idx="2213">
                  <c:v>0.66500000000000004</c:v>
                </c:pt>
                <c:pt idx="2214">
                  <c:v>0.77200000000000002</c:v>
                </c:pt>
                <c:pt idx="2215">
                  <c:v>0.29799999999999999</c:v>
                </c:pt>
                <c:pt idx="2216">
                  <c:v>0.26500000000000001</c:v>
                </c:pt>
                <c:pt idx="2217">
                  <c:v>0.36699999999999999</c:v>
                </c:pt>
                <c:pt idx="2218">
                  <c:v>0.83499999999999996</c:v>
                </c:pt>
                <c:pt idx="2219">
                  <c:v>0.42</c:v>
                </c:pt>
                <c:pt idx="2220">
                  <c:v>0.14399999999999999</c:v>
                </c:pt>
                <c:pt idx="2221">
                  <c:v>0.54900000000000004</c:v>
                </c:pt>
                <c:pt idx="2222">
                  <c:v>0.36499999999999999</c:v>
                </c:pt>
                <c:pt idx="2223">
                  <c:v>0.44700000000000001</c:v>
                </c:pt>
                <c:pt idx="2224">
                  <c:v>0.34300000000000003</c:v>
                </c:pt>
                <c:pt idx="2225">
                  <c:v>0.53300000000000003</c:v>
                </c:pt>
                <c:pt idx="2226">
                  <c:v>0.61099999999999999</c:v>
                </c:pt>
                <c:pt idx="2227">
                  <c:v>0.59399999999999997</c:v>
                </c:pt>
                <c:pt idx="2228">
                  <c:v>0.51700000000000002</c:v>
                </c:pt>
                <c:pt idx="2229">
                  <c:v>0.86399999999999999</c:v>
                </c:pt>
                <c:pt idx="2230">
                  <c:v>0.24299999999999999</c:v>
                </c:pt>
                <c:pt idx="2231">
                  <c:v>0.29599999999999999</c:v>
                </c:pt>
                <c:pt idx="2232">
                  <c:v>0.27600000000000002</c:v>
                </c:pt>
                <c:pt idx="2233">
                  <c:v>0.79600000000000004</c:v>
                </c:pt>
                <c:pt idx="2234">
                  <c:v>0.47499999999999998</c:v>
                </c:pt>
                <c:pt idx="2235">
                  <c:v>0.67</c:v>
                </c:pt>
                <c:pt idx="2236">
                  <c:v>0.22700000000000001</c:v>
                </c:pt>
                <c:pt idx="2237">
                  <c:v>0.379</c:v>
                </c:pt>
                <c:pt idx="2238">
                  <c:v>0.61099999999999999</c:v>
                </c:pt>
                <c:pt idx="2239">
                  <c:v>0.68799999999999994</c:v>
                </c:pt>
                <c:pt idx="2240">
                  <c:v>0.39500000000000002</c:v>
                </c:pt>
                <c:pt idx="2241">
                  <c:v>0.63700000000000001</c:v>
                </c:pt>
                <c:pt idx="2242">
                  <c:v>0.17499999999999999</c:v>
                </c:pt>
                <c:pt idx="2243">
                  <c:v>0.34699999999999998</c:v>
                </c:pt>
                <c:pt idx="2244">
                  <c:v>0.39900000000000002</c:v>
                </c:pt>
                <c:pt idx="2245">
                  <c:v>0.14899999999999999</c:v>
                </c:pt>
                <c:pt idx="2246">
                  <c:v>0.42</c:v>
                </c:pt>
                <c:pt idx="2247">
                  <c:v>0.88300000000000001</c:v>
                </c:pt>
                <c:pt idx="2248">
                  <c:v>0.67200000000000004</c:v>
                </c:pt>
                <c:pt idx="2249">
                  <c:v>4.9000000000000002E-2</c:v>
                </c:pt>
                <c:pt idx="2250">
                  <c:v>0.24299999999999999</c:v>
                </c:pt>
                <c:pt idx="2251">
                  <c:v>0.66400000000000003</c:v>
                </c:pt>
                <c:pt idx="2252">
                  <c:v>0.623</c:v>
                </c:pt>
                <c:pt idx="2253">
                  <c:v>0.55500000000000005</c:v>
                </c:pt>
                <c:pt idx="2254">
                  <c:v>0.32600000000000001</c:v>
                </c:pt>
                <c:pt idx="2255">
                  <c:v>0.94899999999999995</c:v>
                </c:pt>
                <c:pt idx="2256">
                  <c:v>0.32700000000000001</c:v>
                </c:pt>
                <c:pt idx="2257">
                  <c:v>0.52800000000000002</c:v>
                </c:pt>
                <c:pt idx="2258">
                  <c:v>0.48799999999999999</c:v>
                </c:pt>
                <c:pt idx="2259">
                  <c:v>0.158</c:v>
                </c:pt>
                <c:pt idx="2260">
                  <c:v>0.27900000000000003</c:v>
                </c:pt>
                <c:pt idx="2261">
                  <c:v>0.253</c:v>
                </c:pt>
                <c:pt idx="2262">
                  <c:v>0.63100000000000001</c:v>
                </c:pt>
                <c:pt idx="2263">
                  <c:v>0.35</c:v>
                </c:pt>
                <c:pt idx="2264">
                  <c:v>0.13100000000000001</c:v>
                </c:pt>
                <c:pt idx="2265">
                  <c:v>0.77100000000000002</c:v>
                </c:pt>
                <c:pt idx="2266">
                  <c:v>0.52100000000000002</c:v>
                </c:pt>
                <c:pt idx="2267">
                  <c:v>0.56000000000000005</c:v>
                </c:pt>
                <c:pt idx="2268">
                  <c:v>0.2</c:v>
                </c:pt>
                <c:pt idx="2269">
                  <c:v>0.47</c:v>
                </c:pt>
                <c:pt idx="2270">
                  <c:v>0.26700000000000002</c:v>
                </c:pt>
                <c:pt idx="2271">
                  <c:v>0.13800000000000001</c:v>
                </c:pt>
                <c:pt idx="2272">
                  <c:v>0.48899999999999999</c:v>
                </c:pt>
                <c:pt idx="2273">
                  <c:v>0.86399999999999999</c:v>
                </c:pt>
                <c:pt idx="2274">
                  <c:v>0.90300000000000002</c:v>
                </c:pt>
                <c:pt idx="2275">
                  <c:v>9.0999999999999998E-2</c:v>
                </c:pt>
                <c:pt idx="2276">
                  <c:v>0.67800000000000005</c:v>
                </c:pt>
                <c:pt idx="2277">
                  <c:v>6.3E-2</c:v>
                </c:pt>
                <c:pt idx="2278">
                  <c:v>0.219</c:v>
                </c:pt>
                <c:pt idx="2279">
                  <c:v>0.435</c:v>
                </c:pt>
                <c:pt idx="2280">
                  <c:v>0.65400000000000003</c:v>
                </c:pt>
                <c:pt idx="2281">
                  <c:v>0.49099999999999999</c:v>
                </c:pt>
                <c:pt idx="2282">
                  <c:v>0.30599999999999999</c:v>
                </c:pt>
                <c:pt idx="2283">
                  <c:v>0.153</c:v>
                </c:pt>
                <c:pt idx="2284">
                  <c:v>0.75600000000000001</c:v>
                </c:pt>
                <c:pt idx="2285">
                  <c:v>0.26400000000000001</c:v>
                </c:pt>
                <c:pt idx="2286">
                  <c:v>0.53800000000000003</c:v>
                </c:pt>
                <c:pt idx="2287">
                  <c:v>0.46</c:v>
                </c:pt>
                <c:pt idx="2288">
                  <c:v>0.80700000000000005</c:v>
                </c:pt>
                <c:pt idx="2289">
                  <c:v>0.53</c:v>
                </c:pt>
                <c:pt idx="2290">
                  <c:v>0.41099999999999998</c:v>
                </c:pt>
                <c:pt idx="2291">
                  <c:v>0.41</c:v>
                </c:pt>
                <c:pt idx="2292">
                  <c:v>0.50700000000000001</c:v>
                </c:pt>
                <c:pt idx="2293">
                  <c:v>0</c:v>
                </c:pt>
                <c:pt idx="2294">
                  <c:v>0.44600000000000001</c:v>
                </c:pt>
                <c:pt idx="2295">
                  <c:v>0.11600000000000001</c:v>
                </c:pt>
                <c:pt idx="2296">
                  <c:v>0.38900000000000001</c:v>
                </c:pt>
                <c:pt idx="2297">
                  <c:v>0.59399999999999997</c:v>
                </c:pt>
                <c:pt idx="2298">
                  <c:v>0.108</c:v>
                </c:pt>
                <c:pt idx="2299">
                  <c:v>0.24199999999999999</c:v>
                </c:pt>
                <c:pt idx="2300">
                  <c:v>0.58399999999999996</c:v>
                </c:pt>
                <c:pt idx="2301">
                  <c:v>0.34699999999999998</c:v>
                </c:pt>
                <c:pt idx="2302">
                  <c:v>0.39500000000000002</c:v>
                </c:pt>
                <c:pt idx="2303">
                  <c:v>0.314</c:v>
                </c:pt>
                <c:pt idx="2304">
                  <c:v>0.38700000000000001</c:v>
                </c:pt>
                <c:pt idx="2305">
                  <c:v>0.63100000000000001</c:v>
                </c:pt>
                <c:pt idx="2306">
                  <c:v>0.57099999999999995</c:v>
                </c:pt>
                <c:pt idx="2307">
                  <c:v>0.182</c:v>
                </c:pt>
                <c:pt idx="2308">
                  <c:v>0.44900000000000001</c:v>
                </c:pt>
                <c:pt idx="2309">
                  <c:v>0.60599999999999998</c:v>
                </c:pt>
                <c:pt idx="2310">
                  <c:v>0.82599999999999996</c:v>
                </c:pt>
                <c:pt idx="2311">
                  <c:v>0.65100000000000002</c:v>
                </c:pt>
                <c:pt idx="2312">
                  <c:v>0.46400000000000002</c:v>
                </c:pt>
                <c:pt idx="2313">
                  <c:v>0.152</c:v>
                </c:pt>
                <c:pt idx="2314">
                  <c:v>0.20100000000000001</c:v>
                </c:pt>
                <c:pt idx="2315">
                  <c:v>0.88600000000000001</c:v>
                </c:pt>
                <c:pt idx="2316">
                  <c:v>0.26100000000000001</c:v>
                </c:pt>
                <c:pt idx="2317">
                  <c:v>0.34799999999999998</c:v>
                </c:pt>
                <c:pt idx="2318">
                  <c:v>0.30199999999999999</c:v>
                </c:pt>
                <c:pt idx="2319">
                  <c:v>0.73</c:v>
                </c:pt>
                <c:pt idx="2320">
                  <c:v>8.5999999999999993E-2</c:v>
                </c:pt>
                <c:pt idx="2321">
                  <c:v>0.255</c:v>
                </c:pt>
                <c:pt idx="2322">
                  <c:v>0.63600000000000001</c:v>
                </c:pt>
                <c:pt idx="2323">
                  <c:v>0.497</c:v>
                </c:pt>
                <c:pt idx="2324">
                  <c:v>0.34399999999999997</c:v>
                </c:pt>
                <c:pt idx="2325">
                  <c:v>0.42199999999999999</c:v>
                </c:pt>
                <c:pt idx="2326">
                  <c:v>0.29799999999999999</c:v>
                </c:pt>
                <c:pt idx="2327">
                  <c:v>0.66700000000000004</c:v>
                </c:pt>
                <c:pt idx="2328">
                  <c:v>0.47699999999999998</c:v>
                </c:pt>
                <c:pt idx="2329">
                  <c:v>0.55200000000000005</c:v>
                </c:pt>
                <c:pt idx="2330">
                  <c:v>0.45300000000000001</c:v>
                </c:pt>
                <c:pt idx="2331">
                  <c:v>0.71199999999999997</c:v>
                </c:pt>
                <c:pt idx="2332">
                  <c:v>0.84299999999999997</c:v>
                </c:pt>
                <c:pt idx="2333">
                  <c:v>0.73699999999999999</c:v>
                </c:pt>
                <c:pt idx="2334">
                  <c:v>0.70099999999999996</c:v>
                </c:pt>
                <c:pt idx="2335">
                  <c:v>0.64300000000000002</c:v>
                </c:pt>
                <c:pt idx="2336">
                  <c:v>0.23</c:v>
                </c:pt>
                <c:pt idx="2337">
                  <c:v>4.9000000000000002E-2</c:v>
                </c:pt>
                <c:pt idx="2338">
                  <c:v>0.254</c:v>
                </c:pt>
                <c:pt idx="2339">
                  <c:v>0.63300000000000001</c:v>
                </c:pt>
                <c:pt idx="2340">
                  <c:v>0.14199999999999999</c:v>
                </c:pt>
                <c:pt idx="2341">
                  <c:v>0.216</c:v>
                </c:pt>
                <c:pt idx="2342">
                  <c:v>0.28000000000000003</c:v>
                </c:pt>
                <c:pt idx="2343">
                  <c:v>0.35</c:v>
                </c:pt>
                <c:pt idx="2344">
                  <c:v>0.40699999999999997</c:v>
                </c:pt>
                <c:pt idx="2345">
                  <c:v>0.56100000000000005</c:v>
                </c:pt>
                <c:pt idx="2346">
                  <c:v>0.60399999999999998</c:v>
                </c:pt>
                <c:pt idx="2347">
                  <c:v>0.30299999999999999</c:v>
                </c:pt>
                <c:pt idx="2348">
                  <c:v>0.5</c:v>
                </c:pt>
                <c:pt idx="2349">
                  <c:v>0.73599999999999999</c:v>
                </c:pt>
                <c:pt idx="2350">
                  <c:v>0.11899999999999999</c:v>
                </c:pt>
                <c:pt idx="2351">
                  <c:v>0.23400000000000001</c:v>
                </c:pt>
                <c:pt idx="2352">
                  <c:v>0.53900000000000003</c:v>
                </c:pt>
                <c:pt idx="2353">
                  <c:v>0.49</c:v>
                </c:pt>
                <c:pt idx="2354">
                  <c:v>0.42199999999999999</c:v>
                </c:pt>
                <c:pt idx="2355">
                  <c:v>0.48</c:v>
                </c:pt>
                <c:pt idx="2356">
                  <c:v>0.315</c:v>
                </c:pt>
                <c:pt idx="2357">
                  <c:v>0.40300000000000002</c:v>
                </c:pt>
                <c:pt idx="2358">
                  <c:v>0.26200000000000001</c:v>
                </c:pt>
                <c:pt idx="2359">
                  <c:v>0.191</c:v>
                </c:pt>
                <c:pt idx="2360">
                  <c:v>0.11</c:v>
                </c:pt>
                <c:pt idx="2361">
                  <c:v>0.27900000000000003</c:v>
                </c:pt>
                <c:pt idx="2362">
                  <c:v>0.188</c:v>
                </c:pt>
                <c:pt idx="2363">
                  <c:v>0.57199999999999995</c:v>
                </c:pt>
                <c:pt idx="2364">
                  <c:v>0.30199999999999999</c:v>
                </c:pt>
                <c:pt idx="2365">
                  <c:v>0.752</c:v>
                </c:pt>
                <c:pt idx="2366">
                  <c:v>9.6000000000000002E-2</c:v>
                </c:pt>
                <c:pt idx="2367">
                  <c:v>0.64400000000000002</c:v>
                </c:pt>
                <c:pt idx="2368">
                  <c:v>0.41799999999999998</c:v>
                </c:pt>
                <c:pt idx="2369">
                  <c:v>0.29199999999999998</c:v>
                </c:pt>
                <c:pt idx="2370">
                  <c:v>0.32400000000000001</c:v>
                </c:pt>
                <c:pt idx="2371">
                  <c:v>0.66300000000000003</c:v>
                </c:pt>
                <c:pt idx="2372">
                  <c:v>0.498</c:v>
                </c:pt>
                <c:pt idx="2373">
                  <c:v>9.6000000000000002E-2</c:v>
                </c:pt>
                <c:pt idx="2374">
                  <c:v>0.106</c:v>
                </c:pt>
                <c:pt idx="2375">
                  <c:v>0.40200000000000002</c:v>
                </c:pt>
                <c:pt idx="2376">
                  <c:v>0.376</c:v>
                </c:pt>
                <c:pt idx="2377">
                  <c:v>0.218</c:v>
                </c:pt>
                <c:pt idx="2378">
                  <c:v>0.58099999999999996</c:v>
                </c:pt>
                <c:pt idx="2379">
                  <c:v>0.44900000000000001</c:v>
                </c:pt>
                <c:pt idx="2380">
                  <c:v>0.49099999999999999</c:v>
                </c:pt>
                <c:pt idx="2381">
                  <c:v>0.86599999999999999</c:v>
                </c:pt>
                <c:pt idx="2382">
                  <c:v>0.17</c:v>
                </c:pt>
                <c:pt idx="2383">
                  <c:v>0.159</c:v>
                </c:pt>
                <c:pt idx="2384">
                  <c:v>0.42899999999999999</c:v>
                </c:pt>
                <c:pt idx="2385">
                  <c:v>0.23100000000000001</c:v>
                </c:pt>
                <c:pt idx="2386">
                  <c:v>0.26800000000000002</c:v>
                </c:pt>
                <c:pt idx="2387">
                  <c:v>0.17899999999999999</c:v>
                </c:pt>
                <c:pt idx="2388">
                  <c:v>0.879</c:v>
                </c:pt>
                <c:pt idx="2389">
                  <c:v>0.71799999999999997</c:v>
                </c:pt>
                <c:pt idx="2390">
                  <c:v>0.67400000000000004</c:v>
                </c:pt>
                <c:pt idx="2391">
                  <c:v>0.50800000000000001</c:v>
                </c:pt>
                <c:pt idx="2392">
                  <c:v>0.122</c:v>
                </c:pt>
                <c:pt idx="2393">
                  <c:v>0.46600000000000003</c:v>
                </c:pt>
                <c:pt idx="2394">
                  <c:v>0.254</c:v>
                </c:pt>
                <c:pt idx="2395">
                  <c:v>0.48099999999999998</c:v>
                </c:pt>
                <c:pt idx="2396">
                  <c:v>0.23499999999999999</c:v>
                </c:pt>
                <c:pt idx="2397">
                  <c:v>0.31</c:v>
                </c:pt>
                <c:pt idx="2398">
                  <c:v>0.188</c:v>
                </c:pt>
                <c:pt idx="2399">
                  <c:v>0.68200000000000005</c:v>
                </c:pt>
                <c:pt idx="2400">
                  <c:v>0.83599999999999997</c:v>
                </c:pt>
                <c:pt idx="2401">
                  <c:v>0.39600000000000002</c:v>
                </c:pt>
                <c:pt idx="2402">
                  <c:v>0.27400000000000002</c:v>
                </c:pt>
                <c:pt idx="2403">
                  <c:v>0.623</c:v>
                </c:pt>
                <c:pt idx="2404">
                  <c:v>0.87</c:v>
                </c:pt>
                <c:pt idx="2405">
                  <c:v>0.55700000000000005</c:v>
                </c:pt>
                <c:pt idx="2406">
                  <c:v>0.58699999999999997</c:v>
                </c:pt>
                <c:pt idx="2407">
                  <c:v>0.23599999999999999</c:v>
                </c:pt>
                <c:pt idx="2408">
                  <c:v>5.3999999999999999E-2</c:v>
                </c:pt>
                <c:pt idx="2409">
                  <c:v>0.115</c:v>
                </c:pt>
                <c:pt idx="2410">
                  <c:v>0.14099999999999999</c:v>
                </c:pt>
                <c:pt idx="2411">
                  <c:v>0.42699999999999999</c:v>
                </c:pt>
                <c:pt idx="2412">
                  <c:v>7.2999999999999995E-2</c:v>
                </c:pt>
                <c:pt idx="2413">
                  <c:v>0.45800000000000002</c:v>
                </c:pt>
                <c:pt idx="2414">
                  <c:v>0.55900000000000005</c:v>
                </c:pt>
                <c:pt idx="2415">
                  <c:v>0.84399999999999997</c:v>
                </c:pt>
                <c:pt idx="2416">
                  <c:v>0.29699999999999999</c:v>
                </c:pt>
                <c:pt idx="2417">
                  <c:v>9.7000000000000003E-2</c:v>
                </c:pt>
                <c:pt idx="2418">
                  <c:v>0.44</c:v>
                </c:pt>
                <c:pt idx="2419">
                  <c:v>0.14099999999999999</c:v>
                </c:pt>
                <c:pt idx="2420">
                  <c:v>0.79300000000000004</c:v>
                </c:pt>
                <c:pt idx="2421">
                  <c:v>0.248</c:v>
                </c:pt>
                <c:pt idx="2422">
                  <c:v>0.152</c:v>
                </c:pt>
                <c:pt idx="2423">
                  <c:v>0.68600000000000005</c:v>
                </c:pt>
                <c:pt idx="2424">
                  <c:v>0.88200000000000001</c:v>
                </c:pt>
                <c:pt idx="2425">
                  <c:v>0.36599999999999999</c:v>
                </c:pt>
                <c:pt idx="2426">
                  <c:v>0.54500000000000004</c:v>
                </c:pt>
                <c:pt idx="2427">
                  <c:v>0.86</c:v>
                </c:pt>
                <c:pt idx="2428">
                  <c:v>0.46200000000000002</c:v>
                </c:pt>
                <c:pt idx="2429">
                  <c:v>0.14299999999999999</c:v>
                </c:pt>
                <c:pt idx="2430">
                  <c:v>0.125</c:v>
                </c:pt>
                <c:pt idx="2431">
                  <c:v>0.622</c:v>
                </c:pt>
                <c:pt idx="2432">
                  <c:v>0.75700000000000001</c:v>
                </c:pt>
                <c:pt idx="2433">
                  <c:v>7.6999999999999999E-2</c:v>
                </c:pt>
                <c:pt idx="2434">
                  <c:v>0.13600000000000001</c:v>
                </c:pt>
                <c:pt idx="2435">
                  <c:v>0.32200000000000001</c:v>
                </c:pt>
                <c:pt idx="2436">
                  <c:v>0.89200000000000002</c:v>
                </c:pt>
                <c:pt idx="2437">
                  <c:v>0.16200000000000001</c:v>
                </c:pt>
                <c:pt idx="2438">
                  <c:v>0.36799999999999999</c:v>
                </c:pt>
                <c:pt idx="2439">
                  <c:v>0.50700000000000001</c:v>
                </c:pt>
                <c:pt idx="2440">
                  <c:v>0.216</c:v>
                </c:pt>
                <c:pt idx="2441">
                  <c:v>0.745</c:v>
                </c:pt>
                <c:pt idx="2442">
                  <c:v>0.153</c:v>
                </c:pt>
                <c:pt idx="2443">
                  <c:v>9.8000000000000004E-2</c:v>
                </c:pt>
                <c:pt idx="2444">
                  <c:v>0.90300000000000002</c:v>
                </c:pt>
                <c:pt idx="2445">
                  <c:v>0.441</c:v>
                </c:pt>
                <c:pt idx="2446">
                  <c:v>0.11899999999999999</c:v>
                </c:pt>
                <c:pt idx="2447">
                  <c:v>0.11</c:v>
                </c:pt>
                <c:pt idx="2448">
                  <c:v>6.0999999999999999E-2</c:v>
                </c:pt>
                <c:pt idx="2449">
                  <c:v>0.23899999999999999</c:v>
                </c:pt>
                <c:pt idx="2450">
                  <c:v>0.28499999999999998</c:v>
                </c:pt>
                <c:pt idx="2451">
                  <c:v>0.57299999999999995</c:v>
                </c:pt>
                <c:pt idx="2452">
                  <c:v>1.7999999999999999E-2</c:v>
                </c:pt>
                <c:pt idx="2453">
                  <c:v>0.13900000000000001</c:v>
                </c:pt>
                <c:pt idx="2454">
                  <c:v>0.78</c:v>
                </c:pt>
                <c:pt idx="2455">
                  <c:v>0.23300000000000001</c:v>
                </c:pt>
                <c:pt idx="2456">
                  <c:v>0.28699999999999998</c:v>
                </c:pt>
                <c:pt idx="2457">
                  <c:v>0.34300000000000003</c:v>
                </c:pt>
                <c:pt idx="2458">
                  <c:v>0.64200000000000002</c:v>
                </c:pt>
                <c:pt idx="2459">
                  <c:v>0.40699999999999997</c:v>
                </c:pt>
                <c:pt idx="2460">
                  <c:v>0.13900000000000001</c:v>
                </c:pt>
                <c:pt idx="2461">
                  <c:v>0.36699999999999999</c:v>
                </c:pt>
                <c:pt idx="2462">
                  <c:v>0.63</c:v>
                </c:pt>
                <c:pt idx="2463">
                  <c:v>0.50900000000000001</c:v>
                </c:pt>
                <c:pt idx="2464">
                  <c:v>0.71399999999999997</c:v>
                </c:pt>
                <c:pt idx="2465">
                  <c:v>0.36499999999999999</c:v>
                </c:pt>
                <c:pt idx="2466">
                  <c:v>0.35299999999999998</c:v>
                </c:pt>
                <c:pt idx="2467">
                  <c:v>0.317</c:v>
                </c:pt>
                <c:pt idx="2468">
                  <c:v>0.317</c:v>
                </c:pt>
                <c:pt idx="2469">
                  <c:v>0.17699999999999999</c:v>
                </c:pt>
                <c:pt idx="2470">
                  <c:v>0.216</c:v>
                </c:pt>
                <c:pt idx="2471">
                  <c:v>0.41499999999999998</c:v>
                </c:pt>
                <c:pt idx="2472">
                  <c:v>0.11799999999999999</c:v>
                </c:pt>
                <c:pt idx="2473">
                  <c:v>0.71799999999999997</c:v>
                </c:pt>
                <c:pt idx="2474">
                  <c:v>8.9999999999999993E-3</c:v>
                </c:pt>
                <c:pt idx="2475">
                  <c:v>0.67</c:v>
                </c:pt>
                <c:pt idx="2476">
                  <c:v>0.17299999999999999</c:v>
                </c:pt>
                <c:pt idx="2477">
                  <c:v>0.126</c:v>
                </c:pt>
                <c:pt idx="2478">
                  <c:v>0.30599999999999999</c:v>
                </c:pt>
                <c:pt idx="2479">
                  <c:v>0.23300000000000001</c:v>
                </c:pt>
                <c:pt idx="2480">
                  <c:v>1.2999999999999999E-2</c:v>
                </c:pt>
                <c:pt idx="2481">
                  <c:v>0.499</c:v>
                </c:pt>
                <c:pt idx="2482">
                  <c:v>0.17</c:v>
                </c:pt>
                <c:pt idx="2483">
                  <c:v>0.221</c:v>
                </c:pt>
                <c:pt idx="2484">
                  <c:v>0.20599999999999999</c:v>
                </c:pt>
                <c:pt idx="2485">
                  <c:v>0.27400000000000002</c:v>
                </c:pt>
                <c:pt idx="2486">
                  <c:v>0.58299999999999996</c:v>
                </c:pt>
                <c:pt idx="2487">
                  <c:v>0.14299999999999999</c:v>
                </c:pt>
                <c:pt idx="2488">
                  <c:v>0.45600000000000002</c:v>
                </c:pt>
                <c:pt idx="2489">
                  <c:v>0.27700000000000002</c:v>
                </c:pt>
                <c:pt idx="2490">
                  <c:v>0.3</c:v>
                </c:pt>
                <c:pt idx="2491">
                  <c:v>0.45</c:v>
                </c:pt>
                <c:pt idx="2492">
                  <c:v>0.80500000000000005</c:v>
                </c:pt>
                <c:pt idx="2493">
                  <c:v>0.30599999999999999</c:v>
                </c:pt>
                <c:pt idx="2494">
                  <c:v>0.157</c:v>
                </c:pt>
                <c:pt idx="2495">
                  <c:v>0.55300000000000005</c:v>
                </c:pt>
                <c:pt idx="2496">
                  <c:v>0.47899999999999998</c:v>
                </c:pt>
                <c:pt idx="2497">
                  <c:v>0.38100000000000001</c:v>
                </c:pt>
                <c:pt idx="2498">
                  <c:v>0.69</c:v>
                </c:pt>
                <c:pt idx="2499">
                  <c:v>0.29299999999999998</c:v>
                </c:pt>
                <c:pt idx="2500">
                  <c:v>0.91300000000000003</c:v>
                </c:pt>
                <c:pt idx="2501">
                  <c:v>0.36099999999999999</c:v>
                </c:pt>
                <c:pt idx="2502">
                  <c:v>0.54300000000000004</c:v>
                </c:pt>
                <c:pt idx="2503">
                  <c:v>0.27200000000000002</c:v>
                </c:pt>
                <c:pt idx="2504">
                  <c:v>0.48099999999999998</c:v>
                </c:pt>
                <c:pt idx="2505">
                  <c:v>0.21</c:v>
                </c:pt>
                <c:pt idx="2506">
                  <c:v>0.50900000000000001</c:v>
                </c:pt>
                <c:pt idx="2507">
                  <c:v>0.04</c:v>
                </c:pt>
                <c:pt idx="2508">
                  <c:v>0.45400000000000001</c:v>
                </c:pt>
                <c:pt idx="2509">
                  <c:v>0.32200000000000001</c:v>
                </c:pt>
                <c:pt idx="2510">
                  <c:v>0.89700000000000002</c:v>
                </c:pt>
                <c:pt idx="2511">
                  <c:v>0.36099999999999999</c:v>
                </c:pt>
                <c:pt idx="2512">
                  <c:v>0.15</c:v>
                </c:pt>
                <c:pt idx="2513">
                  <c:v>6.7000000000000004E-2</c:v>
                </c:pt>
                <c:pt idx="2514">
                  <c:v>0.49</c:v>
                </c:pt>
                <c:pt idx="2515">
                  <c:v>0.32</c:v>
                </c:pt>
                <c:pt idx="2516">
                  <c:v>0.125</c:v>
                </c:pt>
                <c:pt idx="2517">
                  <c:v>0.16</c:v>
                </c:pt>
                <c:pt idx="2518">
                  <c:v>9.5000000000000001E-2</c:v>
                </c:pt>
                <c:pt idx="2519">
                  <c:v>4.4999999999999998E-2</c:v>
                </c:pt>
                <c:pt idx="2520">
                  <c:v>0.80800000000000005</c:v>
                </c:pt>
                <c:pt idx="2521">
                  <c:v>0.16</c:v>
                </c:pt>
                <c:pt idx="2522">
                  <c:v>0.16400000000000001</c:v>
                </c:pt>
                <c:pt idx="2523">
                  <c:v>0.47299999999999998</c:v>
                </c:pt>
                <c:pt idx="2524">
                  <c:v>0.57399999999999995</c:v>
                </c:pt>
                <c:pt idx="2525">
                  <c:v>0.47799999999999998</c:v>
                </c:pt>
                <c:pt idx="2526">
                  <c:v>0.38800000000000001</c:v>
                </c:pt>
                <c:pt idx="2527">
                  <c:v>0.22</c:v>
                </c:pt>
                <c:pt idx="2528">
                  <c:v>0.72499999999999998</c:v>
                </c:pt>
                <c:pt idx="2529">
                  <c:v>0.46600000000000003</c:v>
                </c:pt>
                <c:pt idx="2530">
                  <c:v>0.318</c:v>
                </c:pt>
                <c:pt idx="2531">
                  <c:v>0.221</c:v>
                </c:pt>
                <c:pt idx="2532">
                  <c:v>0.252</c:v>
                </c:pt>
                <c:pt idx="2533">
                  <c:v>0.53700000000000003</c:v>
                </c:pt>
                <c:pt idx="2534">
                  <c:v>0.20499999999999999</c:v>
                </c:pt>
                <c:pt idx="2535">
                  <c:v>0.13300000000000001</c:v>
                </c:pt>
                <c:pt idx="2536">
                  <c:v>0.51700000000000002</c:v>
                </c:pt>
                <c:pt idx="2537">
                  <c:v>0.23100000000000001</c:v>
                </c:pt>
                <c:pt idx="2538">
                  <c:v>0.17699999999999999</c:v>
                </c:pt>
                <c:pt idx="2539">
                  <c:v>0.249</c:v>
                </c:pt>
                <c:pt idx="2540">
                  <c:v>0.32700000000000001</c:v>
                </c:pt>
                <c:pt idx="2541">
                  <c:v>0.56100000000000005</c:v>
                </c:pt>
                <c:pt idx="2542">
                  <c:v>0.42299999999999999</c:v>
                </c:pt>
                <c:pt idx="2543">
                  <c:v>0.622</c:v>
                </c:pt>
                <c:pt idx="2544">
                  <c:v>0.29799999999999999</c:v>
                </c:pt>
                <c:pt idx="2545">
                  <c:v>0.74</c:v>
                </c:pt>
                <c:pt idx="2546">
                  <c:v>3.1E-2</c:v>
                </c:pt>
                <c:pt idx="2547">
                  <c:v>0.52200000000000002</c:v>
                </c:pt>
                <c:pt idx="2548">
                  <c:v>0.33800000000000002</c:v>
                </c:pt>
                <c:pt idx="2549">
                  <c:v>0.33300000000000002</c:v>
                </c:pt>
                <c:pt idx="2550">
                  <c:v>0.20599999999999999</c:v>
                </c:pt>
                <c:pt idx="2551">
                  <c:v>0.72</c:v>
                </c:pt>
                <c:pt idx="2552">
                  <c:v>0.49399999999999999</c:v>
                </c:pt>
                <c:pt idx="2553">
                  <c:v>2.1999999999999999E-2</c:v>
                </c:pt>
                <c:pt idx="2554">
                  <c:v>7.2999999999999995E-2</c:v>
                </c:pt>
                <c:pt idx="2555">
                  <c:v>0.877</c:v>
                </c:pt>
                <c:pt idx="2556">
                  <c:v>0.24099999999999999</c:v>
                </c:pt>
                <c:pt idx="2557">
                  <c:v>0.76600000000000001</c:v>
                </c:pt>
                <c:pt idx="2558">
                  <c:v>0.161</c:v>
                </c:pt>
                <c:pt idx="2559">
                  <c:v>0.28299999999999997</c:v>
                </c:pt>
                <c:pt idx="2560">
                  <c:v>9.6000000000000002E-2</c:v>
                </c:pt>
                <c:pt idx="2561">
                  <c:v>8.1000000000000003E-2</c:v>
                </c:pt>
                <c:pt idx="2562">
                  <c:v>0.66900000000000004</c:v>
                </c:pt>
                <c:pt idx="2563">
                  <c:v>0.755</c:v>
                </c:pt>
                <c:pt idx="2564">
                  <c:v>7.0999999999999994E-2</c:v>
                </c:pt>
                <c:pt idx="2565">
                  <c:v>0.14099999999999999</c:v>
                </c:pt>
                <c:pt idx="2566">
                  <c:v>0.878</c:v>
                </c:pt>
                <c:pt idx="2567">
                  <c:v>0.21</c:v>
                </c:pt>
                <c:pt idx="2568">
                  <c:v>0.67700000000000005</c:v>
                </c:pt>
                <c:pt idx="2569">
                  <c:v>0.127</c:v>
                </c:pt>
                <c:pt idx="2570">
                  <c:v>0.59</c:v>
                </c:pt>
                <c:pt idx="2571">
                  <c:v>0.35299999999999998</c:v>
                </c:pt>
                <c:pt idx="2572">
                  <c:v>0.94599999999999995</c:v>
                </c:pt>
                <c:pt idx="2573">
                  <c:v>7.6999999999999999E-2</c:v>
                </c:pt>
                <c:pt idx="2574">
                  <c:v>0.55500000000000005</c:v>
                </c:pt>
                <c:pt idx="2575">
                  <c:v>0.495</c:v>
                </c:pt>
                <c:pt idx="2576">
                  <c:v>0.59399999999999997</c:v>
                </c:pt>
                <c:pt idx="2577">
                  <c:v>0.19500000000000001</c:v>
                </c:pt>
                <c:pt idx="2578">
                  <c:v>0.186</c:v>
                </c:pt>
                <c:pt idx="2579">
                  <c:v>0.15</c:v>
                </c:pt>
                <c:pt idx="2580">
                  <c:v>0.38100000000000001</c:v>
                </c:pt>
                <c:pt idx="2581">
                  <c:v>8.5999999999999993E-2</c:v>
                </c:pt>
                <c:pt idx="2582">
                  <c:v>6.9000000000000006E-2</c:v>
                </c:pt>
                <c:pt idx="2583">
                  <c:v>0.46600000000000003</c:v>
                </c:pt>
                <c:pt idx="2584">
                  <c:v>0</c:v>
                </c:pt>
                <c:pt idx="2585">
                  <c:v>0.307</c:v>
                </c:pt>
                <c:pt idx="2586">
                  <c:v>6.6000000000000003E-2</c:v>
                </c:pt>
                <c:pt idx="2587">
                  <c:v>0.126</c:v>
                </c:pt>
                <c:pt idx="2588">
                  <c:v>0.06</c:v>
                </c:pt>
                <c:pt idx="2589">
                  <c:v>0.59799999999999998</c:v>
                </c:pt>
                <c:pt idx="2590">
                  <c:v>0.2</c:v>
                </c:pt>
                <c:pt idx="2591">
                  <c:v>0.755</c:v>
                </c:pt>
                <c:pt idx="2592">
                  <c:v>0.14499999999999999</c:v>
                </c:pt>
                <c:pt idx="2593">
                  <c:v>0.193</c:v>
                </c:pt>
                <c:pt idx="2594">
                  <c:v>0.124</c:v>
                </c:pt>
                <c:pt idx="2595">
                  <c:v>0.93500000000000005</c:v>
                </c:pt>
                <c:pt idx="2596">
                  <c:v>0.29499999999999998</c:v>
                </c:pt>
                <c:pt idx="2597">
                  <c:v>0.16600000000000001</c:v>
                </c:pt>
                <c:pt idx="2598">
                  <c:v>5.6000000000000001E-2</c:v>
                </c:pt>
                <c:pt idx="2599">
                  <c:v>6.7000000000000004E-2</c:v>
                </c:pt>
                <c:pt idx="2600">
                  <c:v>3.1E-2</c:v>
                </c:pt>
                <c:pt idx="2601">
                  <c:v>0.115</c:v>
                </c:pt>
                <c:pt idx="2602">
                  <c:v>0.30499999999999999</c:v>
                </c:pt>
                <c:pt idx="2603">
                  <c:v>0.49299999999999999</c:v>
                </c:pt>
                <c:pt idx="2604">
                  <c:v>0.45800000000000002</c:v>
                </c:pt>
                <c:pt idx="2605">
                  <c:v>1.4E-2</c:v>
                </c:pt>
                <c:pt idx="2606">
                  <c:v>6.8000000000000005E-2</c:v>
                </c:pt>
                <c:pt idx="2607">
                  <c:v>0.26800000000000002</c:v>
                </c:pt>
                <c:pt idx="2608">
                  <c:v>0.14099999999999999</c:v>
                </c:pt>
                <c:pt idx="2609">
                  <c:v>7.3999999999999996E-2</c:v>
                </c:pt>
                <c:pt idx="2610">
                  <c:v>0.35599999999999998</c:v>
                </c:pt>
                <c:pt idx="2611">
                  <c:v>0.10299999999999999</c:v>
                </c:pt>
                <c:pt idx="2612">
                  <c:v>0.193</c:v>
                </c:pt>
                <c:pt idx="2613">
                  <c:v>0.27300000000000002</c:v>
                </c:pt>
                <c:pt idx="2614">
                  <c:v>8.4000000000000005E-2</c:v>
                </c:pt>
                <c:pt idx="2615">
                  <c:v>0.11899999999999999</c:v>
                </c:pt>
                <c:pt idx="2616">
                  <c:v>0.35799999999999998</c:v>
                </c:pt>
                <c:pt idx="2617">
                  <c:v>0.123</c:v>
                </c:pt>
                <c:pt idx="2618">
                  <c:v>7.6999999999999999E-2</c:v>
                </c:pt>
                <c:pt idx="2619">
                  <c:v>2.8000000000000001E-2</c:v>
                </c:pt>
                <c:pt idx="2620">
                  <c:v>0.02</c:v>
                </c:pt>
                <c:pt idx="2621">
                  <c:v>0.67</c:v>
                </c:pt>
                <c:pt idx="2622">
                  <c:v>9.7000000000000003E-2</c:v>
                </c:pt>
                <c:pt idx="2623">
                  <c:v>0</c:v>
                </c:pt>
                <c:pt idx="2624">
                  <c:v>4.1000000000000002E-2</c:v>
                </c:pt>
                <c:pt idx="2625">
                  <c:v>2.7E-2</c:v>
                </c:pt>
                <c:pt idx="2626">
                  <c:v>0.50900000000000001</c:v>
                </c:pt>
                <c:pt idx="2627">
                  <c:v>0.16800000000000001</c:v>
                </c:pt>
                <c:pt idx="2628">
                  <c:v>2.5999999999999999E-2</c:v>
                </c:pt>
                <c:pt idx="2629">
                  <c:v>0.25600000000000001</c:v>
                </c:pt>
                <c:pt idx="2630">
                  <c:v>0.59299999999999997</c:v>
                </c:pt>
                <c:pt idx="2631">
                  <c:v>0.23400000000000001</c:v>
                </c:pt>
                <c:pt idx="2632">
                  <c:v>6.6000000000000003E-2</c:v>
                </c:pt>
                <c:pt idx="2633">
                  <c:v>0.13</c:v>
                </c:pt>
                <c:pt idx="2634">
                  <c:v>0.60199999999999998</c:v>
                </c:pt>
                <c:pt idx="2635">
                  <c:v>0.16600000000000001</c:v>
                </c:pt>
                <c:pt idx="2636">
                  <c:v>0.29199999999999998</c:v>
                </c:pt>
                <c:pt idx="2637">
                  <c:v>6.6000000000000003E-2</c:v>
                </c:pt>
                <c:pt idx="2638">
                  <c:v>0.14299999999999999</c:v>
                </c:pt>
                <c:pt idx="2639">
                  <c:v>0.113</c:v>
                </c:pt>
                <c:pt idx="2640">
                  <c:v>9.6000000000000002E-2</c:v>
                </c:pt>
                <c:pt idx="2641">
                  <c:v>0.86599999999999999</c:v>
                </c:pt>
                <c:pt idx="2642">
                  <c:v>0.14699999999999999</c:v>
                </c:pt>
                <c:pt idx="2643">
                  <c:v>0.41299999999999998</c:v>
                </c:pt>
                <c:pt idx="2644">
                  <c:v>0.16700000000000001</c:v>
                </c:pt>
                <c:pt idx="2645">
                  <c:v>3.6999999999999998E-2</c:v>
                </c:pt>
                <c:pt idx="2646">
                  <c:v>0.76100000000000001</c:v>
                </c:pt>
                <c:pt idx="2647">
                  <c:v>0.01</c:v>
                </c:pt>
                <c:pt idx="2648">
                  <c:v>0.17399999999999999</c:v>
                </c:pt>
                <c:pt idx="2649">
                  <c:v>0.14699999999999999</c:v>
                </c:pt>
                <c:pt idx="2650">
                  <c:v>0.73199999999999998</c:v>
                </c:pt>
                <c:pt idx="2651">
                  <c:v>9.9000000000000005E-2</c:v>
                </c:pt>
                <c:pt idx="2652">
                  <c:v>0.47199999999999998</c:v>
                </c:pt>
                <c:pt idx="2653">
                  <c:v>0.14399999999999999</c:v>
                </c:pt>
                <c:pt idx="2654">
                  <c:v>0.154</c:v>
                </c:pt>
                <c:pt idx="2655">
                  <c:v>0</c:v>
                </c:pt>
                <c:pt idx="2656">
                  <c:v>7.2999999999999995E-2</c:v>
                </c:pt>
                <c:pt idx="2657">
                  <c:v>9.1999999999999998E-2</c:v>
                </c:pt>
                <c:pt idx="2658">
                  <c:v>0.44400000000000001</c:v>
                </c:pt>
                <c:pt idx="2659">
                  <c:v>0.10299999999999999</c:v>
                </c:pt>
                <c:pt idx="2660">
                  <c:v>0</c:v>
                </c:pt>
                <c:pt idx="2661">
                  <c:v>9.7000000000000003E-2</c:v>
                </c:pt>
                <c:pt idx="2662">
                  <c:v>0.224</c:v>
                </c:pt>
                <c:pt idx="2663">
                  <c:v>0.91100000000000003</c:v>
                </c:pt>
                <c:pt idx="2664">
                  <c:v>0.14399999999999999</c:v>
                </c:pt>
                <c:pt idx="2665">
                  <c:v>0.14499999999999999</c:v>
                </c:pt>
                <c:pt idx="2666">
                  <c:v>0.184</c:v>
                </c:pt>
                <c:pt idx="2667">
                  <c:v>0.129</c:v>
                </c:pt>
                <c:pt idx="2668">
                  <c:v>4.4999999999999998E-2</c:v>
                </c:pt>
                <c:pt idx="2669">
                  <c:v>9.9000000000000005E-2</c:v>
                </c:pt>
                <c:pt idx="2670">
                  <c:v>0.183</c:v>
                </c:pt>
                <c:pt idx="2671">
                  <c:v>1.0999999999999999E-2</c:v>
                </c:pt>
                <c:pt idx="2672">
                  <c:v>0</c:v>
                </c:pt>
                <c:pt idx="2673">
                  <c:v>3.3000000000000002E-2</c:v>
                </c:pt>
                <c:pt idx="2674">
                  <c:v>0.13900000000000001</c:v>
                </c:pt>
                <c:pt idx="2675">
                  <c:v>0.126</c:v>
                </c:pt>
                <c:pt idx="2676">
                  <c:v>1.6E-2</c:v>
                </c:pt>
                <c:pt idx="2677">
                  <c:v>7.8E-2</c:v>
                </c:pt>
                <c:pt idx="2678">
                  <c:v>0.1</c:v>
                </c:pt>
                <c:pt idx="2679">
                  <c:v>0.34200000000000003</c:v>
                </c:pt>
                <c:pt idx="2680">
                  <c:v>0.17</c:v>
                </c:pt>
                <c:pt idx="2681">
                  <c:v>0.17499999999999999</c:v>
                </c:pt>
                <c:pt idx="2682">
                  <c:v>0.5</c:v>
                </c:pt>
                <c:pt idx="2683">
                  <c:v>0.41899999999999998</c:v>
                </c:pt>
                <c:pt idx="2684">
                  <c:v>7.6999999999999999E-2</c:v>
                </c:pt>
                <c:pt idx="2685">
                  <c:v>0.115</c:v>
                </c:pt>
                <c:pt idx="2686">
                  <c:v>0.13800000000000001</c:v>
                </c:pt>
                <c:pt idx="2687">
                  <c:v>0.66</c:v>
                </c:pt>
                <c:pt idx="2688">
                  <c:v>9.6000000000000002E-2</c:v>
                </c:pt>
                <c:pt idx="2689">
                  <c:v>5.6000000000000001E-2</c:v>
                </c:pt>
                <c:pt idx="2690">
                  <c:v>0.36199999999999999</c:v>
                </c:pt>
                <c:pt idx="2691">
                  <c:v>5.3999999999999999E-2</c:v>
                </c:pt>
                <c:pt idx="2692">
                  <c:v>0.10299999999999999</c:v>
                </c:pt>
                <c:pt idx="2693">
                  <c:v>4.7E-2</c:v>
                </c:pt>
                <c:pt idx="2694">
                  <c:v>0.81699999999999995</c:v>
                </c:pt>
                <c:pt idx="2695">
                  <c:v>3.1E-2</c:v>
                </c:pt>
                <c:pt idx="2696">
                  <c:v>4.7E-2</c:v>
                </c:pt>
                <c:pt idx="2697">
                  <c:v>0.14299999999999999</c:v>
                </c:pt>
                <c:pt idx="2698">
                  <c:v>0.16600000000000001</c:v>
                </c:pt>
                <c:pt idx="2699">
                  <c:v>0.42099999999999999</c:v>
                </c:pt>
                <c:pt idx="2700">
                  <c:v>0.71199999999999997</c:v>
                </c:pt>
                <c:pt idx="2701">
                  <c:v>2.1000000000000001E-2</c:v>
                </c:pt>
                <c:pt idx="2702">
                  <c:v>5.2999999999999999E-2</c:v>
                </c:pt>
                <c:pt idx="2703">
                  <c:v>0.13700000000000001</c:v>
                </c:pt>
                <c:pt idx="2704">
                  <c:v>0.14199999999999999</c:v>
                </c:pt>
                <c:pt idx="2705">
                  <c:v>0.129</c:v>
                </c:pt>
                <c:pt idx="2706">
                  <c:v>0.03</c:v>
                </c:pt>
                <c:pt idx="2707">
                  <c:v>0.19</c:v>
                </c:pt>
                <c:pt idx="2708">
                  <c:v>5.8000000000000003E-2</c:v>
                </c:pt>
                <c:pt idx="2709">
                  <c:v>0.03</c:v>
                </c:pt>
                <c:pt idx="2710">
                  <c:v>0.03</c:v>
                </c:pt>
                <c:pt idx="2711">
                  <c:v>0.66</c:v>
                </c:pt>
                <c:pt idx="2712">
                  <c:v>4.2000000000000003E-2</c:v>
                </c:pt>
                <c:pt idx="2713">
                  <c:v>2.1000000000000001E-2</c:v>
                </c:pt>
                <c:pt idx="2714">
                  <c:v>0.82799999999999996</c:v>
                </c:pt>
                <c:pt idx="2715">
                  <c:v>0.84</c:v>
                </c:pt>
                <c:pt idx="2716">
                  <c:v>3.5999999999999997E-2</c:v>
                </c:pt>
                <c:pt idx="2717">
                  <c:v>1.4E-2</c:v>
                </c:pt>
                <c:pt idx="2718">
                  <c:v>0.83699999999999997</c:v>
                </c:pt>
                <c:pt idx="2719">
                  <c:v>0.124</c:v>
                </c:pt>
                <c:pt idx="2720">
                  <c:v>9.9000000000000005E-2</c:v>
                </c:pt>
                <c:pt idx="2721">
                  <c:v>0.26300000000000001</c:v>
                </c:pt>
                <c:pt idx="2722">
                  <c:v>0.161</c:v>
                </c:pt>
                <c:pt idx="2723">
                  <c:v>6.3E-2</c:v>
                </c:pt>
                <c:pt idx="2724">
                  <c:v>0.41299999999999998</c:v>
                </c:pt>
                <c:pt idx="2725">
                  <c:v>8.9999999999999993E-3</c:v>
                </c:pt>
                <c:pt idx="2726">
                  <c:v>0.41699999999999998</c:v>
                </c:pt>
                <c:pt idx="2727">
                  <c:v>3.5999999999999997E-2</c:v>
                </c:pt>
                <c:pt idx="2728">
                  <c:v>0.29699999999999999</c:v>
                </c:pt>
                <c:pt idx="2729">
                  <c:v>0</c:v>
                </c:pt>
                <c:pt idx="2730">
                  <c:v>0.10199999999999999</c:v>
                </c:pt>
                <c:pt idx="2731">
                  <c:v>0.155</c:v>
                </c:pt>
                <c:pt idx="2732">
                  <c:v>0.03</c:v>
                </c:pt>
                <c:pt idx="2733">
                  <c:v>7.6999999999999999E-2</c:v>
                </c:pt>
                <c:pt idx="2734">
                  <c:v>0.35699999999999998</c:v>
                </c:pt>
                <c:pt idx="2735">
                  <c:v>0.13100000000000001</c:v>
                </c:pt>
                <c:pt idx="2736">
                  <c:v>2.9000000000000001E-2</c:v>
                </c:pt>
                <c:pt idx="2737">
                  <c:v>0.84199999999999997</c:v>
                </c:pt>
                <c:pt idx="2738">
                  <c:v>3.5000000000000003E-2</c:v>
                </c:pt>
                <c:pt idx="2739">
                  <c:v>0.39400000000000002</c:v>
                </c:pt>
                <c:pt idx="2740">
                  <c:v>9.7000000000000003E-2</c:v>
                </c:pt>
                <c:pt idx="2741">
                  <c:v>0.13100000000000001</c:v>
                </c:pt>
                <c:pt idx="2742">
                  <c:v>0.27800000000000002</c:v>
                </c:pt>
                <c:pt idx="2743">
                  <c:v>6.3E-2</c:v>
                </c:pt>
                <c:pt idx="2744">
                  <c:v>0.42199999999999999</c:v>
                </c:pt>
                <c:pt idx="2745">
                  <c:v>7.0999999999999994E-2</c:v>
                </c:pt>
                <c:pt idx="2746">
                  <c:v>0.129</c:v>
                </c:pt>
                <c:pt idx="2747">
                  <c:v>0.42499999999999999</c:v>
                </c:pt>
                <c:pt idx="2748">
                  <c:v>0.27600000000000002</c:v>
                </c:pt>
                <c:pt idx="2749">
                  <c:v>8.0000000000000002E-3</c:v>
                </c:pt>
                <c:pt idx="2750">
                  <c:v>4.7E-2</c:v>
                </c:pt>
                <c:pt idx="2751">
                  <c:v>2.1000000000000001E-2</c:v>
                </c:pt>
                <c:pt idx="2752">
                  <c:v>0.54600000000000004</c:v>
                </c:pt>
                <c:pt idx="2753">
                  <c:v>4.5999999999999999E-2</c:v>
                </c:pt>
                <c:pt idx="2754">
                  <c:v>0.20300000000000001</c:v>
                </c:pt>
                <c:pt idx="2755">
                  <c:v>5.8000000000000003E-2</c:v>
                </c:pt>
                <c:pt idx="2756">
                  <c:v>0.28199999999999997</c:v>
                </c:pt>
                <c:pt idx="2757">
                  <c:v>2.5000000000000001E-2</c:v>
                </c:pt>
                <c:pt idx="2758">
                  <c:v>0.27400000000000002</c:v>
                </c:pt>
                <c:pt idx="2759">
                  <c:v>0.79400000000000004</c:v>
                </c:pt>
                <c:pt idx="2760">
                  <c:v>5.8999999999999997E-2</c:v>
                </c:pt>
                <c:pt idx="2761">
                  <c:v>0.311</c:v>
                </c:pt>
                <c:pt idx="2762">
                  <c:v>1.9E-2</c:v>
                </c:pt>
                <c:pt idx="2763">
                  <c:v>0.1</c:v>
                </c:pt>
                <c:pt idx="2764">
                  <c:v>2.5000000000000001E-2</c:v>
                </c:pt>
                <c:pt idx="2765">
                  <c:v>0.17499999999999999</c:v>
                </c:pt>
                <c:pt idx="2766">
                  <c:v>0</c:v>
                </c:pt>
                <c:pt idx="2767">
                  <c:v>5.8999999999999997E-2</c:v>
                </c:pt>
                <c:pt idx="2768">
                  <c:v>3.5999999999999997E-2</c:v>
                </c:pt>
                <c:pt idx="2769">
                  <c:v>0.45500000000000002</c:v>
                </c:pt>
                <c:pt idx="2770">
                  <c:v>1.2999999999999999E-2</c:v>
                </c:pt>
                <c:pt idx="2771">
                  <c:v>1.7000000000000001E-2</c:v>
                </c:pt>
                <c:pt idx="2772">
                  <c:v>0</c:v>
                </c:pt>
                <c:pt idx="2773">
                  <c:v>0.66900000000000004</c:v>
                </c:pt>
                <c:pt idx="2774">
                  <c:v>1.2999999999999999E-2</c:v>
                </c:pt>
                <c:pt idx="2775">
                  <c:v>1.4E-2</c:v>
                </c:pt>
                <c:pt idx="2776">
                  <c:v>0.29899999999999999</c:v>
                </c:pt>
                <c:pt idx="2777">
                  <c:v>0.68300000000000005</c:v>
                </c:pt>
                <c:pt idx="2778">
                  <c:v>0.02</c:v>
                </c:pt>
                <c:pt idx="2779">
                  <c:v>2.9000000000000001E-2</c:v>
                </c:pt>
                <c:pt idx="2780">
                  <c:v>2.8000000000000001E-2</c:v>
                </c:pt>
                <c:pt idx="2781">
                  <c:v>6.3E-2</c:v>
                </c:pt>
                <c:pt idx="2782">
                  <c:v>0.751</c:v>
                </c:pt>
                <c:pt idx="2783">
                  <c:v>4.2999999999999997E-2</c:v>
                </c:pt>
                <c:pt idx="2784">
                  <c:v>0.621</c:v>
                </c:pt>
                <c:pt idx="2785">
                  <c:v>0.63600000000000001</c:v>
                </c:pt>
                <c:pt idx="2786">
                  <c:v>0.80200000000000005</c:v>
                </c:pt>
                <c:pt idx="2787">
                  <c:v>0.40300000000000002</c:v>
                </c:pt>
                <c:pt idx="2788">
                  <c:v>0</c:v>
                </c:pt>
                <c:pt idx="2789">
                  <c:v>4.5999999999999999E-2</c:v>
                </c:pt>
                <c:pt idx="2790">
                  <c:v>0.314</c:v>
                </c:pt>
                <c:pt idx="2791">
                  <c:v>3.5999999999999997E-2</c:v>
                </c:pt>
                <c:pt idx="2792">
                  <c:v>0.248</c:v>
                </c:pt>
                <c:pt idx="2793">
                  <c:v>6.0999999999999999E-2</c:v>
                </c:pt>
                <c:pt idx="2794">
                  <c:v>0.33200000000000002</c:v>
                </c:pt>
                <c:pt idx="2795">
                  <c:v>1.6E-2</c:v>
                </c:pt>
                <c:pt idx="2796">
                  <c:v>1.2E-2</c:v>
                </c:pt>
                <c:pt idx="2797">
                  <c:v>0</c:v>
                </c:pt>
                <c:pt idx="2798">
                  <c:v>0.59</c:v>
                </c:pt>
                <c:pt idx="2799">
                  <c:v>0.48699999999999999</c:v>
                </c:pt>
                <c:pt idx="2800">
                  <c:v>0.59799999999999998</c:v>
                </c:pt>
                <c:pt idx="2801">
                  <c:v>0.57799999999999996</c:v>
                </c:pt>
                <c:pt idx="2802">
                  <c:v>1.0999999999999999E-2</c:v>
                </c:pt>
                <c:pt idx="2803">
                  <c:v>0.79100000000000004</c:v>
                </c:pt>
                <c:pt idx="2804">
                  <c:v>0.71299999999999997</c:v>
                </c:pt>
                <c:pt idx="2805">
                  <c:v>0.34300000000000003</c:v>
                </c:pt>
                <c:pt idx="2806">
                  <c:v>0.54</c:v>
                </c:pt>
                <c:pt idx="2807">
                  <c:v>0.1</c:v>
                </c:pt>
                <c:pt idx="2808">
                  <c:v>0.27600000000000002</c:v>
                </c:pt>
                <c:pt idx="2809">
                  <c:v>0.68700000000000006</c:v>
                </c:pt>
                <c:pt idx="2810">
                  <c:v>0.60299999999999998</c:v>
                </c:pt>
                <c:pt idx="2811">
                  <c:v>7.0000000000000001E-3</c:v>
                </c:pt>
                <c:pt idx="2812">
                  <c:v>0.61899999999999999</c:v>
                </c:pt>
                <c:pt idx="2813">
                  <c:v>0.83599999999999997</c:v>
                </c:pt>
                <c:pt idx="2814">
                  <c:v>0.41699999999999998</c:v>
                </c:pt>
                <c:pt idx="2815">
                  <c:v>0.182</c:v>
                </c:pt>
                <c:pt idx="2816">
                  <c:v>0.28999999999999998</c:v>
                </c:pt>
                <c:pt idx="2817">
                  <c:v>0.747</c:v>
                </c:pt>
                <c:pt idx="2818">
                  <c:v>0.79100000000000004</c:v>
                </c:pt>
                <c:pt idx="2819">
                  <c:v>0.75600000000000001</c:v>
                </c:pt>
                <c:pt idx="2820">
                  <c:v>0.47</c:v>
                </c:pt>
                <c:pt idx="2821">
                  <c:v>0.84</c:v>
                </c:pt>
                <c:pt idx="2822">
                  <c:v>0.66100000000000003</c:v>
                </c:pt>
                <c:pt idx="2823">
                  <c:v>0.16700000000000001</c:v>
                </c:pt>
                <c:pt idx="2824">
                  <c:v>0.34799999999999998</c:v>
                </c:pt>
                <c:pt idx="2825">
                  <c:v>0.44500000000000001</c:v>
                </c:pt>
                <c:pt idx="2826">
                  <c:v>0.72299999999999998</c:v>
                </c:pt>
                <c:pt idx="2827">
                  <c:v>0.92600000000000005</c:v>
                </c:pt>
                <c:pt idx="2828">
                  <c:v>0.82099999999999995</c:v>
                </c:pt>
                <c:pt idx="2829">
                  <c:v>0.253</c:v>
                </c:pt>
                <c:pt idx="2830">
                  <c:v>0.32400000000000001</c:v>
                </c:pt>
                <c:pt idx="2831">
                  <c:v>0.47799999999999998</c:v>
                </c:pt>
                <c:pt idx="2832">
                  <c:v>0.11899999999999999</c:v>
                </c:pt>
              </c:numCache>
            </c:numRef>
          </c:xVal>
          <c:yVal>
            <c:numRef>
              <c:f>'Urban NonEco Phase In'!$C$2:$C$2834</c:f>
              <c:numCache>
                <c:formatCode>0%</c:formatCode>
                <c:ptCount val="2833"/>
                <c:pt idx="0">
                  <c:v>2.7027027027027001E-2</c:v>
                </c:pt>
                <c:pt idx="1">
                  <c:v>3.8461538461538498E-2</c:v>
                </c:pt>
                <c:pt idx="2">
                  <c:v>4.6511627906976702E-2</c:v>
                </c:pt>
                <c:pt idx="3">
                  <c:v>5.5555555555555497E-2</c:v>
                </c:pt>
                <c:pt idx="4">
                  <c:v>5.6603773584905599E-2</c:v>
                </c:pt>
                <c:pt idx="5">
                  <c:v>6.25E-2</c:v>
                </c:pt>
                <c:pt idx="6">
                  <c:v>6.3829787234042507E-2</c:v>
                </c:pt>
                <c:pt idx="7">
                  <c:v>6.8965517241379296E-2</c:v>
                </c:pt>
                <c:pt idx="8">
                  <c:v>7.69230769230769E-2</c:v>
                </c:pt>
                <c:pt idx="9">
                  <c:v>9.0909090909090898E-2</c:v>
                </c:pt>
                <c:pt idx="10">
                  <c:v>9.7560975609756101E-2</c:v>
                </c:pt>
                <c:pt idx="11">
                  <c:v>0.1</c:v>
                </c:pt>
                <c:pt idx="12">
                  <c:v>0.107142857142857</c:v>
                </c:pt>
                <c:pt idx="13">
                  <c:v>0.108695652173913</c:v>
                </c:pt>
                <c:pt idx="14">
                  <c:v>0.114285714285714</c:v>
                </c:pt>
                <c:pt idx="15">
                  <c:v>0.12</c:v>
                </c:pt>
                <c:pt idx="16">
                  <c:v>0.12195121951219499</c:v>
                </c:pt>
                <c:pt idx="17">
                  <c:v>0.12195121951219499</c:v>
                </c:pt>
                <c:pt idx="18">
                  <c:v>0.122448979591837</c:v>
                </c:pt>
                <c:pt idx="19">
                  <c:v>0.12903225806451599</c:v>
                </c:pt>
                <c:pt idx="20">
                  <c:v>0.12903225806451599</c:v>
                </c:pt>
                <c:pt idx="21">
                  <c:v>0.133333333333333</c:v>
                </c:pt>
                <c:pt idx="22">
                  <c:v>0.13793103448275901</c:v>
                </c:pt>
                <c:pt idx="23">
                  <c:v>0.13888888888888901</c:v>
                </c:pt>
                <c:pt idx="24">
                  <c:v>0.14285714285714299</c:v>
                </c:pt>
                <c:pt idx="25">
                  <c:v>0.151260504201681</c:v>
                </c:pt>
                <c:pt idx="26">
                  <c:v>0.155555555555556</c:v>
                </c:pt>
                <c:pt idx="27">
                  <c:v>0.157894736842105</c:v>
                </c:pt>
                <c:pt idx="28">
                  <c:v>0.16666666666666699</c:v>
                </c:pt>
                <c:pt idx="29">
                  <c:v>0.16766467065868301</c:v>
                </c:pt>
                <c:pt idx="30">
                  <c:v>0.17142857142857101</c:v>
                </c:pt>
                <c:pt idx="31">
                  <c:v>0.17241379310344801</c:v>
                </c:pt>
                <c:pt idx="32">
                  <c:v>0.17647058823529399</c:v>
                </c:pt>
                <c:pt idx="33">
                  <c:v>0.17777777777777801</c:v>
                </c:pt>
                <c:pt idx="34">
                  <c:v>0.17948717948717899</c:v>
                </c:pt>
                <c:pt idx="35">
                  <c:v>0.18181818181818199</c:v>
                </c:pt>
                <c:pt idx="36">
                  <c:v>0.18565400843881899</c:v>
                </c:pt>
                <c:pt idx="37">
                  <c:v>0.19230769230769201</c:v>
                </c:pt>
                <c:pt idx="38">
                  <c:v>0.19230769230769201</c:v>
                </c:pt>
                <c:pt idx="39">
                  <c:v>0.19565217391304299</c:v>
                </c:pt>
                <c:pt idx="40">
                  <c:v>0.2</c:v>
                </c:pt>
                <c:pt idx="41">
                  <c:v>0.2</c:v>
                </c:pt>
                <c:pt idx="42">
                  <c:v>0.20408163265306101</c:v>
                </c:pt>
                <c:pt idx="43">
                  <c:v>0.20512820512820501</c:v>
                </c:pt>
                <c:pt idx="44">
                  <c:v>0.20588235294117599</c:v>
                </c:pt>
                <c:pt idx="45">
                  <c:v>0.21052631578947401</c:v>
                </c:pt>
                <c:pt idx="46">
                  <c:v>0.21052631578947401</c:v>
                </c:pt>
                <c:pt idx="47">
                  <c:v>0.21333333333333299</c:v>
                </c:pt>
                <c:pt idx="48">
                  <c:v>0.214285714285714</c:v>
                </c:pt>
                <c:pt idx="49">
                  <c:v>0.214285714285714</c:v>
                </c:pt>
                <c:pt idx="50">
                  <c:v>0.21875</c:v>
                </c:pt>
                <c:pt idx="51">
                  <c:v>0.219512195121951</c:v>
                </c:pt>
                <c:pt idx="52">
                  <c:v>0.219512195121951</c:v>
                </c:pt>
                <c:pt idx="53">
                  <c:v>0.22222222222222199</c:v>
                </c:pt>
                <c:pt idx="54">
                  <c:v>0.225806451612903</c:v>
                </c:pt>
                <c:pt idx="55">
                  <c:v>0.22727272727272699</c:v>
                </c:pt>
                <c:pt idx="56">
                  <c:v>0.230769230769231</c:v>
                </c:pt>
                <c:pt idx="57">
                  <c:v>0.230769230769231</c:v>
                </c:pt>
                <c:pt idx="58">
                  <c:v>0.230769230769231</c:v>
                </c:pt>
                <c:pt idx="59">
                  <c:v>0.232558139534884</c:v>
                </c:pt>
                <c:pt idx="60">
                  <c:v>0.233333333333333</c:v>
                </c:pt>
                <c:pt idx="61">
                  <c:v>0.23529411764705899</c:v>
                </c:pt>
                <c:pt idx="62">
                  <c:v>0.23529411764705899</c:v>
                </c:pt>
                <c:pt idx="63">
                  <c:v>0.23529411764705899</c:v>
                </c:pt>
                <c:pt idx="64">
                  <c:v>0.23684210526315799</c:v>
                </c:pt>
                <c:pt idx="65">
                  <c:v>0.24</c:v>
                </c:pt>
                <c:pt idx="66">
                  <c:v>0.24324324324324301</c:v>
                </c:pt>
                <c:pt idx="67">
                  <c:v>0.25</c:v>
                </c:pt>
                <c:pt idx="68">
                  <c:v>0.25</c:v>
                </c:pt>
                <c:pt idx="69">
                  <c:v>0.25</c:v>
                </c:pt>
                <c:pt idx="70">
                  <c:v>0.25</c:v>
                </c:pt>
                <c:pt idx="71">
                  <c:v>0.25</c:v>
                </c:pt>
                <c:pt idx="72">
                  <c:v>0.25</c:v>
                </c:pt>
                <c:pt idx="73">
                  <c:v>0.25</c:v>
                </c:pt>
                <c:pt idx="74">
                  <c:v>0.25714285714285701</c:v>
                </c:pt>
                <c:pt idx="75">
                  <c:v>0.25806451612903197</c:v>
                </c:pt>
                <c:pt idx="76">
                  <c:v>0.25966850828729299</c:v>
                </c:pt>
                <c:pt idx="77">
                  <c:v>0.26229508196721302</c:v>
                </c:pt>
                <c:pt idx="78">
                  <c:v>0.26315789473684198</c:v>
                </c:pt>
                <c:pt idx="79">
                  <c:v>0.26315789473684198</c:v>
                </c:pt>
                <c:pt idx="80">
                  <c:v>0.26470588235294101</c:v>
                </c:pt>
                <c:pt idx="81">
                  <c:v>0.26530612244898</c:v>
                </c:pt>
                <c:pt idx="82">
                  <c:v>0.26530612244898</c:v>
                </c:pt>
                <c:pt idx="83">
                  <c:v>0.266666666666667</c:v>
                </c:pt>
                <c:pt idx="84">
                  <c:v>0.27083333333333298</c:v>
                </c:pt>
                <c:pt idx="85">
                  <c:v>0.27536231884057999</c:v>
                </c:pt>
                <c:pt idx="86">
                  <c:v>0.276422764227642</c:v>
                </c:pt>
                <c:pt idx="87">
                  <c:v>0.27722772277227697</c:v>
                </c:pt>
                <c:pt idx="88">
                  <c:v>0.27777777777777801</c:v>
                </c:pt>
                <c:pt idx="89">
                  <c:v>0.28000000000000003</c:v>
                </c:pt>
                <c:pt idx="90">
                  <c:v>0.28000000000000003</c:v>
                </c:pt>
                <c:pt idx="91">
                  <c:v>0.28205128205128199</c:v>
                </c:pt>
                <c:pt idx="92">
                  <c:v>0.28571428571428598</c:v>
                </c:pt>
                <c:pt idx="93">
                  <c:v>0.28571428571428598</c:v>
                </c:pt>
                <c:pt idx="94">
                  <c:v>0.28571428571428598</c:v>
                </c:pt>
                <c:pt idx="95">
                  <c:v>0.28571428571428598</c:v>
                </c:pt>
                <c:pt idx="96">
                  <c:v>0.28571428571428598</c:v>
                </c:pt>
                <c:pt idx="97">
                  <c:v>0.28947368421052599</c:v>
                </c:pt>
                <c:pt idx="98">
                  <c:v>0.28985507246376802</c:v>
                </c:pt>
                <c:pt idx="99">
                  <c:v>0.29032258064516098</c:v>
                </c:pt>
                <c:pt idx="100">
                  <c:v>0.29032258064516098</c:v>
                </c:pt>
                <c:pt idx="101">
                  <c:v>0.29166666666666702</c:v>
                </c:pt>
                <c:pt idx="102">
                  <c:v>0.292682926829268</c:v>
                </c:pt>
                <c:pt idx="103">
                  <c:v>0.29411764705882398</c:v>
                </c:pt>
                <c:pt idx="104">
                  <c:v>0.29508196721311503</c:v>
                </c:pt>
                <c:pt idx="105">
                  <c:v>0.29545454545454503</c:v>
                </c:pt>
                <c:pt idx="106">
                  <c:v>0.29729729729729698</c:v>
                </c:pt>
                <c:pt idx="107">
                  <c:v>0.29787234042553201</c:v>
                </c:pt>
                <c:pt idx="108">
                  <c:v>0.3</c:v>
                </c:pt>
                <c:pt idx="109">
                  <c:v>0.3</c:v>
                </c:pt>
                <c:pt idx="110">
                  <c:v>0.3</c:v>
                </c:pt>
                <c:pt idx="111">
                  <c:v>0.30232558139534899</c:v>
                </c:pt>
                <c:pt idx="112">
                  <c:v>0.30303030303030298</c:v>
                </c:pt>
                <c:pt idx="113">
                  <c:v>0.30645161290322598</c:v>
                </c:pt>
                <c:pt idx="114">
                  <c:v>0.30769230769230799</c:v>
                </c:pt>
                <c:pt idx="115">
                  <c:v>0.30769230769230799</c:v>
                </c:pt>
                <c:pt idx="116">
                  <c:v>0.308823529411765</c:v>
                </c:pt>
                <c:pt idx="117">
                  <c:v>0.30890052356020897</c:v>
                </c:pt>
                <c:pt idx="118">
                  <c:v>0.30952380952380898</c:v>
                </c:pt>
                <c:pt idx="119">
                  <c:v>0.31034482758620702</c:v>
                </c:pt>
                <c:pt idx="120">
                  <c:v>0.31147540983606598</c:v>
                </c:pt>
                <c:pt idx="121">
                  <c:v>0.314285714285714</c:v>
                </c:pt>
                <c:pt idx="122">
                  <c:v>0.31460674157303398</c:v>
                </c:pt>
                <c:pt idx="123">
                  <c:v>0.31606217616580301</c:v>
                </c:pt>
                <c:pt idx="124">
                  <c:v>0.31707317073170699</c:v>
                </c:pt>
                <c:pt idx="125">
                  <c:v>0.31707317073170699</c:v>
                </c:pt>
                <c:pt idx="126">
                  <c:v>0.31818181818181801</c:v>
                </c:pt>
                <c:pt idx="127">
                  <c:v>0.32</c:v>
                </c:pt>
                <c:pt idx="128">
                  <c:v>0.32</c:v>
                </c:pt>
                <c:pt idx="129">
                  <c:v>0.320754716981132</c:v>
                </c:pt>
                <c:pt idx="130">
                  <c:v>0.32089552238806002</c:v>
                </c:pt>
                <c:pt idx="131">
                  <c:v>0.32142857142857101</c:v>
                </c:pt>
                <c:pt idx="132">
                  <c:v>0.32142857142857101</c:v>
                </c:pt>
                <c:pt idx="133">
                  <c:v>0.32142857142857101</c:v>
                </c:pt>
                <c:pt idx="134">
                  <c:v>0.32352941176470601</c:v>
                </c:pt>
                <c:pt idx="135">
                  <c:v>0.32352941176470601</c:v>
                </c:pt>
                <c:pt idx="136">
                  <c:v>0.32380952380952399</c:v>
                </c:pt>
                <c:pt idx="137">
                  <c:v>0.32432432432432401</c:v>
                </c:pt>
                <c:pt idx="138">
                  <c:v>0.32432432432432401</c:v>
                </c:pt>
                <c:pt idx="139">
                  <c:v>0.32432432432432401</c:v>
                </c:pt>
                <c:pt idx="140">
                  <c:v>0.32432432432432401</c:v>
                </c:pt>
                <c:pt idx="141">
                  <c:v>0.32467532467532501</c:v>
                </c:pt>
                <c:pt idx="142">
                  <c:v>0.32608695652173902</c:v>
                </c:pt>
                <c:pt idx="143">
                  <c:v>0.32786885245901598</c:v>
                </c:pt>
                <c:pt idx="144">
                  <c:v>0.328125</c:v>
                </c:pt>
                <c:pt idx="145">
                  <c:v>0.33333333333333298</c:v>
                </c:pt>
                <c:pt idx="146">
                  <c:v>0.33333333333333298</c:v>
                </c:pt>
                <c:pt idx="147">
                  <c:v>0.33333333333333298</c:v>
                </c:pt>
                <c:pt idx="148">
                  <c:v>0.33333333333333298</c:v>
                </c:pt>
                <c:pt idx="149">
                  <c:v>0.33333333333333298</c:v>
                </c:pt>
                <c:pt idx="150">
                  <c:v>0.33484162895927599</c:v>
                </c:pt>
                <c:pt idx="151">
                  <c:v>0.33870967741935498</c:v>
                </c:pt>
                <c:pt idx="152">
                  <c:v>0.34</c:v>
                </c:pt>
                <c:pt idx="153">
                  <c:v>0.34090909090909099</c:v>
                </c:pt>
                <c:pt idx="154">
                  <c:v>0.34090909090909099</c:v>
                </c:pt>
                <c:pt idx="155">
                  <c:v>0.34482758620689702</c:v>
                </c:pt>
                <c:pt idx="156">
                  <c:v>0.34615384615384598</c:v>
                </c:pt>
                <c:pt idx="157">
                  <c:v>0.34710743801652899</c:v>
                </c:pt>
                <c:pt idx="158">
                  <c:v>0.34782608695652201</c:v>
                </c:pt>
                <c:pt idx="159">
                  <c:v>0.34883720930232598</c:v>
                </c:pt>
                <c:pt idx="160">
                  <c:v>0.35</c:v>
                </c:pt>
                <c:pt idx="161">
                  <c:v>0.35</c:v>
                </c:pt>
                <c:pt idx="162">
                  <c:v>0.35185185185185203</c:v>
                </c:pt>
                <c:pt idx="163">
                  <c:v>0.35191637630661998</c:v>
                </c:pt>
                <c:pt idx="164">
                  <c:v>0.352112676056338</c:v>
                </c:pt>
                <c:pt idx="165">
                  <c:v>0.35294117647058798</c:v>
                </c:pt>
                <c:pt idx="166">
                  <c:v>0.35294117647058798</c:v>
                </c:pt>
                <c:pt idx="167">
                  <c:v>0.35294117647058798</c:v>
                </c:pt>
                <c:pt idx="168">
                  <c:v>0.35294117647058798</c:v>
                </c:pt>
                <c:pt idx="169">
                  <c:v>0.35416666666666702</c:v>
                </c:pt>
                <c:pt idx="170">
                  <c:v>0.35483870967741898</c:v>
                </c:pt>
                <c:pt idx="171">
                  <c:v>0.35555555555555601</c:v>
                </c:pt>
                <c:pt idx="172">
                  <c:v>0.35714285714285698</c:v>
                </c:pt>
                <c:pt idx="173">
                  <c:v>0.36</c:v>
                </c:pt>
                <c:pt idx="174">
                  <c:v>0.36</c:v>
                </c:pt>
                <c:pt idx="175">
                  <c:v>0.36</c:v>
                </c:pt>
                <c:pt idx="176">
                  <c:v>0.36065573770491799</c:v>
                </c:pt>
                <c:pt idx="177">
                  <c:v>0.36111111111111099</c:v>
                </c:pt>
                <c:pt idx="178">
                  <c:v>0.36170212765957399</c:v>
                </c:pt>
                <c:pt idx="179">
                  <c:v>0.36170212765957399</c:v>
                </c:pt>
                <c:pt idx="180">
                  <c:v>0.36363636363636398</c:v>
                </c:pt>
                <c:pt idx="181">
                  <c:v>0.36363636363636398</c:v>
                </c:pt>
                <c:pt idx="182">
                  <c:v>0.36363636363636398</c:v>
                </c:pt>
                <c:pt idx="183">
                  <c:v>0.36363636363636398</c:v>
                </c:pt>
                <c:pt idx="184">
                  <c:v>0.36363636363636398</c:v>
                </c:pt>
                <c:pt idx="185">
                  <c:v>0.36363636363636398</c:v>
                </c:pt>
                <c:pt idx="186">
                  <c:v>0.36666666666666697</c:v>
                </c:pt>
                <c:pt idx="187">
                  <c:v>0.36842105263157898</c:v>
                </c:pt>
                <c:pt idx="188">
                  <c:v>0.36842105263157898</c:v>
                </c:pt>
                <c:pt idx="189">
                  <c:v>0.36842105263157898</c:v>
                </c:pt>
                <c:pt idx="190">
                  <c:v>0.371549893842887</c:v>
                </c:pt>
                <c:pt idx="191">
                  <c:v>0.37254901960784298</c:v>
                </c:pt>
                <c:pt idx="192">
                  <c:v>0.37254901960784298</c:v>
                </c:pt>
                <c:pt idx="193">
                  <c:v>0.37362637362637402</c:v>
                </c:pt>
                <c:pt idx="194">
                  <c:v>0.375</c:v>
                </c:pt>
                <c:pt idx="195">
                  <c:v>0.37579617834394902</c:v>
                </c:pt>
                <c:pt idx="196">
                  <c:v>0.37837837837837801</c:v>
                </c:pt>
                <c:pt idx="197">
                  <c:v>0.37908496732026098</c:v>
                </c:pt>
                <c:pt idx="198">
                  <c:v>0.38</c:v>
                </c:pt>
                <c:pt idx="199">
                  <c:v>0.38095238095238099</c:v>
                </c:pt>
                <c:pt idx="200">
                  <c:v>0.38095238095238099</c:v>
                </c:pt>
                <c:pt idx="201">
                  <c:v>0.38157894736842102</c:v>
                </c:pt>
                <c:pt idx="202">
                  <c:v>0.381818181818182</c:v>
                </c:pt>
                <c:pt idx="203">
                  <c:v>0.38235294117647101</c:v>
                </c:pt>
                <c:pt idx="204">
                  <c:v>0.38271604938271597</c:v>
                </c:pt>
                <c:pt idx="205">
                  <c:v>0.38524590163934402</c:v>
                </c:pt>
                <c:pt idx="206">
                  <c:v>0.38709677419354799</c:v>
                </c:pt>
                <c:pt idx="207">
                  <c:v>0.38709677419354799</c:v>
                </c:pt>
                <c:pt idx="208">
                  <c:v>0.38709677419354799</c:v>
                </c:pt>
                <c:pt idx="209">
                  <c:v>0.38805970149253699</c:v>
                </c:pt>
                <c:pt idx="210">
                  <c:v>0.38805970149253699</c:v>
                </c:pt>
                <c:pt idx="211">
                  <c:v>0.38834951456310701</c:v>
                </c:pt>
                <c:pt idx="212">
                  <c:v>0.38888888888888901</c:v>
                </c:pt>
                <c:pt idx="213">
                  <c:v>0.38888888888888901</c:v>
                </c:pt>
                <c:pt idx="214">
                  <c:v>0.38983050847457601</c:v>
                </c:pt>
                <c:pt idx="215">
                  <c:v>0.38983050847457601</c:v>
                </c:pt>
                <c:pt idx="216">
                  <c:v>0.390625</c:v>
                </c:pt>
                <c:pt idx="217">
                  <c:v>0.390625</c:v>
                </c:pt>
                <c:pt idx="218">
                  <c:v>0.390804597701149</c:v>
                </c:pt>
                <c:pt idx="219">
                  <c:v>0.39130434782608697</c:v>
                </c:pt>
                <c:pt idx="220">
                  <c:v>0.392405063291139</c:v>
                </c:pt>
                <c:pt idx="221">
                  <c:v>0.39344262295082</c:v>
                </c:pt>
                <c:pt idx="222">
                  <c:v>0.39393939393939398</c:v>
                </c:pt>
                <c:pt idx="223">
                  <c:v>0.39428571428571402</c:v>
                </c:pt>
                <c:pt idx="224">
                  <c:v>0.394736842105263</c:v>
                </c:pt>
                <c:pt idx="225">
                  <c:v>0.39506172839506198</c:v>
                </c:pt>
                <c:pt idx="226">
                  <c:v>0.39583333333333298</c:v>
                </c:pt>
                <c:pt idx="227">
                  <c:v>0.39622641509433998</c:v>
                </c:pt>
                <c:pt idx="228">
                  <c:v>0.39622641509433998</c:v>
                </c:pt>
                <c:pt idx="229">
                  <c:v>0.396341463414634</c:v>
                </c:pt>
                <c:pt idx="230">
                  <c:v>0.39705882352941202</c:v>
                </c:pt>
                <c:pt idx="231">
                  <c:v>0.39759036144578302</c:v>
                </c:pt>
                <c:pt idx="232">
                  <c:v>0.39759036144578302</c:v>
                </c:pt>
                <c:pt idx="233">
                  <c:v>0.4</c:v>
                </c:pt>
                <c:pt idx="234">
                  <c:v>0.4</c:v>
                </c:pt>
                <c:pt idx="235">
                  <c:v>0.4</c:v>
                </c:pt>
                <c:pt idx="236">
                  <c:v>0.4</c:v>
                </c:pt>
                <c:pt idx="237">
                  <c:v>0.4</c:v>
                </c:pt>
                <c:pt idx="238">
                  <c:v>0.40119760479041899</c:v>
                </c:pt>
                <c:pt idx="239">
                  <c:v>0.40476190476190499</c:v>
                </c:pt>
                <c:pt idx="240">
                  <c:v>0.40540540540540498</c:v>
                </c:pt>
                <c:pt idx="241">
                  <c:v>0.40540540540540498</c:v>
                </c:pt>
                <c:pt idx="242">
                  <c:v>0.40625</c:v>
                </c:pt>
                <c:pt idx="243">
                  <c:v>0.40625</c:v>
                </c:pt>
                <c:pt idx="244">
                  <c:v>0.407407407407407</c:v>
                </c:pt>
                <c:pt idx="245">
                  <c:v>0.407407407407407</c:v>
                </c:pt>
                <c:pt idx="246">
                  <c:v>0.40776699029126201</c:v>
                </c:pt>
                <c:pt idx="247">
                  <c:v>0.40789473684210498</c:v>
                </c:pt>
                <c:pt idx="248">
                  <c:v>0.40799999999999997</c:v>
                </c:pt>
                <c:pt idx="249">
                  <c:v>0.40816326530612201</c:v>
                </c:pt>
                <c:pt idx="250">
                  <c:v>0.40983606557377</c:v>
                </c:pt>
                <c:pt idx="251">
                  <c:v>0.41025641025641002</c:v>
                </c:pt>
                <c:pt idx="252">
                  <c:v>0.41176470588235298</c:v>
                </c:pt>
                <c:pt idx="253">
                  <c:v>0.412790697674419</c:v>
                </c:pt>
                <c:pt idx="254">
                  <c:v>0.41304347826087001</c:v>
                </c:pt>
                <c:pt idx="255">
                  <c:v>0.41399999999999998</c:v>
                </c:pt>
                <c:pt idx="256">
                  <c:v>0.41463414634146301</c:v>
                </c:pt>
                <c:pt idx="257">
                  <c:v>0.41666666666666702</c:v>
                </c:pt>
                <c:pt idx="258">
                  <c:v>0.41666666666666702</c:v>
                </c:pt>
                <c:pt idx="259">
                  <c:v>0.41666666666666702</c:v>
                </c:pt>
                <c:pt idx="260">
                  <c:v>0.417721518987342</c:v>
                </c:pt>
                <c:pt idx="261">
                  <c:v>0.41818181818181799</c:v>
                </c:pt>
                <c:pt idx="262">
                  <c:v>0.41818181818181799</c:v>
                </c:pt>
                <c:pt idx="263">
                  <c:v>0.41818181818181799</c:v>
                </c:pt>
                <c:pt idx="264">
                  <c:v>0.41891891891891903</c:v>
                </c:pt>
                <c:pt idx="265">
                  <c:v>0.41923076923076902</c:v>
                </c:pt>
                <c:pt idx="266">
                  <c:v>0.41935483870967699</c:v>
                </c:pt>
                <c:pt idx="267">
                  <c:v>0.41935483870967699</c:v>
                </c:pt>
                <c:pt idx="268">
                  <c:v>0.41935483870967699</c:v>
                </c:pt>
                <c:pt idx="269">
                  <c:v>0.42105263157894701</c:v>
                </c:pt>
                <c:pt idx="270">
                  <c:v>0.421875</c:v>
                </c:pt>
                <c:pt idx="271">
                  <c:v>0.422222222222222</c:v>
                </c:pt>
                <c:pt idx="272">
                  <c:v>0.42253521126760601</c:v>
                </c:pt>
                <c:pt idx="273">
                  <c:v>0.42307692307692302</c:v>
                </c:pt>
                <c:pt idx="274">
                  <c:v>0.42424242424242398</c:v>
                </c:pt>
                <c:pt idx="275">
                  <c:v>0.42424242424242398</c:v>
                </c:pt>
                <c:pt idx="276">
                  <c:v>0.42499999999999999</c:v>
                </c:pt>
                <c:pt idx="277">
                  <c:v>0.42499999999999999</c:v>
                </c:pt>
                <c:pt idx="278">
                  <c:v>0.42647058823529399</c:v>
                </c:pt>
                <c:pt idx="279">
                  <c:v>0.42733812949640299</c:v>
                </c:pt>
                <c:pt idx="280">
                  <c:v>0.42857142857142899</c:v>
                </c:pt>
                <c:pt idx="281">
                  <c:v>0.42857142857142899</c:v>
                </c:pt>
                <c:pt idx="282">
                  <c:v>0.42857142857142899</c:v>
                </c:pt>
                <c:pt idx="283">
                  <c:v>0.42857142857142899</c:v>
                </c:pt>
                <c:pt idx="284">
                  <c:v>0.43005181347150301</c:v>
                </c:pt>
                <c:pt idx="285">
                  <c:v>0.43010752688171999</c:v>
                </c:pt>
                <c:pt idx="286">
                  <c:v>0.431034482758621</c:v>
                </c:pt>
                <c:pt idx="287">
                  <c:v>0.43137254901960798</c:v>
                </c:pt>
                <c:pt idx="288">
                  <c:v>0.43137254901960798</c:v>
                </c:pt>
                <c:pt idx="289">
                  <c:v>0.43243243243243201</c:v>
                </c:pt>
                <c:pt idx="290">
                  <c:v>0.43333333333333302</c:v>
                </c:pt>
                <c:pt idx="291">
                  <c:v>0.43380281690140798</c:v>
                </c:pt>
                <c:pt idx="292">
                  <c:v>0.43421052631578899</c:v>
                </c:pt>
                <c:pt idx="293">
                  <c:v>0.434782608695652</c:v>
                </c:pt>
                <c:pt idx="294">
                  <c:v>0.434782608695652</c:v>
                </c:pt>
                <c:pt idx="295">
                  <c:v>0.43503937007874</c:v>
                </c:pt>
                <c:pt idx="296">
                  <c:v>0.43564356435643597</c:v>
                </c:pt>
                <c:pt idx="297">
                  <c:v>0.43617021276595702</c:v>
                </c:pt>
                <c:pt idx="298">
                  <c:v>0.43636363636363601</c:v>
                </c:pt>
                <c:pt idx="299">
                  <c:v>0.43636363636363601</c:v>
                </c:pt>
                <c:pt idx="300">
                  <c:v>0.43636363636363601</c:v>
                </c:pt>
                <c:pt idx="301">
                  <c:v>0.4375</c:v>
                </c:pt>
                <c:pt idx="302">
                  <c:v>0.4375</c:v>
                </c:pt>
                <c:pt idx="303">
                  <c:v>0.43835616438356201</c:v>
                </c:pt>
                <c:pt idx="304">
                  <c:v>0.43835616438356201</c:v>
                </c:pt>
                <c:pt idx="305">
                  <c:v>0.43859649122806998</c:v>
                </c:pt>
                <c:pt idx="306">
                  <c:v>0.439024390243902</c:v>
                </c:pt>
                <c:pt idx="307">
                  <c:v>0.43956043956044</c:v>
                </c:pt>
                <c:pt idx="308">
                  <c:v>0.44</c:v>
                </c:pt>
                <c:pt idx="309">
                  <c:v>0.44078947368421001</c:v>
                </c:pt>
                <c:pt idx="310">
                  <c:v>0.441176470588235</c:v>
                </c:pt>
                <c:pt idx="311">
                  <c:v>0.44186046511627902</c:v>
                </c:pt>
                <c:pt idx="312">
                  <c:v>0.44230769230769201</c:v>
                </c:pt>
                <c:pt idx="313">
                  <c:v>0.443037974683544</c:v>
                </c:pt>
                <c:pt idx="314">
                  <c:v>0.44444444444444398</c:v>
                </c:pt>
                <c:pt idx="315">
                  <c:v>0.44444444444444398</c:v>
                </c:pt>
                <c:pt idx="316">
                  <c:v>0.44578313253011997</c:v>
                </c:pt>
                <c:pt idx="317">
                  <c:v>0.44642857142857101</c:v>
                </c:pt>
                <c:pt idx="318">
                  <c:v>0.44680851063829802</c:v>
                </c:pt>
                <c:pt idx="319">
                  <c:v>0.44827586206896503</c:v>
                </c:pt>
                <c:pt idx="320">
                  <c:v>0.449438202247191</c:v>
                </c:pt>
                <c:pt idx="321">
                  <c:v>0.45</c:v>
                </c:pt>
                <c:pt idx="322">
                  <c:v>0.45121951219512202</c:v>
                </c:pt>
                <c:pt idx="323">
                  <c:v>0.45217391304347798</c:v>
                </c:pt>
                <c:pt idx="324">
                  <c:v>0.452380952380952</c:v>
                </c:pt>
                <c:pt idx="325">
                  <c:v>0.45360824742268002</c:v>
                </c:pt>
                <c:pt idx="326">
                  <c:v>0.45528455284552799</c:v>
                </c:pt>
                <c:pt idx="327">
                  <c:v>0.45614035087719301</c:v>
                </c:pt>
                <c:pt idx="328">
                  <c:v>0.45714285714285702</c:v>
                </c:pt>
                <c:pt idx="329">
                  <c:v>0.45736434108527102</c:v>
                </c:pt>
                <c:pt idx="330">
                  <c:v>0.45833333333333298</c:v>
                </c:pt>
                <c:pt idx="331">
                  <c:v>0.45833333333333298</c:v>
                </c:pt>
                <c:pt idx="332">
                  <c:v>0.45833333333333298</c:v>
                </c:pt>
                <c:pt idx="333">
                  <c:v>0.45945945945945899</c:v>
                </c:pt>
                <c:pt idx="334">
                  <c:v>0.46</c:v>
                </c:pt>
                <c:pt idx="335">
                  <c:v>0.46</c:v>
                </c:pt>
                <c:pt idx="336">
                  <c:v>0.46153846153846201</c:v>
                </c:pt>
                <c:pt idx="337">
                  <c:v>0.46153846153846201</c:v>
                </c:pt>
                <c:pt idx="338">
                  <c:v>0.46250000000000002</c:v>
                </c:pt>
                <c:pt idx="339">
                  <c:v>0.46280991735537202</c:v>
                </c:pt>
                <c:pt idx="340">
                  <c:v>0.46413043478260901</c:v>
                </c:pt>
                <c:pt idx="341">
                  <c:v>0.46428571428571402</c:v>
                </c:pt>
                <c:pt idx="342">
                  <c:v>0.465648854961832</c:v>
                </c:pt>
                <c:pt idx="343">
                  <c:v>0.465753424657534</c:v>
                </c:pt>
                <c:pt idx="344">
                  <c:v>0.46621621621621601</c:v>
                </c:pt>
                <c:pt idx="345">
                  <c:v>0.46666666666666701</c:v>
                </c:pt>
                <c:pt idx="346">
                  <c:v>0.46666666666666701</c:v>
                </c:pt>
                <c:pt idx="347">
                  <c:v>0.46666666666666701</c:v>
                </c:pt>
                <c:pt idx="348">
                  <c:v>0.46753246753246702</c:v>
                </c:pt>
                <c:pt idx="349">
                  <c:v>0.46808510638297901</c:v>
                </c:pt>
                <c:pt idx="350">
                  <c:v>0.46969696969697</c:v>
                </c:pt>
                <c:pt idx="351">
                  <c:v>0.469879518072289</c:v>
                </c:pt>
                <c:pt idx="352">
                  <c:v>0.47058823529411797</c:v>
                </c:pt>
                <c:pt idx="353">
                  <c:v>0.47058823529411797</c:v>
                </c:pt>
                <c:pt idx="354">
                  <c:v>0.47126436781609199</c:v>
                </c:pt>
                <c:pt idx="355">
                  <c:v>0.47138047138047101</c:v>
                </c:pt>
                <c:pt idx="356">
                  <c:v>0.47169811320754701</c:v>
                </c:pt>
                <c:pt idx="357">
                  <c:v>0.47222222222222199</c:v>
                </c:pt>
                <c:pt idx="358">
                  <c:v>0.47222222222222199</c:v>
                </c:pt>
                <c:pt idx="359">
                  <c:v>0.47252747252747201</c:v>
                </c:pt>
                <c:pt idx="360">
                  <c:v>0.47368421052631599</c:v>
                </c:pt>
                <c:pt idx="361">
                  <c:v>0.47368421052631599</c:v>
                </c:pt>
                <c:pt idx="362">
                  <c:v>0.47368421052631599</c:v>
                </c:pt>
                <c:pt idx="363">
                  <c:v>0.47435897435897401</c:v>
                </c:pt>
                <c:pt idx="364">
                  <c:v>0.47499999999999998</c:v>
                </c:pt>
                <c:pt idx="365">
                  <c:v>0.47560975609756101</c:v>
                </c:pt>
                <c:pt idx="366">
                  <c:v>0.47727272727272702</c:v>
                </c:pt>
                <c:pt idx="367">
                  <c:v>0.47826086956521702</c:v>
                </c:pt>
                <c:pt idx="368">
                  <c:v>0.47887323943662002</c:v>
                </c:pt>
                <c:pt idx="369">
                  <c:v>0.47904191616766501</c:v>
                </c:pt>
                <c:pt idx="370">
                  <c:v>0.47945205479452002</c:v>
                </c:pt>
                <c:pt idx="371">
                  <c:v>0.480263157894737</c:v>
                </c:pt>
                <c:pt idx="372">
                  <c:v>0.480392156862745</c:v>
                </c:pt>
                <c:pt idx="373">
                  <c:v>0.48048780487804899</c:v>
                </c:pt>
                <c:pt idx="374">
                  <c:v>0.48148148148148101</c:v>
                </c:pt>
                <c:pt idx="375">
                  <c:v>0.48148148148148101</c:v>
                </c:pt>
                <c:pt idx="376">
                  <c:v>0.48170731707317099</c:v>
                </c:pt>
                <c:pt idx="377">
                  <c:v>0.48181818181818198</c:v>
                </c:pt>
                <c:pt idx="378">
                  <c:v>0.48217636022514099</c:v>
                </c:pt>
                <c:pt idx="379">
                  <c:v>0.48275862068965503</c:v>
                </c:pt>
                <c:pt idx="380">
                  <c:v>0.48453608247422703</c:v>
                </c:pt>
                <c:pt idx="381">
                  <c:v>0.48571428571428599</c:v>
                </c:pt>
                <c:pt idx="382">
                  <c:v>0.48648648648648601</c:v>
                </c:pt>
                <c:pt idx="383">
                  <c:v>0.487179487179487</c:v>
                </c:pt>
                <c:pt idx="384">
                  <c:v>0.48780487804877998</c:v>
                </c:pt>
                <c:pt idx="385">
                  <c:v>0.48837209302325602</c:v>
                </c:pt>
                <c:pt idx="386">
                  <c:v>0.48837209302325602</c:v>
                </c:pt>
                <c:pt idx="387">
                  <c:v>0.48888888888888898</c:v>
                </c:pt>
                <c:pt idx="388">
                  <c:v>0.490566037735849</c:v>
                </c:pt>
                <c:pt idx="389">
                  <c:v>0.49090909090909102</c:v>
                </c:pt>
                <c:pt idx="390">
                  <c:v>0.49107142857142899</c:v>
                </c:pt>
                <c:pt idx="391">
                  <c:v>0.49166666666666697</c:v>
                </c:pt>
                <c:pt idx="392">
                  <c:v>0.49206349206349198</c:v>
                </c:pt>
                <c:pt idx="393">
                  <c:v>0.49222797927461098</c:v>
                </c:pt>
                <c:pt idx="394">
                  <c:v>0.49259259259259303</c:v>
                </c:pt>
                <c:pt idx="395">
                  <c:v>0.49333333333333301</c:v>
                </c:pt>
                <c:pt idx="396">
                  <c:v>0.49473684210526298</c:v>
                </c:pt>
                <c:pt idx="397">
                  <c:v>0.49618320610687</c:v>
                </c:pt>
                <c:pt idx="398">
                  <c:v>0.49655172413793103</c:v>
                </c:pt>
                <c:pt idx="399">
                  <c:v>0.5</c:v>
                </c:pt>
                <c:pt idx="400">
                  <c:v>0.5</c:v>
                </c:pt>
                <c:pt idx="401">
                  <c:v>0.5</c:v>
                </c:pt>
                <c:pt idx="402">
                  <c:v>0.5</c:v>
                </c:pt>
                <c:pt idx="403">
                  <c:v>0.5</c:v>
                </c:pt>
                <c:pt idx="404">
                  <c:v>0.5</c:v>
                </c:pt>
                <c:pt idx="405">
                  <c:v>0.5</c:v>
                </c:pt>
                <c:pt idx="406">
                  <c:v>0.5</c:v>
                </c:pt>
                <c:pt idx="407">
                  <c:v>0.5</c:v>
                </c:pt>
                <c:pt idx="408">
                  <c:v>0.5</c:v>
                </c:pt>
                <c:pt idx="409">
                  <c:v>0.50335570469798696</c:v>
                </c:pt>
                <c:pt idx="410">
                  <c:v>0.50373134328358204</c:v>
                </c:pt>
                <c:pt idx="411">
                  <c:v>0.50434782608695605</c:v>
                </c:pt>
                <c:pt idx="412">
                  <c:v>0.50485436893203905</c:v>
                </c:pt>
                <c:pt idx="413">
                  <c:v>0.50515463917525805</c:v>
                </c:pt>
                <c:pt idx="414">
                  <c:v>0.50574712643678199</c:v>
                </c:pt>
                <c:pt idx="415">
                  <c:v>0.50602409638554202</c:v>
                </c:pt>
                <c:pt idx="416">
                  <c:v>0.506493506493506</c:v>
                </c:pt>
                <c:pt idx="417">
                  <c:v>0.506493506493506</c:v>
                </c:pt>
                <c:pt idx="418">
                  <c:v>0.507692307692308</c:v>
                </c:pt>
                <c:pt idx="419">
                  <c:v>0.50847457627118597</c:v>
                </c:pt>
                <c:pt idx="420">
                  <c:v>0.50877192982456099</c:v>
                </c:pt>
                <c:pt idx="421">
                  <c:v>0.50909090909090904</c:v>
                </c:pt>
                <c:pt idx="422">
                  <c:v>0.50980392156862697</c:v>
                </c:pt>
                <c:pt idx="423">
                  <c:v>0.51020408163265296</c:v>
                </c:pt>
                <c:pt idx="424">
                  <c:v>0.51111111111111096</c:v>
                </c:pt>
                <c:pt idx="425">
                  <c:v>0.51162790697674398</c:v>
                </c:pt>
                <c:pt idx="426">
                  <c:v>0.51190476190476197</c:v>
                </c:pt>
                <c:pt idx="427">
                  <c:v>0.51219512195121997</c:v>
                </c:pt>
                <c:pt idx="428">
                  <c:v>0.51219512195121997</c:v>
                </c:pt>
                <c:pt idx="429">
                  <c:v>0.512280701754386</c:v>
                </c:pt>
                <c:pt idx="430">
                  <c:v>0.51351351351351304</c:v>
                </c:pt>
                <c:pt idx="431">
                  <c:v>0.51428571428571401</c:v>
                </c:pt>
                <c:pt idx="432">
                  <c:v>0.51492537313432796</c:v>
                </c:pt>
                <c:pt idx="433">
                  <c:v>0.51515151515151503</c:v>
                </c:pt>
                <c:pt idx="434">
                  <c:v>0.51515151515151503</c:v>
                </c:pt>
                <c:pt idx="435">
                  <c:v>0.515625</c:v>
                </c:pt>
                <c:pt idx="436">
                  <c:v>0.51578947368421102</c:v>
                </c:pt>
                <c:pt idx="437">
                  <c:v>0.51666666666666705</c:v>
                </c:pt>
                <c:pt idx="438">
                  <c:v>0.51724137931034497</c:v>
                </c:pt>
                <c:pt idx="439">
                  <c:v>0.51724137931034497</c:v>
                </c:pt>
                <c:pt idx="440">
                  <c:v>0.51785714285714302</c:v>
                </c:pt>
                <c:pt idx="441">
                  <c:v>0.518987341772152</c:v>
                </c:pt>
                <c:pt idx="442">
                  <c:v>0.518987341772152</c:v>
                </c:pt>
                <c:pt idx="443">
                  <c:v>0.51911468812877304</c:v>
                </c:pt>
                <c:pt idx="444">
                  <c:v>0.51923076923076905</c:v>
                </c:pt>
                <c:pt idx="445">
                  <c:v>0.52</c:v>
                </c:pt>
                <c:pt idx="446">
                  <c:v>0.52173913043478304</c:v>
                </c:pt>
                <c:pt idx="447">
                  <c:v>0.52205882352941202</c:v>
                </c:pt>
                <c:pt idx="448">
                  <c:v>0.5234375</c:v>
                </c:pt>
                <c:pt idx="449">
                  <c:v>0.52380952380952395</c:v>
                </c:pt>
                <c:pt idx="450">
                  <c:v>0.52500000000000002</c:v>
                </c:pt>
                <c:pt idx="451">
                  <c:v>0.52505966587112196</c:v>
                </c:pt>
                <c:pt idx="452">
                  <c:v>0.52645502645502695</c:v>
                </c:pt>
                <c:pt idx="453">
                  <c:v>0.52650176678445204</c:v>
                </c:pt>
                <c:pt idx="454">
                  <c:v>0.52684563758389302</c:v>
                </c:pt>
                <c:pt idx="455">
                  <c:v>0.52713178294573604</c:v>
                </c:pt>
                <c:pt idx="456">
                  <c:v>0.527272727272727</c:v>
                </c:pt>
                <c:pt idx="457">
                  <c:v>0.52777777777777801</c:v>
                </c:pt>
                <c:pt idx="458">
                  <c:v>0.52866242038216604</c:v>
                </c:pt>
                <c:pt idx="459">
                  <c:v>0.52873563218390796</c:v>
                </c:pt>
                <c:pt idx="460">
                  <c:v>0.528813559322034</c:v>
                </c:pt>
                <c:pt idx="461">
                  <c:v>0.52941176470588203</c:v>
                </c:pt>
                <c:pt idx="462">
                  <c:v>0.52941176470588203</c:v>
                </c:pt>
                <c:pt idx="463">
                  <c:v>0.52941176470588203</c:v>
                </c:pt>
                <c:pt idx="464">
                  <c:v>0.52941176470588203</c:v>
                </c:pt>
                <c:pt idx="465">
                  <c:v>0.53008595988538698</c:v>
                </c:pt>
                <c:pt idx="466">
                  <c:v>0.53076923076923099</c:v>
                </c:pt>
                <c:pt idx="467">
                  <c:v>0.53125</c:v>
                </c:pt>
                <c:pt idx="468">
                  <c:v>0.53125</c:v>
                </c:pt>
                <c:pt idx="469">
                  <c:v>0.53181818181818197</c:v>
                </c:pt>
                <c:pt idx="470">
                  <c:v>0.53191489361702105</c:v>
                </c:pt>
                <c:pt idx="471">
                  <c:v>0.53191489361702105</c:v>
                </c:pt>
                <c:pt idx="472">
                  <c:v>0.532258064516129</c:v>
                </c:pt>
                <c:pt idx="473">
                  <c:v>0.53333333333333299</c:v>
                </c:pt>
                <c:pt idx="474">
                  <c:v>0.53369272237196796</c:v>
                </c:pt>
                <c:pt idx="475">
                  <c:v>0.534246575342466</c:v>
                </c:pt>
                <c:pt idx="476">
                  <c:v>0.53482587064676601</c:v>
                </c:pt>
                <c:pt idx="477">
                  <c:v>0.53488372093023295</c:v>
                </c:pt>
                <c:pt idx="478">
                  <c:v>0.53503184713375795</c:v>
                </c:pt>
                <c:pt idx="479">
                  <c:v>0.53571428571428603</c:v>
                </c:pt>
                <c:pt idx="480">
                  <c:v>0.53571428571428603</c:v>
                </c:pt>
                <c:pt idx="481">
                  <c:v>0.53661784287616499</c:v>
                </c:pt>
                <c:pt idx="482">
                  <c:v>0.53669724770642202</c:v>
                </c:pt>
                <c:pt idx="483">
                  <c:v>0.53758865248226895</c:v>
                </c:pt>
                <c:pt idx="484">
                  <c:v>0.53773584905660399</c:v>
                </c:pt>
                <c:pt idx="485">
                  <c:v>0.53828306264501202</c:v>
                </c:pt>
                <c:pt idx="486">
                  <c:v>0.53846153846153799</c:v>
                </c:pt>
                <c:pt idx="487">
                  <c:v>0.53846153846153799</c:v>
                </c:pt>
                <c:pt idx="488">
                  <c:v>0.53846153846153799</c:v>
                </c:pt>
                <c:pt idx="489">
                  <c:v>0.53921568627451</c:v>
                </c:pt>
                <c:pt idx="490">
                  <c:v>0.53968253968253999</c:v>
                </c:pt>
                <c:pt idx="491">
                  <c:v>0.53968253968253999</c:v>
                </c:pt>
                <c:pt idx="492">
                  <c:v>0.53968253968253999</c:v>
                </c:pt>
                <c:pt idx="493">
                  <c:v>0.54</c:v>
                </c:pt>
                <c:pt idx="494">
                  <c:v>0.54012345679012297</c:v>
                </c:pt>
                <c:pt idx="495">
                  <c:v>0.54022988505747105</c:v>
                </c:pt>
                <c:pt idx="496">
                  <c:v>0.54054054054054101</c:v>
                </c:pt>
                <c:pt idx="497">
                  <c:v>0.54081632653061196</c:v>
                </c:pt>
                <c:pt idx="498">
                  <c:v>0.54092526690391496</c:v>
                </c:pt>
                <c:pt idx="499">
                  <c:v>0.54166666666666696</c:v>
                </c:pt>
                <c:pt idx="500">
                  <c:v>0.54166666666666696</c:v>
                </c:pt>
                <c:pt idx="501">
                  <c:v>0.54226804123711303</c:v>
                </c:pt>
                <c:pt idx="502">
                  <c:v>0.54285714285714304</c:v>
                </c:pt>
                <c:pt idx="503">
                  <c:v>0.54306220095693802</c:v>
                </c:pt>
                <c:pt idx="504">
                  <c:v>0.54330708661417304</c:v>
                </c:pt>
                <c:pt idx="505">
                  <c:v>0.54368932038834905</c:v>
                </c:pt>
                <c:pt idx="506">
                  <c:v>0.54446177847113897</c:v>
                </c:pt>
                <c:pt idx="507">
                  <c:v>0.54545454545454497</c:v>
                </c:pt>
                <c:pt idx="508">
                  <c:v>0.54545454545454497</c:v>
                </c:pt>
                <c:pt idx="509">
                  <c:v>0.54651162790697705</c:v>
                </c:pt>
                <c:pt idx="510">
                  <c:v>0.54658385093167705</c:v>
                </c:pt>
                <c:pt idx="511">
                  <c:v>0.547619047619048</c:v>
                </c:pt>
                <c:pt idx="512">
                  <c:v>0.54794520547945202</c:v>
                </c:pt>
                <c:pt idx="513">
                  <c:v>0.54794520547945202</c:v>
                </c:pt>
                <c:pt idx="514">
                  <c:v>0.548327137546468</c:v>
                </c:pt>
                <c:pt idx="515">
                  <c:v>0.54838709677419295</c:v>
                </c:pt>
                <c:pt idx="516">
                  <c:v>0.54895104895104896</c:v>
                </c:pt>
                <c:pt idx="517">
                  <c:v>0.54901960784313697</c:v>
                </c:pt>
                <c:pt idx="518">
                  <c:v>0.54901960784313697</c:v>
                </c:pt>
                <c:pt idx="519">
                  <c:v>0.54904171364148802</c:v>
                </c:pt>
                <c:pt idx="520">
                  <c:v>0.54945054945054905</c:v>
                </c:pt>
                <c:pt idx="521">
                  <c:v>0.55102040816326503</c:v>
                </c:pt>
                <c:pt idx="522">
                  <c:v>0.55128205128205099</c:v>
                </c:pt>
                <c:pt idx="523">
                  <c:v>0.55172413793103403</c:v>
                </c:pt>
                <c:pt idx="524">
                  <c:v>0.55223880597014896</c:v>
                </c:pt>
                <c:pt idx="525">
                  <c:v>0.55263157894736803</c:v>
                </c:pt>
                <c:pt idx="526">
                  <c:v>0.55294117647058805</c:v>
                </c:pt>
                <c:pt idx="527">
                  <c:v>0.55313351498637597</c:v>
                </c:pt>
                <c:pt idx="528">
                  <c:v>0.553459119496855</c:v>
                </c:pt>
                <c:pt idx="529">
                  <c:v>0.55357142857142905</c:v>
                </c:pt>
                <c:pt idx="530">
                  <c:v>0.55357142857142905</c:v>
                </c:pt>
                <c:pt idx="531">
                  <c:v>0.55421686746987997</c:v>
                </c:pt>
                <c:pt idx="532">
                  <c:v>0.55421686746987997</c:v>
                </c:pt>
                <c:pt idx="533">
                  <c:v>0.55445544554455395</c:v>
                </c:pt>
                <c:pt idx="534">
                  <c:v>0.55555555555555602</c:v>
                </c:pt>
                <c:pt idx="535">
                  <c:v>0.55555555555555602</c:v>
                </c:pt>
                <c:pt idx="536">
                  <c:v>0.55555555555555602</c:v>
                </c:pt>
                <c:pt idx="537">
                  <c:v>0.55555555555555602</c:v>
                </c:pt>
                <c:pt idx="538">
                  <c:v>0.55645161290322598</c:v>
                </c:pt>
                <c:pt idx="539">
                  <c:v>0.55681818181818199</c:v>
                </c:pt>
                <c:pt idx="540">
                  <c:v>0.55813953488372103</c:v>
                </c:pt>
                <c:pt idx="541">
                  <c:v>0.55858310626703001</c:v>
                </c:pt>
                <c:pt idx="542">
                  <c:v>0.55882352941176505</c:v>
                </c:pt>
                <c:pt idx="543">
                  <c:v>0.55900621118012395</c:v>
                </c:pt>
                <c:pt idx="544">
                  <c:v>0.559055118110236</c:v>
                </c:pt>
                <c:pt idx="545">
                  <c:v>0.55928853754940699</c:v>
                </c:pt>
                <c:pt idx="546">
                  <c:v>0.55932203389830504</c:v>
                </c:pt>
                <c:pt idx="547">
                  <c:v>0.56000000000000005</c:v>
                </c:pt>
                <c:pt idx="548">
                  <c:v>0.56000000000000005</c:v>
                </c:pt>
                <c:pt idx="549">
                  <c:v>0.56000000000000005</c:v>
                </c:pt>
                <c:pt idx="550">
                  <c:v>0.56097560975609795</c:v>
                </c:pt>
                <c:pt idx="551">
                  <c:v>0.56097560975609795</c:v>
                </c:pt>
                <c:pt idx="552">
                  <c:v>0.56140350877193002</c:v>
                </c:pt>
                <c:pt idx="553">
                  <c:v>0.5625</c:v>
                </c:pt>
                <c:pt idx="554">
                  <c:v>0.5625</c:v>
                </c:pt>
                <c:pt idx="555">
                  <c:v>0.5625</c:v>
                </c:pt>
                <c:pt idx="556">
                  <c:v>0.56293706293706303</c:v>
                </c:pt>
                <c:pt idx="557">
                  <c:v>0.56382978723404298</c:v>
                </c:pt>
                <c:pt idx="558">
                  <c:v>0.56392694063926896</c:v>
                </c:pt>
                <c:pt idx="559">
                  <c:v>0.56410256410256399</c:v>
                </c:pt>
                <c:pt idx="560">
                  <c:v>0.56435643564356397</c:v>
                </c:pt>
                <c:pt idx="561">
                  <c:v>0.56447688564476906</c:v>
                </c:pt>
                <c:pt idx="562">
                  <c:v>0.565217391304348</c:v>
                </c:pt>
                <c:pt idx="563">
                  <c:v>0.565217391304348</c:v>
                </c:pt>
                <c:pt idx="564">
                  <c:v>0.56565656565656597</c:v>
                </c:pt>
                <c:pt idx="565">
                  <c:v>0.56834532374100699</c:v>
                </c:pt>
                <c:pt idx="566">
                  <c:v>0.57142857142857095</c:v>
                </c:pt>
                <c:pt idx="567">
                  <c:v>0.57142857142857095</c:v>
                </c:pt>
                <c:pt idx="568">
                  <c:v>0.57142857142857095</c:v>
                </c:pt>
                <c:pt idx="569">
                  <c:v>0.57142857142857095</c:v>
                </c:pt>
                <c:pt idx="570">
                  <c:v>0.57142857142857095</c:v>
                </c:pt>
                <c:pt idx="571">
                  <c:v>0.57142857142857095</c:v>
                </c:pt>
                <c:pt idx="572">
                  <c:v>0.57142857142857095</c:v>
                </c:pt>
                <c:pt idx="573">
                  <c:v>0.57142857142857095</c:v>
                </c:pt>
                <c:pt idx="574">
                  <c:v>0.57258064516129004</c:v>
                </c:pt>
                <c:pt idx="575">
                  <c:v>0.57317073170731703</c:v>
                </c:pt>
                <c:pt idx="576">
                  <c:v>0.57333333333333303</c:v>
                </c:pt>
                <c:pt idx="577">
                  <c:v>0.57419354838709702</c:v>
                </c:pt>
                <c:pt idx="578">
                  <c:v>0.57446808510638303</c:v>
                </c:pt>
                <c:pt idx="579">
                  <c:v>0.57468354430379698</c:v>
                </c:pt>
                <c:pt idx="580">
                  <c:v>0.57471264367816099</c:v>
                </c:pt>
                <c:pt idx="581">
                  <c:v>0.57485029940119803</c:v>
                </c:pt>
                <c:pt idx="582">
                  <c:v>0.57499999999999996</c:v>
                </c:pt>
                <c:pt idx="583">
                  <c:v>0.57575757575757602</c:v>
                </c:pt>
                <c:pt idx="584">
                  <c:v>0.57627118644067798</c:v>
                </c:pt>
                <c:pt idx="585">
                  <c:v>0.57692307692307698</c:v>
                </c:pt>
                <c:pt idx="586">
                  <c:v>0.57701711491442498</c:v>
                </c:pt>
                <c:pt idx="587">
                  <c:v>0.57851239669421495</c:v>
                </c:pt>
                <c:pt idx="588">
                  <c:v>0.57874015748031504</c:v>
                </c:pt>
                <c:pt idx="589">
                  <c:v>0.57877813504823095</c:v>
                </c:pt>
                <c:pt idx="590">
                  <c:v>0.57894736842105299</c:v>
                </c:pt>
                <c:pt idx="591">
                  <c:v>0.57894736842105299</c:v>
                </c:pt>
                <c:pt idx="592">
                  <c:v>0.57894736842105299</c:v>
                </c:pt>
                <c:pt idx="593">
                  <c:v>0.57894736842105299</c:v>
                </c:pt>
                <c:pt idx="594">
                  <c:v>0.57894736842105299</c:v>
                </c:pt>
                <c:pt idx="595">
                  <c:v>0.57999999999999996</c:v>
                </c:pt>
                <c:pt idx="596">
                  <c:v>0.58098591549295797</c:v>
                </c:pt>
                <c:pt idx="597">
                  <c:v>0.58156028368794299</c:v>
                </c:pt>
                <c:pt idx="598">
                  <c:v>0.58181818181818201</c:v>
                </c:pt>
                <c:pt idx="599">
                  <c:v>0.58181818181818201</c:v>
                </c:pt>
                <c:pt idx="600">
                  <c:v>0.58181818181818201</c:v>
                </c:pt>
                <c:pt idx="601">
                  <c:v>0.58208955223880599</c:v>
                </c:pt>
                <c:pt idx="602">
                  <c:v>0.58252427184466005</c:v>
                </c:pt>
                <c:pt idx="603">
                  <c:v>0.58252427184466005</c:v>
                </c:pt>
                <c:pt idx="604">
                  <c:v>0.58278145695364203</c:v>
                </c:pt>
                <c:pt idx="605">
                  <c:v>0.58322411533420704</c:v>
                </c:pt>
                <c:pt idx="606">
                  <c:v>0.58333333333333304</c:v>
                </c:pt>
                <c:pt idx="607">
                  <c:v>0.58333333333333304</c:v>
                </c:pt>
                <c:pt idx="608">
                  <c:v>0.58333333333333304</c:v>
                </c:pt>
                <c:pt idx="609">
                  <c:v>0.58394160583941601</c:v>
                </c:pt>
                <c:pt idx="610">
                  <c:v>0.58407079646017701</c:v>
                </c:pt>
                <c:pt idx="611">
                  <c:v>0.58407079646017701</c:v>
                </c:pt>
                <c:pt idx="612">
                  <c:v>0.58441558441558406</c:v>
                </c:pt>
                <c:pt idx="613">
                  <c:v>0.58472222222222203</c:v>
                </c:pt>
                <c:pt idx="614">
                  <c:v>0.58474576271186396</c:v>
                </c:pt>
                <c:pt idx="615">
                  <c:v>0.58490566037735803</c:v>
                </c:pt>
                <c:pt idx="616">
                  <c:v>0.58536585365853699</c:v>
                </c:pt>
                <c:pt idx="617">
                  <c:v>0.58558558558558604</c:v>
                </c:pt>
                <c:pt idx="618">
                  <c:v>0.58641975308642003</c:v>
                </c:pt>
                <c:pt idx="619">
                  <c:v>0.58695652173913004</c:v>
                </c:pt>
                <c:pt idx="620">
                  <c:v>0.587096774193548</c:v>
                </c:pt>
                <c:pt idx="621">
                  <c:v>0.58715596330275199</c:v>
                </c:pt>
                <c:pt idx="622">
                  <c:v>0.58730158730158699</c:v>
                </c:pt>
                <c:pt idx="623">
                  <c:v>0.58791208791208804</c:v>
                </c:pt>
                <c:pt idx="624">
                  <c:v>0.58849557522123896</c:v>
                </c:pt>
                <c:pt idx="625">
                  <c:v>0.58974358974358998</c:v>
                </c:pt>
                <c:pt idx="626">
                  <c:v>0.58974358974358998</c:v>
                </c:pt>
                <c:pt idx="627">
                  <c:v>0.58974358974358998</c:v>
                </c:pt>
                <c:pt idx="628">
                  <c:v>0.59</c:v>
                </c:pt>
                <c:pt idx="629">
                  <c:v>0.59090909090909105</c:v>
                </c:pt>
                <c:pt idx="630">
                  <c:v>0.59090909090909105</c:v>
                </c:pt>
                <c:pt idx="631">
                  <c:v>0.59090909090909105</c:v>
                </c:pt>
                <c:pt idx="632">
                  <c:v>0.59183673469387799</c:v>
                </c:pt>
                <c:pt idx="633">
                  <c:v>0.59223300970873805</c:v>
                </c:pt>
                <c:pt idx="634">
                  <c:v>0.592592592592593</c:v>
                </c:pt>
                <c:pt idx="635">
                  <c:v>0.59322033898305104</c:v>
                </c:pt>
                <c:pt idx="636">
                  <c:v>0.59322033898305104</c:v>
                </c:pt>
                <c:pt idx="637">
                  <c:v>0.59322033898305104</c:v>
                </c:pt>
                <c:pt idx="638">
                  <c:v>0.59322033898305104</c:v>
                </c:pt>
                <c:pt idx="639">
                  <c:v>0.59433962264150897</c:v>
                </c:pt>
                <c:pt idx="640">
                  <c:v>0.59459459459459496</c:v>
                </c:pt>
                <c:pt idx="641">
                  <c:v>0.594663278271919</c:v>
                </c:pt>
                <c:pt idx="642">
                  <c:v>0.59482758620689702</c:v>
                </c:pt>
                <c:pt idx="643">
                  <c:v>0.594936708860759</c:v>
                </c:pt>
                <c:pt idx="644">
                  <c:v>0.59504132231405005</c:v>
                </c:pt>
                <c:pt idx="645">
                  <c:v>0.59558823529411797</c:v>
                </c:pt>
                <c:pt idx="646">
                  <c:v>0.59574468085106402</c:v>
                </c:pt>
                <c:pt idx="647">
                  <c:v>0.59579180509413099</c:v>
                </c:pt>
                <c:pt idx="648">
                  <c:v>0.59701492537313405</c:v>
                </c:pt>
                <c:pt idx="649">
                  <c:v>0.59722222222222199</c:v>
                </c:pt>
                <c:pt idx="650">
                  <c:v>0.59740259740259705</c:v>
                </c:pt>
                <c:pt idx="651">
                  <c:v>0.6</c:v>
                </c:pt>
                <c:pt idx="652">
                  <c:v>0.6</c:v>
                </c:pt>
                <c:pt idx="653">
                  <c:v>0.6</c:v>
                </c:pt>
                <c:pt idx="654">
                  <c:v>0.6</c:v>
                </c:pt>
                <c:pt idx="655">
                  <c:v>0.6</c:v>
                </c:pt>
                <c:pt idx="656">
                  <c:v>0.6</c:v>
                </c:pt>
                <c:pt idx="657">
                  <c:v>0.6</c:v>
                </c:pt>
                <c:pt idx="658">
                  <c:v>0.6</c:v>
                </c:pt>
                <c:pt idx="659">
                  <c:v>0.6</c:v>
                </c:pt>
                <c:pt idx="660">
                  <c:v>0.6</c:v>
                </c:pt>
                <c:pt idx="661">
                  <c:v>0.6015625</c:v>
                </c:pt>
                <c:pt idx="662">
                  <c:v>0.60176991150442505</c:v>
                </c:pt>
                <c:pt idx="663">
                  <c:v>0.60189573459715595</c:v>
                </c:pt>
                <c:pt idx="664">
                  <c:v>0.60317460317460303</c:v>
                </c:pt>
                <c:pt idx="665">
                  <c:v>0.60344827586206895</c:v>
                </c:pt>
                <c:pt idx="666">
                  <c:v>0.60377358490566002</c:v>
                </c:pt>
                <c:pt idx="667">
                  <c:v>0.60465116279069797</c:v>
                </c:pt>
                <c:pt idx="668">
                  <c:v>0.60465116279069797</c:v>
                </c:pt>
                <c:pt idx="669">
                  <c:v>0.60493827160493796</c:v>
                </c:pt>
                <c:pt idx="670">
                  <c:v>0.605504587155963</c:v>
                </c:pt>
                <c:pt idx="671">
                  <c:v>0.60606060606060597</c:v>
                </c:pt>
                <c:pt idx="672">
                  <c:v>0.60655737704918</c:v>
                </c:pt>
                <c:pt idx="673">
                  <c:v>0.60679611650485399</c:v>
                </c:pt>
                <c:pt idx="674">
                  <c:v>0.60714285714285698</c:v>
                </c:pt>
                <c:pt idx="675">
                  <c:v>0.60784313725490202</c:v>
                </c:pt>
                <c:pt idx="676">
                  <c:v>0.60869565217391297</c:v>
                </c:pt>
                <c:pt idx="677">
                  <c:v>0.60869565217391297</c:v>
                </c:pt>
                <c:pt idx="678">
                  <c:v>0.60869565217391297</c:v>
                </c:pt>
                <c:pt idx="679">
                  <c:v>0.60897435897435903</c:v>
                </c:pt>
                <c:pt idx="680">
                  <c:v>0.60909090909090902</c:v>
                </c:pt>
                <c:pt idx="681">
                  <c:v>0.60919540229885105</c:v>
                </c:pt>
                <c:pt idx="682">
                  <c:v>0.60975609756097604</c:v>
                </c:pt>
                <c:pt idx="683">
                  <c:v>0.60975609756097604</c:v>
                </c:pt>
                <c:pt idx="684">
                  <c:v>0.60990712074303399</c:v>
                </c:pt>
                <c:pt idx="685">
                  <c:v>0.61061946902654896</c:v>
                </c:pt>
                <c:pt idx="686">
                  <c:v>0.61073825503355705</c:v>
                </c:pt>
                <c:pt idx="687">
                  <c:v>0.61111111111111105</c:v>
                </c:pt>
                <c:pt idx="688">
                  <c:v>0.61111111111111105</c:v>
                </c:pt>
                <c:pt idx="689">
                  <c:v>0.61111111111111105</c:v>
                </c:pt>
                <c:pt idx="690">
                  <c:v>0.61119081779053097</c:v>
                </c:pt>
                <c:pt idx="691">
                  <c:v>0.61157024793388404</c:v>
                </c:pt>
                <c:pt idx="692">
                  <c:v>0.61194029850746301</c:v>
                </c:pt>
                <c:pt idx="693">
                  <c:v>0.61194029850746301</c:v>
                </c:pt>
                <c:pt idx="694">
                  <c:v>0.61224489795918402</c:v>
                </c:pt>
                <c:pt idx="695">
                  <c:v>0.61233480176211397</c:v>
                </c:pt>
                <c:pt idx="696">
                  <c:v>0.61269841269841296</c:v>
                </c:pt>
                <c:pt idx="697">
                  <c:v>0.61271676300578004</c:v>
                </c:pt>
                <c:pt idx="698">
                  <c:v>0.61337209302325602</c:v>
                </c:pt>
                <c:pt idx="699">
                  <c:v>0.61417322834645705</c:v>
                </c:pt>
                <c:pt idx="700">
                  <c:v>0.61445783132530096</c:v>
                </c:pt>
                <c:pt idx="701">
                  <c:v>0.61538461538461497</c:v>
                </c:pt>
                <c:pt idx="702">
                  <c:v>0.61538461538461497</c:v>
                </c:pt>
                <c:pt idx="703">
                  <c:v>0.61658031088082899</c:v>
                </c:pt>
                <c:pt idx="704">
                  <c:v>0.61682242990654201</c:v>
                </c:pt>
                <c:pt idx="705">
                  <c:v>0.61702127659574502</c:v>
                </c:pt>
                <c:pt idx="706">
                  <c:v>0.61818181818181805</c:v>
                </c:pt>
                <c:pt idx="707">
                  <c:v>0.61818181818181805</c:v>
                </c:pt>
                <c:pt idx="708">
                  <c:v>0.61832061068702304</c:v>
                </c:pt>
                <c:pt idx="709">
                  <c:v>0.61928934010152303</c:v>
                </c:pt>
                <c:pt idx="710">
                  <c:v>0.61993769470405002</c:v>
                </c:pt>
                <c:pt idx="711">
                  <c:v>0.62013729977116705</c:v>
                </c:pt>
                <c:pt idx="712">
                  <c:v>0.62037037037037002</c:v>
                </c:pt>
                <c:pt idx="713">
                  <c:v>0.62068965517241403</c:v>
                </c:pt>
                <c:pt idx="714">
                  <c:v>0.62149532710280397</c:v>
                </c:pt>
                <c:pt idx="715">
                  <c:v>0.62244897959183698</c:v>
                </c:pt>
                <c:pt idx="716">
                  <c:v>0.62272727272727302</c:v>
                </c:pt>
                <c:pt idx="717">
                  <c:v>0.62365591397849496</c:v>
                </c:pt>
                <c:pt idx="718">
                  <c:v>0.62391304347826104</c:v>
                </c:pt>
                <c:pt idx="719">
                  <c:v>0.62416107382550301</c:v>
                </c:pt>
                <c:pt idx="720">
                  <c:v>0.625</c:v>
                </c:pt>
                <c:pt idx="721">
                  <c:v>0.625</c:v>
                </c:pt>
                <c:pt idx="722">
                  <c:v>0.625</c:v>
                </c:pt>
                <c:pt idx="723">
                  <c:v>0.62666666666666704</c:v>
                </c:pt>
                <c:pt idx="724">
                  <c:v>0.62686567164179097</c:v>
                </c:pt>
                <c:pt idx="725">
                  <c:v>0.62727272727272698</c:v>
                </c:pt>
                <c:pt idx="726">
                  <c:v>0.62765957446808496</c:v>
                </c:pt>
                <c:pt idx="727">
                  <c:v>0.62768031189083795</c:v>
                </c:pt>
                <c:pt idx="728">
                  <c:v>0.62790697674418605</c:v>
                </c:pt>
                <c:pt idx="729">
                  <c:v>0.628571428571428</c:v>
                </c:pt>
                <c:pt idx="730">
                  <c:v>0.628571428571428</c:v>
                </c:pt>
                <c:pt idx="731">
                  <c:v>0.628571428571428</c:v>
                </c:pt>
                <c:pt idx="732">
                  <c:v>0.62962962962962998</c:v>
                </c:pt>
                <c:pt idx="733">
                  <c:v>0.63043478260869601</c:v>
                </c:pt>
                <c:pt idx="734">
                  <c:v>0.63076923076923097</c:v>
                </c:pt>
                <c:pt idx="735">
                  <c:v>0.63076923076923097</c:v>
                </c:pt>
                <c:pt idx="736">
                  <c:v>0.63114754098360604</c:v>
                </c:pt>
                <c:pt idx="737">
                  <c:v>0.63128491620111704</c:v>
                </c:pt>
                <c:pt idx="738">
                  <c:v>0.63218390804597702</c:v>
                </c:pt>
                <c:pt idx="739">
                  <c:v>0.63260869565217404</c:v>
                </c:pt>
                <c:pt idx="740">
                  <c:v>0.632911392405063</c:v>
                </c:pt>
                <c:pt idx="741">
                  <c:v>0.63311688311688297</c:v>
                </c:pt>
                <c:pt idx="742">
                  <c:v>0.63333333333333297</c:v>
                </c:pt>
                <c:pt idx="743">
                  <c:v>0.63348416289592702</c:v>
                </c:pt>
                <c:pt idx="744">
                  <c:v>0.63380281690140805</c:v>
                </c:pt>
                <c:pt idx="745">
                  <c:v>0.63392857142857095</c:v>
                </c:pt>
                <c:pt idx="746">
                  <c:v>0.63475177304964503</c:v>
                </c:pt>
                <c:pt idx="747">
                  <c:v>0.63541666666666696</c:v>
                </c:pt>
                <c:pt idx="748">
                  <c:v>0.63636363636363602</c:v>
                </c:pt>
                <c:pt idx="749">
                  <c:v>0.63636363636363602</c:v>
                </c:pt>
                <c:pt idx="750">
                  <c:v>0.63636363636363602</c:v>
                </c:pt>
                <c:pt idx="751">
                  <c:v>0.63677130044843</c:v>
                </c:pt>
                <c:pt idx="752">
                  <c:v>0.63729508196721296</c:v>
                </c:pt>
                <c:pt idx="753">
                  <c:v>0.63736263736263699</c:v>
                </c:pt>
                <c:pt idx="754">
                  <c:v>0.63736263736263699</c:v>
                </c:pt>
                <c:pt idx="755">
                  <c:v>0.63758389261744997</c:v>
                </c:pt>
                <c:pt idx="756">
                  <c:v>0.63763066202090601</c:v>
                </c:pt>
                <c:pt idx="757">
                  <c:v>0.63768115942029002</c:v>
                </c:pt>
                <c:pt idx="758">
                  <c:v>0.63768115942029002</c:v>
                </c:pt>
                <c:pt idx="759">
                  <c:v>0.63779527559055105</c:v>
                </c:pt>
                <c:pt idx="760">
                  <c:v>0.63793103448275901</c:v>
                </c:pt>
                <c:pt idx="761">
                  <c:v>0.63793103448275901</c:v>
                </c:pt>
                <c:pt idx="762">
                  <c:v>0.63817663817663794</c:v>
                </c:pt>
                <c:pt idx="763">
                  <c:v>0.63869463869463905</c:v>
                </c:pt>
                <c:pt idx="764">
                  <c:v>0.63869463869463905</c:v>
                </c:pt>
                <c:pt idx="765">
                  <c:v>0.63888888888888895</c:v>
                </c:pt>
                <c:pt idx="766">
                  <c:v>0.63941605839416105</c:v>
                </c:pt>
                <c:pt idx="767">
                  <c:v>0.63953488372093004</c:v>
                </c:pt>
                <c:pt idx="768">
                  <c:v>0.63963963963963999</c:v>
                </c:pt>
                <c:pt idx="769">
                  <c:v>0.64</c:v>
                </c:pt>
                <c:pt idx="770">
                  <c:v>0.64028776978417301</c:v>
                </c:pt>
                <c:pt idx="771">
                  <c:v>0.64044943820224698</c:v>
                </c:pt>
                <c:pt idx="772">
                  <c:v>0.64077669902912604</c:v>
                </c:pt>
                <c:pt idx="773">
                  <c:v>0.64098837209302295</c:v>
                </c:pt>
                <c:pt idx="774">
                  <c:v>0.64179104477611904</c:v>
                </c:pt>
                <c:pt idx="775">
                  <c:v>0.64179104477611904</c:v>
                </c:pt>
                <c:pt idx="776">
                  <c:v>0.64242424242424201</c:v>
                </c:pt>
                <c:pt idx="777">
                  <c:v>0.64269662921348303</c:v>
                </c:pt>
                <c:pt idx="778">
                  <c:v>0.64285714285714302</c:v>
                </c:pt>
                <c:pt idx="779">
                  <c:v>0.64285714285714302</c:v>
                </c:pt>
                <c:pt idx="780">
                  <c:v>0.64285714285714302</c:v>
                </c:pt>
                <c:pt idx="781">
                  <c:v>0.64301552106430204</c:v>
                </c:pt>
                <c:pt idx="782">
                  <c:v>0.64325323475046203</c:v>
                </c:pt>
                <c:pt idx="783">
                  <c:v>0.64386792452830199</c:v>
                </c:pt>
                <c:pt idx="784">
                  <c:v>0.64444444444444404</c:v>
                </c:pt>
                <c:pt idx="785">
                  <c:v>0.64516129032258096</c:v>
                </c:pt>
                <c:pt idx="786">
                  <c:v>0.64516129032258096</c:v>
                </c:pt>
                <c:pt idx="787">
                  <c:v>0.64528301886792405</c:v>
                </c:pt>
                <c:pt idx="788">
                  <c:v>0.64529058116232496</c:v>
                </c:pt>
                <c:pt idx="789">
                  <c:v>0.64532019704433496</c:v>
                </c:pt>
                <c:pt idx="790">
                  <c:v>0.64534883720930203</c:v>
                </c:pt>
                <c:pt idx="791">
                  <c:v>0.645569620253164</c:v>
                </c:pt>
                <c:pt idx="792">
                  <c:v>0.64620938628158797</c:v>
                </c:pt>
                <c:pt idx="793">
                  <c:v>0.64634146341463405</c:v>
                </c:pt>
                <c:pt idx="794">
                  <c:v>0.64649681528662395</c:v>
                </c:pt>
                <c:pt idx="795">
                  <c:v>0.64666666666666694</c:v>
                </c:pt>
                <c:pt idx="796">
                  <c:v>0.64705882352941202</c:v>
                </c:pt>
                <c:pt idx="797">
                  <c:v>0.64705882352941202</c:v>
                </c:pt>
                <c:pt idx="798">
                  <c:v>0.64736842105263104</c:v>
                </c:pt>
                <c:pt idx="799">
                  <c:v>0.64748201438848896</c:v>
                </c:pt>
                <c:pt idx="800">
                  <c:v>0.647887323943662</c:v>
                </c:pt>
                <c:pt idx="801">
                  <c:v>0.647887323943662</c:v>
                </c:pt>
                <c:pt idx="802">
                  <c:v>0.64864864864864902</c:v>
                </c:pt>
                <c:pt idx="803">
                  <c:v>0.64942528735632199</c:v>
                </c:pt>
                <c:pt idx="804">
                  <c:v>0.64957264957264904</c:v>
                </c:pt>
                <c:pt idx="805">
                  <c:v>0.64976958525345596</c:v>
                </c:pt>
                <c:pt idx="806">
                  <c:v>0.65</c:v>
                </c:pt>
                <c:pt idx="807">
                  <c:v>0.65116279069767402</c:v>
                </c:pt>
                <c:pt idx="808">
                  <c:v>0.65137614678899103</c:v>
                </c:pt>
                <c:pt idx="809">
                  <c:v>0.65144766146993305</c:v>
                </c:pt>
                <c:pt idx="810">
                  <c:v>0.65151515151515105</c:v>
                </c:pt>
                <c:pt idx="811">
                  <c:v>0.651685393258427</c:v>
                </c:pt>
                <c:pt idx="812">
                  <c:v>0.65205479452054804</c:v>
                </c:pt>
                <c:pt idx="813">
                  <c:v>0.65263157894736801</c:v>
                </c:pt>
                <c:pt idx="814">
                  <c:v>0.65277777777777801</c:v>
                </c:pt>
                <c:pt idx="815">
                  <c:v>0.65327695560253696</c:v>
                </c:pt>
                <c:pt idx="816">
                  <c:v>0.65454545454545399</c:v>
                </c:pt>
                <c:pt idx="817">
                  <c:v>0.65517241379310298</c:v>
                </c:pt>
                <c:pt idx="818">
                  <c:v>0.65517241379310298</c:v>
                </c:pt>
                <c:pt idx="819">
                  <c:v>0.65570934256055402</c:v>
                </c:pt>
                <c:pt idx="820">
                  <c:v>0.65573770491803296</c:v>
                </c:pt>
                <c:pt idx="821">
                  <c:v>0.65615141955835998</c:v>
                </c:pt>
                <c:pt idx="822">
                  <c:v>0.65625</c:v>
                </c:pt>
                <c:pt idx="823">
                  <c:v>0.656626506024096</c:v>
                </c:pt>
                <c:pt idx="824">
                  <c:v>0.65671641791044799</c:v>
                </c:pt>
                <c:pt idx="825">
                  <c:v>0.65693430656934304</c:v>
                </c:pt>
                <c:pt idx="826">
                  <c:v>0.65714285714285703</c:v>
                </c:pt>
                <c:pt idx="827">
                  <c:v>0.65762711864406798</c:v>
                </c:pt>
                <c:pt idx="828">
                  <c:v>0.65765765765765805</c:v>
                </c:pt>
                <c:pt idx="829">
                  <c:v>0.65800865800865804</c:v>
                </c:pt>
                <c:pt idx="830">
                  <c:v>0.658119658119658</c:v>
                </c:pt>
                <c:pt idx="831">
                  <c:v>0.65816326530612201</c:v>
                </c:pt>
                <c:pt idx="832">
                  <c:v>0.658385093167702</c:v>
                </c:pt>
                <c:pt idx="833">
                  <c:v>0.65853658536585402</c:v>
                </c:pt>
                <c:pt idx="834">
                  <c:v>0.65909090909090895</c:v>
                </c:pt>
                <c:pt idx="835">
                  <c:v>0.659340659340659</c:v>
                </c:pt>
                <c:pt idx="836">
                  <c:v>0.659574468085106</c:v>
                </c:pt>
                <c:pt idx="837">
                  <c:v>0.659574468085106</c:v>
                </c:pt>
                <c:pt idx="838">
                  <c:v>0.659574468085106</c:v>
                </c:pt>
                <c:pt idx="839">
                  <c:v>0.66</c:v>
                </c:pt>
                <c:pt idx="840">
                  <c:v>0.66025641025641002</c:v>
                </c:pt>
                <c:pt idx="841">
                  <c:v>0.66055045871559603</c:v>
                </c:pt>
                <c:pt idx="842">
                  <c:v>0.66086956521739104</c:v>
                </c:pt>
                <c:pt idx="843">
                  <c:v>0.66118421052631604</c:v>
                </c:pt>
                <c:pt idx="844">
                  <c:v>0.66153846153846096</c:v>
                </c:pt>
                <c:pt idx="845">
                  <c:v>0.66153846153846096</c:v>
                </c:pt>
                <c:pt idx="846">
                  <c:v>0.66165413533834605</c:v>
                </c:pt>
                <c:pt idx="847">
                  <c:v>0.66167664670658699</c:v>
                </c:pt>
                <c:pt idx="848">
                  <c:v>0.66225839267548303</c:v>
                </c:pt>
                <c:pt idx="849">
                  <c:v>0.66292134831460703</c:v>
                </c:pt>
                <c:pt idx="850">
                  <c:v>0.66298342541436495</c:v>
                </c:pt>
                <c:pt idx="851">
                  <c:v>0.66326530612244905</c:v>
                </c:pt>
                <c:pt idx="852">
                  <c:v>0.66341463414634105</c:v>
                </c:pt>
                <c:pt idx="853">
                  <c:v>0.66371681415929196</c:v>
                </c:pt>
                <c:pt idx="854">
                  <c:v>0.66417910447761197</c:v>
                </c:pt>
                <c:pt idx="855">
                  <c:v>0.66428571428571404</c:v>
                </c:pt>
                <c:pt idx="856">
                  <c:v>0.665116279069767</c:v>
                </c:pt>
                <c:pt idx="857">
                  <c:v>0.66566265060240903</c:v>
                </c:pt>
                <c:pt idx="858">
                  <c:v>0.66578249336869999</c:v>
                </c:pt>
                <c:pt idx="859">
                  <c:v>0.66666666666666696</c:v>
                </c:pt>
                <c:pt idx="860">
                  <c:v>0.66666666666666696</c:v>
                </c:pt>
                <c:pt idx="861">
                  <c:v>0.66666666666666696</c:v>
                </c:pt>
                <c:pt idx="862">
                  <c:v>0.66666666666666696</c:v>
                </c:pt>
                <c:pt idx="863">
                  <c:v>0.66666666666666696</c:v>
                </c:pt>
                <c:pt idx="864">
                  <c:v>0.66666666666666696</c:v>
                </c:pt>
                <c:pt idx="865">
                  <c:v>0.66748768472906395</c:v>
                </c:pt>
                <c:pt idx="866">
                  <c:v>0.66766467065868296</c:v>
                </c:pt>
                <c:pt idx="867">
                  <c:v>0.66829268292682897</c:v>
                </c:pt>
                <c:pt idx="868">
                  <c:v>0.66845878136200698</c:v>
                </c:pt>
                <c:pt idx="869">
                  <c:v>0.66867469879518104</c:v>
                </c:pt>
                <c:pt idx="870">
                  <c:v>0.66874999999999996</c:v>
                </c:pt>
                <c:pt idx="871">
                  <c:v>0.669421487603306</c:v>
                </c:pt>
                <c:pt idx="872">
                  <c:v>0.66956521739130404</c:v>
                </c:pt>
                <c:pt idx="873">
                  <c:v>0.66985645933014304</c:v>
                </c:pt>
                <c:pt idx="874">
                  <c:v>0.66990291262135904</c:v>
                </c:pt>
                <c:pt idx="875">
                  <c:v>0.67032967032966995</c:v>
                </c:pt>
                <c:pt idx="876">
                  <c:v>0.67039106145251404</c:v>
                </c:pt>
                <c:pt idx="877">
                  <c:v>0.67115384615384599</c:v>
                </c:pt>
                <c:pt idx="878">
                  <c:v>0.67142857142857104</c:v>
                </c:pt>
                <c:pt idx="879">
                  <c:v>0.671554252199413</c:v>
                </c:pt>
                <c:pt idx="880">
                  <c:v>0.67164179104477595</c:v>
                </c:pt>
                <c:pt idx="881">
                  <c:v>0.67241379310344795</c:v>
                </c:pt>
                <c:pt idx="882">
                  <c:v>0.67272727272727295</c:v>
                </c:pt>
                <c:pt idx="883">
                  <c:v>0.67346938775510201</c:v>
                </c:pt>
                <c:pt idx="884">
                  <c:v>0.67441860465116299</c:v>
                </c:pt>
                <c:pt idx="885">
                  <c:v>0.67500000000000004</c:v>
                </c:pt>
                <c:pt idx="886">
                  <c:v>0.67500000000000004</c:v>
                </c:pt>
                <c:pt idx="887">
                  <c:v>0.67567567567567599</c:v>
                </c:pt>
                <c:pt idx="888">
                  <c:v>0.67603305785124002</c:v>
                </c:pt>
                <c:pt idx="889">
                  <c:v>0.676056338028169</c:v>
                </c:pt>
                <c:pt idx="890">
                  <c:v>0.67676767676767702</c:v>
                </c:pt>
                <c:pt idx="891">
                  <c:v>0.67692307692307696</c:v>
                </c:pt>
                <c:pt idx="892">
                  <c:v>0.67708333333333304</c:v>
                </c:pt>
                <c:pt idx="893">
                  <c:v>0.677152317880795</c:v>
                </c:pt>
                <c:pt idx="894">
                  <c:v>0.67741935483870996</c:v>
                </c:pt>
                <c:pt idx="895">
                  <c:v>0.67741935483870996</c:v>
                </c:pt>
                <c:pt idx="896">
                  <c:v>0.67809523809523797</c:v>
                </c:pt>
                <c:pt idx="897">
                  <c:v>0.67816091954022995</c:v>
                </c:pt>
                <c:pt idx="898">
                  <c:v>0.67857142857142905</c:v>
                </c:pt>
                <c:pt idx="899">
                  <c:v>0.67875647668393801</c:v>
                </c:pt>
                <c:pt idx="900">
                  <c:v>0.67901234567901203</c:v>
                </c:pt>
                <c:pt idx="901">
                  <c:v>0.67901234567901203</c:v>
                </c:pt>
                <c:pt idx="902">
                  <c:v>0.679245283018868</c:v>
                </c:pt>
                <c:pt idx="903">
                  <c:v>0.6796875</c:v>
                </c:pt>
                <c:pt idx="904">
                  <c:v>0.67970660146699302</c:v>
                </c:pt>
                <c:pt idx="905">
                  <c:v>0.67985611510791399</c:v>
                </c:pt>
                <c:pt idx="906">
                  <c:v>0.68</c:v>
                </c:pt>
                <c:pt idx="907">
                  <c:v>0.68</c:v>
                </c:pt>
                <c:pt idx="908">
                  <c:v>0.68</c:v>
                </c:pt>
                <c:pt idx="909">
                  <c:v>0.68016194331983804</c:v>
                </c:pt>
                <c:pt idx="910">
                  <c:v>0.68072289156626498</c:v>
                </c:pt>
                <c:pt idx="911">
                  <c:v>0.680851063829787</c:v>
                </c:pt>
                <c:pt idx="912">
                  <c:v>0.680851063829787</c:v>
                </c:pt>
                <c:pt idx="913">
                  <c:v>0.68115942028985499</c:v>
                </c:pt>
                <c:pt idx="914">
                  <c:v>0.68127490039840599</c:v>
                </c:pt>
                <c:pt idx="915">
                  <c:v>0.68181818181818199</c:v>
                </c:pt>
                <c:pt idx="916">
                  <c:v>0.68211920529801295</c:v>
                </c:pt>
                <c:pt idx="917">
                  <c:v>0.68224299065420502</c:v>
                </c:pt>
                <c:pt idx="918">
                  <c:v>0.68333333333333302</c:v>
                </c:pt>
                <c:pt idx="919">
                  <c:v>0.68333333333333302</c:v>
                </c:pt>
                <c:pt idx="920">
                  <c:v>0.68421052631578905</c:v>
                </c:pt>
                <c:pt idx="921">
                  <c:v>0.68456375838926198</c:v>
                </c:pt>
                <c:pt idx="922">
                  <c:v>0.684782608695652</c:v>
                </c:pt>
                <c:pt idx="923">
                  <c:v>0.68548387096774199</c:v>
                </c:pt>
                <c:pt idx="924">
                  <c:v>0.68553459119496796</c:v>
                </c:pt>
                <c:pt idx="925">
                  <c:v>0.68560606060606</c:v>
                </c:pt>
                <c:pt idx="926">
                  <c:v>0.68582375478927204</c:v>
                </c:pt>
                <c:pt idx="927">
                  <c:v>0.68696711327649196</c:v>
                </c:pt>
                <c:pt idx="928">
                  <c:v>0.687258687258687</c:v>
                </c:pt>
                <c:pt idx="929">
                  <c:v>0.6875</c:v>
                </c:pt>
                <c:pt idx="930">
                  <c:v>0.6875</c:v>
                </c:pt>
                <c:pt idx="931">
                  <c:v>0.6875</c:v>
                </c:pt>
                <c:pt idx="932">
                  <c:v>0.6875</c:v>
                </c:pt>
                <c:pt idx="933">
                  <c:v>0.68777292576419202</c:v>
                </c:pt>
                <c:pt idx="934">
                  <c:v>0.68796068796068799</c:v>
                </c:pt>
                <c:pt idx="935">
                  <c:v>0.68831168831168799</c:v>
                </c:pt>
                <c:pt idx="936">
                  <c:v>0.68844221105527603</c:v>
                </c:pt>
                <c:pt idx="937">
                  <c:v>0.68844221105527603</c:v>
                </c:pt>
                <c:pt idx="938">
                  <c:v>0.68902439024390205</c:v>
                </c:pt>
                <c:pt idx="939">
                  <c:v>0.68932038834951403</c:v>
                </c:pt>
                <c:pt idx="940">
                  <c:v>0.69</c:v>
                </c:pt>
                <c:pt idx="941">
                  <c:v>0.69047619047619002</c:v>
                </c:pt>
                <c:pt idx="942">
                  <c:v>0.69047619047619002</c:v>
                </c:pt>
                <c:pt idx="943">
                  <c:v>0.69108910891089104</c:v>
                </c:pt>
                <c:pt idx="944">
                  <c:v>0.69124423963133597</c:v>
                </c:pt>
                <c:pt idx="945">
                  <c:v>0.69135802469135799</c:v>
                </c:pt>
                <c:pt idx="946">
                  <c:v>0.69206349206349205</c:v>
                </c:pt>
                <c:pt idx="947">
                  <c:v>0.69230769230769196</c:v>
                </c:pt>
                <c:pt idx="948">
                  <c:v>0.69230769230769196</c:v>
                </c:pt>
                <c:pt idx="949">
                  <c:v>0.69230769230769196</c:v>
                </c:pt>
                <c:pt idx="950">
                  <c:v>0.69251336898395699</c:v>
                </c:pt>
                <c:pt idx="951">
                  <c:v>0.69363166953528399</c:v>
                </c:pt>
                <c:pt idx="952">
                  <c:v>0.69364161849711004</c:v>
                </c:pt>
                <c:pt idx="953">
                  <c:v>0.69407894736842102</c:v>
                </c:pt>
                <c:pt idx="954">
                  <c:v>0.69411764705882295</c:v>
                </c:pt>
                <c:pt idx="955">
                  <c:v>0.69411764705882295</c:v>
                </c:pt>
                <c:pt idx="956">
                  <c:v>0.69444444444444398</c:v>
                </c:pt>
                <c:pt idx="957">
                  <c:v>0.69491525423728795</c:v>
                </c:pt>
                <c:pt idx="958">
                  <c:v>0.69503546099290803</c:v>
                </c:pt>
                <c:pt idx="959">
                  <c:v>0.69536423841059603</c:v>
                </c:pt>
                <c:pt idx="960">
                  <c:v>0.69565217391304301</c:v>
                </c:pt>
                <c:pt idx="961">
                  <c:v>0.69565217391304301</c:v>
                </c:pt>
                <c:pt idx="962">
                  <c:v>0.69565217391304301</c:v>
                </c:pt>
                <c:pt idx="963">
                  <c:v>0.69565217391304301</c:v>
                </c:pt>
                <c:pt idx="964">
                  <c:v>0.69565217391304301</c:v>
                </c:pt>
                <c:pt idx="965">
                  <c:v>0.69565217391304301</c:v>
                </c:pt>
                <c:pt idx="966">
                  <c:v>0.69603524229074898</c:v>
                </c:pt>
                <c:pt idx="967">
                  <c:v>0.69620253164557</c:v>
                </c:pt>
                <c:pt idx="968">
                  <c:v>0.69642857142857095</c:v>
                </c:pt>
                <c:pt idx="969">
                  <c:v>0.69642857142857095</c:v>
                </c:pt>
                <c:pt idx="970">
                  <c:v>0.69696969696969702</c:v>
                </c:pt>
                <c:pt idx="971">
                  <c:v>0.69696969696969702</c:v>
                </c:pt>
                <c:pt idx="972">
                  <c:v>0.69743589743589696</c:v>
                </c:pt>
                <c:pt idx="973">
                  <c:v>0.69759450171821302</c:v>
                </c:pt>
                <c:pt idx="974">
                  <c:v>0.69767441860465096</c:v>
                </c:pt>
                <c:pt idx="975">
                  <c:v>0.69767441860465096</c:v>
                </c:pt>
                <c:pt idx="976">
                  <c:v>0.69795918367346899</c:v>
                </c:pt>
                <c:pt idx="977">
                  <c:v>0.69841269841269804</c:v>
                </c:pt>
                <c:pt idx="978">
                  <c:v>0.69841269841269804</c:v>
                </c:pt>
                <c:pt idx="979">
                  <c:v>0.69892473118279597</c:v>
                </c:pt>
                <c:pt idx="980">
                  <c:v>0.7</c:v>
                </c:pt>
                <c:pt idx="981">
                  <c:v>0.7</c:v>
                </c:pt>
                <c:pt idx="982">
                  <c:v>0.70034246575342496</c:v>
                </c:pt>
                <c:pt idx="983">
                  <c:v>0.70038910505836605</c:v>
                </c:pt>
                <c:pt idx="984">
                  <c:v>0.70044052863436101</c:v>
                </c:pt>
                <c:pt idx="985">
                  <c:v>0.70076481835563997</c:v>
                </c:pt>
                <c:pt idx="986">
                  <c:v>0.70078740157480301</c:v>
                </c:pt>
                <c:pt idx="987">
                  <c:v>0.70085470085470103</c:v>
                </c:pt>
                <c:pt idx="988">
                  <c:v>0.70093457943925197</c:v>
                </c:pt>
                <c:pt idx="989">
                  <c:v>0.70114942528735602</c:v>
                </c:pt>
                <c:pt idx="990">
                  <c:v>0.70139968895800897</c:v>
                </c:pt>
                <c:pt idx="991">
                  <c:v>0.70156249999999998</c:v>
                </c:pt>
                <c:pt idx="992">
                  <c:v>0.70212765957446799</c:v>
                </c:pt>
                <c:pt idx="993">
                  <c:v>0.702380952380952</c:v>
                </c:pt>
                <c:pt idx="994">
                  <c:v>0.70247933884297498</c:v>
                </c:pt>
                <c:pt idx="995">
                  <c:v>0.70270270270270296</c:v>
                </c:pt>
                <c:pt idx="996">
                  <c:v>0.70270270270270296</c:v>
                </c:pt>
                <c:pt idx="997">
                  <c:v>0.703125</c:v>
                </c:pt>
                <c:pt idx="998">
                  <c:v>0.70316301703162998</c:v>
                </c:pt>
                <c:pt idx="999">
                  <c:v>0.70323741007194196</c:v>
                </c:pt>
                <c:pt idx="1000">
                  <c:v>0.70338983050847503</c:v>
                </c:pt>
                <c:pt idx="1001">
                  <c:v>0.70370370370370405</c:v>
                </c:pt>
                <c:pt idx="1002">
                  <c:v>0.70434782608695601</c:v>
                </c:pt>
                <c:pt idx="1003">
                  <c:v>0.70454545454545503</c:v>
                </c:pt>
                <c:pt idx="1004">
                  <c:v>0.70460704607046099</c:v>
                </c:pt>
                <c:pt idx="1005">
                  <c:v>0.70512820512820495</c:v>
                </c:pt>
                <c:pt idx="1006">
                  <c:v>0.70568561872909696</c:v>
                </c:pt>
                <c:pt idx="1007">
                  <c:v>0.70642201834862395</c:v>
                </c:pt>
                <c:pt idx="1008">
                  <c:v>0.706618962432916</c:v>
                </c:pt>
                <c:pt idx="1009">
                  <c:v>0.70676691729323304</c:v>
                </c:pt>
                <c:pt idx="1010">
                  <c:v>0.70689655172413801</c:v>
                </c:pt>
                <c:pt idx="1011">
                  <c:v>0.707317073170732</c:v>
                </c:pt>
                <c:pt idx="1012">
                  <c:v>0.70841121495327097</c:v>
                </c:pt>
                <c:pt idx="1013">
                  <c:v>0.70860927152317899</c:v>
                </c:pt>
                <c:pt idx="1014">
                  <c:v>0.708860759493671</c:v>
                </c:pt>
                <c:pt idx="1015">
                  <c:v>0.708860759493671</c:v>
                </c:pt>
                <c:pt idx="1016">
                  <c:v>0.70910780669145002</c:v>
                </c:pt>
                <c:pt idx="1017">
                  <c:v>0.70921985815602795</c:v>
                </c:pt>
                <c:pt idx="1018">
                  <c:v>0.70940170940170899</c:v>
                </c:pt>
                <c:pt idx="1019">
                  <c:v>0.70967741935483897</c:v>
                </c:pt>
                <c:pt idx="1020">
                  <c:v>0.70967741935483897</c:v>
                </c:pt>
                <c:pt idx="1021">
                  <c:v>0.70976253298153003</c:v>
                </c:pt>
                <c:pt idx="1022">
                  <c:v>0.70984455958549197</c:v>
                </c:pt>
                <c:pt idx="1023">
                  <c:v>0.70985401459854003</c:v>
                </c:pt>
                <c:pt idx="1024">
                  <c:v>0.71027131782945696</c:v>
                </c:pt>
                <c:pt idx="1025">
                  <c:v>0.71047957371225601</c:v>
                </c:pt>
                <c:pt idx="1026">
                  <c:v>0.71052631578947401</c:v>
                </c:pt>
                <c:pt idx="1027">
                  <c:v>0.71052631578947401</c:v>
                </c:pt>
                <c:pt idx="1028">
                  <c:v>0.71153846153846101</c:v>
                </c:pt>
                <c:pt idx="1029">
                  <c:v>0.71153846153846101</c:v>
                </c:pt>
                <c:pt idx="1030">
                  <c:v>0.71176470588235297</c:v>
                </c:pt>
                <c:pt idx="1031">
                  <c:v>0.712643678160919</c:v>
                </c:pt>
                <c:pt idx="1032">
                  <c:v>0.71287128712871295</c:v>
                </c:pt>
                <c:pt idx="1033">
                  <c:v>0.713286713286713</c:v>
                </c:pt>
                <c:pt idx="1034">
                  <c:v>0.71357285429141704</c:v>
                </c:pt>
                <c:pt idx="1035">
                  <c:v>0.71373056994818596</c:v>
                </c:pt>
                <c:pt idx="1036">
                  <c:v>0.71399176954732502</c:v>
                </c:pt>
                <c:pt idx="1037">
                  <c:v>0.71428571428571397</c:v>
                </c:pt>
                <c:pt idx="1038">
                  <c:v>0.71428571428571397</c:v>
                </c:pt>
                <c:pt idx="1039">
                  <c:v>0.71428571428571397</c:v>
                </c:pt>
                <c:pt idx="1040">
                  <c:v>0.71515151515151498</c:v>
                </c:pt>
                <c:pt idx="1041">
                  <c:v>0.71559633027522895</c:v>
                </c:pt>
                <c:pt idx="1042">
                  <c:v>0.71568627450980404</c:v>
                </c:pt>
                <c:pt idx="1043">
                  <c:v>0.71568627450980404</c:v>
                </c:pt>
                <c:pt idx="1044">
                  <c:v>0.71576227390180902</c:v>
                </c:pt>
                <c:pt idx="1045">
                  <c:v>0.71614583333333304</c:v>
                </c:pt>
                <c:pt idx="1046">
                  <c:v>0.71618037135278501</c:v>
                </c:pt>
                <c:pt idx="1047">
                  <c:v>0.71621621621621601</c:v>
                </c:pt>
                <c:pt idx="1048">
                  <c:v>0.71641791044776104</c:v>
                </c:pt>
                <c:pt idx="1049">
                  <c:v>0.71666666666666701</c:v>
                </c:pt>
                <c:pt idx="1050">
                  <c:v>0.71666666666666701</c:v>
                </c:pt>
                <c:pt idx="1051">
                  <c:v>0.71686746987951799</c:v>
                </c:pt>
                <c:pt idx="1052">
                  <c:v>0.71710526315789502</c:v>
                </c:pt>
                <c:pt idx="1053">
                  <c:v>0.71739130434782605</c:v>
                </c:pt>
                <c:pt idx="1054">
                  <c:v>0.71751412429378503</c:v>
                </c:pt>
                <c:pt idx="1055">
                  <c:v>0.71830985915492995</c:v>
                </c:pt>
                <c:pt idx="1056">
                  <c:v>0.71839080459770099</c:v>
                </c:pt>
                <c:pt idx="1057">
                  <c:v>0.71861471861471904</c:v>
                </c:pt>
                <c:pt idx="1058">
                  <c:v>0.71875</c:v>
                </c:pt>
                <c:pt idx="1059">
                  <c:v>0.71895424836601296</c:v>
                </c:pt>
                <c:pt idx="1060">
                  <c:v>0.71910112359550604</c:v>
                </c:pt>
                <c:pt idx="1061">
                  <c:v>0.71935483870967698</c:v>
                </c:pt>
                <c:pt idx="1062">
                  <c:v>0.71936758893280595</c:v>
                </c:pt>
                <c:pt idx="1063">
                  <c:v>0.71954314720812196</c:v>
                </c:pt>
                <c:pt idx="1064">
                  <c:v>0.72</c:v>
                </c:pt>
                <c:pt idx="1065">
                  <c:v>0.72010869565217395</c:v>
                </c:pt>
                <c:pt idx="1066">
                  <c:v>0.72058823529411797</c:v>
                </c:pt>
                <c:pt idx="1067">
                  <c:v>0.72060535506402801</c:v>
                </c:pt>
                <c:pt idx="1068">
                  <c:v>0.72067039106145203</c:v>
                </c:pt>
                <c:pt idx="1069">
                  <c:v>0.72072072072072102</c:v>
                </c:pt>
                <c:pt idx="1070">
                  <c:v>0.72093023255813904</c:v>
                </c:pt>
                <c:pt idx="1071">
                  <c:v>0.72131147540983598</c:v>
                </c:pt>
                <c:pt idx="1072">
                  <c:v>0.72146118721461205</c:v>
                </c:pt>
                <c:pt idx="1073">
                  <c:v>0.72222222222222199</c:v>
                </c:pt>
                <c:pt idx="1074">
                  <c:v>0.72222222222222199</c:v>
                </c:pt>
                <c:pt idx="1075">
                  <c:v>0.72232304900181499</c:v>
                </c:pt>
                <c:pt idx="1076">
                  <c:v>0.72246696035242297</c:v>
                </c:pt>
                <c:pt idx="1077">
                  <c:v>0.72248803827751196</c:v>
                </c:pt>
                <c:pt idx="1078">
                  <c:v>0.72260273972602695</c:v>
                </c:pt>
                <c:pt idx="1079">
                  <c:v>0.72307692307692295</c:v>
                </c:pt>
                <c:pt idx="1080">
                  <c:v>0.72343632253202705</c:v>
                </c:pt>
                <c:pt idx="1081">
                  <c:v>0.72372372372372396</c:v>
                </c:pt>
                <c:pt idx="1082">
                  <c:v>0.72380952380952401</c:v>
                </c:pt>
                <c:pt idx="1083">
                  <c:v>0.72413793103448298</c:v>
                </c:pt>
                <c:pt idx="1084">
                  <c:v>0.72527472527472503</c:v>
                </c:pt>
                <c:pt idx="1085">
                  <c:v>0.72529644268774696</c:v>
                </c:pt>
                <c:pt idx="1086">
                  <c:v>0.72538860103626901</c:v>
                </c:pt>
                <c:pt idx="1087">
                  <c:v>0.72549019607843102</c:v>
                </c:pt>
                <c:pt idx="1088">
                  <c:v>0.72549019607843102</c:v>
                </c:pt>
                <c:pt idx="1089">
                  <c:v>0.72592592592592597</c:v>
                </c:pt>
                <c:pt idx="1090">
                  <c:v>0.72602739726027399</c:v>
                </c:pt>
                <c:pt idx="1091">
                  <c:v>0.72602739726027399</c:v>
                </c:pt>
                <c:pt idx="1092">
                  <c:v>0.72608695652173905</c:v>
                </c:pt>
                <c:pt idx="1093">
                  <c:v>0.72619047619047605</c:v>
                </c:pt>
                <c:pt idx="1094">
                  <c:v>0.72698412698412695</c:v>
                </c:pt>
                <c:pt idx="1095">
                  <c:v>0.72727272727272696</c:v>
                </c:pt>
                <c:pt idx="1096">
                  <c:v>0.72727272727272696</c:v>
                </c:pt>
                <c:pt idx="1097">
                  <c:v>0.72774869109947604</c:v>
                </c:pt>
                <c:pt idx="1098">
                  <c:v>0.72777777777777797</c:v>
                </c:pt>
                <c:pt idx="1099">
                  <c:v>0.72812500000000002</c:v>
                </c:pt>
                <c:pt idx="1100">
                  <c:v>0.72839506172839497</c:v>
                </c:pt>
                <c:pt idx="1101">
                  <c:v>0.72857142857142798</c:v>
                </c:pt>
                <c:pt idx="1102">
                  <c:v>0.72862957937584805</c:v>
                </c:pt>
                <c:pt idx="1103">
                  <c:v>0.72865275142315</c:v>
                </c:pt>
                <c:pt idx="1104">
                  <c:v>0.72881355932203395</c:v>
                </c:pt>
                <c:pt idx="1105">
                  <c:v>0.72916666666666696</c:v>
                </c:pt>
                <c:pt idx="1106">
                  <c:v>0.72925764192139697</c:v>
                </c:pt>
                <c:pt idx="1107">
                  <c:v>0.72928176795580102</c:v>
                </c:pt>
                <c:pt idx="1108">
                  <c:v>0.72932330827067704</c:v>
                </c:pt>
                <c:pt idx="1109">
                  <c:v>0.72972972972973005</c:v>
                </c:pt>
                <c:pt idx="1110">
                  <c:v>0.73031496062992096</c:v>
                </c:pt>
                <c:pt idx="1111">
                  <c:v>0.73130193905817198</c:v>
                </c:pt>
                <c:pt idx="1112">
                  <c:v>0.73170731707317105</c:v>
                </c:pt>
                <c:pt idx="1113">
                  <c:v>0.73193717277486903</c:v>
                </c:pt>
                <c:pt idx="1114">
                  <c:v>0.731958762886598</c:v>
                </c:pt>
                <c:pt idx="1115">
                  <c:v>0.73237179487179505</c:v>
                </c:pt>
                <c:pt idx="1116">
                  <c:v>0.73255813953488402</c:v>
                </c:pt>
                <c:pt idx="1117">
                  <c:v>0.73257467994310099</c:v>
                </c:pt>
                <c:pt idx="1118">
                  <c:v>0.73265306122449003</c:v>
                </c:pt>
                <c:pt idx="1119">
                  <c:v>0.73275862068965503</c:v>
                </c:pt>
                <c:pt idx="1120">
                  <c:v>0.73317307692307698</c:v>
                </c:pt>
                <c:pt idx="1121">
                  <c:v>0.73333333333333295</c:v>
                </c:pt>
                <c:pt idx="1122">
                  <c:v>0.73333333333333295</c:v>
                </c:pt>
                <c:pt idx="1123">
                  <c:v>0.73333333333333295</c:v>
                </c:pt>
                <c:pt idx="1124">
                  <c:v>0.73360655737704905</c:v>
                </c:pt>
                <c:pt idx="1125">
                  <c:v>0.73410404624277503</c:v>
                </c:pt>
                <c:pt idx="1126">
                  <c:v>0.73426573426573405</c:v>
                </c:pt>
                <c:pt idx="1127">
                  <c:v>0.734375</c:v>
                </c:pt>
                <c:pt idx="1128">
                  <c:v>0.734375</c:v>
                </c:pt>
                <c:pt idx="1129">
                  <c:v>0.73456790123456805</c:v>
                </c:pt>
                <c:pt idx="1130">
                  <c:v>0.73487031700288197</c:v>
                </c:pt>
                <c:pt idx="1131">
                  <c:v>0.73529411764705899</c:v>
                </c:pt>
                <c:pt idx="1132">
                  <c:v>0.73533083645443198</c:v>
                </c:pt>
                <c:pt idx="1133">
                  <c:v>0.73546511627906996</c:v>
                </c:pt>
                <c:pt idx="1134">
                  <c:v>0.73560767590618303</c:v>
                </c:pt>
                <c:pt idx="1135">
                  <c:v>0.73584905660377298</c:v>
                </c:pt>
                <c:pt idx="1136">
                  <c:v>0.73631840796019898</c:v>
                </c:pt>
                <c:pt idx="1137">
                  <c:v>0.73638613861386104</c:v>
                </c:pt>
                <c:pt idx="1138">
                  <c:v>0.73684210526315796</c:v>
                </c:pt>
                <c:pt idx="1139">
                  <c:v>0.73737373737373701</c:v>
                </c:pt>
                <c:pt idx="1140">
                  <c:v>0.73750000000000004</c:v>
                </c:pt>
                <c:pt idx="1141">
                  <c:v>0.73793103448275899</c:v>
                </c:pt>
                <c:pt idx="1142">
                  <c:v>0.73834196891191695</c:v>
                </c:pt>
                <c:pt idx="1143">
                  <c:v>0.73846153846153795</c:v>
                </c:pt>
                <c:pt idx="1144">
                  <c:v>0.73867069486404802</c:v>
                </c:pt>
                <c:pt idx="1145">
                  <c:v>0.73893805309734495</c:v>
                </c:pt>
                <c:pt idx="1146">
                  <c:v>0.73902439024390199</c:v>
                </c:pt>
                <c:pt idx="1147">
                  <c:v>0.73913043478260898</c:v>
                </c:pt>
                <c:pt idx="1148">
                  <c:v>0.73952879581151798</c:v>
                </c:pt>
                <c:pt idx="1149">
                  <c:v>0.73958333333333304</c:v>
                </c:pt>
                <c:pt idx="1150">
                  <c:v>0.73958333333333304</c:v>
                </c:pt>
                <c:pt idx="1151">
                  <c:v>0.73964497041420096</c:v>
                </c:pt>
                <c:pt idx="1152">
                  <c:v>0.73991031390134498</c:v>
                </c:pt>
                <c:pt idx="1153">
                  <c:v>0.73998543335761102</c:v>
                </c:pt>
                <c:pt idx="1154">
                  <c:v>0.74019607843137303</c:v>
                </c:pt>
                <c:pt idx="1155">
                  <c:v>0.74074074074074103</c:v>
                </c:pt>
                <c:pt idx="1156">
                  <c:v>0.74074074074074103</c:v>
                </c:pt>
                <c:pt idx="1157">
                  <c:v>0.74104401228249706</c:v>
                </c:pt>
                <c:pt idx="1158">
                  <c:v>0.74117647058823499</c:v>
                </c:pt>
                <c:pt idx="1159">
                  <c:v>0.74147727272727304</c:v>
                </c:pt>
                <c:pt idx="1160">
                  <c:v>0.74157303370786498</c:v>
                </c:pt>
                <c:pt idx="1161">
                  <c:v>0.74166666666666703</c:v>
                </c:pt>
                <c:pt idx="1162">
                  <c:v>0.74175824175824201</c:v>
                </c:pt>
                <c:pt idx="1163">
                  <c:v>0.74213836477987405</c:v>
                </c:pt>
                <c:pt idx="1164">
                  <c:v>0.74223034734917703</c:v>
                </c:pt>
                <c:pt idx="1165">
                  <c:v>0.74226804123711299</c:v>
                </c:pt>
                <c:pt idx="1166">
                  <c:v>0.74242424242424199</c:v>
                </c:pt>
                <c:pt idx="1167">
                  <c:v>0.74281805745553997</c:v>
                </c:pt>
                <c:pt idx="1168">
                  <c:v>0.74285714285714299</c:v>
                </c:pt>
                <c:pt idx="1169">
                  <c:v>0.74299065420560695</c:v>
                </c:pt>
                <c:pt idx="1170">
                  <c:v>0.74303405572755399</c:v>
                </c:pt>
                <c:pt idx="1171">
                  <c:v>0.74304068522483901</c:v>
                </c:pt>
                <c:pt idx="1172">
                  <c:v>0.74324324324324298</c:v>
                </c:pt>
                <c:pt idx="1173">
                  <c:v>0.74390243902439002</c:v>
                </c:pt>
                <c:pt idx="1174">
                  <c:v>0.74396135265700503</c:v>
                </c:pt>
                <c:pt idx="1175">
                  <c:v>0.74418604651162801</c:v>
                </c:pt>
                <c:pt idx="1176">
                  <c:v>0.74468085106382997</c:v>
                </c:pt>
                <c:pt idx="1177">
                  <c:v>0.74482758620689704</c:v>
                </c:pt>
                <c:pt idx="1178">
                  <c:v>0.74482758620689704</c:v>
                </c:pt>
                <c:pt idx="1179">
                  <c:v>0.744990892531876</c:v>
                </c:pt>
                <c:pt idx="1180">
                  <c:v>0.74509803921568596</c:v>
                </c:pt>
                <c:pt idx="1181">
                  <c:v>0.74545454545454504</c:v>
                </c:pt>
                <c:pt idx="1182">
                  <c:v>0.74548311076198004</c:v>
                </c:pt>
                <c:pt idx="1183">
                  <c:v>0.745882352941176</c:v>
                </c:pt>
                <c:pt idx="1184">
                  <c:v>0.74647887323943696</c:v>
                </c:pt>
                <c:pt idx="1185">
                  <c:v>0.746518105849582</c:v>
                </c:pt>
                <c:pt idx="1186">
                  <c:v>0.74676524953789303</c:v>
                </c:pt>
                <c:pt idx="1187">
                  <c:v>0.74725274725274704</c:v>
                </c:pt>
                <c:pt idx="1188">
                  <c:v>0.74739829706717098</c:v>
                </c:pt>
                <c:pt idx="1189">
                  <c:v>0.74752475247524697</c:v>
                </c:pt>
                <c:pt idx="1190">
                  <c:v>0.74757281553398103</c:v>
                </c:pt>
                <c:pt idx="1191">
                  <c:v>0.74757281553398103</c:v>
                </c:pt>
                <c:pt idx="1192">
                  <c:v>0.74774774774774799</c:v>
                </c:pt>
                <c:pt idx="1193">
                  <c:v>0.74895397489539695</c:v>
                </c:pt>
                <c:pt idx="1194">
                  <c:v>0.74939172749391703</c:v>
                </c:pt>
                <c:pt idx="1195">
                  <c:v>0.749672346002621</c:v>
                </c:pt>
                <c:pt idx="1196">
                  <c:v>0.75</c:v>
                </c:pt>
                <c:pt idx="1197">
                  <c:v>0.75</c:v>
                </c:pt>
                <c:pt idx="1198">
                  <c:v>0.75</c:v>
                </c:pt>
                <c:pt idx="1199">
                  <c:v>0.75</c:v>
                </c:pt>
                <c:pt idx="1200">
                  <c:v>0.75</c:v>
                </c:pt>
                <c:pt idx="1201">
                  <c:v>0.75</c:v>
                </c:pt>
                <c:pt idx="1202">
                  <c:v>0.75</c:v>
                </c:pt>
                <c:pt idx="1203">
                  <c:v>0.75</c:v>
                </c:pt>
                <c:pt idx="1204">
                  <c:v>0.75138121546961301</c:v>
                </c:pt>
                <c:pt idx="1205">
                  <c:v>0.75159235668789803</c:v>
                </c:pt>
                <c:pt idx="1206">
                  <c:v>0.75167785234899298</c:v>
                </c:pt>
                <c:pt idx="1207">
                  <c:v>0.75187969924812004</c:v>
                </c:pt>
                <c:pt idx="1208">
                  <c:v>0.752</c:v>
                </c:pt>
                <c:pt idx="1209">
                  <c:v>0.75238095238095204</c:v>
                </c:pt>
                <c:pt idx="1210">
                  <c:v>0.75247524752475203</c:v>
                </c:pt>
                <c:pt idx="1211">
                  <c:v>0.75257731958762897</c:v>
                </c:pt>
                <c:pt idx="1212">
                  <c:v>0.75331564986737398</c:v>
                </c:pt>
                <c:pt idx="1213">
                  <c:v>0.75342465753424703</c:v>
                </c:pt>
                <c:pt idx="1214">
                  <c:v>0.75349650349650299</c:v>
                </c:pt>
                <c:pt idx="1215">
                  <c:v>0.75384615384615405</c:v>
                </c:pt>
                <c:pt idx="1216">
                  <c:v>0.75384615384615405</c:v>
                </c:pt>
                <c:pt idx="1217">
                  <c:v>0.75395033860045102</c:v>
                </c:pt>
                <c:pt idx="1218">
                  <c:v>0.75413711583924303</c:v>
                </c:pt>
                <c:pt idx="1219">
                  <c:v>0.75423728813559299</c:v>
                </c:pt>
                <c:pt idx="1220">
                  <c:v>0.75438596491228105</c:v>
                </c:pt>
                <c:pt idx="1221">
                  <c:v>0.75444839857651202</c:v>
                </c:pt>
                <c:pt idx="1222">
                  <c:v>0.75456389452332695</c:v>
                </c:pt>
                <c:pt idx="1223">
                  <c:v>0.75471698113207497</c:v>
                </c:pt>
                <c:pt idx="1224">
                  <c:v>0.75471698113207497</c:v>
                </c:pt>
                <c:pt idx="1225">
                  <c:v>0.75471698113207497</c:v>
                </c:pt>
                <c:pt idx="1226">
                  <c:v>0.75471698113207497</c:v>
                </c:pt>
                <c:pt idx="1227">
                  <c:v>0.75483870967741895</c:v>
                </c:pt>
                <c:pt idx="1228">
                  <c:v>0.75496688741721796</c:v>
                </c:pt>
                <c:pt idx="1229">
                  <c:v>0.75517241379310296</c:v>
                </c:pt>
                <c:pt idx="1230">
                  <c:v>0.755186721991701</c:v>
                </c:pt>
                <c:pt idx="1231">
                  <c:v>0.75568181818181801</c:v>
                </c:pt>
                <c:pt idx="1232">
                  <c:v>0.75590551181102394</c:v>
                </c:pt>
                <c:pt idx="1233">
                  <c:v>0.75609756097560998</c:v>
                </c:pt>
                <c:pt idx="1234">
                  <c:v>0.75630252100840301</c:v>
                </c:pt>
                <c:pt idx="1235">
                  <c:v>0.75675675675675702</c:v>
                </c:pt>
                <c:pt idx="1236">
                  <c:v>0.75700934579439205</c:v>
                </c:pt>
                <c:pt idx="1237">
                  <c:v>0.75706214689265505</c:v>
                </c:pt>
                <c:pt idx="1238">
                  <c:v>0.75706214689265505</c:v>
                </c:pt>
                <c:pt idx="1239">
                  <c:v>0.75714285714285701</c:v>
                </c:pt>
                <c:pt idx="1240">
                  <c:v>0.75735294117647001</c:v>
                </c:pt>
                <c:pt idx="1241">
                  <c:v>0.75777777777777799</c:v>
                </c:pt>
                <c:pt idx="1242">
                  <c:v>0.75779376498800899</c:v>
                </c:pt>
                <c:pt idx="1243">
                  <c:v>0.75796178343948994</c:v>
                </c:pt>
                <c:pt idx="1244">
                  <c:v>0.75806451612903203</c:v>
                </c:pt>
                <c:pt idx="1245">
                  <c:v>0.75826086956521699</c:v>
                </c:pt>
                <c:pt idx="1246">
                  <c:v>0.75829383886255897</c:v>
                </c:pt>
                <c:pt idx="1247">
                  <c:v>0.75833333333333297</c:v>
                </c:pt>
                <c:pt idx="1248">
                  <c:v>0.75853018372703396</c:v>
                </c:pt>
                <c:pt idx="1249">
                  <c:v>0.75925925925925897</c:v>
                </c:pt>
                <c:pt idx="1250">
                  <c:v>0.75925925925925897</c:v>
                </c:pt>
                <c:pt idx="1251">
                  <c:v>0.75933609958506199</c:v>
                </c:pt>
                <c:pt idx="1252">
                  <c:v>0.759493670886076</c:v>
                </c:pt>
                <c:pt idx="1253">
                  <c:v>0.75954198473282397</c:v>
                </c:pt>
                <c:pt idx="1254">
                  <c:v>0.75961538461538503</c:v>
                </c:pt>
                <c:pt idx="1255">
                  <c:v>0.75965665236051505</c:v>
                </c:pt>
                <c:pt idx="1256">
                  <c:v>0.75989445910290199</c:v>
                </c:pt>
                <c:pt idx="1257">
                  <c:v>0.75994513031550104</c:v>
                </c:pt>
                <c:pt idx="1258">
                  <c:v>0.76</c:v>
                </c:pt>
                <c:pt idx="1259">
                  <c:v>0.76017441860465096</c:v>
                </c:pt>
                <c:pt idx="1260">
                  <c:v>0.76020408163265296</c:v>
                </c:pt>
                <c:pt idx="1261">
                  <c:v>0.76022304832713705</c:v>
                </c:pt>
                <c:pt idx="1262">
                  <c:v>0.76027397260273999</c:v>
                </c:pt>
                <c:pt idx="1263">
                  <c:v>0.76044226044226004</c:v>
                </c:pt>
                <c:pt idx="1264">
                  <c:v>0.76068376068376098</c:v>
                </c:pt>
                <c:pt idx="1265">
                  <c:v>0.76113360323886603</c:v>
                </c:pt>
                <c:pt idx="1266">
                  <c:v>0.76113360323886603</c:v>
                </c:pt>
                <c:pt idx="1267">
                  <c:v>0.76119402985074602</c:v>
                </c:pt>
                <c:pt idx="1268">
                  <c:v>0.76126126126126104</c:v>
                </c:pt>
                <c:pt idx="1269">
                  <c:v>0.761290322580645</c:v>
                </c:pt>
                <c:pt idx="1270">
                  <c:v>0.76136363636363602</c:v>
                </c:pt>
                <c:pt idx="1271">
                  <c:v>0.76153846153846105</c:v>
                </c:pt>
                <c:pt idx="1272">
                  <c:v>0.76171617161716199</c:v>
                </c:pt>
                <c:pt idx="1273">
                  <c:v>0.76183844011142099</c:v>
                </c:pt>
                <c:pt idx="1274">
                  <c:v>0.76190476190476197</c:v>
                </c:pt>
                <c:pt idx="1275">
                  <c:v>0.76190476190476197</c:v>
                </c:pt>
                <c:pt idx="1276">
                  <c:v>0.76190476190476197</c:v>
                </c:pt>
                <c:pt idx="1277">
                  <c:v>0.76217765042979901</c:v>
                </c:pt>
                <c:pt idx="1278">
                  <c:v>0.76221498371335505</c:v>
                </c:pt>
                <c:pt idx="1279">
                  <c:v>0.76237623762376205</c:v>
                </c:pt>
                <c:pt idx="1280">
                  <c:v>0.76249999999999996</c:v>
                </c:pt>
                <c:pt idx="1281">
                  <c:v>0.76255707762557101</c:v>
                </c:pt>
                <c:pt idx="1282">
                  <c:v>0.76262626262626299</c:v>
                </c:pt>
                <c:pt idx="1283">
                  <c:v>0.762820512820513</c:v>
                </c:pt>
                <c:pt idx="1284">
                  <c:v>0.76294277929155296</c:v>
                </c:pt>
                <c:pt idx="1285">
                  <c:v>0.76315789473684204</c:v>
                </c:pt>
                <c:pt idx="1286">
                  <c:v>0.76322580645161298</c:v>
                </c:pt>
                <c:pt idx="1287">
                  <c:v>0.76328502415458899</c:v>
                </c:pt>
                <c:pt idx="1288">
                  <c:v>0.76377952755905498</c:v>
                </c:pt>
                <c:pt idx="1289">
                  <c:v>0.76388888888888895</c:v>
                </c:pt>
                <c:pt idx="1290">
                  <c:v>0.76388888888888895</c:v>
                </c:pt>
                <c:pt idx="1291">
                  <c:v>0.76411657559198498</c:v>
                </c:pt>
                <c:pt idx="1292">
                  <c:v>0.76420454545454497</c:v>
                </c:pt>
                <c:pt idx="1293">
                  <c:v>0.76433121019108297</c:v>
                </c:pt>
                <c:pt idx="1294">
                  <c:v>0.76452599388379205</c:v>
                </c:pt>
                <c:pt idx="1295">
                  <c:v>0.76459510357815397</c:v>
                </c:pt>
                <c:pt idx="1296">
                  <c:v>0.76470588235294101</c:v>
                </c:pt>
                <c:pt idx="1297">
                  <c:v>0.76470588235294101</c:v>
                </c:pt>
                <c:pt idx="1298">
                  <c:v>0.76510067114094005</c:v>
                </c:pt>
                <c:pt idx="1299">
                  <c:v>0.76525821596244104</c:v>
                </c:pt>
                <c:pt idx="1300">
                  <c:v>0.76526315789473698</c:v>
                </c:pt>
                <c:pt idx="1301">
                  <c:v>0.76551724137930999</c:v>
                </c:pt>
                <c:pt idx="1302">
                  <c:v>0.76605504587156004</c:v>
                </c:pt>
                <c:pt idx="1303">
                  <c:v>0.76623376623376604</c:v>
                </c:pt>
                <c:pt idx="1304">
                  <c:v>0.76694915254237295</c:v>
                </c:pt>
                <c:pt idx="1305">
                  <c:v>0.76701030927835001</c:v>
                </c:pt>
                <c:pt idx="1306">
                  <c:v>0.76712328767123295</c:v>
                </c:pt>
                <c:pt idx="1307">
                  <c:v>0.76712328767123295</c:v>
                </c:pt>
                <c:pt idx="1308">
                  <c:v>0.76744186046511598</c:v>
                </c:pt>
                <c:pt idx="1309">
                  <c:v>0.76744186046511598</c:v>
                </c:pt>
                <c:pt idx="1310">
                  <c:v>0.76760563380281699</c:v>
                </c:pt>
                <c:pt idx="1311">
                  <c:v>0.76760563380281699</c:v>
                </c:pt>
                <c:pt idx="1312">
                  <c:v>0.76785714285714302</c:v>
                </c:pt>
                <c:pt idx="1313">
                  <c:v>0.76811594202898503</c:v>
                </c:pt>
                <c:pt idx="1314">
                  <c:v>0.76834659593280297</c:v>
                </c:pt>
                <c:pt idx="1315">
                  <c:v>0.768421052631579</c:v>
                </c:pt>
                <c:pt idx="1316">
                  <c:v>0.76848874598070704</c:v>
                </c:pt>
                <c:pt idx="1317">
                  <c:v>0.76870748299319702</c:v>
                </c:pt>
                <c:pt idx="1318">
                  <c:v>0.76875000000000004</c:v>
                </c:pt>
                <c:pt idx="1319">
                  <c:v>0.76923076923076905</c:v>
                </c:pt>
                <c:pt idx="1320">
                  <c:v>0.76923076923076905</c:v>
                </c:pt>
                <c:pt idx="1321">
                  <c:v>0.76923076923076905</c:v>
                </c:pt>
                <c:pt idx="1322">
                  <c:v>0.76923076923076905</c:v>
                </c:pt>
                <c:pt idx="1323">
                  <c:v>0.76941176470588202</c:v>
                </c:pt>
                <c:pt idx="1324">
                  <c:v>0.76942355889724301</c:v>
                </c:pt>
                <c:pt idx="1325">
                  <c:v>0.76984126984126999</c:v>
                </c:pt>
                <c:pt idx="1326">
                  <c:v>0.77027027027026995</c:v>
                </c:pt>
                <c:pt idx="1327">
                  <c:v>0.77074235807860303</c:v>
                </c:pt>
                <c:pt idx="1328">
                  <c:v>0.77083333333333304</c:v>
                </c:pt>
                <c:pt idx="1329">
                  <c:v>0.77083333333333304</c:v>
                </c:pt>
                <c:pt idx="1330">
                  <c:v>0.77097996751488895</c:v>
                </c:pt>
                <c:pt idx="1331">
                  <c:v>0.77173913043478304</c:v>
                </c:pt>
                <c:pt idx="1332">
                  <c:v>0.77173913043478304</c:v>
                </c:pt>
                <c:pt idx="1333">
                  <c:v>0.77186311787072204</c:v>
                </c:pt>
                <c:pt idx="1334">
                  <c:v>0.77227722772277196</c:v>
                </c:pt>
                <c:pt idx="1335">
                  <c:v>0.77227722772277196</c:v>
                </c:pt>
                <c:pt idx="1336">
                  <c:v>0.77235772357723598</c:v>
                </c:pt>
                <c:pt idx="1337">
                  <c:v>0.772486772486772</c:v>
                </c:pt>
                <c:pt idx="1338">
                  <c:v>0.77251184834123199</c:v>
                </c:pt>
                <c:pt idx="1339">
                  <c:v>0.77310924369747902</c:v>
                </c:pt>
                <c:pt idx="1340">
                  <c:v>0.77364864864864902</c:v>
                </c:pt>
                <c:pt idx="1341">
                  <c:v>0.77366255144032903</c:v>
                </c:pt>
                <c:pt idx="1342">
                  <c:v>0.77391304347826095</c:v>
                </c:pt>
                <c:pt idx="1343">
                  <c:v>0.77396021699819195</c:v>
                </c:pt>
                <c:pt idx="1344">
                  <c:v>0.77403846153846101</c:v>
                </c:pt>
                <c:pt idx="1345">
                  <c:v>0.77419354838709697</c:v>
                </c:pt>
                <c:pt idx="1346">
                  <c:v>0.77428571428571402</c:v>
                </c:pt>
                <c:pt idx="1347">
                  <c:v>0.77435897435897405</c:v>
                </c:pt>
                <c:pt idx="1348">
                  <c:v>0.77450980392156898</c:v>
                </c:pt>
                <c:pt idx="1349">
                  <c:v>0.77464788732394396</c:v>
                </c:pt>
                <c:pt idx="1350">
                  <c:v>0.77472527472527497</c:v>
                </c:pt>
                <c:pt idx="1351">
                  <c:v>0.77480916030534297</c:v>
                </c:pt>
                <c:pt idx="1352">
                  <c:v>0.77559055118110198</c:v>
                </c:pt>
                <c:pt idx="1353">
                  <c:v>0.77611940298507498</c:v>
                </c:pt>
                <c:pt idx="1354">
                  <c:v>0.77622377622377603</c:v>
                </c:pt>
                <c:pt idx="1355">
                  <c:v>0.77631578947368396</c:v>
                </c:pt>
                <c:pt idx="1356">
                  <c:v>0.77631578947368396</c:v>
                </c:pt>
                <c:pt idx="1357">
                  <c:v>0.77634961439588701</c:v>
                </c:pt>
                <c:pt idx="1358">
                  <c:v>0.77634961439588701</c:v>
                </c:pt>
                <c:pt idx="1359">
                  <c:v>0.77637130801687804</c:v>
                </c:pt>
                <c:pt idx="1360">
                  <c:v>0.77659574468085102</c:v>
                </c:pt>
                <c:pt idx="1361">
                  <c:v>0.77698574338085502</c:v>
                </c:pt>
                <c:pt idx="1362">
                  <c:v>0.77737226277372296</c:v>
                </c:pt>
                <c:pt idx="1363">
                  <c:v>0.77747989276139395</c:v>
                </c:pt>
                <c:pt idx="1364">
                  <c:v>0.77777777777777801</c:v>
                </c:pt>
                <c:pt idx="1365">
                  <c:v>0.77777777777777801</c:v>
                </c:pt>
                <c:pt idx="1366">
                  <c:v>0.77816291161178497</c:v>
                </c:pt>
                <c:pt idx="1367">
                  <c:v>0.778481012658228</c:v>
                </c:pt>
                <c:pt idx="1368">
                  <c:v>0.77868852459016402</c:v>
                </c:pt>
                <c:pt idx="1369">
                  <c:v>0.77884615384615397</c:v>
                </c:pt>
                <c:pt idx="1370">
                  <c:v>0.77911646586345396</c:v>
                </c:pt>
                <c:pt idx="1371">
                  <c:v>0.77922077922077904</c:v>
                </c:pt>
                <c:pt idx="1372">
                  <c:v>0.77927063339731295</c:v>
                </c:pt>
                <c:pt idx="1373">
                  <c:v>0.77971014492753599</c:v>
                </c:pt>
                <c:pt idx="1374">
                  <c:v>0.78</c:v>
                </c:pt>
                <c:pt idx="1375">
                  <c:v>0.78</c:v>
                </c:pt>
                <c:pt idx="1376">
                  <c:v>0.78</c:v>
                </c:pt>
                <c:pt idx="1377">
                  <c:v>0.78012684989429204</c:v>
                </c:pt>
                <c:pt idx="1378">
                  <c:v>0.78021978021978</c:v>
                </c:pt>
                <c:pt idx="1379">
                  <c:v>0.78048780487804903</c:v>
                </c:pt>
                <c:pt idx="1380">
                  <c:v>0.78048780487804903</c:v>
                </c:pt>
                <c:pt idx="1381">
                  <c:v>0.78048780487804903</c:v>
                </c:pt>
                <c:pt idx="1382">
                  <c:v>0.78104875804967799</c:v>
                </c:pt>
                <c:pt idx="1383">
                  <c:v>0.78113207547169805</c:v>
                </c:pt>
                <c:pt idx="1384">
                  <c:v>0.78118609406952999</c:v>
                </c:pt>
                <c:pt idx="1385">
                  <c:v>0.78125</c:v>
                </c:pt>
                <c:pt idx="1386">
                  <c:v>0.78171091445427698</c:v>
                </c:pt>
                <c:pt idx="1387">
                  <c:v>0.78187919463087197</c:v>
                </c:pt>
                <c:pt idx="1388">
                  <c:v>0.78199052132701397</c:v>
                </c:pt>
                <c:pt idx="1389">
                  <c:v>0.782258064516129</c:v>
                </c:pt>
                <c:pt idx="1390">
                  <c:v>0.78235294117647103</c:v>
                </c:pt>
                <c:pt idx="1391">
                  <c:v>0.78313253012048201</c:v>
                </c:pt>
                <c:pt idx="1392">
                  <c:v>0.78333333333333299</c:v>
                </c:pt>
                <c:pt idx="1393">
                  <c:v>0.78333333333333299</c:v>
                </c:pt>
                <c:pt idx="1394">
                  <c:v>0.783357245337159</c:v>
                </c:pt>
                <c:pt idx="1395">
                  <c:v>0.78348439073514597</c:v>
                </c:pt>
                <c:pt idx="1396">
                  <c:v>0.78378378378378399</c:v>
                </c:pt>
                <c:pt idx="1397">
                  <c:v>0.78378378378378399</c:v>
                </c:pt>
                <c:pt idx="1398">
                  <c:v>0.78409090909090895</c:v>
                </c:pt>
                <c:pt idx="1399">
                  <c:v>0.78414442700157005</c:v>
                </c:pt>
                <c:pt idx="1400">
                  <c:v>0.78417266187050405</c:v>
                </c:pt>
                <c:pt idx="1401">
                  <c:v>0.78431372549019596</c:v>
                </c:pt>
                <c:pt idx="1402">
                  <c:v>0.78461538461538505</c:v>
                </c:pt>
                <c:pt idx="1403">
                  <c:v>0.78487972508591097</c:v>
                </c:pt>
                <c:pt idx="1404">
                  <c:v>0.78494623655913998</c:v>
                </c:pt>
                <c:pt idx="1405">
                  <c:v>0.78494623655913998</c:v>
                </c:pt>
                <c:pt idx="1406">
                  <c:v>0.78495502861815203</c:v>
                </c:pt>
                <c:pt idx="1407">
                  <c:v>0.78504672897196304</c:v>
                </c:pt>
                <c:pt idx="1408">
                  <c:v>0.78540772532188796</c:v>
                </c:pt>
                <c:pt idx="1409">
                  <c:v>0.78547854785478499</c:v>
                </c:pt>
                <c:pt idx="1410">
                  <c:v>0.78571428571428603</c:v>
                </c:pt>
                <c:pt idx="1411">
                  <c:v>0.78571428571428603</c:v>
                </c:pt>
                <c:pt idx="1412">
                  <c:v>0.78571428571428603</c:v>
                </c:pt>
                <c:pt idx="1413">
                  <c:v>0.78571428571428603</c:v>
                </c:pt>
                <c:pt idx="1414">
                  <c:v>0.78597785977859802</c:v>
                </c:pt>
                <c:pt idx="1415">
                  <c:v>0.786274509803921</c:v>
                </c:pt>
                <c:pt idx="1416">
                  <c:v>0.78644067796610195</c:v>
                </c:pt>
                <c:pt idx="1417">
                  <c:v>0.78645833333333304</c:v>
                </c:pt>
                <c:pt idx="1418">
                  <c:v>0.78651685393258397</c:v>
                </c:pt>
                <c:pt idx="1419">
                  <c:v>0.78658536585365801</c:v>
                </c:pt>
                <c:pt idx="1420">
                  <c:v>0.78703703703703698</c:v>
                </c:pt>
                <c:pt idx="1421">
                  <c:v>0.78714859437750995</c:v>
                </c:pt>
                <c:pt idx="1422">
                  <c:v>0.78722044728434504</c:v>
                </c:pt>
                <c:pt idx="1423">
                  <c:v>0.78770949720670402</c:v>
                </c:pt>
                <c:pt idx="1424">
                  <c:v>0.78801843317972298</c:v>
                </c:pt>
                <c:pt idx="1425">
                  <c:v>0.78846153846153799</c:v>
                </c:pt>
                <c:pt idx="1426">
                  <c:v>0.78873239436619702</c:v>
                </c:pt>
                <c:pt idx="1427">
                  <c:v>0.78896551724137898</c:v>
                </c:pt>
                <c:pt idx="1428">
                  <c:v>0.7890625</c:v>
                </c:pt>
                <c:pt idx="1429">
                  <c:v>0.78923766816143504</c:v>
                </c:pt>
                <c:pt idx="1430">
                  <c:v>0.78947368421052599</c:v>
                </c:pt>
                <c:pt idx="1431">
                  <c:v>0.78974358974359005</c:v>
                </c:pt>
                <c:pt idx="1432">
                  <c:v>0.79012345679012297</c:v>
                </c:pt>
                <c:pt idx="1433">
                  <c:v>0.79050736497545004</c:v>
                </c:pt>
                <c:pt idx="1434">
                  <c:v>0.79061371841155204</c:v>
                </c:pt>
                <c:pt idx="1435">
                  <c:v>0.79069767441860495</c:v>
                </c:pt>
                <c:pt idx="1436">
                  <c:v>0.79075425790754295</c:v>
                </c:pt>
                <c:pt idx="1437">
                  <c:v>0.79084967320261401</c:v>
                </c:pt>
                <c:pt idx="1438">
                  <c:v>0.79090909090909101</c:v>
                </c:pt>
                <c:pt idx="1439">
                  <c:v>0.79096045197740095</c:v>
                </c:pt>
                <c:pt idx="1440">
                  <c:v>0.79104477611940305</c:v>
                </c:pt>
                <c:pt idx="1441">
                  <c:v>0.79135872654917605</c:v>
                </c:pt>
                <c:pt idx="1442">
                  <c:v>0.79166666666666696</c:v>
                </c:pt>
                <c:pt idx="1443">
                  <c:v>0.79166666666666696</c:v>
                </c:pt>
                <c:pt idx="1444">
                  <c:v>0.79166666666666696</c:v>
                </c:pt>
                <c:pt idx="1445">
                  <c:v>0.79166666666666696</c:v>
                </c:pt>
                <c:pt idx="1446">
                  <c:v>0.79174484052532801</c:v>
                </c:pt>
                <c:pt idx="1447">
                  <c:v>0.79203539823008795</c:v>
                </c:pt>
                <c:pt idx="1448">
                  <c:v>0.79230769230769205</c:v>
                </c:pt>
                <c:pt idx="1449">
                  <c:v>0.79243353783231096</c:v>
                </c:pt>
                <c:pt idx="1450">
                  <c:v>0.79245283018867896</c:v>
                </c:pt>
                <c:pt idx="1451">
                  <c:v>0.792682926829268</c:v>
                </c:pt>
                <c:pt idx="1452">
                  <c:v>0.79279279279279302</c:v>
                </c:pt>
                <c:pt idx="1453">
                  <c:v>0.79310344827586199</c:v>
                </c:pt>
                <c:pt idx="1454">
                  <c:v>0.79335793357933604</c:v>
                </c:pt>
                <c:pt idx="1455">
                  <c:v>0.793522267206478</c:v>
                </c:pt>
                <c:pt idx="1456">
                  <c:v>0.79385171790235098</c:v>
                </c:pt>
                <c:pt idx="1457">
                  <c:v>0.79389312977099202</c:v>
                </c:pt>
                <c:pt idx="1458">
                  <c:v>0.79392142327650095</c:v>
                </c:pt>
                <c:pt idx="1459">
                  <c:v>0.79411764705882304</c:v>
                </c:pt>
                <c:pt idx="1460">
                  <c:v>0.79427083333333304</c:v>
                </c:pt>
                <c:pt idx="1461">
                  <c:v>0.79464285714285698</c:v>
                </c:pt>
                <c:pt idx="1462">
                  <c:v>0.79480519480519496</c:v>
                </c:pt>
                <c:pt idx="1463">
                  <c:v>0.79480519480519496</c:v>
                </c:pt>
                <c:pt idx="1464">
                  <c:v>0.79487179487179505</c:v>
                </c:pt>
                <c:pt idx="1465">
                  <c:v>0.79496402877697803</c:v>
                </c:pt>
                <c:pt idx="1466">
                  <c:v>0.79518072289156605</c:v>
                </c:pt>
                <c:pt idx="1467">
                  <c:v>0.79527559055118102</c:v>
                </c:pt>
                <c:pt idx="1468">
                  <c:v>0.79534883720930205</c:v>
                </c:pt>
                <c:pt idx="1469">
                  <c:v>0.79545454545454497</c:v>
                </c:pt>
                <c:pt idx="1470">
                  <c:v>0.79581151832460695</c:v>
                </c:pt>
                <c:pt idx="1471">
                  <c:v>0.79587155963302703</c:v>
                </c:pt>
                <c:pt idx="1472">
                  <c:v>0.79611650485436902</c:v>
                </c:pt>
                <c:pt idx="1473">
                  <c:v>0.79613733905579398</c:v>
                </c:pt>
                <c:pt idx="1474">
                  <c:v>0.79615384615384599</c:v>
                </c:pt>
                <c:pt idx="1475">
                  <c:v>0.79617834394904496</c:v>
                </c:pt>
                <c:pt idx="1476">
                  <c:v>0.79629629629629595</c:v>
                </c:pt>
                <c:pt idx="1477">
                  <c:v>0.79638009049773695</c:v>
                </c:pt>
                <c:pt idx="1478">
                  <c:v>0.79705882352941204</c:v>
                </c:pt>
                <c:pt idx="1479">
                  <c:v>0.79728199320498305</c:v>
                </c:pt>
                <c:pt idx="1480">
                  <c:v>0.79729729729729704</c:v>
                </c:pt>
                <c:pt idx="1481">
                  <c:v>0.797619047619048</c:v>
                </c:pt>
                <c:pt idx="1482">
                  <c:v>0.79811097992916202</c:v>
                </c:pt>
                <c:pt idx="1483">
                  <c:v>0.79843225083986502</c:v>
                </c:pt>
                <c:pt idx="1484">
                  <c:v>0.79844961240310097</c:v>
                </c:pt>
                <c:pt idx="1485">
                  <c:v>0.79874213836478003</c:v>
                </c:pt>
                <c:pt idx="1486">
                  <c:v>0.79878577623590596</c:v>
                </c:pt>
                <c:pt idx="1487">
                  <c:v>0.79903147699757904</c:v>
                </c:pt>
                <c:pt idx="1488">
                  <c:v>0.79934747145187601</c:v>
                </c:pt>
                <c:pt idx="1489">
                  <c:v>0.79936305732484103</c:v>
                </c:pt>
                <c:pt idx="1490">
                  <c:v>0.79939209726443805</c:v>
                </c:pt>
                <c:pt idx="1491">
                  <c:v>0.79941002949852502</c:v>
                </c:pt>
                <c:pt idx="1492">
                  <c:v>0.79960707269155196</c:v>
                </c:pt>
                <c:pt idx="1493">
                  <c:v>0.8</c:v>
                </c:pt>
                <c:pt idx="1494">
                  <c:v>0.8</c:v>
                </c:pt>
                <c:pt idx="1495">
                  <c:v>0.8</c:v>
                </c:pt>
                <c:pt idx="1496">
                  <c:v>0.8</c:v>
                </c:pt>
                <c:pt idx="1497">
                  <c:v>0.8</c:v>
                </c:pt>
                <c:pt idx="1498">
                  <c:v>0.80050505050505005</c:v>
                </c:pt>
                <c:pt idx="1499">
                  <c:v>0.80069930069930095</c:v>
                </c:pt>
                <c:pt idx="1500">
                  <c:v>0.80078125</c:v>
                </c:pt>
                <c:pt idx="1501">
                  <c:v>0.80080753701211305</c:v>
                </c:pt>
                <c:pt idx="1502">
                  <c:v>0.80082701585113703</c:v>
                </c:pt>
                <c:pt idx="1503">
                  <c:v>0.80104712041884796</c:v>
                </c:pt>
                <c:pt idx="1504">
                  <c:v>0.801104972375691</c:v>
                </c:pt>
                <c:pt idx="1505">
                  <c:v>0.80118110236220497</c:v>
                </c:pt>
                <c:pt idx="1506">
                  <c:v>0.80118694362017795</c:v>
                </c:pt>
                <c:pt idx="1507">
                  <c:v>0.80122950819672101</c:v>
                </c:pt>
                <c:pt idx="1508">
                  <c:v>0.80124223602484501</c:v>
                </c:pt>
                <c:pt idx="1509">
                  <c:v>0.80131004366812197</c:v>
                </c:pt>
                <c:pt idx="1510">
                  <c:v>0.801337153772684</c:v>
                </c:pt>
                <c:pt idx="1511">
                  <c:v>0.80147058823529405</c:v>
                </c:pt>
                <c:pt idx="1512">
                  <c:v>0.80147058823529405</c:v>
                </c:pt>
                <c:pt idx="1513">
                  <c:v>0.80154639175257703</c:v>
                </c:pt>
                <c:pt idx="1514">
                  <c:v>0.80161290322580603</c:v>
                </c:pt>
                <c:pt idx="1515">
                  <c:v>0.80172413793103403</c:v>
                </c:pt>
                <c:pt idx="1516">
                  <c:v>0.80203045685279195</c:v>
                </c:pt>
                <c:pt idx="1517">
                  <c:v>0.80232558139534904</c:v>
                </c:pt>
                <c:pt idx="1518">
                  <c:v>0.80258899676375395</c:v>
                </c:pt>
                <c:pt idx="1519">
                  <c:v>0.80281690140845097</c:v>
                </c:pt>
                <c:pt idx="1520">
                  <c:v>0.80281690140845097</c:v>
                </c:pt>
                <c:pt idx="1521">
                  <c:v>0.80291970802919699</c:v>
                </c:pt>
                <c:pt idx="1522">
                  <c:v>0.80299785867237705</c:v>
                </c:pt>
                <c:pt idx="1523">
                  <c:v>0.80313418217433896</c:v>
                </c:pt>
                <c:pt idx="1524">
                  <c:v>0.80337078651685401</c:v>
                </c:pt>
                <c:pt idx="1525">
                  <c:v>0.80378250591016498</c:v>
                </c:pt>
                <c:pt idx="1526">
                  <c:v>0.80395683453237399</c:v>
                </c:pt>
                <c:pt idx="1527">
                  <c:v>0.80429594272076399</c:v>
                </c:pt>
                <c:pt idx="1528">
                  <c:v>0.80465444287729204</c:v>
                </c:pt>
                <c:pt idx="1529">
                  <c:v>0.80500894454382799</c:v>
                </c:pt>
                <c:pt idx="1530">
                  <c:v>0.80503144654088099</c:v>
                </c:pt>
                <c:pt idx="1531">
                  <c:v>0.80519480519480502</c:v>
                </c:pt>
                <c:pt idx="1532">
                  <c:v>0.80526315789473701</c:v>
                </c:pt>
                <c:pt idx="1533">
                  <c:v>0.80546623794212202</c:v>
                </c:pt>
                <c:pt idx="1534">
                  <c:v>0.80547112462006099</c:v>
                </c:pt>
                <c:pt idx="1535">
                  <c:v>0.80547945205479399</c:v>
                </c:pt>
                <c:pt idx="1536">
                  <c:v>0.80555555555555602</c:v>
                </c:pt>
                <c:pt idx="1537">
                  <c:v>0.80555555555555602</c:v>
                </c:pt>
                <c:pt idx="1538">
                  <c:v>0.80555555555555602</c:v>
                </c:pt>
                <c:pt idx="1539">
                  <c:v>0.80555555555555602</c:v>
                </c:pt>
                <c:pt idx="1540">
                  <c:v>0.80555555555555602</c:v>
                </c:pt>
                <c:pt idx="1541">
                  <c:v>0.805755395683453</c:v>
                </c:pt>
                <c:pt idx="1542">
                  <c:v>0.80609418282548495</c:v>
                </c:pt>
                <c:pt idx="1543">
                  <c:v>0.80616740088105698</c:v>
                </c:pt>
                <c:pt idx="1544">
                  <c:v>0.80656934306569295</c:v>
                </c:pt>
                <c:pt idx="1545">
                  <c:v>0.80666666666666698</c:v>
                </c:pt>
                <c:pt idx="1546">
                  <c:v>0.80672268907563005</c:v>
                </c:pt>
                <c:pt idx="1547">
                  <c:v>0.80701754385964897</c:v>
                </c:pt>
                <c:pt idx="1548">
                  <c:v>0.80720338983050799</c:v>
                </c:pt>
                <c:pt idx="1549">
                  <c:v>0.807339449541284</c:v>
                </c:pt>
                <c:pt idx="1550">
                  <c:v>0.80740740740740702</c:v>
                </c:pt>
                <c:pt idx="1551">
                  <c:v>0.80742049469964705</c:v>
                </c:pt>
                <c:pt idx="1552">
                  <c:v>0.80751173708920199</c:v>
                </c:pt>
                <c:pt idx="1553">
                  <c:v>0.80769230769230804</c:v>
                </c:pt>
                <c:pt idx="1554">
                  <c:v>0.80769230769230804</c:v>
                </c:pt>
                <c:pt idx="1555">
                  <c:v>0.80816326530612204</c:v>
                </c:pt>
                <c:pt idx="1556">
                  <c:v>0.80821917808219201</c:v>
                </c:pt>
                <c:pt idx="1557">
                  <c:v>0.80827886710239605</c:v>
                </c:pt>
                <c:pt idx="1558">
                  <c:v>0.80880974695407704</c:v>
                </c:pt>
                <c:pt idx="1559">
                  <c:v>0.80923076923076898</c:v>
                </c:pt>
                <c:pt idx="1560">
                  <c:v>0.80927835051546404</c:v>
                </c:pt>
                <c:pt idx="1561">
                  <c:v>0.80940594059405901</c:v>
                </c:pt>
                <c:pt idx="1562">
                  <c:v>0.80952380952380898</c:v>
                </c:pt>
                <c:pt idx="1563">
                  <c:v>0.80952380952380898</c:v>
                </c:pt>
                <c:pt idx="1564">
                  <c:v>0.80952380952380898</c:v>
                </c:pt>
                <c:pt idx="1565">
                  <c:v>0.81</c:v>
                </c:pt>
                <c:pt idx="1566">
                  <c:v>0.810065645514223</c:v>
                </c:pt>
                <c:pt idx="1567">
                  <c:v>0.81055900621118004</c:v>
                </c:pt>
                <c:pt idx="1568">
                  <c:v>0.810606060606061</c:v>
                </c:pt>
                <c:pt idx="1569">
                  <c:v>0.81081081081081097</c:v>
                </c:pt>
                <c:pt idx="1570">
                  <c:v>0.81081081081081097</c:v>
                </c:pt>
                <c:pt idx="1571">
                  <c:v>0.81081081081081097</c:v>
                </c:pt>
                <c:pt idx="1572">
                  <c:v>0.810983397190294</c:v>
                </c:pt>
                <c:pt idx="1573">
                  <c:v>0.81111111111111101</c:v>
                </c:pt>
                <c:pt idx="1574">
                  <c:v>0.81111111111111101</c:v>
                </c:pt>
                <c:pt idx="1575">
                  <c:v>0.81125827814569496</c:v>
                </c:pt>
                <c:pt idx="1576">
                  <c:v>0.81173594132029303</c:v>
                </c:pt>
                <c:pt idx="1577">
                  <c:v>0.81176470588235305</c:v>
                </c:pt>
                <c:pt idx="1578">
                  <c:v>0.81222707423580798</c:v>
                </c:pt>
                <c:pt idx="1579">
                  <c:v>0.8125</c:v>
                </c:pt>
                <c:pt idx="1580">
                  <c:v>0.8125</c:v>
                </c:pt>
                <c:pt idx="1581">
                  <c:v>0.8125</c:v>
                </c:pt>
                <c:pt idx="1582">
                  <c:v>0.81265206812652102</c:v>
                </c:pt>
                <c:pt idx="1583">
                  <c:v>0.812875536480687</c:v>
                </c:pt>
                <c:pt idx="1584">
                  <c:v>0.81300813008130102</c:v>
                </c:pt>
                <c:pt idx="1585">
                  <c:v>0.81355932203389802</c:v>
                </c:pt>
                <c:pt idx="1586">
                  <c:v>0.81366965012204995</c:v>
                </c:pt>
                <c:pt idx="1587">
                  <c:v>0.81390296886314295</c:v>
                </c:pt>
                <c:pt idx="1588">
                  <c:v>0.81424936386768398</c:v>
                </c:pt>
                <c:pt idx="1589">
                  <c:v>0.81434977578475298</c:v>
                </c:pt>
                <c:pt idx="1590">
                  <c:v>0.81443298969072198</c:v>
                </c:pt>
                <c:pt idx="1591">
                  <c:v>0.81446540880503104</c:v>
                </c:pt>
                <c:pt idx="1592">
                  <c:v>0.81467181467181504</c:v>
                </c:pt>
                <c:pt idx="1593">
                  <c:v>0.81481481481481499</c:v>
                </c:pt>
                <c:pt idx="1594">
                  <c:v>0.81501831501831501</c:v>
                </c:pt>
                <c:pt idx="1595">
                  <c:v>0.81533101045296197</c:v>
                </c:pt>
                <c:pt idx="1596">
                  <c:v>0.81534090909090895</c:v>
                </c:pt>
                <c:pt idx="1597">
                  <c:v>0.81551618814905302</c:v>
                </c:pt>
                <c:pt idx="1598">
                  <c:v>0.81572860447185802</c:v>
                </c:pt>
                <c:pt idx="1599">
                  <c:v>0.81578947368420995</c:v>
                </c:pt>
                <c:pt idx="1600">
                  <c:v>0.81578947368420995</c:v>
                </c:pt>
                <c:pt idx="1601">
                  <c:v>0.81578947368420995</c:v>
                </c:pt>
                <c:pt idx="1602">
                  <c:v>0.81603773584905703</c:v>
                </c:pt>
                <c:pt idx="1603">
                  <c:v>0.81628392484342405</c:v>
                </c:pt>
                <c:pt idx="1604">
                  <c:v>0.81644934804413205</c:v>
                </c:pt>
                <c:pt idx="1605">
                  <c:v>0.81666666666666698</c:v>
                </c:pt>
                <c:pt idx="1606">
                  <c:v>0.81707317073170704</c:v>
                </c:pt>
                <c:pt idx="1607">
                  <c:v>0.81749049429657805</c:v>
                </c:pt>
                <c:pt idx="1608">
                  <c:v>0.81751824817518204</c:v>
                </c:pt>
                <c:pt idx="1609">
                  <c:v>0.81784386617100402</c:v>
                </c:pt>
                <c:pt idx="1610">
                  <c:v>0.81818181818181801</c:v>
                </c:pt>
                <c:pt idx="1611">
                  <c:v>0.81818181818181801</c:v>
                </c:pt>
                <c:pt idx="1612">
                  <c:v>0.81818181818181801</c:v>
                </c:pt>
                <c:pt idx="1613">
                  <c:v>0.81845238095238104</c:v>
                </c:pt>
                <c:pt idx="1614">
                  <c:v>0.81858407079646001</c:v>
                </c:pt>
                <c:pt idx="1615">
                  <c:v>0.81862745098039202</c:v>
                </c:pt>
                <c:pt idx="1616">
                  <c:v>0.81868131868131899</c:v>
                </c:pt>
                <c:pt idx="1617">
                  <c:v>0.81871345029239795</c:v>
                </c:pt>
                <c:pt idx="1618">
                  <c:v>0.81881533101045301</c:v>
                </c:pt>
                <c:pt idx="1619">
                  <c:v>0.81886792452830204</c:v>
                </c:pt>
                <c:pt idx="1620">
                  <c:v>0.81889763779527602</c:v>
                </c:pt>
                <c:pt idx="1621">
                  <c:v>0.81954887218045103</c:v>
                </c:pt>
                <c:pt idx="1622">
                  <c:v>0.81987577639751497</c:v>
                </c:pt>
                <c:pt idx="1623">
                  <c:v>0.81987577639751497</c:v>
                </c:pt>
                <c:pt idx="1624">
                  <c:v>0.81987577639751497</c:v>
                </c:pt>
                <c:pt idx="1625">
                  <c:v>0.81993006993007</c:v>
                </c:pt>
                <c:pt idx="1626">
                  <c:v>0.82010582010582</c:v>
                </c:pt>
                <c:pt idx="1627">
                  <c:v>0.82066869300911804</c:v>
                </c:pt>
                <c:pt idx="1628">
                  <c:v>0.82071269487750498</c:v>
                </c:pt>
                <c:pt idx="1629">
                  <c:v>0.820754716981132</c:v>
                </c:pt>
                <c:pt idx="1630">
                  <c:v>0.82079646017699104</c:v>
                </c:pt>
                <c:pt idx="1631">
                  <c:v>0.82088208820882103</c:v>
                </c:pt>
                <c:pt idx="1632">
                  <c:v>0.82095490716180397</c:v>
                </c:pt>
                <c:pt idx="1633">
                  <c:v>0.82107023411371205</c:v>
                </c:pt>
                <c:pt idx="1634">
                  <c:v>0.821187584345479</c:v>
                </c:pt>
                <c:pt idx="1635">
                  <c:v>0.82119205298013198</c:v>
                </c:pt>
                <c:pt idx="1636">
                  <c:v>0.82121212121212095</c:v>
                </c:pt>
                <c:pt idx="1637">
                  <c:v>0.82142857142857095</c:v>
                </c:pt>
                <c:pt idx="1638">
                  <c:v>0.82183908045977005</c:v>
                </c:pt>
                <c:pt idx="1639">
                  <c:v>0.82205882352941195</c:v>
                </c:pt>
                <c:pt idx="1640">
                  <c:v>0.82222222222222197</c:v>
                </c:pt>
                <c:pt idx="1641">
                  <c:v>0.822257806244996</c:v>
                </c:pt>
                <c:pt idx="1642">
                  <c:v>0.82258064516129004</c:v>
                </c:pt>
                <c:pt idx="1643">
                  <c:v>0.82258064516129004</c:v>
                </c:pt>
                <c:pt idx="1644">
                  <c:v>0.82269503546099298</c:v>
                </c:pt>
                <c:pt idx="1645">
                  <c:v>0.82280867106503297</c:v>
                </c:pt>
                <c:pt idx="1646">
                  <c:v>0.82285714285714295</c:v>
                </c:pt>
                <c:pt idx="1647">
                  <c:v>0.82317073170731703</c:v>
                </c:pt>
                <c:pt idx="1648">
                  <c:v>0.82319660537482298</c:v>
                </c:pt>
                <c:pt idx="1649">
                  <c:v>0.82344213649851605</c:v>
                </c:pt>
                <c:pt idx="1650">
                  <c:v>0.82352941176470595</c:v>
                </c:pt>
                <c:pt idx="1651">
                  <c:v>0.82352941176470595</c:v>
                </c:pt>
                <c:pt idx="1652">
                  <c:v>0.82365364308342104</c:v>
                </c:pt>
                <c:pt idx="1653">
                  <c:v>0.82367149758454095</c:v>
                </c:pt>
                <c:pt idx="1654">
                  <c:v>0.82369146005509597</c:v>
                </c:pt>
                <c:pt idx="1655">
                  <c:v>0.82385120350109398</c:v>
                </c:pt>
                <c:pt idx="1656">
                  <c:v>0.82456140350877205</c:v>
                </c:pt>
                <c:pt idx="1657">
                  <c:v>0.82456140350877205</c:v>
                </c:pt>
                <c:pt idx="1658">
                  <c:v>0.82499999999999996</c:v>
                </c:pt>
                <c:pt idx="1659">
                  <c:v>0.82505399568034499</c:v>
                </c:pt>
                <c:pt idx="1660">
                  <c:v>0.82513661202185795</c:v>
                </c:pt>
                <c:pt idx="1661">
                  <c:v>0.82527881040892204</c:v>
                </c:pt>
                <c:pt idx="1662">
                  <c:v>0.82539682539682502</c:v>
                </c:pt>
                <c:pt idx="1663">
                  <c:v>0.82558922558922498</c:v>
                </c:pt>
                <c:pt idx="1664">
                  <c:v>0.82564102564102604</c:v>
                </c:pt>
                <c:pt idx="1665">
                  <c:v>0.82575757575757602</c:v>
                </c:pt>
                <c:pt idx="1666">
                  <c:v>0.82647584973166399</c:v>
                </c:pt>
                <c:pt idx="1667">
                  <c:v>0.82650602409638496</c:v>
                </c:pt>
                <c:pt idx="1668">
                  <c:v>0.82661290322580605</c:v>
                </c:pt>
                <c:pt idx="1669">
                  <c:v>0.82706766917293195</c:v>
                </c:pt>
                <c:pt idx="1670">
                  <c:v>0.82707993474714503</c:v>
                </c:pt>
                <c:pt idx="1671">
                  <c:v>0.827111984282908</c:v>
                </c:pt>
                <c:pt idx="1672">
                  <c:v>0.82716049382715995</c:v>
                </c:pt>
                <c:pt idx="1673">
                  <c:v>0.82719546742209604</c:v>
                </c:pt>
                <c:pt idx="1674">
                  <c:v>0.82724252491694295</c:v>
                </c:pt>
                <c:pt idx="1675">
                  <c:v>0.82731277533039604</c:v>
                </c:pt>
                <c:pt idx="1676">
                  <c:v>0.82758620689655205</c:v>
                </c:pt>
                <c:pt idx="1677">
                  <c:v>0.82763532763532799</c:v>
                </c:pt>
                <c:pt idx="1678">
                  <c:v>0.82769230769230795</c:v>
                </c:pt>
                <c:pt idx="1679">
                  <c:v>0.82783882783882801</c:v>
                </c:pt>
                <c:pt idx="1680">
                  <c:v>0.828125</c:v>
                </c:pt>
                <c:pt idx="1681">
                  <c:v>0.82827476038338599</c:v>
                </c:pt>
                <c:pt idx="1682">
                  <c:v>0.82828282828282795</c:v>
                </c:pt>
                <c:pt idx="1683">
                  <c:v>0.82839313572542905</c:v>
                </c:pt>
                <c:pt idx="1684">
                  <c:v>0.82907348242811496</c:v>
                </c:pt>
                <c:pt idx="1685">
                  <c:v>0.82958199356913198</c:v>
                </c:pt>
                <c:pt idx="1686">
                  <c:v>0.82963827304550797</c:v>
                </c:pt>
                <c:pt idx="1687">
                  <c:v>0.82978723404255295</c:v>
                </c:pt>
                <c:pt idx="1688">
                  <c:v>0.82986111111111105</c:v>
                </c:pt>
                <c:pt idx="1689">
                  <c:v>0.83</c:v>
                </c:pt>
                <c:pt idx="1690">
                  <c:v>0.83029001074113795</c:v>
                </c:pt>
                <c:pt idx="1691">
                  <c:v>0.83031301482701803</c:v>
                </c:pt>
                <c:pt idx="1692">
                  <c:v>0.83035714285714302</c:v>
                </c:pt>
                <c:pt idx="1693">
                  <c:v>0.83050847457627097</c:v>
                </c:pt>
                <c:pt idx="1694">
                  <c:v>0.83067729083665298</c:v>
                </c:pt>
                <c:pt idx="1695">
                  <c:v>0.83076923076923104</c:v>
                </c:pt>
                <c:pt idx="1696">
                  <c:v>0.83108108108108103</c:v>
                </c:pt>
                <c:pt idx="1697">
                  <c:v>0.83125519534497105</c:v>
                </c:pt>
                <c:pt idx="1698">
                  <c:v>0.83129855715871304</c:v>
                </c:pt>
                <c:pt idx="1699">
                  <c:v>0.83136327817178901</c:v>
                </c:pt>
                <c:pt idx="1700">
                  <c:v>0.83171521035598694</c:v>
                </c:pt>
                <c:pt idx="1701">
                  <c:v>0.83247422680412397</c:v>
                </c:pt>
                <c:pt idx="1702">
                  <c:v>0.83256528417818698</c:v>
                </c:pt>
                <c:pt idx="1703">
                  <c:v>0.83259911894273098</c:v>
                </c:pt>
                <c:pt idx="1704">
                  <c:v>0.83275261324041805</c:v>
                </c:pt>
                <c:pt idx="1705">
                  <c:v>0.83284457478005902</c:v>
                </c:pt>
                <c:pt idx="1706">
                  <c:v>0.83292978208232404</c:v>
                </c:pt>
                <c:pt idx="1707">
                  <c:v>0.83310595725329695</c:v>
                </c:pt>
                <c:pt idx="1708">
                  <c:v>0.83333333333333304</c:v>
                </c:pt>
                <c:pt idx="1709">
                  <c:v>0.83333333333333304</c:v>
                </c:pt>
                <c:pt idx="1710">
                  <c:v>0.83333333333333304</c:v>
                </c:pt>
                <c:pt idx="1711">
                  <c:v>0.83333333333333304</c:v>
                </c:pt>
                <c:pt idx="1712">
                  <c:v>0.83333333333333304</c:v>
                </c:pt>
                <c:pt idx="1713">
                  <c:v>0.83333333333333304</c:v>
                </c:pt>
                <c:pt idx="1714">
                  <c:v>0.833644859813084</c:v>
                </c:pt>
                <c:pt idx="1715">
                  <c:v>0.83374896093100603</c:v>
                </c:pt>
                <c:pt idx="1716">
                  <c:v>0.83386581469648602</c:v>
                </c:pt>
                <c:pt idx="1717">
                  <c:v>0.83428571428571396</c:v>
                </c:pt>
                <c:pt idx="1718">
                  <c:v>0.83433734939758997</c:v>
                </c:pt>
                <c:pt idx="1719">
                  <c:v>0.83453237410071901</c:v>
                </c:pt>
                <c:pt idx="1720">
                  <c:v>0.83458646616541299</c:v>
                </c:pt>
                <c:pt idx="1721">
                  <c:v>0.83460559796437706</c:v>
                </c:pt>
                <c:pt idx="1722">
                  <c:v>0.83464566929133799</c:v>
                </c:pt>
                <c:pt idx="1723">
                  <c:v>0.83486238532110102</c:v>
                </c:pt>
                <c:pt idx="1724">
                  <c:v>0.83493449781659401</c:v>
                </c:pt>
                <c:pt idx="1725">
                  <c:v>0.83516483516483497</c:v>
                </c:pt>
                <c:pt idx="1726">
                  <c:v>0.835443037974684</c:v>
                </c:pt>
                <c:pt idx="1727">
                  <c:v>0.835443037974684</c:v>
                </c:pt>
                <c:pt idx="1728">
                  <c:v>0.835443037974684</c:v>
                </c:pt>
                <c:pt idx="1729">
                  <c:v>0.83572567783094098</c:v>
                </c:pt>
                <c:pt idx="1730">
                  <c:v>0.83617021276595704</c:v>
                </c:pt>
                <c:pt idx="1731">
                  <c:v>0.83629191321498997</c:v>
                </c:pt>
                <c:pt idx="1732">
                  <c:v>0.83676975945017196</c:v>
                </c:pt>
                <c:pt idx="1733">
                  <c:v>0.83689320388349497</c:v>
                </c:pt>
                <c:pt idx="1734">
                  <c:v>0.837209302325581</c:v>
                </c:pt>
                <c:pt idx="1735">
                  <c:v>0.83739837398373995</c:v>
                </c:pt>
                <c:pt idx="1736">
                  <c:v>0.83747609942638601</c:v>
                </c:pt>
                <c:pt idx="1737">
                  <c:v>0.83750000000000002</c:v>
                </c:pt>
                <c:pt idx="1738">
                  <c:v>0.83760683760683796</c:v>
                </c:pt>
                <c:pt idx="1739">
                  <c:v>0.837619397501837</c:v>
                </c:pt>
                <c:pt idx="1740">
                  <c:v>0.83783783783783805</c:v>
                </c:pt>
                <c:pt idx="1741">
                  <c:v>0.83798882681564202</c:v>
                </c:pt>
                <c:pt idx="1742">
                  <c:v>0.83807439824945296</c:v>
                </c:pt>
                <c:pt idx="1743">
                  <c:v>0.83816793893129804</c:v>
                </c:pt>
                <c:pt idx="1744">
                  <c:v>0.83838383838383801</c:v>
                </c:pt>
                <c:pt idx="1745">
                  <c:v>0.83850715033135703</c:v>
                </c:pt>
                <c:pt idx="1746">
                  <c:v>0.83860232945091495</c:v>
                </c:pt>
                <c:pt idx="1747">
                  <c:v>0.83870967741935498</c:v>
                </c:pt>
                <c:pt idx="1748">
                  <c:v>0.83884546001202598</c:v>
                </c:pt>
                <c:pt idx="1749">
                  <c:v>0.83887043189368804</c:v>
                </c:pt>
                <c:pt idx="1750">
                  <c:v>0.83888888888888902</c:v>
                </c:pt>
                <c:pt idx="1751">
                  <c:v>0.83908045977011503</c:v>
                </c:pt>
                <c:pt idx="1752">
                  <c:v>0.83933518005540197</c:v>
                </c:pt>
                <c:pt idx="1753">
                  <c:v>0.83950617283950602</c:v>
                </c:pt>
                <c:pt idx="1754">
                  <c:v>0.83988764044943798</c:v>
                </c:pt>
                <c:pt idx="1755">
                  <c:v>0.84</c:v>
                </c:pt>
                <c:pt idx="1756">
                  <c:v>0.84020618556700999</c:v>
                </c:pt>
                <c:pt idx="1757">
                  <c:v>0.840425531914894</c:v>
                </c:pt>
                <c:pt idx="1758">
                  <c:v>0.840425531914894</c:v>
                </c:pt>
                <c:pt idx="1759">
                  <c:v>0.84085862324204297</c:v>
                </c:pt>
                <c:pt idx="1760">
                  <c:v>0.840862422997947</c:v>
                </c:pt>
                <c:pt idx="1761">
                  <c:v>0.84090909090909105</c:v>
                </c:pt>
                <c:pt idx="1762">
                  <c:v>0.84098939929328598</c:v>
                </c:pt>
                <c:pt idx="1763">
                  <c:v>0.84112149532710301</c:v>
                </c:pt>
                <c:pt idx="1764">
                  <c:v>0.84112149532710301</c:v>
                </c:pt>
                <c:pt idx="1765">
                  <c:v>0.84126984126984095</c:v>
                </c:pt>
                <c:pt idx="1766">
                  <c:v>0.841432225063939</c:v>
                </c:pt>
                <c:pt idx="1767">
                  <c:v>0.84162520729684898</c:v>
                </c:pt>
                <c:pt idx="1768">
                  <c:v>0.841628959276018</c:v>
                </c:pt>
                <c:pt idx="1769">
                  <c:v>0.84179104477611899</c:v>
                </c:pt>
                <c:pt idx="1770">
                  <c:v>0.84195402298850597</c:v>
                </c:pt>
                <c:pt idx="1771">
                  <c:v>0.84200385356454699</c:v>
                </c:pt>
                <c:pt idx="1772">
                  <c:v>0.84210526315789502</c:v>
                </c:pt>
                <c:pt idx="1773">
                  <c:v>0.84246575342465801</c:v>
                </c:pt>
                <c:pt idx="1774">
                  <c:v>0.842592592592593</c:v>
                </c:pt>
                <c:pt idx="1775">
                  <c:v>0.84262295081967198</c:v>
                </c:pt>
                <c:pt idx="1776">
                  <c:v>0.84263959390862897</c:v>
                </c:pt>
                <c:pt idx="1777">
                  <c:v>0.84269662921348298</c:v>
                </c:pt>
                <c:pt idx="1778">
                  <c:v>0.84285714285714297</c:v>
                </c:pt>
                <c:pt idx="1779">
                  <c:v>0.84285714285714297</c:v>
                </c:pt>
                <c:pt idx="1780">
                  <c:v>0.84290540540540504</c:v>
                </c:pt>
                <c:pt idx="1781">
                  <c:v>0.84294871794871795</c:v>
                </c:pt>
                <c:pt idx="1782">
                  <c:v>0.84300341296928305</c:v>
                </c:pt>
                <c:pt idx="1783">
                  <c:v>0.84310618066561005</c:v>
                </c:pt>
                <c:pt idx="1784">
                  <c:v>0.84324324324324296</c:v>
                </c:pt>
                <c:pt idx="1785">
                  <c:v>0.84324758842443703</c:v>
                </c:pt>
                <c:pt idx="1786">
                  <c:v>0.84327323162274603</c:v>
                </c:pt>
                <c:pt idx="1787">
                  <c:v>0.84331337325349298</c:v>
                </c:pt>
                <c:pt idx="1788">
                  <c:v>0.843373493975904</c:v>
                </c:pt>
                <c:pt idx="1789">
                  <c:v>0.84363636363636396</c:v>
                </c:pt>
                <c:pt idx="1790">
                  <c:v>0.84379562043795597</c:v>
                </c:pt>
                <c:pt idx="1791">
                  <c:v>0.84381778741865499</c:v>
                </c:pt>
                <c:pt idx="1792">
                  <c:v>0.84382871536523896</c:v>
                </c:pt>
                <c:pt idx="1793">
                  <c:v>0.84389489953632102</c:v>
                </c:pt>
                <c:pt idx="1794">
                  <c:v>0.84397163120567398</c:v>
                </c:pt>
                <c:pt idx="1795">
                  <c:v>0.844444444444444</c:v>
                </c:pt>
                <c:pt idx="1796">
                  <c:v>0.84451219512195097</c:v>
                </c:pt>
                <c:pt idx="1797">
                  <c:v>0.84455958549222798</c:v>
                </c:pt>
                <c:pt idx="1798">
                  <c:v>0.84480431848852899</c:v>
                </c:pt>
                <c:pt idx="1799">
                  <c:v>0.84496124031007702</c:v>
                </c:pt>
                <c:pt idx="1800">
                  <c:v>0.84507042253521103</c:v>
                </c:pt>
                <c:pt idx="1801">
                  <c:v>0.84507042253521103</c:v>
                </c:pt>
                <c:pt idx="1802">
                  <c:v>0.84520123839009298</c:v>
                </c:pt>
                <c:pt idx="1803">
                  <c:v>0.84520306062389605</c:v>
                </c:pt>
                <c:pt idx="1804">
                  <c:v>0.84521739130434803</c:v>
                </c:pt>
                <c:pt idx="1805">
                  <c:v>0.84523809523809501</c:v>
                </c:pt>
                <c:pt idx="1806">
                  <c:v>0.84530386740331498</c:v>
                </c:pt>
                <c:pt idx="1807">
                  <c:v>0.84539473684210498</c:v>
                </c:pt>
                <c:pt idx="1808">
                  <c:v>0.84554455445544496</c:v>
                </c:pt>
                <c:pt idx="1809">
                  <c:v>0.84568439407149099</c:v>
                </c:pt>
                <c:pt idx="1810">
                  <c:v>0.84581497797356797</c:v>
                </c:pt>
                <c:pt idx="1811">
                  <c:v>0.84587155963302696</c:v>
                </c:pt>
                <c:pt idx="1812">
                  <c:v>0.84595300261096595</c:v>
                </c:pt>
                <c:pt idx="1813">
                  <c:v>0.84596375617792396</c:v>
                </c:pt>
                <c:pt idx="1814">
                  <c:v>0.84615384615384603</c:v>
                </c:pt>
                <c:pt idx="1815">
                  <c:v>0.84647302904564303</c:v>
                </c:pt>
                <c:pt idx="1816">
                  <c:v>0.84653465346534595</c:v>
                </c:pt>
                <c:pt idx="1817">
                  <c:v>0.84668192219679606</c:v>
                </c:pt>
                <c:pt idx="1818">
                  <c:v>0.84671532846715303</c:v>
                </c:pt>
                <c:pt idx="1819">
                  <c:v>0.84671532846715303</c:v>
                </c:pt>
                <c:pt idx="1820">
                  <c:v>0.84674329501915702</c:v>
                </c:pt>
                <c:pt idx="1821">
                  <c:v>0.84677419354838701</c:v>
                </c:pt>
                <c:pt idx="1822">
                  <c:v>0.84691848906560596</c:v>
                </c:pt>
                <c:pt idx="1823">
                  <c:v>0.84729064039408897</c:v>
                </c:pt>
                <c:pt idx="1824">
                  <c:v>0.84745762711864403</c:v>
                </c:pt>
                <c:pt idx="1825">
                  <c:v>0.84745762711864403</c:v>
                </c:pt>
                <c:pt idx="1826">
                  <c:v>0.84782608695652195</c:v>
                </c:pt>
                <c:pt idx="1827">
                  <c:v>0.84782608695652195</c:v>
                </c:pt>
                <c:pt idx="1828">
                  <c:v>0.84782608695652195</c:v>
                </c:pt>
                <c:pt idx="1829">
                  <c:v>0.84782608695652195</c:v>
                </c:pt>
                <c:pt idx="1830">
                  <c:v>0.84821428571428603</c:v>
                </c:pt>
                <c:pt idx="1831">
                  <c:v>0.84829059829059805</c:v>
                </c:pt>
                <c:pt idx="1832">
                  <c:v>0.84837545126353797</c:v>
                </c:pt>
                <c:pt idx="1833">
                  <c:v>0.84848484848484795</c:v>
                </c:pt>
                <c:pt idx="1834">
                  <c:v>0.84886128364389202</c:v>
                </c:pt>
                <c:pt idx="1835">
                  <c:v>0.84893713251922198</c:v>
                </c:pt>
                <c:pt idx="1836">
                  <c:v>0.84905660377358505</c:v>
                </c:pt>
                <c:pt idx="1837">
                  <c:v>0.84908321579689705</c:v>
                </c:pt>
                <c:pt idx="1838">
                  <c:v>0.84931506849315097</c:v>
                </c:pt>
                <c:pt idx="1839">
                  <c:v>0.84946236559139798</c:v>
                </c:pt>
                <c:pt idx="1840">
                  <c:v>0.84946236559139798</c:v>
                </c:pt>
                <c:pt idx="1841">
                  <c:v>0.84962406015037595</c:v>
                </c:pt>
                <c:pt idx="1842">
                  <c:v>0.84976525821596205</c:v>
                </c:pt>
                <c:pt idx="1843">
                  <c:v>0.85</c:v>
                </c:pt>
                <c:pt idx="1844">
                  <c:v>0.85013623978201602</c:v>
                </c:pt>
                <c:pt idx="1845">
                  <c:v>0.85023041474654404</c:v>
                </c:pt>
                <c:pt idx="1846">
                  <c:v>0.85026737967914401</c:v>
                </c:pt>
                <c:pt idx="1847">
                  <c:v>0.85039370078740195</c:v>
                </c:pt>
                <c:pt idx="1848">
                  <c:v>0.85046728971962604</c:v>
                </c:pt>
                <c:pt idx="1849">
                  <c:v>0.850828729281768</c:v>
                </c:pt>
                <c:pt idx="1850">
                  <c:v>0.85106382978723405</c:v>
                </c:pt>
                <c:pt idx="1851">
                  <c:v>0.85135135135135098</c:v>
                </c:pt>
                <c:pt idx="1852">
                  <c:v>0.85148514851485102</c:v>
                </c:pt>
                <c:pt idx="1853">
                  <c:v>0.85167464114832503</c:v>
                </c:pt>
                <c:pt idx="1854">
                  <c:v>0.85185185185185197</c:v>
                </c:pt>
                <c:pt idx="1855">
                  <c:v>0.85185185185185197</c:v>
                </c:pt>
                <c:pt idx="1856">
                  <c:v>0.85185185185185197</c:v>
                </c:pt>
                <c:pt idx="1857">
                  <c:v>0.85207100591716001</c:v>
                </c:pt>
                <c:pt idx="1858">
                  <c:v>0.85232744783306602</c:v>
                </c:pt>
                <c:pt idx="1859">
                  <c:v>0.85235920852359204</c:v>
                </c:pt>
                <c:pt idx="1860">
                  <c:v>0.85271317829457405</c:v>
                </c:pt>
                <c:pt idx="1861">
                  <c:v>0.85308056872037896</c:v>
                </c:pt>
                <c:pt idx="1862">
                  <c:v>0.85358255451713405</c:v>
                </c:pt>
                <c:pt idx="1863">
                  <c:v>0.85384615384615403</c:v>
                </c:pt>
                <c:pt idx="1864">
                  <c:v>0.85390946502057596</c:v>
                </c:pt>
                <c:pt idx="1865">
                  <c:v>0.85393258426966301</c:v>
                </c:pt>
                <c:pt idx="1866">
                  <c:v>0.85408560311283999</c:v>
                </c:pt>
                <c:pt idx="1867">
                  <c:v>0.85462555066079304</c:v>
                </c:pt>
                <c:pt idx="1868">
                  <c:v>0.85467128027681705</c:v>
                </c:pt>
                <c:pt idx="1869">
                  <c:v>0.85492227979274604</c:v>
                </c:pt>
                <c:pt idx="1870">
                  <c:v>0.85498489425981905</c:v>
                </c:pt>
                <c:pt idx="1871">
                  <c:v>0.85500878734622099</c:v>
                </c:pt>
                <c:pt idx="1872">
                  <c:v>0.85502471169687</c:v>
                </c:pt>
                <c:pt idx="1873">
                  <c:v>0.85542168674698804</c:v>
                </c:pt>
                <c:pt idx="1874">
                  <c:v>0.85555555555555496</c:v>
                </c:pt>
                <c:pt idx="1875">
                  <c:v>0.85576923076923095</c:v>
                </c:pt>
                <c:pt idx="1876">
                  <c:v>0.85576923076923095</c:v>
                </c:pt>
                <c:pt idx="1877">
                  <c:v>0.85595776772247401</c:v>
                </c:pt>
                <c:pt idx="1878">
                  <c:v>0.85613760750586398</c:v>
                </c:pt>
                <c:pt idx="1879">
                  <c:v>0.85645933014354103</c:v>
                </c:pt>
                <c:pt idx="1880">
                  <c:v>0.85682819383259901</c:v>
                </c:pt>
                <c:pt idx="1881">
                  <c:v>0.856834143706105</c:v>
                </c:pt>
                <c:pt idx="1882">
                  <c:v>0.85690376569037596</c:v>
                </c:pt>
                <c:pt idx="1883">
                  <c:v>0.85714285714285698</c:v>
                </c:pt>
                <c:pt idx="1884">
                  <c:v>0.85714285714285698</c:v>
                </c:pt>
                <c:pt idx="1885">
                  <c:v>0.85714285714285698</c:v>
                </c:pt>
                <c:pt idx="1886">
                  <c:v>0.85714285714285698</c:v>
                </c:pt>
                <c:pt idx="1887">
                  <c:v>0.85754189944134096</c:v>
                </c:pt>
                <c:pt idx="1888">
                  <c:v>0.85765124555160099</c:v>
                </c:pt>
                <c:pt idx="1889">
                  <c:v>0.85774058577405798</c:v>
                </c:pt>
                <c:pt idx="1890">
                  <c:v>0.85795454545454497</c:v>
                </c:pt>
                <c:pt idx="1891">
                  <c:v>0.85797950219619301</c:v>
                </c:pt>
                <c:pt idx="1892">
                  <c:v>0.85818713450292405</c:v>
                </c:pt>
                <c:pt idx="1893">
                  <c:v>0.85824345146379</c:v>
                </c:pt>
                <c:pt idx="1894">
                  <c:v>0.85831062670299696</c:v>
                </c:pt>
                <c:pt idx="1895">
                  <c:v>0.858736059479554</c:v>
                </c:pt>
                <c:pt idx="1896">
                  <c:v>0.85971223021582699</c:v>
                </c:pt>
                <c:pt idx="1897">
                  <c:v>0.85980662983425404</c:v>
                </c:pt>
                <c:pt idx="1898">
                  <c:v>0.86021505376344098</c:v>
                </c:pt>
                <c:pt idx="1899">
                  <c:v>0.86029411764705899</c:v>
                </c:pt>
                <c:pt idx="1900">
                  <c:v>0.86040609137055801</c:v>
                </c:pt>
                <c:pt idx="1901">
                  <c:v>0.86046511627906996</c:v>
                </c:pt>
                <c:pt idx="1902">
                  <c:v>0.86053412462907997</c:v>
                </c:pt>
                <c:pt idx="1903">
                  <c:v>0.86072423398328701</c:v>
                </c:pt>
                <c:pt idx="1904">
                  <c:v>0.86082474226804095</c:v>
                </c:pt>
                <c:pt idx="1905">
                  <c:v>0.86084142394822005</c:v>
                </c:pt>
                <c:pt idx="1906">
                  <c:v>0.86098654708520195</c:v>
                </c:pt>
                <c:pt idx="1907">
                  <c:v>0.86105675146770999</c:v>
                </c:pt>
                <c:pt idx="1908">
                  <c:v>0.86106032906764196</c:v>
                </c:pt>
                <c:pt idx="1909">
                  <c:v>0.86111111111111105</c:v>
                </c:pt>
                <c:pt idx="1910">
                  <c:v>0.86124401913875603</c:v>
                </c:pt>
                <c:pt idx="1911">
                  <c:v>0.86144578313252995</c:v>
                </c:pt>
                <c:pt idx="1912">
                  <c:v>0.86144578313252995</c:v>
                </c:pt>
                <c:pt idx="1913">
                  <c:v>0.86170212765957399</c:v>
                </c:pt>
                <c:pt idx="1914">
                  <c:v>0.86170212765957399</c:v>
                </c:pt>
                <c:pt idx="1915">
                  <c:v>0.86178010471204203</c:v>
                </c:pt>
                <c:pt idx="1916">
                  <c:v>0.86206896551724099</c:v>
                </c:pt>
                <c:pt idx="1917">
                  <c:v>0.86206896551724099</c:v>
                </c:pt>
                <c:pt idx="1918">
                  <c:v>0.862179487179487</c:v>
                </c:pt>
                <c:pt idx="1919">
                  <c:v>0.86220472440944895</c:v>
                </c:pt>
                <c:pt idx="1920">
                  <c:v>0.862433862433862</c:v>
                </c:pt>
                <c:pt idx="1921">
                  <c:v>0.86259541984732802</c:v>
                </c:pt>
                <c:pt idx="1922">
                  <c:v>0.86260454002389497</c:v>
                </c:pt>
                <c:pt idx="1923">
                  <c:v>0.86269744835966</c:v>
                </c:pt>
                <c:pt idx="1924">
                  <c:v>0.86285714285714299</c:v>
                </c:pt>
                <c:pt idx="1925">
                  <c:v>0.86309523809523803</c:v>
                </c:pt>
                <c:pt idx="1926">
                  <c:v>0.86333333333333295</c:v>
                </c:pt>
                <c:pt idx="1927">
                  <c:v>0.86336336336336295</c:v>
                </c:pt>
                <c:pt idx="1928">
                  <c:v>0.86349206349206298</c:v>
                </c:pt>
                <c:pt idx="1929">
                  <c:v>0.86363636363636398</c:v>
                </c:pt>
                <c:pt idx="1930">
                  <c:v>0.86363636363636398</c:v>
                </c:pt>
                <c:pt idx="1931">
                  <c:v>0.86363636363636398</c:v>
                </c:pt>
                <c:pt idx="1932">
                  <c:v>0.86363636363636398</c:v>
                </c:pt>
                <c:pt idx="1933">
                  <c:v>0.86367346938775502</c:v>
                </c:pt>
                <c:pt idx="1934">
                  <c:v>0.86387434554973797</c:v>
                </c:pt>
                <c:pt idx="1935">
                  <c:v>0.86388888888888904</c:v>
                </c:pt>
                <c:pt idx="1936">
                  <c:v>0.86390532544378695</c:v>
                </c:pt>
                <c:pt idx="1937">
                  <c:v>0.86394557823129203</c:v>
                </c:pt>
                <c:pt idx="1938">
                  <c:v>0.86404494382022501</c:v>
                </c:pt>
                <c:pt idx="1939">
                  <c:v>0.86407766990291301</c:v>
                </c:pt>
                <c:pt idx="1940">
                  <c:v>0.86413043478260898</c:v>
                </c:pt>
                <c:pt idx="1941">
                  <c:v>0.86419753086419704</c:v>
                </c:pt>
                <c:pt idx="1942">
                  <c:v>0.86430062630480198</c:v>
                </c:pt>
                <c:pt idx="1943">
                  <c:v>0.86454183266932305</c:v>
                </c:pt>
                <c:pt idx="1944">
                  <c:v>0.86464088397789995</c:v>
                </c:pt>
                <c:pt idx="1945">
                  <c:v>0.86477644492911698</c:v>
                </c:pt>
                <c:pt idx="1946">
                  <c:v>0.86486486486486502</c:v>
                </c:pt>
                <c:pt idx="1947">
                  <c:v>0.86486486486486502</c:v>
                </c:pt>
                <c:pt idx="1948">
                  <c:v>0.86526315789473696</c:v>
                </c:pt>
                <c:pt idx="1949">
                  <c:v>0.86538461538461497</c:v>
                </c:pt>
                <c:pt idx="1950">
                  <c:v>0.86542923433874697</c:v>
                </c:pt>
                <c:pt idx="1951">
                  <c:v>0.86558345642540602</c:v>
                </c:pt>
                <c:pt idx="1952">
                  <c:v>0.86567164179104505</c:v>
                </c:pt>
                <c:pt idx="1953">
                  <c:v>0.86592178770949702</c:v>
                </c:pt>
                <c:pt idx="1954">
                  <c:v>0.86601307189542498</c:v>
                </c:pt>
                <c:pt idx="1955">
                  <c:v>0.86619385342789601</c:v>
                </c:pt>
                <c:pt idx="1956">
                  <c:v>0.86666666666666703</c:v>
                </c:pt>
                <c:pt idx="1957">
                  <c:v>0.86666666666666703</c:v>
                </c:pt>
                <c:pt idx="1958">
                  <c:v>0.86679790026246695</c:v>
                </c:pt>
                <c:pt idx="1959">
                  <c:v>0.86690647482014405</c:v>
                </c:pt>
                <c:pt idx="1960">
                  <c:v>0.86740331491712697</c:v>
                </c:pt>
                <c:pt idx="1961">
                  <c:v>0.86746987951807197</c:v>
                </c:pt>
                <c:pt idx="1962">
                  <c:v>0.86776859504132198</c:v>
                </c:pt>
                <c:pt idx="1963">
                  <c:v>0.86785714285714299</c:v>
                </c:pt>
                <c:pt idx="1964">
                  <c:v>0.86796246648793596</c:v>
                </c:pt>
                <c:pt idx="1965">
                  <c:v>0.86813186813186805</c:v>
                </c:pt>
                <c:pt idx="1966">
                  <c:v>0.86837606837606796</c:v>
                </c:pt>
                <c:pt idx="1967">
                  <c:v>0.86838868388683899</c:v>
                </c:pt>
                <c:pt idx="1968">
                  <c:v>0.86842105263157898</c:v>
                </c:pt>
                <c:pt idx="1969">
                  <c:v>0.86842105263157898</c:v>
                </c:pt>
                <c:pt idx="1970">
                  <c:v>0.86904761904761896</c:v>
                </c:pt>
                <c:pt idx="1971">
                  <c:v>0.86912751677852296</c:v>
                </c:pt>
                <c:pt idx="1972">
                  <c:v>0.86918138041733495</c:v>
                </c:pt>
                <c:pt idx="1973">
                  <c:v>0.86932599724896797</c:v>
                </c:pt>
                <c:pt idx="1974">
                  <c:v>0.86940298507462699</c:v>
                </c:pt>
                <c:pt idx="1975">
                  <c:v>0.86965589155370204</c:v>
                </c:pt>
                <c:pt idx="1976">
                  <c:v>0.86972860125260998</c:v>
                </c:pt>
                <c:pt idx="1977">
                  <c:v>0.86976389946687005</c:v>
                </c:pt>
                <c:pt idx="1978">
                  <c:v>0.86988847583643103</c:v>
                </c:pt>
                <c:pt idx="1979">
                  <c:v>0.87</c:v>
                </c:pt>
                <c:pt idx="1980">
                  <c:v>0.87037037037037002</c:v>
                </c:pt>
                <c:pt idx="1981">
                  <c:v>0.87050359712230196</c:v>
                </c:pt>
                <c:pt idx="1982">
                  <c:v>0.87061994609164395</c:v>
                </c:pt>
                <c:pt idx="1983">
                  <c:v>0.87082204155374898</c:v>
                </c:pt>
                <c:pt idx="1984">
                  <c:v>0.87096774193548399</c:v>
                </c:pt>
                <c:pt idx="1985">
                  <c:v>0.87096774193548399</c:v>
                </c:pt>
                <c:pt idx="1986">
                  <c:v>0.87096774193548399</c:v>
                </c:pt>
                <c:pt idx="1987">
                  <c:v>0.87103594080338298</c:v>
                </c:pt>
                <c:pt idx="1988">
                  <c:v>0.871428571428571</c:v>
                </c:pt>
                <c:pt idx="1989">
                  <c:v>0.87155963302752304</c:v>
                </c:pt>
                <c:pt idx="1990">
                  <c:v>0.87175043327556301</c:v>
                </c:pt>
                <c:pt idx="1991">
                  <c:v>0.87179487179487203</c:v>
                </c:pt>
                <c:pt idx="1992">
                  <c:v>0.87195121951219501</c:v>
                </c:pt>
                <c:pt idx="1993">
                  <c:v>0.872</c:v>
                </c:pt>
                <c:pt idx="1994">
                  <c:v>0.87215601300108303</c:v>
                </c:pt>
                <c:pt idx="1995">
                  <c:v>0.87234042553191504</c:v>
                </c:pt>
                <c:pt idx="1996">
                  <c:v>0.87251655629139102</c:v>
                </c:pt>
                <c:pt idx="1997">
                  <c:v>0.87265306122449005</c:v>
                </c:pt>
                <c:pt idx="1998">
                  <c:v>0.87272727272727302</c:v>
                </c:pt>
                <c:pt idx="1999">
                  <c:v>0.87272727272727302</c:v>
                </c:pt>
                <c:pt idx="2000">
                  <c:v>0.87285223367697595</c:v>
                </c:pt>
                <c:pt idx="2001">
                  <c:v>0.87288135593220295</c:v>
                </c:pt>
                <c:pt idx="2002">
                  <c:v>0.87347931873479301</c:v>
                </c:pt>
                <c:pt idx="2003">
                  <c:v>0.87375415282391999</c:v>
                </c:pt>
                <c:pt idx="2004">
                  <c:v>0.87387387387387405</c:v>
                </c:pt>
                <c:pt idx="2005">
                  <c:v>0.87390029325513197</c:v>
                </c:pt>
                <c:pt idx="2006">
                  <c:v>0.87403903015966899</c:v>
                </c:pt>
                <c:pt idx="2007">
                  <c:v>0.87413194444444398</c:v>
                </c:pt>
                <c:pt idx="2008">
                  <c:v>0.874592833876222</c:v>
                </c:pt>
                <c:pt idx="2009">
                  <c:v>0.875</c:v>
                </c:pt>
                <c:pt idx="2010">
                  <c:v>0.875</c:v>
                </c:pt>
                <c:pt idx="2011">
                  <c:v>0.875</c:v>
                </c:pt>
                <c:pt idx="2012">
                  <c:v>0.875</c:v>
                </c:pt>
                <c:pt idx="2013">
                  <c:v>0.87531806615776098</c:v>
                </c:pt>
                <c:pt idx="2014">
                  <c:v>0.87562189054726403</c:v>
                </c:pt>
                <c:pt idx="2015">
                  <c:v>0.87568555758683697</c:v>
                </c:pt>
                <c:pt idx="2016">
                  <c:v>0.87593423019432004</c:v>
                </c:pt>
                <c:pt idx="2017">
                  <c:v>0.87621178225205099</c:v>
                </c:pt>
                <c:pt idx="2018">
                  <c:v>0.87627811860940696</c:v>
                </c:pt>
                <c:pt idx="2019">
                  <c:v>0.87628865979381398</c:v>
                </c:pt>
                <c:pt idx="2020">
                  <c:v>0.876357560568087</c:v>
                </c:pt>
                <c:pt idx="2021">
                  <c:v>0.87637969094922696</c:v>
                </c:pt>
                <c:pt idx="2022">
                  <c:v>0.87641723356009105</c:v>
                </c:pt>
                <c:pt idx="2023">
                  <c:v>0.87654320987654299</c:v>
                </c:pt>
                <c:pt idx="2024">
                  <c:v>0.87654320987654299</c:v>
                </c:pt>
                <c:pt idx="2025">
                  <c:v>0.87666666666666704</c:v>
                </c:pt>
                <c:pt idx="2026">
                  <c:v>0.87677053824362605</c:v>
                </c:pt>
                <c:pt idx="2027">
                  <c:v>0.87678207739307501</c:v>
                </c:pt>
                <c:pt idx="2028">
                  <c:v>0.87685113016367899</c:v>
                </c:pt>
                <c:pt idx="2029">
                  <c:v>0.87687687687687699</c:v>
                </c:pt>
                <c:pt idx="2030">
                  <c:v>0.87719298245613997</c:v>
                </c:pt>
                <c:pt idx="2031">
                  <c:v>0.877437325905292</c:v>
                </c:pt>
                <c:pt idx="2032">
                  <c:v>0.87744034707158303</c:v>
                </c:pt>
                <c:pt idx="2033">
                  <c:v>0.87749287749287697</c:v>
                </c:pt>
                <c:pt idx="2034">
                  <c:v>0.87777777777777799</c:v>
                </c:pt>
                <c:pt idx="2035">
                  <c:v>0.87780269058296001</c:v>
                </c:pt>
                <c:pt idx="2036">
                  <c:v>0.87786259541984701</c:v>
                </c:pt>
                <c:pt idx="2037">
                  <c:v>0.87810945273631802</c:v>
                </c:pt>
                <c:pt idx="2038">
                  <c:v>0.87820983125458496</c:v>
                </c:pt>
                <c:pt idx="2039">
                  <c:v>0.87837837837837796</c:v>
                </c:pt>
                <c:pt idx="2040">
                  <c:v>0.87837837837837796</c:v>
                </c:pt>
                <c:pt idx="2041">
                  <c:v>0.87850467289719603</c:v>
                </c:pt>
                <c:pt idx="2042">
                  <c:v>0.87855579868708999</c:v>
                </c:pt>
                <c:pt idx="2043">
                  <c:v>0.87862137862137901</c:v>
                </c:pt>
                <c:pt idx="2044">
                  <c:v>0.87862796833773105</c:v>
                </c:pt>
                <c:pt idx="2045">
                  <c:v>0.87878787878787901</c:v>
                </c:pt>
                <c:pt idx="2046">
                  <c:v>0.87878787878787901</c:v>
                </c:pt>
                <c:pt idx="2047">
                  <c:v>0.87880935506732805</c:v>
                </c:pt>
                <c:pt idx="2048">
                  <c:v>0.87883959044368598</c:v>
                </c:pt>
                <c:pt idx="2049">
                  <c:v>0.878899082568807</c:v>
                </c:pt>
                <c:pt idx="2050">
                  <c:v>0.879120879120879</c:v>
                </c:pt>
                <c:pt idx="2051">
                  <c:v>0.879341864716636</c:v>
                </c:pt>
                <c:pt idx="2052">
                  <c:v>0.87948717948717903</c:v>
                </c:pt>
                <c:pt idx="2053">
                  <c:v>0.87962962962962998</c:v>
                </c:pt>
                <c:pt idx="2054">
                  <c:v>0.87962962962962998</c:v>
                </c:pt>
                <c:pt idx="2055">
                  <c:v>0.88017429193899799</c:v>
                </c:pt>
                <c:pt idx="2056">
                  <c:v>0.88018433179723499</c:v>
                </c:pt>
                <c:pt idx="2057">
                  <c:v>0.880222841225627</c:v>
                </c:pt>
                <c:pt idx="2058">
                  <c:v>0.88030888030887999</c:v>
                </c:pt>
                <c:pt idx="2059">
                  <c:v>0.88034188034187999</c:v>
                </c:pt>
                <c:pt idx="2060">
                  <c:v>0.88035450516986702</c:v>
                </c:pt>
                <c:pt idx="2061">
                  <c:v>0.88044692737430197</c:v>
                </c:pt>
                <c:pt idx="2062">
                  <c:v>0.88087774294670795</c:v>
                </c:pt>
                <c:pt idx="2063">
                  <c:v>0.88088235294117601</c:v>
                </c:pt>
                <c:pt idx="2064">
                  <c:v>0.88095238095238104</c:v>
                </c:pt>
                <c:pt idx="2065">
                  <c:v>0.88095238095238104</c:v>
                </c:pt>
                <c:pt idx="2066">
                  <c:v>0.88114754098360704</c:v>
                </c:pt>
                <c:pt idx="2067">
                  <c:v>0.88114754098360704</c:v>
                </c:pt>
                <c:pt idx="2068">
                  <c:v>0.88131313131313105</c:v>
                </c:pt>
                <c:pt idx="2069">
                  <c:v>0.88135593220339004</c:v>
                </c:pt>
                <c:pt idx="2070">
                  <c:v>0.88135593220339004</c:v>
                </c:pt>
                <c:pt idx="2071">
                  <c:v>0.88143828960155501</c:v>
                </c:pt>
                <c:pt idx="2072">
                  <c:v>0.88172043010752699</c:v>
                </c:pt>
                <c:pt idx="2073">
                  <c:v>0.88179347826086896</c:v>
                </c:pt>
                <c:pt idx="2074">
                  <c:v>0.88185654008438796</c:v>
                </c:pt>
                <c:pt idx="2075">
                  <c:v>0.88192771084337296</c:v>
                </c:pt>
                <c:pt idx="2076">
                  <c:v>0.88200000000000001</c:v>
                </c:pt>
                <c:pt idx="2077">
                  <c:v>0.88204683434518605</c:v>
                </c:pt>
                <c:pt idx="2078">
                  <c:v>0.88212634822804303</c:v>
                </c:pt>
                <c:pt idx="2079">
                  <c:v>0.88219178082191796</c:v>
                </c:pt>
                <c:pt idx="2080">
                  <c:v>0.88235294117647101</c:v>
                </c:pt>
                <c:pt idx="2081">
                  <c:v>0.88235294117647101</c:v>
                </c:pt>
                <c:pt idx="2082">
                  <c:v>0.88235294117647101</c:v>
                </c:pt>
                <c:pt idx="2083">
                  <c:v>0.88251366120218599</c:v>
                </c:pt>
                <c:pt idx="2084">
                  <c:v>0.88253164556962005</c:v>
                </c:pt>
                <c:pt idx="2085">
                  <c:v>0.882562277580071</c:v>
                </c:pt>
                <c:pt idx="2086">
                  <c:v>0.88288288288288297</c:v>
                </c:pt>
                <c:pt idx="2087">
                  <c:v>0.88290398126463698</c:v>
                </c:pt>
                <c:pt idx="2088">
                  <c:v>0.88304093567251496</c:v>
                </c:pt>
                <c:pt idx="2089">
                  <c:v>0.88304392236976503</c:v>
                </c:pt>
                <c:pt idx="2090">
                  <c:v>0.88306451612903203</c:v>
                </c:pt>
                <c:pt idx="2091">
                  <c:v>0.88321167883211704</c:v>
                </c:pt>
                <c:pt idx="2092">
                  <c:v>0.88331627430910897</c:v>
                </c:pt>
                <c:pt idx="2093">
                  <c:v>0.88333333333333297</c:v>
                </c:pt>
                <c:pt idx="2094">
                  <c:v>0.88333333333333297</c:v>
                </c:pt>
                <c:pt idx="2095">
                  <c:v>0.88359788359788405</c:v>
                </c:pt>
                <c:pt idx="2096">
                  <c:v>0.88369920597851503</c:v>
                </c:pt>
                <c:pt idx="2097">
                  <c:v>0.88372093023255804</c:v>
                </c:pt>
                <c:pt idx="2098">
                  <c:v>0.88372093023255804</c:v>
                </c:pt>
                <c:pt idx="2099">
                  <c:v>0.88372093023255804</c:v>
                </c:pt>
                <c:pt idx="2100">
                  <c:v>0.88381742738589197</c:v>
                </c:pt>
                <c:pt idx="2101">
                  <c:v>0.88381742738589197</c:v>
                </c:pt>
                <c:pt idx="2102">
                  <c:v>0.88383588729609497</c:v>
                </c:pt>
                <c:pt idx="2103">
                  <c:v>0.88405797101449302</c:v>
                </c:pt>
                <c:pt idx="2104">
                  <c:v>0.88415672913117505</c:v>
                </c:pt>
                <c:pt idx="2105">
                  <c:v>0.884210526315789</c:v>
                </c:pt>
                <c:pt idx="2106">
                  <c:v>0.88432835820895495</c:v>
                </c:pt>
                <c:pt idx="2107">
                  <c:v>0.88432835820895495</c:v>
                </c:pt>
                <c:pt idx="2108">
                  <c:v>0.88437500000000002</c:v>
                </c:pt>
                <c:pt idx="2109">
                  <c:v>0.88445378151260501</c:v>
                </c:pt>
                <c:pt idx="2110">
                  <c:v>0.88455008488964304</c:v>
                </c:pt>
                <c:pt idx="2111">
                  <c:v>0.88455008488964304</c:v>
                </c:pt>
                <c:pt idx="2112">
                  <c:v>0.88459016393442602</c:v>
                </c:pt>
                <c:pt idx="2113">
                  <c:v>0.88461538461538503</c:v>
                </c:pt>
                <c:pt idx="2114">
                  <c:v>0.88471849865951702</c:v>
                </c:pt>
                <c:pt idx="2115">
                  <c:v>0.88477366255143997</c:v>
                </c:pt>
                <c:pt idx="2116">
                  <c:v>0.88478260869565195</c:v>
                </c:pt>
                <c:pt idx="2117">
                  <c:v>0.88497409326424903</c:v>
                </c:pt>
                <c:pt idx="2118">
                  <c:v>0.88509874326750404</c:v>
                </c:pt>
                <c:pt idx="2119">
                  <c:v>0.88540734109221098</c:v>
                </c:pt>
                <c:pt idx="2120">
                  <c:v>0.88571428571428601</c:v>
                </c:pt>
                <c:pt idx="2121">
                  <c:v>0.88571428571428601</c:v>
                </c:pt>
                <c:pt idx="2122">
                  <c:v>0.88598371195885095</c:v>
                </c:pt>
                <c:pt idx="2123">
                  <c:v>0.88619599578503705</c:v>
                </c:pt>
                <c:pt idx="2124">
                  <c:v>0.88622754491017997</c:v>
                </c:pt>
                <c:pt idx="2125">
                  <c:v>0.88636363636363602</c:v>
                </c:pt>
                <c:pt idx="2126">
                  <c:v>0.88639053254437905</c:v>
                </c:pt>
                <c:pt idx="2127">
                  <c:v>0.88666666666666705</c:v>
                </c:pt>
                <c:pt idx="2128">
                  <c:v>0.88676056338028197</c:v>
                </c:pt>
                <c:pt idx="2129">
                  <c:v>0.886861313868613</c:v>
                </c:pt>
                <c:pt idx="2130">
                  <c:v>0.88693467336683396</c:v>
                </c:pt>
                <c:pt idx="2131">
                  <c:v>0.88712652157875305</c:v>
                </c:pt>
                <c:pt idx="2132">
                  <c:v>0.88723051409618603</c:v>
                </c:pt>
                <c:pt idx="2133">
                  <c:v>0.88757637474541695</c:v>
                </c:pt>
                <c:pt idx="2134">
                  <c:v>0.88764044943820197</c:v>
                </c:pt>
                <c:pt idx="2135">
                  <c:v>0.88772727272727303</c:v>
                </c:pt>
                <c:pt idx="2136">
                  <c:v>0.888501742160279</c:v>
                </c:pt>
                <c:pt idx="2137">
                  <c:v>0.88852813852813795</c:v>
                </c:pt>
                <c:pt idx="2138">
                  <c:v>0.88853629512098398</c:v>
                </c:pt>
                <c:pt idx="2139">
                  <c:v>0.88859649122807005</c:v>
                </c:pt>
                <c:pt idx="2140">
                  <c:v>0.88863287250384004</c:v>
                </c:pt>
                <c:pt idx="2141">
                  <c:v>0.88888888888888895</c:v>
                </c:pt>
                <c:pt idx="2142">
                  <c:v>0.88888888888888895</c:v>
                </c:pt>
                <c:pt idx="2143">
                  <c:v>0.88888888888888895</c:v>
                </c:pt>
                <c:pt idx="2144">
                  <c:v>0.88893709327548798</c:v>
                </c:pt>
                <c:pt idx="2145">
                  <c:v>0.88895315211104697</c:v>
                </c:pt>
                <c:pt idx="2146">
                  <c:v>0.88906168999481605</c:v>
                </c:pt>
                <c:pt idx="2147">
                  <c:v>0.88921282798833801</c:v>
                </c:pt>
                <c:pt idx="2148">
                  <c:v>0.88934850051706305</c:v>
                </c:pt>
                <c:pt idx="2149">
                  <c:v>0.88951442646023904</c:v>
                </c:pt>
                <c:pt idx="2150">
                  <c:v>0.889632107023411</c:v>
                </c:pt>
                <c:pt idx="2151">
                  <c:v>0.88970588235294101</c:v>
                </c:pt>
                <c:pt idx="2152">
                  <c:v>0.88983855650522303</c:v>
                </c:pt>
                <c:pt idx="2153">
                  <c:v>0.8898756660746</c:v>
                </c:pt>
                <c:pt idx="2154">
                  <c:v>0.88990825688073405</c:v>
                </c:pt>
                <c:pt idx="2155">
                  <c:v>0.88990825688073405</c:v>
                </c:pt>
                <c:pt idx="2156">
                  <c:v>0.89015151515151503</c:v>
                </c:pt>
                <c:pt idx="2157">
                  <c:v>0.89016897081413204</c:v>
                </c:pt>
                <c:pt idx="2158">
                  <c:v>0.89018087855297101</c:v>
                </c:pt>
                <c:pt idx="2159">
                  <c:v>0.89022435897435903</c:v>
                </c:pt>
                <c:pt idx="2160">
                  <c:v>0.89041095890411004</c:v>
                </c:pt>
                <c:pt idx="2161">
                  <c:v>0.89051094890510896</c:v>
                </c:pt>
                <c:pt idx="2162">
                  <c:v>0.89052631578947405</c:v>
                </c:pt>
                <c:pt idx="2163">
                  <c:v>0.89054054054053999</c:v>
                </c:pt>
                <c:pt idx="2164">
                  <c:v>0.89057421451787599</c:v>
                </c:pt>
                <c:pt idx="2165">
                  <c:v>0.890625</c:v>
                </c:pt>
                <c:pt idx="2166">
                  <c:v>0.89087947882736096</c:v>
                </c:pt>
                <c:pt idx="2167">
                  <c:v>0.89090909090909098</c:v>
                </c:pt>
                <c:pt idx="2168">
                  <c:v>0.89134808853118697</c:v>
                </c:pt>
                <c:pt idx="2169">
                  <c:v>0.89139072847682099</c:v>
                </c:pt>
                <c:pt idx="2170">
                  <c:v>0.89147286821705396</c:v>
                </c:pt>
                <c:pt idx="2171">
                  <c:v>0.89178515007898895</c:v>
                </c:pt>
                <c:pt idx="2172">
                  <c:v>0.891891891891892</c:v>
                </c:pt>
                <c:pt idx="2173">
                  <c:v>0.89211136890951304</c:v>
                </c:pt>
                <c:pt idx="2174">
                  <c:v>0.89230769230769202</c:v>
                </c:pt>
                <c:pt idx="2175">
                  <c:v>0.89242590559824397</c:v>
                </c:pt>
                <c:pt idx="2176">
                  <c:v>0.89247311827956999</c:v>
                </c:pt>
                <c:pt idx="2177">
                  <c:v>0.89252948885976402</c:v>
                </c:pt>
                <c:pt idx="2178">
                  <c:v>0.89281997918834499</c:v>
                </c:pt>
                <c:pt idx="2179">
                  <c:v>0.89285714285714302</c:v>
                </c:pt>
                <c:pt idx="2180">
                  <c:v>0.892912172573189</c:v>
                </c:pt>
                <c:pt idx="2181">
                  <c:v>0.89306358381502904</c:v>
                </c:pt>
                <c:pt idx="2182">
                  <c:v>0.89320388349514601</c:v>
                </c:pt>
                <c:pt idx="2183">
                  <c:v>0.89320388349514601</c:v>
                </c:pt>
                <c:pt idx="2184">
                  <c:v>0.89322916666666696</c:v>
                </c:pt>
                <c:pt idx="2185">
                  <c:v>0.89330024813895803</c:v>
                </c:pt>
                <c:pt idx="2186">
                  <c:v>0.89333333333333298</c:v>
                </c:pt>
                <c:pt idx="2187">
                  <c:v>0.89333333333333298</c:v>
                </c:pt>
                <c:pt idx="2188">
                  <c:v>0.89344262295082</c:v>
                </c:pt>
                <c:pt idx="2189">
                  <c:v>0.89370932754880705</c:v>
                </c:pt>
                <c:pt idx="2190">
                  <c:v>0.89375000000000004</c:v>
                </c:pt>
                <c:pt idx="2191">
                  <c:v>0.89393939393939403</c:v>
                </c:pt>
                <c:pt idx="2192">
                  <c:v>0.89404934687953497</c:v>
                </c:pt>
                <c:pt idx="2193">
                  <c:v>0.89411764705882402</c:v>
                </c:pt>
                <c:pt idx="2194">
                  <c:v>0.89430894308943099</c:v>
                </c:pt>
                <c:pt idx="2195">
                  <c:v>0.89447236180904499</c:v>
                </c:pt>
                <c:pt idx="2196">
                  <c:v>0.89463220675944299</c:v>
                </c:pt>
                <c:pt idx="2197">
                  <c:v>0.89473684210526305</c:v>
                </c:pt>
                <c:pt idx="2198">
                  <c:v>0.89506172839506204</c:v>
                </c:pt>
                <c:pt idx="2199">
                  <c:v>0.89517470881863603</c:v>
                </c:pt>
                <c:pt idx="2200">
                  <c:v>0.89520958083832303</c:v>
                </c:pt>
                <c:pt idx="2201">
                  <c:v>0.89530685920577602</c:v>
                </c:pt>
                <c:pt idx="2202">
                  <c:v>0.89536082474226797</c:v>
                </c:pt>
                <c:pt idx="2203">
                  <c:v>0.89540816326530603</c:v>
                </c:pt>
                <c:pt idx="2204">
                  <c:v>0.89549033643521803</c:v>
                </c:pt>
                <c:pt idx="2205">
                  <c:v>0.89565217391304297</c:v>
                </c:pt>
                <c:pt idx="2206">
                  <c:v>0.89610389610389596</c:v>
                </c:pt>
                <c:pt idx="2207">
                  <c:v>0.89645776566757496</c:v>
                </c:pt>
                <c:pt idx="2208">
                  <c:v>0.89655172413793105</c:v>
                </c:pt>
                <c:pt idx="2209">
                  <c:v>0.89655172413793105</c:v>
                </c:pt>
                <c:pt idx="2210">
                  <c:v>0.896656534954407</c:v>
                </c:pt>
                <c:pt idx="2211">
                  <c:v>0.89687499999999998</c:v>
                </c:pt>
                <c:pt idx="2212">
                  <c:v>0.89705882352941202</c:v>
                </c:pt>
                <c:pt idx="2213">
                  <c:v>0.89705882352941202</c:v>
                </c:pt>
                <c:pt idx="2214">
                  <c:v>0.897260273972603</c:v>
                </c:pt>
                <c:pt idx="2215">
                  <c:v>0.89736842105263204</c:v>
                </c:pt>
                <c:pt idx="2216">
                  <c:v>0.89749911940824201</c:v>
                </c:pt>
                <c:pt idx="2217">
                  <c:v>0.89766970618034403</c:v>
                </c:pt>
                <c:pt idx="2218">
                  <c:v>0.89781021897810198</c:v>
                </c:pt>
                <c:pt idx="2219">
                  <c:v>0.89781491002570701</c:v>
                </c:pt>
                <c:pt idx="2220">
                  <c:v>0.89788053949903601</c:v>
                </c:pt>
                <c:pt idx="2221">
                  <c:v>0.89795918367346905</c:v>
                </c:pt>
                <c:pt idx="2222">
                  <c:v>0.89795918367346905</c:v>
                </c:pt>
                <c:pt idx="2223">
                  <c:v>0.89795918367346905</c:v>
                </c:pt>
                <c:pt idx="2224">
                  <c:v>0.89807333747669404</c:v>
                </c:pt>
                <c:pt idx="2225">
                  <c:v>0.89811320754716994</c:v>
                </c:pt>
                <c:pt idx="2226">
                  <c:v>0.89823008849557495</c:v>
                </c:pt>
                <c:pt idx="2227">
                  <c:v>0.89846153846153798</c:v>
                </c:pt>
                <c:pt idx="2228">
                  <c:v>0.89865996649916202</c:v>
                </c:pt>
                <c:pt idx="2229">
                  <c:v>0.89908256880733906</c:v>
                </c:pt>
                <c:pt idx="2230">
                  <c:v>0.89918256130790197</c:v>
                </c:pt>
                <c:pt idx="2231">
                  <c:v>0.89924670433145004</c:v>
                </c:pt>
                <c:pt idx="2232">
                  <c:v>0.89929615592853296</c:v>
                </c:pt>
                <c:pt idx="2233">
                  <c:v>0.89932885906040305</c:v>
                </c:pt>
                <c:pt idx="2234">
                  <c:v>0.89954337899543402</c:v>
                </c:pt>
                <c:pt idx="2235">
                  <c:v>0.89964157706093195</c:v>
                </c:pt>
                <c:pt idx="2236">
                  <c:v>0.89988998899890005</c:v>
                </c:pt>
                <c:pt idx="2237">
                  <c:v>0.9</c:v>
                </c:pt>
                <c:pt idx="2238">
                  <c:v>0.900709219858156</c:v>
                </c:pt>
                <c:pt idx="2239">
                  <c:v>0.90076335877862601</c:v>
                </c:pt>
                <c:pt idx="2240">
                  <c:v>0.90079365079365104</c:v>
                </c:pt>
                <c:pt idx="2241">
                  <c:v>0.90116279069767402</c:v>
                </c:pt>
                <c:pt idx="2242">
                  <c:v>0.90129339686861798</c:v>
                </c:pt>
                <c:pt idx="2243">
                  <c:v>0.90151515151515105</c:v>
                </c:pt>
                <c:pt idx="2244">
                  <c:v>0.901685393258427</c:v>
                </c:pt>
                <c:pt idx="2245">
                  <c:v>0.90186335403726703</c:v>
                </c:pt>
                <c:pt idx="2246">
                  <c:v>0.901898734177215</c:v>
                </c:pt>
                <c:pt idx="2247">
                  <c:v>0.90196078431372495</c:v>
                </c:pt>
                <c:pt idx="2248">
                  <c:v>0.90229885057471304</c:v>
                </c:pt>
                <c:pt idx="2249">
                  <c:v>0.90237797246558205</c:v>
                </c:pt>
                <c:pt idx="2250">
                  <c:v>0.90285204991087298</c:v>
                </c:pt>
                <c:pt idx="2251">
                  <c:v>0.90298507462686595</c:v>
                </c:pt>
                <c:pt idx="2252">
                  <c:v>0.90301003344481601</c:v>
                </c:pt>
                <c:pt idx="2253">
                  <c:v>0.90304709141274198</c:v>
                </c:pt>
                <c:pt idx="2254">
                  <c:v>0.90314913844325595</c:v>
                </c:pt>
                <c:pt idx="2255">
                  <c:v>0.90322580645161299</c:v>
                </c:pt>
                <c:pt idx="2256">
                  <c:v>0.90324354040681698</c:v>
                </c:pt>
                <c:pt idx="2257">
                  <c:v>0.903474903474903</c:v>
                </c:pt>
                <c:pt idx="2258">
                  <c:v>0.903525046382189</c:v>
                </c:pt>
                <c:pt idx="2259">
                  <c:v>0.90359477124182996</c:v>
                </c:pt>
                <c:pt idx="2260">
                  <c:v>0.90364826941066401</c:v>
                </c:pt>
                <c:pt idx="2261">
                  <c:v>0.90367170626349902</c:v>
                </c:pt>
                <c:pt idx="2262">
                  <c:v>0.90374331550802101</c:v>
                </c:pt>
                <c:pt idx="2263">
                  <c:v>0.90378548895899102</c:v>
                </c:pt>
                <c:pt idx="2264">
                  <c:v>0.90410958904109595</c:v>
                </c:pt>
                <c:pt idx="2265">
                  <c:v>0.90419161676646698</c:v>
                </c:pt>
                <c:pt idx="2266">
                  <c:v>0.90432317505315396</c:v>
                </c:pt>
                <c:pt idx="2267">
                  <c:v>0.90437017994858604</c:v>
                </c:pt>
                <c:pt idx="2268">
                  <c:v>0.90441176470588203</c:v>
                </c:pt>
                <c:pt idx="2269">
                  <c:v>0.90444444444444405</c:v>
                </c:pt>
                <c:pt idx="2270">
                  <c:v>0.90455341506129605</c:v>
                </c:pt>
                <c:pt idx="2271">
                  <c:v>0.90471204188481702</c:v>
                </c:pt>
                <c:pt idx="2272">
                  <c:v>0.90471785383903802</c:v>
                </c:pt>
                <c:pt idx="2273">
                  <c:v>0.90476190476190499</c:v>
                </c:pt>
                <c:pt idx="2274">
                  <c:v>0.90476190476190499</c:v>
                </c:pt>
                <c:pt idx="2275">
                  <c:v>0.90483619344773802</c:v>
                </c:pt>
                <c:pt idx="2276">
                  <c:v>0.90497737556561098</c:v>
                </c:pt>
                <c:pt idx="2277">
                  <c:v>0.90499390986601702</c:v>
                </c:pt>
                <c:pt idx="2278">
                  <c:v>0.90505050505050499</c:v>
                </c:pt>
                <c:pt idx="2279">
                  <c:v>0.90512430238457597</c:v>
                </c:pt>
                <c:pt idx="2280">
                  <c:v>0.90514905149051506</c:v>
                </c:pt>
                <c:pt idx="2281">
                  <c:v>0.90524534686971203</c:v>
                </c:pt>
                <c:pt idx="2282">
                  <c:v>0.90563991323210402</c:v>
                </c:pt>
                <c:pt idx="2283">
                  <c:v>0.90566037735849103</c:v>
                </c:pt>
                <c:pt idx="2284">
                  <c:v>0.90590405904059002</c:v>
                </c:pt>
                <c:pt idx="2285">
                  <c:v>0.90606653620352195</c:v>
                </c:pt>
                <c:pt idx="2286">
                  <c:v>0.90615091946734305</c:v>
                </c:pt>
                <c:pt idx="2287">
                  <c:v>0.906183368869936</c:v>
                </c:pt>
                <c:pt idx="2288">
                  <c:v>0.90625</c:v>
                </c:pt>
                <c:pt idx="2289">
                  <c:v>0.90660080826223599</c:v>
                </c:pt>
                <c:pt idx="2290">
                  <c:v>0.90663390663390697</c:v>
                </c:pt>
                <c:pt idx="2291">
                  <c:v>0.90668802563075701</c:v>
                </c:pt>
                <c:pt idx="2292">
                  <c:v>0.90669014084507005</c:v>
                </c:pt>
                <c:pt idx="2293">
                  <c:v>0.90712570056044795</c:v>
                </c:pt>
                <c:pt idx="2294">
                  <c:v>0.90713259932982304</c:v>
                </c:pt>
                <c:pt idx="2295">
                  <c:v>0.90725126475548101</c:v>
                </c:pt>
                <c:pt idx="2296">
                  <c:v>0.90728476821191995</c:v>
                </c:pt>
                <c:pt idx="2297">
                  <c:v>0.90728476821191995</c:v>
                </c:pt>
                <c:pt idx="2298">
                  <c:v>0.90730837789661301</c:v>
                </c:pt>
                <c:pt idx="2299">
                  <c:v>0.90736607142857095</c:v>
                </c:pt>
                <c:pt idx="2300">
                  <c:v>0.90771028037383195</c:v>
                </c:pt>
                <c:pt idx="2301">
                  <c:v>0.90779220779220804</c:v>
                </c:pt>
                <c:pt idx="2302">
                  <c:v>0.908496732026144</c:v>
                </c:pt>
                <c:pt idx="2303">
                  <c:v>0.90852130325814495</c:v>
                </c:pt>
                <c:pt idx="2304">
                  <c:v>0.90853658536585402</c:v>
                </c:pt>
                <c:pt idx="2305">
                  <c:v>0.90869565217391302</c:v>
                </c:pt>
                <c:pt idx="2306">
                  <c:v>0.90909090909090895</c:v>
                </c:pt>
                <c:pt idx="2307">
                  <c:v>0.90925426774483398</c:v>
                </c:pt>
                <c:pt idx="2308">
                  <c:v>0.90954773869346695</c:v>
                </c:pt>
                <c:pt idx="2309">
                  <c:v>0.90962099125364404</c:v>
                </c:pt>
                <c:pt idx="2310">
                  <c:v>0.90972222222222199</c:v>
                </c:pt>
                <c:pt idx="2311">
                  <c:v>0.90973871733966705</c:v>
                </c:pt>
                <c:pt idx="2312">
                  <c:v>0.90990990990991005</c:v>
                </c:pt>
                <c:pt idx="2313">
                  <c:v>0.91013824884792605</c:v>
                </c:pt>
                <c:pt idx="2314">
                  <c:v>0.91038696537678199</c:v>
                </c:pt>
                <c:pt idx="2315">
                  <c:v>0.91044776119403004</c:v>
                </c:pt>
                <c:pt idx="2316">
                  <c:v>0.91048034934497801</c:v>
                </c:pt>
                <c:pt idx="2317">
                  <c:v>0.91061452513966501</c:v>
                </c:pt>
                <c:pt idx="2318">
                  <c:v>0.91096161456272295</c:v>
                </c:pt>
                <c:pt idx="2319">
                  <c:v>0.91097922848664703</c:v>
                </c:pt>
                <c:pt idx="2320">
                  <c:v>0.91108545034641997</c:v>
                </c:pt>
                <c:pt idx="2321">
                  <c:v>0.91150137741046799</c:v>
                </c:pt>
                <c:pt idx="2322">
                  <c:v>0.91150442477876104</c:v>
                </c:pt>
                <c:pt idx="2323">
                  <c:v>0.91151685393258397</c:v>
                </c:pt>
                <c:pt idx="2324">
                  <c:v>0.91168289290681503</c:v>
                </c:pt>
                <c:pt idx="2325">
                  <c:v>0.91171915332989195</c:v>
                </c:pt>
                <c:pt idx="2326">
                  <c:v>0.91180461329715101</c:v>
                </c:pt>
                <c:pt idx="2327">
                  <c:v>0.91184573002754798</c:v>
                </c:pt>
                <c:pt idx="2328">
                  <c:v>0.91199226305609304</c:v>
                </c:pt>
                <c:pt idx="2329">
                  <c:v>0.91203703703703698</c:v>
                </c:pt>
                <c:pt idx="2330">
                  <c:v>0.91216216216216195</c:v>
                </c:pt>
                <c:pt idx="2331">
                  <c:v>0.91224268689057397</c:v>
                </c:pt>
                <c:pt idx="2332">
                  <c:v>0.91228070175438603</c:v>
                </c:pt>
                <c:pt idx="2333">
                  <c:v>0.91228070175438603</c:v>
                </c:pt>
                <c:pt idx="2334">
                  <c:v>0.91232227488151696</c:v>
                </c:pt>
                <c:pt idx="2335">
                  <c:v>0.91249999999999998</c:v>
                </c:pt>
                <c:pt idx="2336">
                  <c:v>0.91253644314868798</c:v>
                </c:pt>
                <c:pt idx="2337">
                  <c:v>0.91258278145695404</c:v>
                </c:pt>
                <c:pt idx="2338">
                  <c:v>0.91265597147950095</c:v>
                </c:pt>
                <c:pt idx="2339">
                  <c:v>0.912790697674419</c:v>
                </c:pt>
                <c:pt idx="2340">
                  <c:v>0.91291291291291299</c:v>
                </c:pt>
                <c:pt idx="2341">
                  <c:v>0.91349480968858099</c:v>
                </c:pt>
                <c:pt idx="2342">
                  <c:v>0.91372549019607796</c:v>
                </c:pt>
                <c:pt idx="2343">
                  <c:v>0.91376146788990797</c:v>
                </c:pt>
                <c:pt idx="2344">
                  <c:v>0.91379310344827602</c:v>
                </c:pt>
                <c:pt idx="2345">
                  <c:v>0.91393442622950805</c:v>
                </c:pt>
                <c:pt idx="2346">
                  <c:v>0.91411042944785303</c:v>
                </c:pt>
                <c:pt idx="2347">
                  <c:v>0.914166085136078</c:v>
                </c:pt>
                <c:pt idx="2348">
                  <c:v>0.91421568627451</c:v>
                </c:pt>
                <c:pt idx="2349">
                  <c:v>0.91428571428571404</c:v>
                </c:pt>
                <c:pt idx="2350">
                  <c:v>0.91449814126394002</c:v>
                </c:pt>
                <c:pt idx="2351">
                  <c:v>0.91466771529689295</c:v>
                </c:pt>
                <c:pt idx="2352">
                  <c:v>0.91477272727272696</c:v>
                </c:pt>
                <c:pt idx="2353">
                  <c:v>0.91581632653061196</c:v>
                </c:pt>
                <c:pt idx="2354">
                  <c:v>0.91609589041095896</c:v>
                </c:pt>
                <c:pt idx="2355">
                  <c:v>0.91612903225806397</c:v>
                </c:pt>
                <c:pt idx="2356">
                  <c:v>0.91614255765199204</c:v>
                </c:pt>
                <c:pt idx="2357">
                  <c:v>0.91615289765721297</c:v>
                </c:pt>
                <c:pt idx="2358">
                  <c:v>0.91631291691934502</c:v>
                </c:pt>
                <c:pt idx="2359">
                  <c:v>0.91634980988593095</c:v>
                </c:pt>
                <c:pt idx="2360">
                  <c:v>0.91641182466870497</c:v>
                </c:pt>
                <c:pt idx="2361">
                  <c:v>0.91687763713080195</c:v>
                </c:pt>
                <c:pt idx="2362">
                  <c:v>0.91699604743082996</c:v>
                </c:pt>
                <c:pt idx="2363">
                  <c:v>0.91715976331360904</c:v>
                </c:pt>
                <c:pt idx="2364">
                  <c:v>0.91732283464566899</c:v>
                </c:pt>
                <c:pt idx="2365">
                  <c:v>0.91743119266054995</c:v>
                </c:pt>
                <c:pt idx="2366">
                  <c:v>0.91747572815533995</c:v>
                </c:pt>
                <c:pt idx="2367">
                  <c:v>0.91758241758241799</c:v>
                </c:pt>
                <c:pt idx="2368">
                  <c:v>0.91790600832837599</c:v>
                </c:pt>
                <c:pt idx="2369">
                  <c:v>0.91808399861159296</c:v>
                </c:pt>
                <c:pt idx="2370">
                  <c:v>0.91819160387513499</c:v>
                </c:pt>
                <c:pt idx="2371">
                  <c:v>0.91826923076923095</c:v>
                </c:pt>
                <c:pt idx="2372">
                  <c:v>0.91845493562231795</c:v>
                </c:pt>
                <c:pt idx="2373">
                  <c:v>0.91845979614949003</c:v>
                </c:pt>
                <c:pt idx="2374">
                  <c:v>0.91856677524429997</c:v>
                </c:pt>
                <c:pt idx="2375">
                  <c:v>0.918604651162791</c:v>
                </c:pt>
                <c:pt idx="2376">
                  <c:v>0.91866028708133995</c:v>
                </c:pt>
                <c:pt idx="2377">
                  <c:v>0.91876854599406499</c:v>
                </c:pt>
                <c:pt idx="2378">
                  <c:v>0.91880341880341898</c:v>
                </c:pt>
                <c:pt idx="2379">
                  <c:v>0.91882352941176504</c:v>
                </c:pt>
                <c:pt idx="2380">
                  <c:v>0.91884816753926701</c:v>
                </c:pt>
                <c:pt idx="2381">
                  <c:v>0.91891891891891897</c:v>
                </c:pt>
                <c:pt idx="2382">
                  <c:v>0.91909814323607397</c:v>
                </c:pt>
                <c:pt idx="2383">
                  <c:v>0.91913214990138103</c:v>
                </c:pt>
                <c:pt idx="2384">
                  <c:v>0.91925465838509302</c:v>
                </c:pt>
                <c:pt idx="2385">
                  <c:v>0.91926417986714404</c:v>
                </c:pt>
                <c:pt idx="2386">
                  <c:v>0.91942446043165504</c:v>
                </c:pt>
                <c:pt idx="2387">
                  <c:v>0.91944990176817298</c:v>
                </c:pt>
                <c:pt idx="2388">
                  <c:v>0.91954022988505701</c:v>
                </c:pt>
                <c:pt idx="2389">
                  <c:v>0.91963109354413697</c:v>
                </c:pt>
                <c:pt idx="2390">
                  <c:v>0.91966759002770104</c:v>
                </c:pt>
                <c:pt idx="2391">
                  <c:v>0.91969407265774406</c:v>
                </c:pt>
                <c:pt idx="2392">
                  <c:v>0.91980676328502398</c:v>
                </c:pt>
                <c:pt idx="2393">
                  <c:v>0.91983122362869196</c:v>
                </c:pt>
                <c:pt idx="2394">
                  <c:v>0.92013064133016598</c:v>
                </c:pt>
                <c:pt idx="2395">
                  <c:v>0.92017167381974196</c:v>
                </c:pt>
                <c:pt idx="2396">
                  <c:v>0.920208152645273</c:v>
                </c:pt>
                <c:pt idx="2397">
                  <c:v>0.92042657916324899</c:v>
                </c:pt>
                <c:pt idx="2398">
                  <c:v>0.92065106815869802</c:v>
                </c:pt>
                <c:pt idx="2399">
                  <c:v>0.92079207920792105</c:v>
                </c:pt>
                <c:pt idx="2400">
                  <c:v>0.92105263157894701</c:v>
                </c:pt>
                <c:pt idx="2401">
                  <c:v>0.92144236960721204</c:v>
                </c:pt>
                <c:pt idx="2402">
                  <c:v>0.92149532710280402</c:v>
                </c:pt>
                <c:pt idx="2403">
                  <c:v>0.92156862745098</c:v>
                </c:pt>
                <c:pt idx="2404">
                  <c:v>0.92156862745098</c:v>
                </c:pt>
                <c:pt idx="2405">
                  <c:v>0.92160611854684504</c:v>
                </c:pt>
                <c:pt idx="2406">
                  <c:v>0.92177914110429404</c:v>
                </c:pt>
                <c:pt idx="2407">
                  <c:v>0.922153510367406</c:v>
                </c:pt>
                <c:pt idx="2408">
                  <c:v>0.92234779438570902</c:v>
                </c:pt>
                <c:pt idx="2409">
                  <c:v>0.92256637168141598</c:v>
                </c:pt>
                <c:pt idx="2410">
                  <c:v>0.92282249173098096</c:v>
                </c:pt>
                <c:pt idx="2411">
                  <c:v>0.922885572139303</c:v>
                </c:pt>
                <c:pt idx="2412">
                  <c:v>0.92289719626168198</c:v>
                </c:pt>
                <c:pt idx="2413">
                  <c:v>0.92298435619735297</c:v>
                </c:pt>
                <c:pt idx="2414">
                  <c:v>0.92301587301587296</c:v>
                </c:pt>
                <c:pt idx="2415">
                  <c:v>0.92307692307692302</c:v>
                </c:pt>
                <c:pt idx="2416">
                  <c:v>0.92307692307692302</c:v>
                </c:pt>
                <c:pt idx="2417">
                  <c:v>0.92325581395348799</c:v>
                </c:pt>
                <c:pt idx="2418">
                  <c:v>0.9236276849642</c:v>
                </c:pt>
                <c:pt idx="2419">
                  <c:v>0.92394822006472499</c:v>
                </c:pt>
                <c:pt idx="2420">
                  <c:v>0.92424242424242398</c:v>
                </c:pt>
                <c:pt idx="2421">
                  <c:v>0.92424791591156197</c:v>
                </c:pt>
                <c:pt idx="2422">
                  <c:v>0.92441355343179799</c:v>
                </c:pt>
                <c:pt idx="2423">
                  <c:v>0.92462311557788901</c:v>
                </c:pt>
                <c:pt idx="2424">
                  <c:v>0.92473118279569899</c:v>
                </c:pt>
                <c:pt idx="2425">
                  <c:v>0.92483660130719003</c:v>
                </c:pt>
                <c:pt idx="2426">
                  <c:v>0.92492492492492495</c:v>
                </c:pt>
                <c:pt idx="2427">
                  <c:v>0.92500000000000004</c:v>
                </c:pt>
                <c:pt idx="2428">
                  <c:v>0.92511377741001199</c:v>
                </c:pt>
                <c:pt idx="2429">
                  <c:v>0.92518127883981505</c:v>
                </c:pt>
                <c:pt idx="2430">
                  <c:v>0.92533659730722095</c:v>
                </c:pt>
                <c:pt idx="2431">
                  <c:v>0.92546063651591304</c:v>
                </c:pt>
                <c:pt idx="2432">
                  <c:v>0.92553191489361697</c:v>
                </c:pt>
                <c:pt idx="2433">
                  <c:v>0.92554922701383202</c:v>
                </c:pt>
                <c:pt idx="2434">
                  <c:v>0.925561797752809</c:v>
                </c:pt>
                <c:pt idx="2435">
                  <c:v>0.92579505300353404</c:v>
                </c:pt>
                <c:pt idx="2436">
                  <c:v>0.92592592592592604</c:v>
                </c:pt>
                <c:pt idx="2437">
                  <c:v>0.926056338028169</c:v>
                </c:pt>
                <c:pt idx="2438">
                  <c:v>0.92619047619047601</c:v>
                </c:pt>
                <c:pt idx="2439">
                  <c:v>0.92625368731563396</c:v>
                </c:pt>
                <c:pt idx="2440">
                  <c:v>0.92639593908629403</c:v>
                </c:pt>
                <c:pt idx="2441">
                  <c:v>0.92660550458715596</c:v>
                </c:pt>
                <c:pt idx="2442">
                  <c:v>0.926621160409556</c:v>
                </c:pt>
                <c:pt idx="2443">
                  <c:v>0.92675159235668803</c:v>
                </c:pt>
                <c:pt idx="2444">
                  <c:v>0.92682926829268297</c:v>
                </c:pt>
                <c:pt idx="2445">
                  <c:v>0.926910299003322</c:v>
                </c:pt>
                <c:pt idx="2446">
                  <c:v>0.92700729927007297</c:v>
                </c:pt>
                <c:pt idx="2447">
                  <c:v>0.92708333333333304</c:v>
                </c:pt>
                <c:pt idx="2448">
                  <c:v>0.92758430071862896</c:v>
                </c:pt>
                <c:pt idx="2449">
                  <c:v>0.92788461538461497</c:v>
                </c:pt>
                <c:pt idx="2450">
                  <c:v>0.927966101694915</c:v>
                </c:pt>
                <c:pt idx="2451">
                  <c:v>0.92797783933517997</c:v>
                </c:pt>
                <c:pt idx="2452">
                  <c:v>0.92809587217043898</c:v>
                </c:pt>
                <c:pt idx="2453">
                  <c:v>0.92811839323467205</c:v>
                </c:pt>
                <c:pt idx="2454">
                  <c:v>0.92857142857142905</c:v>
                </c:pt>
                <c:pt idx="2455">
                  <c:v>0.92861427714457101</c:v>
                </c:pt>
                <c:pt idx="2456">
                  <c:v>0.92869982025164799</c:v>
                </c:pt>
                <c:pt idx="2457">
                  <c:v>0.92872295290623696</c:v>
                </c:pt>
                <c:pt idx="2458">
                  <c:v>0.92915531335149903</c:v>
                </c:pt>
                <c:pt idx="2459">
                  <c:v>0.92957746478873204</c:v>
                </c:pt>
                <c:pt idx="2460">
                  <c:v>0.92961876832844603</c:v>
                </c:pt>
                <c:pt idx="2461">
                  <c:v>0.92978056426332301</c:v>
                </c:pt>
                <c:pt idx="2462">
                  <c:v>0.929824561403509</c:v>
                </c:pt>
                <c:pt idx="2463">
                  <c:v>0.929851909586906</c:v>
                </c:pt>
                <c:pt idx="2464">
                  <c:v>0.93</c:v>
                </c:pt>
                <c:pt idx="2465">
                  <c:v>0.93039049235993199</c:v>
                </c:pt>
                <c:pt idx="2466">
                  <c:v>0.93040293040292998</c:v>
                </c:pt>
                <c:pt idx="2467">
                  <c:v>0.93044822256568804</c:v>
                </c:pt>
                <c:pt idx="2468">
                  <c:v>0.93047034764826198</c:v>
                </c:pt>
                <c:pt idx="2469">
                  <c:v>0.93061224489795902</c:v>
                </c:pt>
                <c:pt idx="2470">
                  <c:v>0.93068181818181805</c:v>
                </c:pt>
                <c:pt idx="2471">
                  <c:v>0.930761622156281</c:v>
                </c:pt>
                <c:pt idx="2472">
                  <c:v>0.93099415204678404</c:v>
                </c:pt>
                <c:pt idx="2473">
                  <c:v>0.931034482758621</c:v>
                </c:pt>
                <c:pt idx="2474">
                  <c:v>0.93111366245694605</c:v>
                </c:pt>
                <c:pt idx="2475">
                  <c:v>0.93144208037825105</c:v>
                </c:pt>
                <c:pt idx="2476">
                  <c:v>0.93170042392840302</c:v>
                </c:pt>
                <c:pt idx="2477">
                  <c:v>0.931707317073171</c:v>
                </c:pt>
                <c:pt idx="2478">
                  <c:v>0.93178973717146396</c:v>
                </c:pt>
                <c:pt idx="2479">
                  <c:v>0.931956257594168</c:v>
                </c:pt>
                <c:pt idx="2480">
                  <c:v>0.93211009174311898</c:v>
                </c:pt>
                <c:pt idx="2481">
                  <c:v>0.93246187363834399</c:v>
                </c:pt>
                <c:pt idx="2482">
                  <c:v>0.93259557344064403</c:v>
                </c:pt>
                <c:pt idx="2483">
                  <c:v>0.93271221532091098</c:v>
                </c:pt>
                <c:pt idx="2484">
                  <c:v>0.93296853625170995</c:v>
                </c:pt>
                <c:pt idx="2485">
                  <c:v>0.93298969072164895</c:v>
                </c:pt>
                <c:pt idx="2486">
                  <c:v>0.93311036789297697</c:v>
                </c:pt>
                <c:pt idx="2487">
                  <c:v>0.93333333333333302</c:v>
                </c:pt>
                <c:pt idx="2488">
                  <c:v>0.93344425956738797</c:v>
                </c:pt>
                <c:pt idx="2489">
                  <c:v>0.93357015985790404</c:v>
                </c:pt>
                <c:pt idx="2490">
                  <c:v>0.93385214007782102</c:v>
                </c:pt>
                <c:pt idx="2491">
                  <c:v>0.93417721518987296</c:v>
                </c:pt>
                <c:pt idx="2492">
                  <c:v>0.93421052631578905</c:v>
                </c:pt>
                <c:pt idx="2493">
                  <c:v>0.93473684210526298</c:v>
                </c:pt>
                <c:pt idx="2494">
                  <c:v>0.934782608695652</c:v>
                </c:pt>
                <c:pt idx="2495">
                  <c:v>0.934782608695652</c:v>
                </c:pt>
                <c:pt idx="2496">
                  <c:v>0.93482142857142903</c:v>
                </c:pt>
                <c:pt idx="2497">
                  <c:v>0.93483709273183002</c:v>
                </c:pt>
                <c:pt idx="2498">
                  <c:v>0.93506493506493504</c:v>
                </c:pt>
                <c:pt idx="2499">
                  <c:v>0.93517534537725799</c:v>
                </c:pt>
                <c:pt idx="2500">
                  <c:v>0.93548387096774199</c:v>
                </c:pt>
                <c:pt idx="2501">
                  <c:v>0.93556701030927802</c:v>
                </c:pt>
                <c:pt idx="2502">
                  <c:v>0.935622317596567</c:v>
                </c:pt>
                <c:pt idx="2503">
                  <c:v>0.93595041322314099</c:v>
                </c:pt>
                <c:pt idx="2504">
                  <c:v>0.93604651162790697</c:v>
                </c:pt>
                <c:pt idx="2505">
                  <c:v>0.93604651162790697</c:v>
                </c:pt>
                <c:pt idx="2506">
                  <c:v>0.93617021276595702</c:v>
                </c:pt>
                <c:pt idx="2507">
                  <c:v>0.93631669535284001</c:v>
                </c:pt>
                <c:pt idx="2508">
                  <c:v>0.93637846655791201</c:v>
                </c:pt>
                <c:pt idx="2509">
                  <c:v>0.93640167364016702</c:v>
                </c:pt>
                <c:pt idx="2510">
                  <c:v>0.93650793650793596</c:v>
                </c:pt>
                <c:pt idx="2511">
                  <c:v>0.93653974615898505</c:v>
                </c:pt>
                <c:pt idx="2512">
                  <c:v>0.93653974615898505</c:v>
                </c:pt>
                <c:pt idx="2513">
                  <c:v>0.936594202898551</c:v>
                </c:pt>
                <c:pt idx="2514">
                  <c:v>0.93670033670033703</c:v>
                </c:pt>
                <c:pt idx="2515">
                  <c:v>0.93679012345679002</c:v>
                </c:pt>
                <c:pt idx="2516">
                  <c:v>0.93702497285559205</c:v>
                </c:pt>
                <c:pt idx="2517">
                  <c:v>0.93709327548806898</c:v>
                </c:pt>
                <c:pt idx="2518">
                  <c:v>0.937242798353909</c:v>
                </c:pt>
                <c:pt idx="2519">
                  <c:v>0.93726474278544503</c:v>
                </c:pt>
                <c:pt idx="2520">
                  <c:v>0.9375</c:v>
                </c:pt>
                <c:pt idx="2521">
                  <c:v>0.93760539629005102</c:v>
                </c:pt>
                <c:pt idx="2522">
                  <c:v>0.93766696349065004</c:v>
                </c:pt>
                <c:pt idx="2523">
                  <c:v>0.93770491803278699</c:v>
                </c:pt>
                <c:pt idx="2524">
                  <c:v>0.93779904306220097</c:v>
                </c:pt>
                <c:pt idx="2525">
                  <c:v>0.93782383419689097</c:v>
                </c:pt>
                <c:pt idx="2526">
                  <c:v>0.93814432989690699</c:v>
                </c:pt>
                <c:pt idx="2527">
                  <c:v>0.93859649122806998</c:v>
                </c:pt>
                <c:pt idx="2528">
                  <c:v>0.93859649122806998</c:v>
                </c:pt>
                <c:pt idx="2529">
                  <c:v>0.93915343915343896</c:v>
                </c:pt>
                <c:pt idx="2530">
                  <c:v>0.93924050632911404</c:v>
                </c:pt>
                <c:pt idx="2531">
                  <c:v>0.939393939393939</c:v>
                </c:pt>
                <c:pt idx="2532">
                  <c:v>0.93944491169049604</c:v>
                </c:pt>
                <c:pt idx="2533">
                  <c:v>0.93957115009746595</c:v>
                </c:pt>
                <c:pt idx="2534">
                  <c:v>0.93965517241379304</c:v>
                </c:pt>
                <c:pt idx="2535">
                  <c:v>0.93975597356380303</c:v>
                </c:pt>
                <c:pt idx="2536">
                  <c:v>0.939866369710468</c:v>
                </c:pt>
                <c:pt idx="2537">
                  <c:v>0.94007490636704105</c:v>
                </c:pt>
                <c:pt idx="2538">
                  <c:v>0.94036061026352302</c:v>
                </c:pt>
                <c:pt idx="2539">
                  <c:v>0.94061650045330902</c:v>
                </c:pt>
                <c:pt idx="2540">
                  <c:v>0.94067796610169496</c:v>
                </c:pt>
                <c:pt idx="2541">
                  <c:v>0.94078398665554597</c:v>
                </c:pt>
                <c:pt idx="2542">
                  <c:v>0.94090909090909103</c:v>
                </c:pt>
                <c:pt idx="2543">
                  <c:v>0.94097222222222199</c:v>
                </c:pt>
                <c:pt idx="2544">
                  <c:v>0.94112967382657098</c:v>
                </c:pt>
                <c:pt idx="2545">
                  <c:v>0.94117647058823495</c:v>
                </c:pt>
                <c:pt idx="2546">
                  <c:v>0.94117647058823495</c:v>
                </c:pt>
                <c:pt idx="2547">
                  <c:v>0.94117647058823495</c:v>
                </c:pt>
                <c:pt idx="2548">
                  <c:v>0.94183445190156601</c:v>
                </c:pt>
                <c:pt idx="2549">
                  <c:v>0.94197952218430003</c:v>
                </c:pt>
                <c:pt idx="2550">
                  <c:v>0.94204685573366198</c:v>
                </c:pt>
                <c:pt idx="2551">
                  <c:v>0.94230769230769196</c:v>
                </c:pt>
                <c:pt idx="2552">
                  <c:v>0.94239130434782603</c:v>
                </c:pt>
                <c:pt idx="2553">
                  <c:v>0.94239631336405505</c:v>
                </c:pt>
                <c:pt idx="2554">
                  <c:v>0.94241842610364701</c:v>
                </c:pt>
                <c:pt idx="2555">
                  <c:v>0.94262295081967196</c:v>
                </c:pt>
                <c:pt idx="2556">
                  <c:v>0.94283995186522296</c:v>
                </c:pt>
                <c:pt idx="2557">
                  <c:v>0.94285714285714295</c:v>
                </c:pt>
                <c:pt idx="2558">
                  <c:v>0.94294605809128595</c:v>
                </c:pt>
                <c:pt idx="2559">
                  <c:v>0.94299287410926402</c:v>
                </c:pt>
                <c:pt idx="2560">
                  <c:v>0.94334650856390001</c:v>
                </c:pt>
                <c:pt idx="2561">
                  <c:v>0.94357976653696496</c:v>
                </c:pt>
                <c:pt idx="2562">
                  <c:v>0.94360902255639101</c:v>
                </c:pt>
                <c:pt idx="2563">
                  <c:v>0.94382022471910099</c:v>
                </c:pt>
                <c:pt idx="2564">
                  <c:v>0.94421052631578894</c:v>
                </c:pt>
                <c:pt idx="2565">
                  <c:v>0.94431903686982699</c:v>
                </c:pt>
                <c:pt idx="2566">
                  <c:v>0.94444444444444398</c:v>
                </c:pt>
                <c:pt idx="2567">
                  <c:v>0.94453781512604995</c:v>
                </c:pt>
                <c:pt idx="2568">
                  <c:v>0.94468085106383004</c:v>
                </c:pt>
                <c:pt idx="2569">
                  <c:v>0.94480519480519498</c:v>
                </c:pt>
                <c:pt idx="2570">
                  <c:v>0.94488188976377896</c:v>
                </c:pt>
                <c:pt idx="2571">
                  <c:v>0.94501718213058405</c:v>
                </c:pt>
                <c:pt idx="2572">
                  <c:v>0.94520547945205502</c:v>
                </c:pt>
                <c:pt idx="2573">
                  <c:v>0.945347119645495</c:v>
                </c:pt>
                <c:pt idx="2574">
                  <c:v>0.94552529182879397</c:v>
                </c:pt>
                <c:pt idx="2575">
                  <c:v>0.94565217391304301</c:v>
                </c:pt>
                <c:pt idx="2576">
                  <c:v>0.94565217391304301</c:v>
                </c:pt>
                <c:pt idx="2577">
                  <c:v>0.94569536423841105</c:v>
                </c:pt>
                <c:pt idx="2578">
                  <c:v>0.94599999999999995</c:v>
                </c:pt>
                <c:pt idx="2579">
                  <c:v>0.94609557109557096</c:v>
                </c:pt>
                <c:pt idx="2580">
                  <c:v>0.94610778443113797</c:v>
                </c:pt>
                <c:pt idx="2581">
                  <c:v>0.94611271081859305</c:v>
                </c:pt>
                <c:pt idx="2582">
                  <c:v>0.94627383015597899</c:v>
                </c:pt>
                <c:pt idx="2583">
                  <c:v>0.94632768361581898</c:v>
                </c:pt>
                <c:pt idx="2584">
                  <c:v>0.94642188085425205</c:v>
                </c:pt>
                <c:pt idx="2585">
                  <c:v>0.94654654654654702</c:v>
                </c:pt>
                <c:pt idx="2586">
                  <c:v>0.94661458333333304</c:v>
                </c:pt>
                <c:pt idx="2587">
                  <c:v>0.94667913938259995</c:v>
                </c:pt>
                <c:pt idx="2588">
                  <c:v>0.94669117647058798</c:v>
                </c:pt>
                <c:pt idx="2589">
                  <c:v>0.94678492239467804</c:v>
                </c:pt>
                <c:pt idx="2590">
                  <c:v>0.94685990338164205</c:v>
                </c:pt>
                <c:pt idx="2591">
                  <c:v>0.946902654867257</c:v>
                </c:pt>
                <c:pt idx="2592">
                  <c:v>0.94698354661791595</c:v>
                </c:pt>
                <c:pt idx="2593">
                  <c:v>0.94727891156462596</c:v>
                </c:pt>
                <c:pt idx="2594">
                  <c:v>0.94730238393977395</c:v>
                </c:pt>
                <c:pt idx="2595">
                  <c:v>0.94736842105263097</c:v>
                </c:pt>
                <c:pt idx="2596">
                  <c:v>0.94736842105263097</c:v>
                </c:pt>
                <c:pt idx="2597">
                  <c:v>0.947398843930636</c:v>
                </c:pt>
                <c:pt idx="2598">
                  <c:v>0.94746716697936195</c:v>
                </c:pt>
                <c:pt idx="2599">
                  <c:v>0.947483588621444</c:v>
                </c:pt>
                <c:pt idx="2600">
                  <c:v>0.947483588621444</c:v>
                </c:pt>
                <c:pt idx="2601">
                  <c:v>0.94801910649058696</c:v>
                </c:pt>
                <c:pt idx="2602">
                  <c:v>0.94801980198019797</c:v>
                </c:pt>
                <c:pt idx="2603">
                  <c:v>0.94822006472491904</c:v>
                </c:pt>
                <c:pt idx="2604">
                  <c:v>0.94829024186822297</c:v>
                </c:pt>
                <c:pt idx="2605">
                  <c:v>0.94831013916500995</c:v>
                </c:pt>
                <c:pt idx="2606">
                  <c:v>0.94837476099426399</c:v>
                </c:pt>
                <c:pt idx="2607">
                  <c:v>0.94851794071762896</c:v>
                </c:pt>
                <c:pt idx="2608">
                  <c:v>0.94859813084112199</c:v>
                </c:pt>
                <c:pt idx="2609">
                  <c:v>0.94880546075085304</c:v>
                </c:pt>
                <c:pt idx="2610">
                  <c:v>0.94900221729489997</c:v>
                </c:pt>
                <c:pt idx="2611">
                  <c:v>0.94901470128245202</c:v>
                </c:pt>
                <c:pt idx="2612">
                  <c:v>0.94915693904020704</c:v>
                </c:pt>
                <c:pt idx="2613">
                  <c:v>0.94932432432432401</c:v>
                </c:pt>
                <c:pt idx="2614">
                  <c:v>0.94992175273865398</c:v>
                </c:pt>
                <c:pt idx="2615">
                  <c:v>0.94993742177722096</c:v>
                </c:pt>
                <c:pt idx="2616">
                  <c:v>0.95002630194634397</c:v>
                </c:pt>
                <c:pt idx="2617">
                  <c:v>0.95012531328320804</c:v>
                </c:pt>
                <c:pt idx="2618">
                  <c:v>0.95076923076923103</c:v>
                </c:pt>
                <c:pt idx="2619">
                  <c:v>0.95123062898814903</c:v>
                </c:pt>
                <c:pt idx="2620">
                  <c:v>0.95170789163722003</c:v>
                </c:pt>
                <c:pt idx="2621">
                  <c:v>0.95185185185185195</c:v>
                </c:pt>
                <c:pt idx="2622">
                  <c:v>0.95217255392310096</c:v>
                </c:pt>
                <c:pt idx="2623">
                  <c:v>0.95255074053757505</c:v>
                </c:pt>
                <c:pt idx="2624">
                  <c:v>0.95257563368765297</c:v>
                </c:pt>
                <c:pt idx="2625">
                  <c:v>0.95267489711934195</c:v>
                </c:pt>
                <c:pt idx="2626">
                  <c:v>0.95294117647058796</c:v>
                </c:pt>
                <c:pt idx="2627">
                  <c:v>0.95308552869000396</c:v>
                </c:pt>
                <c:pt idx="2628">
                  <c:v>0.95325542570951605</c:v>
                </c:pt>
                <c:pt idx="2629">
                  <c:v>0.95333333333333303</c:v>
                </c:pt>
                <c:pt idx="2630">
                  <c:v>0.95348837209302295</c:v>
                </c:pt>
                <c:pt idx="2631">
                  <c:v>0.95352839931153199</c:v>
                </c:pt>
                <c:pt idx="2632">
                  <c:v>0.95381526104417702</c:v>
                </c:pt>
                <c:pt idx="2633">
                  <c:v>0.95400593471810102</c:v>
                </c:pt>
                <c:pt idx="2634">
                  <c:v>0.95431472081218305</c:v>
                </c:pt>
                <c:pt idx="2635">
                  <c:v>0.95444191343963602</c:v>
                </c:pt>
                <c:pt idx="2636">
                  <c:v>0.95447409733124</c:v>
                </c:pt>
                <c:pt idx="2637">
                  <c:v>0.95454545454545503</c:v>
                </c:pt>
                <c:pt idx="2638">
                  <c:v>0.95461095100864601</c:v>
                </c:pt>
                <c:pt idx="2639">
                  <c:v>0.95504587155963305</c:v>
                </c:pt>
                <c:pt idx="2640">
                  <c:v>0.95522388059701502</c:v>
                </c:pt>
                <c:pt idx="2641">
                  <c:v>0.95522388059701502</c:v>
                </c:pt>
                <c:pt idx="2642">
                  <c:v>0.95551257253384903</c:v>
                </c:pt>
                <c:pt idx="2643">
                  <c:v>0.95551257253384903</c:v>
                </c:pt>
                <c:pt idx="2644">
                  <c:v>0.955570291777188</c:v>
                </c:pt>
                <c:pt idx="2645">
                  <c:v>0.95585996955859998</c:v>
                </c:pt>
                <c:pt idx="2646">
                  <c:v>0.95588235294117596</c:v>
                </c:pt>
                <c:pt idx="2647">
                  <c:v>0.95617529880478103</c:v>
                </c:pt>
                <c:pt idx="2648">
                  <c:v>0.95642701525054497</c:v>
                </c:pt>
                <c:pt idx="2649">
                  <c:v>0.95644891122277997</c:v>
                </c:pt>
                <c:pt idx="2650">
                  <c:v>0.95683453237410099</c:v>
                </c:pt>
                <c:pt idx="2651">
                  <c:v>0.95698166431593801</c:v>
                </c:pt>
                <c:pt idx="2652">
                  <c:v>0.95714285714285696</c:v>
                </c:pt>
                <c:pt idx="2653">
                  <c:v>0.95716945996275604</c:v>
                </c:pt>
                <c:pt idx="2654">
                  <c:v>0.95744680851063801</c:v>
                </c:pt>
                <c:pt idx="2655">
                  <c:v>0.95764854614412098</c:v>
                </c:pt>
                <c:pt idx="2656">
                  <c:v>0.95765472312703603</c:v>
                </c:pt>
                <c:pt idx="2657">
                  <c:v>0.95771878072762995</c:v>
                </c:pt>
                <c:pt idx="2658">
                  <c:v>0.95784543325526905</c:v>
                </c:pt>
                <c:pt idx="2659">
                  <c:v>0.95797413793103403</c:v>
                </c:pt>
                <c:pt idx="2660">
                  <c:v>0.95812395309882703</c:v>
                </c:pt>
                <c:pt idx="2661">
                  <c:v>0.95833333333333304</c:v>
                </c:pt>
                <c:pt idx="2662">
                  <c:v>0.95833333333333304</c:v>
                </c:pt>
                <c:pt idx="2663">
                  <c:v>0.95833333333333304</c:v>
                </c:pt>
                <c:pt idx="2664">
                  <c:v>0.95841392649903301</c:v>
                </c:pt>
                <c:pt idx="2665">
                  <c:v>0.95880535530380995</c:v>
                </c:pt>
                <c:pt idx="2666">
                  <c:v>0.95884599066610099</c:v>
                </c:pt>
                <c:pt idx="2667">
                  <c:v>0.959008097165992</c:v>
                </c:pt>
                <c:pt idx="2668">
                  <c:v>0.95921924015336402</c:v>
                </c:pt>
                <c:pt idx="2669">
                  <c:v>0.95941686367218304</c:v>
                </c:pt>
                <c:pt idx="2670">
                  <c:v>0.95962199312714802</c:v>
                </c:pt>
                <c:pt idx="2671">
                  <c:v>0.959808612440191</c:v>
                </c:pt>
                <c:pt idx="2672">
                  <c:v>0.95993589743589702</c:v>
                </c:pt>
                <c:pt idx="2673">
                  <c:v>0.96016448213826799</c:v>
                </c:pt>
                <c:pt idx="2674">
                  <c:v>0.96045918367346905</c:v>
                </c:pt>
                <c:pt idx="2675">
                  <c:v>0.96075581395348797</c:v>
                </c:pt>
                <c:pt idx="2676">
                  <c:v>0.96089790007241105</c:v>
                </c:pt>
                <c:pt idx="2677">
                  <c:v>0.96103896103896103</c:v>
                </c:pt>
                <c:pt idx="2678">
                  <c:v>0.96123417721519</c:v>
                </c:pt>
                <c:pt idx="2679">
                  <c:v>0.96138211382113803</c:v>
                </c:pt>
                <c:pt idx="2680">
                  <c:v>0.96168582375478895</c:v>
                </c:pt>
                <c:pt idx="2681">
                  <c:v>0.961928934010152</c:v>
                </c:pt>
                <c:pt idx="2682">
                  <c:v>0.96231884057970996</c:v>
                </c:pt>
                <c:pt idx="2683">
                  <c:v>0.96242774566473999</c:v>
                </c:pt>
                <c:pt idx="2684">
                  <c:v>0.96299483648881201</c:v>
                </c:pt>
                <c:pt idx="2685">
                  <c:v>0.96315120711562896</c:v>
                </c:pt>
                <c:pt idx="2686">
                  <c:v>0.96359676415681395</c:v>
                </c:pt>
                <c:pt idx="2687">
                  <c:v>0.96363636363636396</c:v>
                </c:pt>
                <c:pt idx="2688">
                  <c:v>0.96368038740920103</c:v>
                </c:pt>
                <c:pt idx="2689">
                  <c:v>0.96378737541528203</c:v>
                </c:pt>
                <c:pt idx="2690">
                  <c:v>0.96381578947368396</c:v>
                </c:pt>
                <c:pt idx="2691">
                  <c:v>0.96385542168674698</c:v>
                </c:pt>
                <c:pt idx="2692">
                  <c:v>0.96403872752420505</c:v>
                </c:pt>
                <c:pt idx="2693">
                  <c:v>0.96412459720730403</c:v>
                </c:pt>
                <c:pt idx="2694">
                  <c:v>0.96428571428571397</c:v>
                </c:pt>
                <c:pt idx="2695">
                  <c:v>0.96470588235294097</c:v>
                </c:pt>
                <c:pt idx="2696">
                  <c:v>0.964710395090142</c:v>
                </c:pt>
                <c:pt idx="2697">
                  <c:v>0.96541786743515801</c:v>
                </c:pt>
                <c:pt idx="2698">
                  <c:v>0.96551724137931005</c:v>
                </c:pt>
                <c:pt idx="2699">
                  <c:v>0.96551724137931005</c:v>
                </c:pt>
                <c:pt idx="2700">
                  <c:v>0.96598639455782298</c:v>
                </c:pt>
                <c:pt idx="2701">
                  <c:v>0.96650246305418697</c:v>
                </c:pt>
                <c:pt idx="2702">
                  <c:v>0.96659707724425903</c:v>
                </c:pt>
                <c:pt idx="2703">
                  <c:v>0.96685082872928196</c:v>
                </c:pt>
                <c:pt idx="2704">
                  <c:v>0.96688500727801996</c:v>
                </c:pt>
                <c:pt idx="2705">
                  <c:v>0.96699174793698395</c:v>
                </c:pt>
                <c:pt idx="2706">
                  <c:v>0.96714743589743601</c:v>
                </c:pt>
                <c:pt idx="2707">
                  <c:v>0.96755162241887904</c:v>
                </c:pt>
                <c:pt idx="2708">
                  <c:v>0.96795131845841798</c:v>
                </c:pt>
                <c:pt idx="2709">
                  <c:v>0.96812278630460402</c:v>
                </c:pt>
                <c:pt idx="2710">
                  <c:v>0.96836483155299902</c:v>
                </c:pt>
                <c:pt idx="2711">
                  <c:v>0.96846846846846801</c:v>
                </c:pt>
                <c:pt idx="2712">
                  <c:v>0.96855345911949697</c:v>
                </c:pt>
                <c:pt idx="2713">
                  <c:v>0.96859903381642498</c:v>
                </c:pt>
                <c:pt idx="2714">
                  <c:v>0.96875</c:v>
                </c:pt>
                <c:pt idx="2715">
                  <c:v>0.96875</c:v>
                </c:pt>
                <c:pt idx="2716">
                  <c:v>0.969465648854962</c:v>
                </c:pt>
                <c:pt idx="2717">
                  <c:v>0.96984924623115598</c:v>
                </c:pt>
                <c:pt idx="2718">
                  <c:v>0.97014925373134298</c:v>
                </c:pt>
                <c:pt idx="2719">
                  <c:v>0.97023809523809501</c:v>
                </c:pt>
                <c:pt idx="2720">
                  <c:v>0.97024952015355104</c:v>
                </c:pt>
                <c:pt idx="2721">
                  <c:v>0.97037037037036999</c:v>
                </c:pt>
                <c:pt idx="2722">
                  <c:v>0.97062579821200501</c:v>
                </c:pt>
                <c:pt idx="2723">
                  <c:v>0.97086720867208698</c:v>
                </c:pt>
                <c:pt idx="2724">
                  <c:v>0.97137280416395599</c:v>
                </c:pt>
                <c:pt idx="2725">
                  <c:v>0.97148288973384</c:v>
                </c:pt>
                <c:pt idx="2726">
                  <c:v>0.97150997150997198</c:v>
                </c:pt>
                <c:pt idx="2727">
                  <c:v>0.97187500000000004</c:v>
                </c:pt>
                <c:pt idx="2728">
                  <c:v>0.97214593958415096</c:v>
                </c:pt>
                <c:pt idx="2729">
                  <c:v>0.97224306076519096</c:v>
                </c:pt>
                <c:pt idx="2730">
                  <c:v>0.972413793103448</c:v>
                </c:pt>
                <c:pt idx="2731">
                  <c:v>0.97277676950998204</c:v>
                </c:pt>
                <c:pt idx="2732">
                  <c:v>0.97283085013146398</c:v>
                </c:pt>
                <c:pt idx="2733">
                  <c:v>0.97283856159143101</c:v>
                </c:pt>
                <c:pt idx="2734">
                  <c:v>0.97286821705426296</c:v>
                </c:pt>
                <c:pt idx="2735">
                  <c:v>0.97351694915254205</c:v>
                </c:pt>
                <c:pt idx="2736">
                  <c:v>0.97354308187343597</c:v>
                </c:pt>
                <c:pt idx="2737">
                  <c:v>0.97402597402597402</c:v>
                </c:pt>
                <c:pt idx="2738">
                  <c:v>0.974076983503535</c:v>
                </c:pt>
                <c:pt idx="2739">
                  <c:v>0.97431781701444597</c:v>
                </c:pt>
                <c:pt idx="2740">
                  <c:v>0.97446808510638305</c:v>
                </c:pt>
                <c:pt idx="2741">
                  <c:v>0.974566900110579</c:v>
                </c:pt>
                <c:pt idx="2742">
                  <c:v>0.97457627118644097</c:v>
                </c:pt>
                <c:pt idx="2743">
                  <c:v>0.97464788732394403</c:v>
                </c:pt>
                <c:pt idx="2744">
                  <c:v>0.97472924187725596</c:v>
                </c:pt>
                <c:pt idx="2745">
                  <c:v>0.97491349480968903</c:v>
                </c:pt>
                <c:pt idx="2746">
                  <c:v>0.97525309336332999</c:v>
                </c:pt>
                <c:pt idx="2747">
                  <c:v>0.97526041666666696</c:v>
                </c:pt>
                <c:pt idx="2748">
                  <c:v>0.97528089887640401</c:v>
                </c:pt>
                <c:pt idx="2749">
                  <c:v>0.97535667963683503</c:v>
                </c:pt>
                <c:pt idx="2750">
                  <c:v>0.97536945812807896</c:v>
                </c:pt>
                <c:pt idx="2751">
                  <c:v>0.97568389057750804</c:v>
                </c:pt>
                <c:pt idx="2752">
                  <c:v>0.97604790419161702</c:v>
                </c:pt>
                <c:pt idx="2753">
                  <c:v>0.97639544570952497</c:v>
                </c:pt>
                <c:pt idx="2754">
                  <c:v>0.97680412371133996</c:v>
                </c:pt>
                <c:pt idx="2755">
                  <c:v>0.97684515195369004</c:v>
                </c:pt>
                <c:pt idx="2756">
                  <c:v>0.97689768976897695</c:v>
                </c:pt>
                <c:pt idx="2757">
                  <c:v>0.97745901639344301</c:v>
                </c:pt>
                <c:pt idx="2758">
                  <c:v>0.97872340425531901</c:v>
                </c:pt>
                <c:pt idx="2759">
                  <c:v>0.97931034482758605</c:v>
                </c:pt>
                <c:pt idx="2760">
                  <c:v>0.97946009389671396</c:v>
                </c:pt>
                <c:pt idx="2761">
                  <c:v>0.97972972972973005</c:v>
                </c:pt>
                <c:pt idx="2762">
                  <c:v>0.98011545862732496</c:v>
                </c:pt>
                <c:pt idx="2763">
                  <c:v>0.98113207547169801</c:v>
                </c:pt>
                <c:pt idx="2764">
                  <c:v>0.98130841121495305</c:v>
                </c:pt>
                <c:pt idx="2765">
                  <c:v>0.98140495867768596</c:v>
                </c:pt>
                <c:pt idx="2766">
                  <c:v>0.98142857142857098</c:v>
                </c:pt>
                <c:pt idx="2767">
                  <c:v>0.98144104803493404</c:v>
                </c:pt>
                <c:pt idx="2768">
                  <c:v>0.98149316508938</c:v>
                </c:pt>
                <c:pt idx="2769">
                  <c:v>0.98207885304659504</c:v>
                </c:pt>
                <c:pt idx="2770">
                  <c:v>0.98213146139119301</c:v>
                </c:pt>
                <c:pt idx="2771">
                  <c:v>0.98238747553815997</c:v>
                </c:pt>
                <c:pt idx="2772">
                  <c:v>0.98307291666666696</c:v>
                </c:pt>
                <c:pt idx="2773">
                  <c:v>0.98347107438016501</c:v>
                </c:pt>
                <c:pt idx="2774">
                  <c:v>0.98373626373626399</c:v>
                </c:pt>
                <c:pt idx="2775">
                  <c:v>0.98379970544919004</c:v>
                </c:pt>
                <c:pt idx="2776">
                  <c:v>0.98410978692668805</c:v>
                </c:pt>
                <c:pt idx="2777">
                  <c:v>0.984615384615385</c:v>
                </c:pt>
                <c:pt idx="2778">
                  <c:v>0.98475046210720896</c:v>
                </c:pt>
                <c:pt idx="2779">
                  <c:v>0.984978540772532</c:v>
                </c:pt>
                <c:pt idx="2780">
                  <c:v>0.98514851485148502</c:v>
                </c:pt>
                <c:pt idx="2781">
                  <c:v>0.98526863084922001</c:v>
                </c:pt>
                <c:pt idx="2782">
                  <c:v>0.98540145985401495</c:v>
                </c:pt>
                <c:pt idx="2783">
                  <c:v>0.98564593301435399</c:v>
                </c:pt>
                <c:pt idx="2784">
                  <c:v>0.98571428571428599</c:v>
                </c:pt>
                <c:pt idx="2785">
                  <c:v>0.98571428571428599</c:v>
                </c:pt>
                <c:pt idx="2786">
                  <c:v>0.98571428571428599</c:v>
                </c:pt>
                <c:pt idx="2787">
                  <c:v>0.98614958448753498</c:v>
                </c:pt>
                <c:pt idx="2788">
                  <c:v>0.98657718120805404</c:v>
                </c:pt>
                <c:pt idx="2789">
                  <c:v>0.98684210526315796</c:v>
                </c:pt>
                <c:pt idx="2790">
                  <c:v>0.98700243704305402</c:v>
                </c:pt>
                <c:pt idx="2791">
                  <c:v>0.98726114649681496</c:v>
                </c:pt>
                <c:pt idx="2792">
                  <c:v>0.98821989528795795</c:v>
                </c:pt>
                <c:pt idx="2793">
                  <c:v>0.98833138856476099</c:v>
                </c:pt>
                <c:pt idx="2794">
                  <c:v>0.98836708315381305</c:v>
                </c:pt>
                <c:pt idx="2795">
                  <c:v>0.98865784499054798</c:v>
                </c:pt>
                <c:pt idx="2796">
                  <c:v>0.98866727107887598</c:v>
                </c:pt>
                <c:pt idx="2797">
                  <c:v>0.98961794019933602</c:v>
                </c:pt>
                <c:pt idx="2798">
                  <c:v>0.99013157894736803</c:v>
                </c:pt>
                <c:pt idx="2799">
                  <c:v>0.99137931034482796</c:v>
                </c:pt>
                <c:pt idx="2800">
                  <c:v>0.99152542372881403</c:v>
                </c:pt>
                <c:pt idx="2801">
                  <c:v>0.99173553719008301</c:v>
                </c:pt>
                <c:pt idx="2802">
                  <c:v>0.99324324324324298</c:v>
                </c:pt>
                <c:pt idx="2803">
                  <c:v>0.99333333333333296</c:v>
                </c:pt>
                <c:pt idx="2804">
                  <c:v>0.99333333333333296</c:v>
                </c:pt>
                <c:pt idx="2805">
                  <c:v>0.99337748344370902</c:v>
                </c:pt>
                <c:pt idx="2806">
                  <c:v>0.99363057324840798</c:v>
                </c:pt>
                <c:pt idx="2807">
                  <c:v>0.99381188118811903</c:v>
                </c:pt>
                <c:pt idx="2808">
                  <c:v>0.99386503067484699</c:v>
                </c:pt>
                <c:pt idx="2809">
                  <c:v>0.99401197604790403</c:v>
                </c:pt>
                <c:pt idx="2810">
                  <c:v>0.99411764705882399</c:v>
                </c:pt>
                <c:pt idx="2811">
                  <c:v>0.99489051094890502</c:v>
                </c:pt>
                <c:pt idx="2812">
                  <c:v>0.99568965517241403</c:v>
                </c:pt>
                <c:pt idx="2813">
                  <c:v>0.99612403100775204</c:v>
                </c:pt>
                <c:pt idx="2814">
                  <c:v>0.99819494584837498</c:v>
                </c:pt>
                <c:pt idx="2815">
                  <c:v>0.998493975903614</c:v>
                </c:pt>
                <c:pt idx="2816">
                  <c:v>1</c:v>
                </c:pt>
                <c:pt idx="2817">
                  <c:v>1</c:v>
                </c:pt>
                <c:pt idx="2818">
                  <c:v>1</c:v>
                </c:pt>
                <c:pt idx="2819">
                  <c:v>1</c:v>
                </c:pt>
                <c:pt idx="2820">
                  <c:v>1</c:v>
                </c:pt>
                <c:pt idx="2821">
                  <c:v>1</c:v>
                </c:pt>
                <c:pt idx="2822">
                  <c:v>1</c:v>
                </c:pt>
                <c:pt idx="2823">
                  <c:v>1</c:v>
                </c:pt>
                <c:pt idx="2824">
                  <c:v>1</c:v>
                </c:pt>
                <c:pt idx="2825">
                  <c:v>1</c:v>
                </c:pt>
                <c:pt idx="2826">
                  <c:v>1</c:v>
                </c:pt>
                <c:pt idx="2827">
                  <c:v>1</c:v>
                </c:pt>
                <c:pt idx="2828">
                  <c:v>1</c:v>
                </c:pt>
                <c:pt idx="2829">
                  <c:v>1</c:v>
                </c:pt>
                <c:pt idx="2830">
                  <c:v>1</c:v>
                </c:pt>
                <c:pt idx="2831">
                  <c:v>1</c:v>
                </c:pt>
                <c:pt idx="2832">
                  <c:v>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043440"/>
        <c:axId val="205043832"/>
      </c:scatterChart>
      <c:valAx>
        <c:axId val="205043440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Campus % of Econ. Disadvantaged Students</a:t>
                </a:r>
                <a:endParaRPr lang="en-US" dirty="0"/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205043832"/>
        <c:crosses val="autoZero"/>
        <c:crossBetween val="midCat"/>
      </c:valAx>
      <c:valAx>
        <c:axId val="205043832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P% of NON </a:t>
                </a:r>
                <a:r>
                  <a:rPr lang="en-US" dirty="0" err="1" smtClean="0"/>
                  <a:t>EcoDis</a:t>
                </a:r>
                <a:r>
                  <a:rPr lang="en-US" dirty="0" smtClean="0"/>
                  <a:t> Students Meeting Phase-In Passing Standard</a:t>
                </a:r>
                <a:endParaRPr lang="en-US" dirty="0"/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205043440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sng" baseline="0" dirty="0" smtClean="0">
                <a:solidFill>
                  <a:schemeClr val="bg2"/>
                </a:solidFill>
                <a:effectLst/>
              </a:rPr>
              <a:t>2014-2016</a:t>
            </a:r>
            <a:r>
              <a:rPr lang="en-US" sz="1400" b="1" i="0" baseline="0" dirty="0" smtClean="0">
                <a:solidFill>
                  <a:schemeClr val="bg2"/>
                </a:solidFill>
                <a:effectLst/>
              </a:rPr>
              <a:t> Difference in Students Attending IR Campus (Two Year Variance)</a:t>
            </a:r>
            <a:endParaRPr lang="en-US" sz="1400" dirty="0">
              <a:solidFill>
                <a:schemeClr val="bg2"/>
              </a:solidFill>
              <a:effectLst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4-2016 Difference)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allas County</c:v>
                </c:pt>
                <c:pt idx="1">
                  <c:v>Tarrant County</c:v>
                </c:pt>
                <c:pt idx="2">
                  <c:v>Harris County</c:v>
                </c:pt>
                <c:pt idx="3">
                  <c:v>Bexar County</c:v>
                </c:pt>
                <c:pt idx="4">
                  <c:v>Stat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-0.55000000000000004</c:v>
                </c:pt>
                <c:pt idx="1">
                  <c:v>-0.38</c:v>
                </c:pt>
                <c:pt idx="2">
                  <c:v>-0.12</c:v>
                </c:pt>
                <c:pt idx="3">
                  <c:v>-0.2</c:v>
                </c:pt>
                <c:pt idx="4">
                  <c:v>-0.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6726136"/>
        <c:axId val="210709184"/>
      </c:barChart>
      <c:catAx>
        <c:axId val="206726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5875" cap="flat" cmpd="sng" algn="ctr">
            <a:solidFill>
              <a:srgbClr val="00206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709184"/>
        <c:crosses val="autoZero"/>
        <c:auto val="1"/>
        <c:lblAlgn val="ctr"/>
        <c:lblOffset val="100"/>
        <c:noMultiLvlLbl val="0"/>
      </c:catAx>
      <c:valAx>
        <c:axId val="210709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726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300" dirty="0">
                <a:solidFill>
                  <a:srgbClr val="000000"/>
                </a:solidFill>
              </a:rPr>
              <a:t>Fall 2015 Kindergarteners</a:t>
            </a:r>
            <a:r>
              <a:rPr lang="en-US" sz="1300" baseline="0" dirty="0">
                <a:solidFill>
                  <a:srgbClr val="000000"/>
                </a:solidFill>
              </a:rPr>
              <a:t> Who Attended DISD PK in 2014-2015 School Year Were Kindergarten Ready at More Than Twice a Greater Rate Than Those Who Did Not</a:t>
            </a:r>
            <a:endParaRPr lang="en-US" sz="1300" dirty="0">
              <a:solidFill>
                <a:srgbClr val="000000"/>
              </a:solidFill>
            </a:endParaRPr>
          </a:p>
        </c:rich>
      </c:tx>
      <c:layout>
        <c:manualLayout>
          <c:xMode val="edge"/>
          <c:yMode val="edge"/>
          <c:x val="0.124083333333333"/>
          <c:y val="0.10312499999999999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indergarten Ready per ISIP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solidFill>
                <a:schemeClr val="accent6">
                  <a:lumMod val="10000"/>
                  <a:lumOff val="90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ttended DISD PK</c:v>
                </c:pt>
                <c:pt idx="1">
                  <c:v>Did Not Attend DISD PK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</c:v>
                </c:pt>
                <c:pt idx="1">
                  <c:v>0.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A21-4992-8752-9F7A211BCF5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t Kindergarten Ready Per ISIP</c:v>
                </c:pt>
              </c:strCache>
            </c:strRef>
          </c:tx>
          <c:spPr>
            <a:solidFill>
              <a:srgbClr val="F3969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ttended DISD PK</c:v>
                </c:pt>
                <c:pt idx="1">
                  <c:v>Did Not Attend DISD PK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4</c:v>
                </c:pt>
                <c:pt idx="1">
                  <c:v>0.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A21-4992-8752-9F7A211BCF5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10709968"/>
        <c:axId val="210710360"/>
      </c:barChart>
      <c:catAx>
        <c:axId val="210709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710360"/>
        <c:crosses val="autoZero"/>
        <c:auto val="1"/>
        <c:lblAlgn val="ctr"/>
        <c:lblOffset val="100"/>
        <c:noMultiLvlLbl val="0"/>
      </c:catAx>
      <c:valAx>
        <c:axId val="21071036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709968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99024993864545"/>
          <c:y val="8.5707196109353102E-3"/>
          <c:w val="0.61405406100835103"/>
          <c:h val="9.12532036270175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dirty="0">
                <a:solidFill>
                  <a:srgbClr val="000000"/>
                </a:solidFill>
              </a:rPr>
              <a:t>Students Assessed as K-Ready in 2011 Read at Grade Level in 3</a:t>
            </a:r>
            <a:r>
              <a:rPr lang="en-US" sz="1300" baseline="30000" dirty="0">
                <a:solidFill>
                  <a:srgbClr val="000000"/>
                </a:solidFill>
              </a:rPr>
              <a:t>rd</a:t>
            </a:r>
            <a:r>
              <a:rPr lang="en-US" sz="1300" dirty="0">
                <a:solidFill>
                  <a:srgbClr val="000000"/>
                </a:solidFill>
              </a:rPr>
              <a:t> Grade Four Years Later at More Than 3x</a:t>
            </a:r>
            <a:r>
              <a:rPr lang="en-US" sz="1300" baseline="0" dirty="0">
                <a:solidFill>
                  <a:srgbClr val="000000"/>
                </a:solidFill>
              </a:rPr>
              <a:t> a Greater Rate Than Those Not K-Ready in 2011</a:t>
            </a:r>
            <a:endParaRPr lang="en-US" sz="1300" dirty="0">
              <a:solidFill>
                <a:srgbClr val="000000"/>
              </a:solidFill>
            </a:endParaRPr>
          </a:p>
        </c:rich>
      </c:tx>
      <c:layout>
        <c:manualLayout>
          <c:xMode val="edge"/>
          <c:yMode val="edge"/>
          <c:x val="8.1340355271002293E-2"/>
          <c:y val="0.106065772593517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rd Grade Readng on Grade Level</c:v>
                </c:pt>
              </c:strCache>
            </c:strRef>
          </c:tx>
          <c:spPr>
            <a:solidFill>
              <a:srgbClr val="49661D"/>
            </a:solidFill>
            <a:ln>
              <a:noFill/>
            </a:ln>
            <a:effectLst>
              <a:outerShdw blurRad="50800" dist="50800" dir="5400000" algn="ctr" rotWithShape="0">
                <a:schemeClr val="accent6">
                  <a:lumMod val="25000"/>
                  <a:lumOff val="75000"/>
                </a:scheme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K-Ready in Fall 2011</c:v>
                </c:pt>
                <c:pt idx="1">
                  <c:v>Not K-Ready in Fall 2011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1</c:v>
                </c:pt>
                <c:pt idx="1">
                  <c:v>0.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121-45AA-9CD9-E07EA4398E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rd Grade Reading Not on Grade Level 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K-Ready in Fall 2011</c:v>
                </c:pt>
                <c:pt idx="1">
                  <c:v>Not K-Ready in Fall 2011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39</c:v>
                </c:pt>
                <c:pt idx="1">
                  <c:v>0.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121-45AA-9CD9-E07EA4398E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0711144"/>
        <c:axId val="210711536"/>
      </c:barChart>
      <c:catAx>
        <c:axId val="210711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711536"/>
        <c:crosses val="autoZero"/>
        <c:auto val="1"/>
        <c:lblAlgn val="ctr"/>
        <c:lblOffset val="100"/>
        <c:noMultiLvlLbl val="0"/>
      </c:catAx>
      <c:valAx>
        <c:axId val="21071153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711144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127833990129464"/>
          <c:y val="8.7956982150721303E-4"/>
          <c:w val="0.74433178585319804"/>
          <c:h val="7.71149295060842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000608167220401"/>
          <c:y val="0.176308456050811"/>
          <c:w val="0.80963383088366703"/>
          <c:h val="0.7529551469213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9E0"/>
            </a:solidFill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A9E0">
                  <a:lumMod val="20000"/>
                  <a:lumOff val="80000"/>
                </a:srgbClr>
              </a:solidFill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21C-475B-8A8A-5EEF48E1B370}"/>
              </c:ext>
            </c:extLst>
          </c:dPt>
          <c:dPt>
            <c:idx val="8"/>
            <c:invertIfNegative val="0"/>
            <c:bubble3D val="0"/>
            <c:spPr>
              <a:solidFill>
                <a:srgbClr val="C6F1FF"/>
              </a:solidFill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21C-475B-8A8A-5EEF48E1B370}"/>
              </c:ext>
            </c:extLst>
          </c:dPt>
          <c:dPt>
            <c:idx val="9"/>
            <c:invertIfNegative val="0"/>
            <c:bubble3D val="0"/>
            <c:spPr>
              <a:solidFill>
                <a:srgbClr val="C6F1FF"/>
              </a:solidFill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21C-475B-8A8A-5EEF48E1B370}"/>
              </c:ext>
            </c:extLst>
          </c:dPt>
          <c:dPt>
            <c:idx val="10"/>
            <c:invertIfNegative val="0"/>
            <c:bubble3D val="0"/>
            <c:spPr>
              <a:solidFill>
                <a:srgbClr val="C6F1FF"/>
              </a:solidFill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21C-475B-8A8A-5EEF48E1B3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L$1</c:f>
              <c:strCache>
                <c:ptCount val="11"/>
                <c:pt idx="0">
                  <c:v>% of Eligible PreK4 Students Enrolled</c:v>
                </c:pt>
                <c:pt idx="1">
                  <c:v>K Ready</c:v>
                </c:pt>
                <c:pt idx="2">
                  <c:v>3rd Reading</c:v>
                </c:pt>
                <c:pt idx="3">
                  <c:v>4th Math</c:v>
                </c:pt>
                <c:pt idx="4">
                  <c:v>8th Science</c:v>
                </c:pt>
                <c:pt idx="5">
                  <c:v>Algebra 1</c:v>
                </c:pt>
                <c:pt idx="6">
                  <c:v>College Ready</c:v>
                </c:pt>
                <c:pt idx="7">
                  <c:v>Graduation Rate</c:v>
                </c:pt>
                <c:pt idx="8">
                  <c:v>PS Enrollment</c:v>
                </c:pt>
                <c:pt idx="9">
                  <c:v>PS 1st Yr Persistence</c:v>
                </c:pt>
                <c:pt idx="10">
                  <c:v>PS 6-Yr Completion</c:v>
                </c:pt>
              </c:strCache>
            </c:strRef>
          </c:cat>
          <c:val>
            <c:numRef>
              <c:f>Sheet1!$B$2:$L$2</c:f>
              <c:numCache>
                <c:formatCode>0%</c:formatCode>
                <c:ptCount val="11"/>
                <c:pt idx="0">
                  <c:v>0.86</c:v>
                </c:pt>
                <c:pt idx="1">
                  <c:v>0.56999999999999995</c:v>
                </c:pt>
                <c:pt idx="2">
                  <c:v>0.39</c:v>
                </c:pt>
                <c:pt idx="3">
                  <c:v>0.33</c:v>
                </c:pt>
                <c:pt idx="4">
                  <c:v>0.38</c:v>
                </c:pt>
                <c:pt idx="5">
                  <c:v>0.43</c:v>
                </c:pt>
                <c:pt idx="6">
                  <c:v>0.17</c:v>
                </c:pt>
                <c:pt idx="7">
                  <c:v>0.89</c:v>
                </c:pt>
                <c:pt idx="8">
                  <c:v>0.56999999999999995</c:v>
                </c:pt>
                <c:pt idx="9">
                  <c:v>0.45</c:v>
                </c:pt>
                <c:pt idx="10">
                  <c:v>0.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21C-475B-8A8A-5EEF48E1B37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09668792"/>
        <c:axId val="209669184"/>
      </c:barChart>
      <c:catAx>
        <c:axId val="2096687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9669184"/>
        <c:crossesAt val="0"/>
        <c:auto val="1"/>
        <c:lblAlgn val="ctr"/>
        <c:lblOffset val="100"/>
        <c:noMultiLvlLbl val="0"/>
      </c:catAx>
      <c:valAx>
        <c:axId val="209669184"/>
        <c:scaling>
          <c:orientation val="minMax"/>
          <c:max val="1"/>
          <c:min val="0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Verdana"/>
                <a:cs typeface="Verdana"/>
              </a:defRPr>
            </a:pPr>
            <a:endParaRPr lang="en-US"/>
          </a:p>
        </c:txPr>
        <c:crossAx val="209668792"/>
        <c:crosses val="autoZero"/>
        <c:crossBetween val="between"/>
        <c:majorUnit val="0.2"/>
        <c:min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effectLst/>
          <a:latin typeface="+mj-lt"/>
        </a:defRPr>
      </a:pPr>
      <a:endParaRPr lang="en-US"/>
    </a:p>
  </c:txPr>
  <c:externalData r:id="rId2">
    <c:autoUpdate val="0"/>
  </c:externalData>
  <c:userShapes r:id="rId3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n-US" i="1" dirty="0">
                <a:solidFill>
                  <a:schemeClr val="bg2"/>
                </a:solidFill>
              </a:rPr>
              <a:t>Growing Number of Eligible Four-Year Olds Enrolling in Pre-K</a:t>
            </a:r>
            <a:r>
              <a:rPr lang="is-IS" i="1" dirty="0">
                <a:solidFill>
                  <a:schemeClr val="bg2"/>
                </a:solidFill>
              </a:rPr>
              <a:t>….</a:t>
            </a:r>
            <a:endParaRPr lang="en-US" i="1" dirty="0">
              <a:solidFill>
                <a:schemeClr val="bg2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PreK Students Enrolle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</c:numCache>
            </c:numRef>
          </c:cat>
          <c:val>
            <c:numRef>
              <c:f>Sheet1!$B$2:$B$5</c:f>
              <c:numCache>
                <c:formatCode>_(* #,##0_);_(* \(#,##0\);_(* "-"??_);_(@_)</c:formatCode>
                <c:ptCount val="4"/>
                <c:pt idx="0">
                  <c:v>8517</c:v>
                </c:pt>
                <c:pt idx="1">
                  <c:v>9283</c:v>
                </c:pt>
                <c:pt idx="2">
                  <c:v>9724</c:v>
                </c:pt>
                <c:pt idx="3">
                  <c:v>977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D04-4E64-B7F8-7A43DA0E5F64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10712320"/>
        <c:axId val="210712712"/>
      </c:lineChart>
      <c:catAx>
        <c:axId val="210712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712712"/>
        <c:crosses val="autoZero"/>
        <c:auto val="1"/>
        <c:lblAlgn val="ctr"/>
        <c:lblOffset val="100"/>
        <c:noMultiLvlLbl val="0"/>
      </c:catAx>
      <c:valAx>
        <c:axId val="210712712"/>
        <c:scaling>
          <c:orientation val="minMax"/>
          <c:max val="10000"/>
          <c:min val="8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712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is-IS" i="1" dirty="0">
                <a:solidFill>
                  <a:schemeClr val="bg2"/>
                </a:solidFill>
              </a:rPr>
              <a:t>…Translating to Increased</a:t>
            </a:r>
            <a:r>
              <a:rPr lang="is-IS" i="1" baseline="0" dirty="0">
                <a:solidFill>
                  <a:schemeClr val="bg2"/>
                </a:solidFill>
              </a:rPr>
              <a:t> Levels of</a:t>
            </a:r>
            <a:r>
              <a:rPr lang="en-US" i="1" dirty="0">
                <a:solidFill>
                  <a:schemeClr val="bg2"/>
                </a:solidFill>
              </a:rPr>
              <a:t> Kindergarten Readines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of Students Achieving Tier 1 on ISIP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2013-14</c:v>
                </c:pt>
                <c:pt idx="1">
                  <c:v>2014-15</c:v>
                </c:pt>
                <c:pt idx="2">
                  <c:v>2015-16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9</c:v>
                </c:pt>
                <c:pt idx="1">
                  <c:v>0.51</c:v>
                </c:pt>
                <c:pt idx="2">
                  <c:v>0.6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EAA-48EB-BAF8-E208FC24A5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759632"/>
        <c:axId val="206760024"/>
      </c:lineChart>
      <c:catAx>
        <c:axId val="206759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760024"/>
        <c:crosses val="autoZero"/>
        <c:auto val="1"/>
        <c:lblAlgn val="ctr"/>
        <c:lblOffset val="100"/>
        <c:noMultiLvlLbl val="0"/>
      </c:catAx>
      <c:valAx>
        <c:axId val="206760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759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6160156946699"/>
          <c:y val="0.231237628871829"/>
          <c:w val="0.850229711702018"/>
          <c:h val="0.4985418307086609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g. Teacher Turnover</c:v>
                </c:pt>
              </c:strCache>
            </c:strRef>
          </c:tx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11</c:v>
                </c:pt>
                <c:pt idx="1">
                  <c:v>0.16</c:v>
                </c:pt>
                <c:pt idx="2">
                  <c:v>0.17</c:v>
                </c:pt>
                <c:pt idx="3">
                  <c:v>0.1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% of Teachers Who Are Beginning</c:v>
                </c:pt>
              </c:strCache>
            </c:strRef>
          </c:tx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0.04</c:v>
                </c:pt>
                <c:pt idx="1">
                  <c:v>7.0000000000000007E-2</c:v>
                </c:pt>
                <c:pt idx="2">
                  <c:v>0.08</c:v>
                </c:pt>
                <c:pt idx="3">
                  <c:v>0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6760808"/>
        <c:axId val="211691232"/>
      </c:lineChart>
      <c:catAx>
        <c:axId val="206760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211691232"/>
        <c:crosses val="autoZero"/>
        <c:auto val="1"/>
        <c:lblAlgn val="ctr"/>
        <c:lblOffset val="100"/>
        <c:noMultiLvlLbl val="0"/>
      </c:catAx>
      <c:valAx>
        <c:axId val="21169123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 b="1" i="0"/>
            </a:pPr>
            <a:endParaRPr lang="en-US"/>
          </a:p>
        </c:txPr>
        <c:crossAx val="206760808"/>
        <c:crosses val="autoZero"/>
        <c:crossBetween val="between"/>
        <c:majorUnit val="0.05"/>
      </c:valAx>
    </c:plotArea>
    <c:legend>
      <c:legendPos val="r"/>
      <c:layout>
        <c:manualLayout>
          <c:xMode val="edge"/>
          <c:yMode val="edge"/>
          <c:x val="1.7474384051098201E-2"/>
          <c:y val="3.9679133858267698E-2"/>
          <c:w val="0.95725017647406396"/>
          <c:h val="0.17338563904028401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101432792487999"/>
          <c:y val="0.18113753500844301"/>
          <c:w val="0.75922342304241197"/>
          <c:h val="0.627240065309950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g. Teacher Turnover in Texas</c:v>
                </c:pt>
              </c:strCache>
            </c:strRef>
          </c:tx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12570000000000001</c:v>
                </c:pt>
                <c:pt idx="1">
                  <c:v>0.15339</c:v>
                </c:pt>
                <c:pt idx="2">
                  <c:v>0.16239999999999999</c:v>
                </c:pt>
                <c:pt idx="3">
                  <c:v>0.166000000000000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% of Beginning Teachers in Texas</c:v>
                </c:pt>
              </c:strCache>
            </c:strRef>
          </c:tx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.6199999999999998E-2</c:v>
                </c:pt>
                <c:pt idx="1">
                  <c:v>6.9500000000000006E-2</c:v>
                </c:pt>
                <c:pt idx="2">
                  <c:v>8.3500000000000005E-2</c:v>
                </c:pt>
                <c:pt idx="3">
                  <c:v>8.5000000000000006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1692016"/>
        <c:axId val="211692408"/>
      </c:lineChart>
      <c:catAx>
        <c:axId val="211692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211692408"/>
        <c:crosses val="autoZero"/>
        <c:auto val="1"/>
        <c:lblAlgn val="ctr"/>
        <c:lblOffset val="100"/>
        <c:noMultiLvlLbl val="0"/>
      </c:catAx>
      <c:valAx>
        <c:axId val="211692408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 b="1" i="0"/>
            </a:pPr>
            <a:endParaRPr lang="en-US"/>
          </a:p>
        </c:txPr>
        <c:crossAx val="211692016"/>
        <c:crosses val="autoZero"/>
        <c:crossBetween val="between"/>
        <c:majorUnit val="0.05"/>
      </c:valAx>
    </c:plotArea>
    <c:legend>
      <c:legendPos val="r"/>
      <c:layout>
        <c:manualLayout>
          <c:xMode val="edge"/>
          <c:yMode val="edge"/>
          <c:x val="0"/>
          <c:y val="2.02890437156895E-2"/>
          <c:w val="1"/>
          <c:h val="0.12152501765234799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g. teacher experience, y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0 - 39%_x000d_EcoDis</c:v>
                </c:pt>
                <c:pt idx="1">
                  <c:v>69 - 100%_x000d_EcoDis</c:v>
                </c:pt>
              </c:strCache>
            </c:strRef>
          </c:cat>
          <c:val>
            <c:numRef>
              <c:f>Sheet1!$B$2:$B$3</c:f>
              <c:numCache>
                <c:formatCode>_(* #,##0.0_);_(* \(#,##0.0\);_(* "-"??_);_(@_)</c:formatCode>
                <c:ptCount val="2"/>
                <c:pt idx="0">
                  <c:v>11.183890777497529</c:v>
                </c:pt>
                <c:pt idx="1">
                  <c:v>9.555291101486229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11693192"/>
        <c:axId val="211693584"/>
      </c:barChart>
      <c:catAx>
        <c:axId val="21169319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1693584"/>
        <c:crosses val="autoZero"/>
        <c:auto val="1"/>
        <c:lblAlgn val="ctr"/>
        <c:lblOffset val="100"/>
        <c:noMultiLvlLbl val="0"/>
      </c:catAx>
      <c:valAx>
        <c:axId val="211693584"/>
        <c:scaling>
          <c:orientation val="minMax"/>
          <c:max val="1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693192"/>
        <c:crosses val="autoZero"/>
        <c:crossBetween val="between"/>
        <c:majorUnit val="3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g. teacher experience, yr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0 - 39%_x000d_EcoDis</c:v>
                </c:pt>
                <c:pt idx="1">
                  <c:v>60 - 100%_x000d_EcoDi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6.7807142596044895E-2</c:v>
                </c:pt>
                <c:pt idx="1">
                  <c:v>0.1184059725399399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11694368"/>
        <c:axId val="211694760"/>
      </c:barChart>
      <c:catAx>
        <c:axId val="2116943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11694760"/>
        <c:crosses val="autoZero"/>
        <c:auto val="1"/>
        <c:lblAlgn val="ctr"/>
        <c:lblOffset val="100"/>
        <c:noMultiLvlLbl val="0"/>
      </c:catAx>
      <c:valAx>
        <c:axId val="211694760"/>
        <c:scaling>
          <c:orientation val="minMax"/>
          <c:max val="0.16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694368"/>
        <c:crosses val="autoZero"/>
        <c:crossBetween val="between"/>
        <c:majorUnit val="0.0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29956087750899"/>
          <c:y val="0.20929876074450399"/>
          <c:w val="0.80409449211930795"/>
          <c:h val="0.789612382158721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li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227000000000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nt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3330000000000000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0.0%</c:formatCode>
                <c:ptCount val="1"/>
                <c:pt idx="0">
                  <c:v>0.5540000000000000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all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0.0%</c:formatCode>
                <c:ptCount val="1"/>
                <c:pt idx="0">
                  <c:v>0.7189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overlap val="-100"/>
        <c:axId val="347430800"/>
        <c:axId val="347431192"/>
      </c:barChart>
      <c:catAx>
        <c:axId val="3474308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47431192"/>
        <c:crosses val="autoZero"/>
        <c:auto val="1"/>
        <c:lblAlgn val="ctr"/>
        <c:lblOffset val="100"/>
        <c:noMultiLvlLbl val="0"/>
      </c:catAx>
      <c:valAx>
        <c:axId val="347431192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47430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29956087750899"/>
          <c:y val="0.19995382521629201"/>
          <c:w val="0.80409449211930795"/>
          <c:h val="0.694852726742489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li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_(* #,##0.0_);_(* \(#,##0.0\);_(* "-"??_);_(@_)</c:formatCode>
                <c:ptCount val="1"/>
                <c:pt idx="0">
                  <c:v>10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nto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_(* #,##0.0_);_(* \(#,##0.0\);_(* "-"??_);_(@_)</c:formatCode>
                <c:ptCount val="1"/>
                <c:pt idx="0">
                  <c:v>11.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_(* #,##0.0_);_(* \(#,##0.0\);_(* "-"??_);_(@_)</c:formatCode>
                <c:ptCount val="1"/>
                <c:pt idx="0">
                  <c:v>10.8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alla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_(* #,##0.0_);_(* \(#,##0.0\);_(* "-"??_);_(@_)</c:formatCode>
                <c:ptCount val="1"/>
                <c:pt idx="0">
                  <c:v>9.800000000000000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4"/>
        <c:overlap val="-100"/>
        <c:axId val="347431976"/>
        <c:axId val="347432368"/>
      </c:barChart>
      <c:catAx>
        <c:axId val="3474319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47432368"/>
        <c:crosses val="autoZero"/>
        <c:auto val="1"/>
        <c:lblAlgn val="ctr"/>
        <c:lblOffset val="100"/>
        <c:noMultiLvlLbl val="0"/>
      </c:catAx>
      <c:valAx>
        <c:axId val="347432368"/>
        <c:scaling>
          <c:orientation val="minMax"/>
        </c:scaling>
        <c:delete val="1"/>
        <c:axPos val="l"/>
        <c:numFmt formatCode="_(* #,##0.0_);_(* \(#,##0.0\);_(* &quot;-&quot;??_);_(@_)" sourceLinked="1"/>
        <c:majorTickMark val="none"/>
        <c:minorTickMark val="none"/>
        <c:tickLblPos val="nextTo"/>
        <c:crossAx val="347431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29956087750899"/>
          <c:y val="9.3709078807434301E-2"/>
          <c:w val="0.80409449211930795"/>
          <c:h val="0.835908185087975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lin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5.3999999999999999E-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nton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4.2999999999999997E-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0.0%</c:formatCode>
                <c:ptCount val="1"/>
                <c:pt idx="0">
                  <c:v>7.9000000000000001E-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alla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0.0%</c:formatCode>
                <c:ptCount val="1"/>
                <c:pt idx="0">
                  <c:v>0.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overlap val="-100"/>
        <c:axId val="347433152"/>
        <c:axId val="347433544"/>
      </c:barChart>
      <c:catAx>
        <c:axId val="3474331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47433544"/>
        <c:crosses val="autoZero"/>
        <c:auto val="1"/>
        <c:lblAlgn val="ctr"/>
        <c:lblOffset val="100"/>
        <c:noMultiLvlLbl val="0"/>
      </c:catAx>
      <c:valAx>
        <c:axId val="347433544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47433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29956087750899"/>
          <c:y val="9.3709078807434301E-2"/>
          <c:w val="0.80409449211930795"/>
          <c:h val="0.866772382618839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lin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137000000000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nton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12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0.0%</c:formatCode>
                <c:ptCount val="1"/>
                <c:pt idx="0">
                  <c:v>0.14199999999999999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Dalla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0.0%</c:formatCode>
                <c:ptCount val="1"/>
                <c:pt idx="0">
                  <c:v>0.1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overlap val="-100"/>
        <c:axId val="349512376"/>
        <c:axId val="349512768"/>
      </c:barChart>
      <c:catAx>
        <c:axId val="349512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49512768"/>
        <c:crosses val="autoZero"/>
        <c:auto val="1"/>
        <c:lblAlgn val="ctr"/>
        <c:lblOffset val="100"/>
        <c:noMultiLvlLbl val="0"/>
      </c:catAx>
      <c:valAx>
        <c:axId val="34951276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49512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000608167220401"/>
          <c:y val="0.176308456050811"/>
          <c:w val="0.80963383088366703"/>
          <c:h val="0.7529551469213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9E0"/>
            </a:solidFill>
            <a:effectLst/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D520-463C-9E26-7FBD41B76F5D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D520-463C-9E26-7FBD41B76F5D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520-463C-9E26-7FBD41B76F5D}"/>
              </c:ext>
            </c:extLst>
          </c:dPt>
          <c:dPt>
            <c:idx val="1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520-463C-9E26-7FBD41B76F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K$1</c:f>
              <c:strCache>
                <c:ptCount val="10"/>
                <c:pt idx="0">
                  <c:v>% of Eligible PreK4 Students Enrolled</c:v>
                </c:pt>
                <c:pt idx="1">
                  <c:v>3rd Reading</c:v>
                </c:pt>
                <c:pt idx="2">
                  <c:v>4th Math</c:v>
                </c:pt>
                <c:pt idx="3">
                  <c:v>8th Science</c:v>
                </c:pt>
                <c:pt idx="4">
                  <c:v>Algebra 1</c:v>
                </c:pt>
                <c:pt idx="5">
                  <c:v>College Ready</c:v>
                </c:pt>
                <c:pt idx="6">
                  <c:v>Graduation Rate</c:v>
                </c:pt>
                <c:pt idx="7">
                  <c:v>PS Enrollment</c:v>
                </c:pt>
                <c:pt idx="8">
                  <c:v>PS 1st Yr Persistence</c:v>
                </c:pt>
                <c:pt idx="9">
                  <c:v>PS 6-Yr Completion</c:v>
                </c:pt>
              </c:strCache>
            </c:strRef>
          </c:cat>
          <c:val>
            <c:numRef>
              <c:f>Sheet1!$B$2:$K$2</c:f>
              <c:numCache>
                <c:formatCode>0%</c:formatCode>
                <c:ptCount val="10"/>
                <c:pt idx="0">
                  <c:v>0.86</c:v>
                </c:pt>
                <c:pt idx="1">
                  <c:v>0.39</c:v>
                </c:pt>
                <c:pt idx="2">
                  <c:v>0.33</c:v>
                </c:pt>
                <c:pt idx="3">
                  <c:v>0.38</c:v>
                </c:pt>
                <c:pt idx="4">
                  <c:v>0.43</c:v>
                </c:pt>
                <c:pt idx="5">
                  <c:v>0.17</c:v>
                </c:pt>
                <c:pt idx="6">
                  <c:v>0.89</c:v>
                </c:pt>
                <c:pt idx="7">
                  <c:v>0.574806422772006</c:v>
                </c:pt>
                <c:pt idx="8">
                  <c:v>0.44834900976216502</c:v>
                </c:pt>
                <c:pt idx="9">
                  <c:v>0.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520-463C-9E26-7FBD41B76F5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10490896"/>
        <c:axId val="210491288"/>
      </c:barChart>
      <c:catAx>
        <c:axId val="2104908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10491288"/>
        <c:crossesAt val="0"/>
        <c:auto val="1"/>
        <c:lblAlgn val="ctr"/>
        <c:lblOffset val="100"/>
        <c:noMultiLvlLbl val="0"/>
      </c:catAx>
      <c:valAx>
        <c:axId val="210491288"/>
        <c:scaling>
          <c:orientation val="minMax"/>
          <c:max val="1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txPr>
          <a:bodyPr/>
          <a:lstStyle/>
          <a:p>
            <a:pPr>
              <a:defRPr sz="1200">
                <a:latin typeface="Verdana"/>
                <a:cs typeface="Verdana"/>
              </a:defRPr>
            </a:pPr>
            <a:endParaRPr lang="en-US"/>
          </a:p>
        </c:txPr>
        <c:crossAx val="210490896"/>
        <c:crosses val="autoZero"/>
        <c:crossBetween val="between"/>
        <c:majorUnit val="0.2"/>
        <c:min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effectLst/>
          <a:latin typeface="+mj-lt"/>
        </a:defRPr>
      </a:pPr>
      <a:endParaRPr lang="en-US"/>
    </a:p>
  </c:txPr>
  <c:externalData r:id="rId2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/>
              <a:t>Average Teacher </a:t>
            </a:r>
            <a:r>
              <a:rPr lang="en-US" sz="1200" dirty="0" smtClean="0"/>
              <a:t>Experience Compared to</a:t>
            </a:r>
          </a:p>
          <a:p>
            <a:pPr>
              <a:defRPr/>
            </a:pPr>
            <a:r>
              <a:rPr lang="en-US" sz="1200" dirty="0" smtClean="0"/>
              <a:t>Pct.</a:t>
            </a:r>
            <a:r>
              <a:rPr lang="en-US" sz="1200" baseline="0" dirty="0" smtClean="0"/>
              <a:t> </a:t>
            </a:r>
            <a:r>
              <a:rPr lang="en-US" sz="1200" baseline="0" dirty="0"/>
              <a:t>of </a:t>
            </a:r>
            <a:r>
              <a:rPr lang="en-US" sz="1200" baseline="0" dirty="0" err="1"/>
              <a:t>EcoDis</a:t>
            </a:r>
            <a:r>
              <a:rPr lang="en-US" sz="1200" baseline="0" dirty="0"/>
              <a:t> Students Meeting </a:t>
            </a:r>
            <a:r>
              <a:rPr lang="en-US" sz="1200" b="1" baseline="0" dirty="0">
                <a:solidFill>
                  <a:srgbClr val="FF0000"/>
                </a:solidFill>
              </a:rPr>
              <a:t>Phase-In Passing Standard</a:t>
            </a:r>
            <a:endParaRPr lang="en-US" sz="1200" b="1" dirty="0">
              <a:solidFill>
                <a:srgbClr val="FF0000"/>
              </a:solidFill>
            </a:endParaRPr>
          </a:p>
        </c:rich>
      </c:tx>
      <c:layout>
        <c:manualLayout>
          <c:xMode val="edge"/>
          <c:yMode val="edge"/>
          <c:x val="0.22770708888104499"/>
          <c:y val="6.0092465775445802E-2"/>
        </c:manualLayout>
      </c:layout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Tenure vs. Phase In EcoDis Ach'!$C$1:$C$2</c:f>
              <c:strCache>
                <c:ptCount val="2"/>
                <c:pt idx="1">
                  <c:v>Phase in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Tenure vs. Phase In EcoDis Ach'!$B$3:$B$7709</c:f>
              <c:numCache>
                <c:formatCode>General</c:formatCode>
                <c:ptCount val="7707"/>
                <c:pt idx="0">
                  <c:v>6.6</c:v>
                </c:pt>
                <c:pt idx="1">
                  <c:v>3.5</c:v>
                </c:pt>
                <c:pt idx="2">
                  <c:v>12.6</c:v>
                </c:pt>
                <c:pt idx="3">
                  <c:v>4.5999999999999996</c:v>
                </c:pt>
                <c:pt idx="4">
                  <c:v>3.5</c:v>
                </c:pt>
                <c:pt idx="5">
                  <c:v>2.8</c:v>
                </c:pt>
                <c:pt idx="6">
                  <c:v>6.1</c:v>
                </c:pt>
                <c:pt idx="7">
                  <c:v>9.1</c:v>
                </c:pt>
                <c:pt idx="8">
                  <c:v>10</c:v>
                </c:pt>
                <c:pt idx="9">
                  <c:v>5.3</c:v>
                </c:pt>
                <c:pt idx="10">
                  <c:v>9.6</c:v>
                </c:pt>
                <c:pt idx="11">
                  <c:v>13.5</c:v>
                </c:pt>
                <c:pt idx="12">
                  <c:v>11.6</c:v>
                </c:pt>
                <c:pt idx="13">
                  <c:v>9.9</c:v>
                </c:pt>
                <c:pt idx="14">
                  <c:v>2.5</c:v>
                </c:pt>
                <c:pt idx="15">
                  <c:v>2.9</c:v>
                </c:pt>
                <c:pt idx="16">
                  <c:v>10.9</c:v>
                </c:pt>
                <c:pt idx="17">
                  <c:v>4</c:v>
                </c:pt>
                <c:pt idx="18">
                  <c:v>8.3000000000000007</c:v>
                </c:pt>
                <c:pt idx="19">
                  <c:v>3</c:v>
                </c:pt>
                <c:pt idx="20">
                  <c:v>7.4</c:v>
                </c:pt>
                <c:pt idx="21">
                  <c:v>0.7</c:v>
                </c:pt>
                <c:pt idx="22">
                  <c:v>17.399999999999999</c:v>
                </c:pt>
                <c:pt idx="23">
                  <c:v>16.7</c:v>
                </c:pt>
                <c:pt idx="24">
                  <c:v>6</c:v>
                </c:pt>
                <c:pt idx="25">
                  <c:v>6.9</c:v>
                </c:pt>
                <c:pt idx="26">
                  <c:v>5.8</c:v>
                </c:pt>
                <c:pt idx="27">
                  <c:v>1.6</c:v>
                </c:pt>
                <c:pt idx="28">
                  <c:v>8.6999999999999993</c:v>
                </c:pt>
                <c:pt idx="29">
                  <c:v>6.7</c:v>
                </c:pt>
                <c:pt idx="30">
                  <c:v>0.3</c:v>
                </c:pt>
                <c:pt idx="31">
                  <c:v>21.6</c:v>
                </c:pt>
                <c:pt idx="32">
                  <c:v>1.1000000000000001</c:v>
                </c:pt>
                <c:pt idx="33">
                  <c:v>12.1</c:v>
                </c:pt>
                <c:pt idx="34">
                  <c:v>15.4</c:v>
                </c:pt>
                <c:pt idx="35">
                  <c:v>7.4</c:v>
                </c:pt>
                <c:pt idx="36">
                  <c:v>0</c:v>
                </c:pt>
                <c:pt idx="37">
                  <c:v>34</c:v>
                </c:pt>
                <c:pt idx="38">
                  <c:v>6.1</c:v>
                </c:pt>
                <c:pt idx="39">
                  <c:v>9.1</c:v>
                </c:pt>
                <c:pt idx="40">
                  <c:v>1.5</c:v>
                </c:pt>
                <c:pt idx="41">
                  <c:v>7.3</c:v>
                </c:pt>
                <c:pt idx="42">
                  <c:v>21.5</c:v>
                </c:pt>
                <c:pt idx="43">
                  <c:v>5.7</c:v>
                </c:pt>
                <c:pt idx="44">
                  <c:v>0</c:v>
                </c:pt>
                <c:pt idx="45">
                  <c:v>1</c:v>
                </c:pt>
                <c:pt idx="46">
                  <c:v>0.3</c:v>
                </c:pt>
                <c:pt idx="47">
                  <c:v>10.3</c:v>
                </c:pt>
                <c:pt idx="48">
                  <c:v>5</c:v>
                </c:pt>
                <c:pt idx="49">
                  <c:v>3.6</c:v>
                </c:pt>
                <c:pt idx="50">
                  <c:v>5.7</c:v>
                </c:pt>
                <c:pt idx="51">
                  <c:v>9</c:v>
                </c:pt>
                <c:pt idx="52">
                  <c:v>5.3</c:v>
                </c:pt>
                <c:pt idx="53">
                  <c:v>11.6</c:v>
                </c:pt>
                <c:pt idx="54">
                  <c:v>9.5</c:v>
                </c:pt>
                <c:pt idx="55">
                  <c:v>8.8000000000000007</c:v>
                </c:pt>
                <c:pt idx="56">
                  <c:v>4</c:v>
                </c:pt>
                <c:pt idx="57">
                  <c:v>2.4</c:v>
                </c:pt>
                <c:pt idx="58">
                  <c:v>10.5</c:v>
                </c:pt>
                <c:pt idx="59">
                  <c:v>5.8</c:v>
                </c:pt>
                <c:pt idx="60">
                  <c:v>8.8000000000000007</c:v>
                </c:pt>
                <c:pt idx="61">
                  <c:v>7.9</c:v>
                </c:pt>
                <c:pt idx="62">
                  <c:v>7.8</c:v>
                </c:pt>
                <c:pt idx="63">
                  <c:v>12</c:v>
                </c:pt>
                <c:pt idx="64">
                  <c:v>7.8</c:v>
                </c:pt>
                <c:pt idx="65">
                  <c:v>11.1</c:v>
                </c:pt>
                <c:pt idx="66">
                  <c:v>4.8</c:v>
                </c:pt>
                <c:pt idx="67">
                  <c:v>12.3</c:v>
                </c:pt>
                <c:pt idx="68">
                  <c:v>9.5</c:v>
                </c:pt>
                <c:pt idx="69">
                  <c:v>2.9</c:v>
                </c:pt>
                <c:pt idx="70">
                  <c:v>0</c:v>
                </c:pt>
                <c:pt idx="71">
                  <c:v>6.6</c:v>
                </c:pt>
                <c:pt idx="72">
                  <c:v>2.5</c:v>
                </c:pt>
                <c:pt idx="73">
                  <c:v>11.9</c:v>
                </c:pt>
                <c:pt idx="74">
                  <c:v>6.3</c:v>
                </c:pt>
                <c:pt idx="75">
                  <c:v>3.9</c:v>
                </c:pt>
                <c:pt idx="76">
                  <c:v>1.9</c:v>
                </c:pt>
                <c:pt idx="77">
                  <c:v>5.5</c:v>
                </c:pt>
                <c:pt idx="78">
                  <c:v>1.1000000000000001</c:v>
                </c:pt>
                <c:pt idx="79">
                  <c:v>10.199999999999999</c:v>
                </c:pt>
                <c:pt idx="80">
                  <c:v>6.8</c:v>
                </c:pt>
                <c:pt idx="81">
                  <c:v>4.4000000000000004</c:v>
                </c:pt>
                <c:pt idx="82">
                  <c:v>12.4</c:v>
                </c:pt>
                <c:pt idx="83">
                  <c:v>10.3</c:v>
                </c:pt>
                <c:pt idx="84">
                  <c:v>14.9</c:v>
                </c:pt>
                <c:pt idx="85">
                  <c:v>8</c:v>
                </c:pt>
                <c:pt idx="86">
                  <c:v>5.9</c:v>
                </c:pt>
                <c:pt idx="87">
                  <c:v>1.3</c:v>
                </c:pt>
                <c:pt idx="88">
                  <c:v>3.4</c:v>
                </c:pt>
                <c:pt idx="89">
                  <c:v>16.3</c:v>
                </c:pt>
                <c:pt idx="90">
                  <c:v>2.1</c:v>
                </c:pt>
                <c:pt idx="91">
                  <c:v>0.6</c:v>
                </c:pt>
                <c:pt idx="92">
                  <c:v>10.4</c:v>
                </c:pt>
                <c:pt idx="93">
                  <c:v>1.3</c:v>
                </c:pt>
                <c:pt idx="94">
                  <c:v>3.7</c:v>
                </c:pt>
                <c:pt idx="95">
                  <c:v>11.6</c:v>
                </c:pt>
                <c:pt idx="96">
                  <c:v>1.5</c:v>
                </c:pt>
                <c:pt idx="97">
                  <c:v>5.6</c:v>
                </c:pt>
                <c:pt idx="98">
                  <c:v>7.3</c:v>
                </c:pt>
                <c:pt idx="99">
                  <c:v>9.1999999999999993</c:v>
                </c:pt>
                <c:pt idx="100">
                  <c:v>16.8</c:v>
                </c:pt>
                <c:pt idx="101">
                  <c:v>1.2</c:v>
                </c:pt>
                <c:pt idx="102">
                  <c:v>0</c:v>
                </c:pt>
                <c:pt idx="103">
                  <c:v>4.4000000000000004</c:v>
                </c:pt>
                <c:pt idx="104">
                  <c:v>2.4</c:v>
                </c:pt>
                <c:pt idx="105">
                  <c:v>10.5</c:v>
                </c:pt>
                <c:pt idx="106">
                  <c:v>8.8000000000000007</c:v>
                </c:pt>
                <c:pt idx="107">
                  <c:v>7.5</c:v>
                </c:pt>
                <c:pt idx="108">
                  <c:v>19.8</c:v>
                </c:pt>
                <c:pt idx="109">
                  <c:v>0.7</c:v>
                </c:pt>
                <c:pt idx="110">
                  <c:v>13.3</c:v>
                </c:pt>
                <c:pt idx="111">
                  <c:v>7.5</c:v>
                </c:pt>
                <c:pt idx="112">
                  <c:v>5.3</c:v>
                </c:pt>
                <c:pt idx="113">
                  <c:v>0</c:v>
                </c:pt>
                <c:pt idx="114">
                  <c:v>8.4</c:v>
                </c:pt>
                <c:pt idx="115">
                  <c:v>6.1</c:v>
                </c:pt>
                <c:pt idx="116">
                  <c:v>5.0999999999999996</c:v>
                </c:pt>
                <c:pt idx="117">
                  <c:v>10.4</c:v>
                </c:pt>
                <c:pt idx="118">
                  <c:v>6.6</c:v>
                </c:pt>
                <c:pt idx="119">
                  <c:v>11.3</c:v>
                </c:pt>
                <c:pt idx="120">
                  <c:v>8</c:v>
                </c:pt>
                <c:pt idx="121">
                  <c:v>8.6</c:v>
                </c:pt>
                <c:pt idx="122">
                  <c:v>14.8</c:v>
                </c:pt>
                <c:pt idx="123">
                  <c:v>7.7</c:v>
                </c:pt>
                <c:pt idx="124">
                  <c:v>5.2</c:v>
                </c:pt>
                <c:pt idx="125">
                  <c:v>1.5</c:v>
                </c:pt>
                <c:pt idx="126">
                  <c:v>7.4</c:v>
                </c:pt>
                <c:pt idx="127">
                  <c:v>3.4</c:v>
                </c:pt>
                <c:pt idx="128">
                  <c:v>6</c:v>
                </c:pt>
                <c:pt idx="129">
                  <c:v>13.6</c:v>
                </c:pt>
                <c:pt idx="130">
                  <c:v>11.7</c:v>
                </c:pt>
                <c:pt idx="131">
                  <c:v>2.4</c:v>
                </c:pt>
                <c:pt idx="132">
                  <c:v>11.4</c:v>
                </c:pt>
                <c:pt idx="133">
                  <c:v>0</c:v>
                </c:pt>
                <c:pt idx="134">
                  <c:v>0.4</c:v>
                </c:pt>
                <c:pt idx="135">
                  <c:v>0.1</c:v>
                </c:pt>
                <c:pt idx="136">
                  <c:v>6.6</c:v>
                </c:pt>
                <c:pt idx="137">
                  <c:v>10.199999999999999</c:v>
                </c:pt>
                <c:pt idx="138">
                  <c:v>8.5</c:v>
                </c:pt>
                <c:pt idx="139">
                  <c:v>3.7</c:v>
                </c:pt>
                <c:pt idx="140">
                  <c:v>7.8</c:v>
                </c:pt>
                <c:pt idx="141">
                  <c:v>10</c:v>
                </c:pt>
                <c:pt idx="142">
                  <c:v>7.9</c:v>
                </c:pt>
                <c:pt idx="143">
                  <c:v>5.2</c:v>
                </c:pt>
                <c:pt idx="144">
                  <c:v>6</c:v>
                </c:pt>
                <c:pt idx="145">
                  <c:v>6.6</c:v>
                </c:pt>
                <c:pt idx="146">
                  <c:v>17.3</c:v>
                </c:pt>
                <c:pt idx="147">
                  <c:v>3.9</c:v>
                </c:pt>
                <c:pt idx="148">
                  <c:v>10.3</c:v>
                </c:pt>
                <c:pt idx="149">
                  <c:v>1.9</c:v>
                </c:pt>
                <c:pt idx="150">
                  <c:v>1.3</c:v>
                </c:pt>
                <c:pt idx="151">
                  <c:v>2.2000000000000002</c:v>
                </c:pt>
                <c:pt idx="152">
                  <c:v>2</c:v>
                </c:pt>
                <c:pt idx="153">
                  <c:v>5.2</c:v>
                </c:pt>
                <c:pt idx="154">
                  <c:v>1.4</c:v>
                </c:pt>
                <c:pt idx="155">
                  <c:v>14</c:v>
                </c:pt>
                <c:pt idx="156">
                  <c:v>5.3</c:v>
                </c:pt>
                <c:pt idx="157">
                  <c:v>8</c:v>
                </c:pt>
                <c:pt idx="158">
                  <c:v>7.8</c:v>
                </c:pt>
                <c:pt idx="159">
                  <c:v>6.2</c:v>
                </c:pt>
                <c:pt idx="160">
                  <c:v>0</c:v>
                </c:pt>
                <c:pt idx="161">
                  <c:v>4</c:v>
                </c:pt>
                <c:pt idx="162">
                  <c:v>1.8</c:v>
                </c:pt>
                <c:pt idx="163">
                  <c:v>3.9</c:v>
                </c:pt>
                <c:pt idx="164">
                  <c:v>13</c:v>
                </c:pt>
                <c:pt idx="165">
                  <c:v>3.7</c:v>
                </c:pt>
                <c:pt idx="166">
                  <c:v>1.3</c:v>
                </c:pt>
                <c:pt idx="167">
                  <c:v>3.9</c:v>
                </c:pt>
                <c:pt idx="168">
                  <c:v>9.1</c:v>
                </c:pt>
                <c:pt idx="169">
                  <c:v>0.1</c:v>
                </c:pt>
                <c:pt idx="170">
                  <c:v>5.2</c:v>
                </c:pt>
                <c:pt idx="171">
                  <c:v>2.2999999999999998</c:v>
                </c:pt>
                <c:pt idx="172">
                  <c:v>6.9</c:v>
                </c:pt>
                <c:pt idx="173">
                  <c:v>2.6</c:v>
                </c:pt>
                <c:pt idx="174">
                  <c:v>4.4000000000000004</c:v>
                </c:pt>
                <c:pt idx="175">
                  <c:v>1.9</c:v>
                </c:pt>
                <c:pt idx="176">
                  <c:v>10.5</c:v>
                </c:pt>
                <c:pt idx="177">
                  <c:v>7.8</c:v>
                </c:pt>
                <c:pt idx="178">
                  <c:v>4.9000000000000004</c:v>
                </c:pt>
                <c:pt idx="179">
                  <c:v>2.8</c:v>
                </c:pt>
                <c:pt idx="180">
                  <c:v>7.9</c:v>
                </c:pt>
                <c:pt idx="181">
                  <c:v>5.0999999999999996</c:v>
                </c:pt>
                <c:pt idx="182">
                  <c:v>2.1</c:v>
                </c:pt>
                <c:pt idx="183">
                  <c:v>2.8</c:v>
                </c:pt>
                <c:pt idx="184">
                  <c:v>11.6</c:v>
                </c:pt>
                <c:pt idx="185">
                  <c:v>6</c:v>
                </c:pt>
                <c:pt idx="186">
                  <c:v>0.6</c:v>
                </c:pt>
                <c:pt idx="187">
                  <c:v>8.6999999999999993</c:v>
                </c:pt>
                <c:pt idx="188">
                  <c:v>10</c:v>
                </c:pt>
                <c:pt idx="189">
                  <c:v>6.6</c:v>
                </c:pt>
                <c:pt idx="190">
                  <c:v>6.6</c:v>
                </c:pt>
                <c:pt idx="191">
                  <c:v>6</c:v>
                </c:pt>
                <c:pt idx="192">
                  <c:v>2.7</c:v>
                </c:pt>
                <c:pt idx="193">
                  <c:v>2</c:v>
                </c:pt>
                <c:pt idx="194">
                  <c:v>0</c:v>
                </c:pt>
                <c:pt idx="195">
                  <c:v>8.8000000000000007</c:v>
                </c:pt>
                <c:pt idx="196">
                  <c:v>10.199999999999999</c:v>
                </c:pt>
                <c:pt idx="197">
                  <c:v>7.7</c:v>
                </c:pt>
                <c:pt idx="198">
                  <c:v>9.1</c:v>
                </c:pt>
                <c:pt idx="199">
                  <c:v>3.8</c:v>
                </c:pt>
                <c:pt idx="200">
                  <c:v>10.199999999999999</c:v>
                </c:pt>
                <c:pt idx="201">
                  <c:v>5.6</c:v>
                </c:pt>
                <c:pt idx="202">
                  <c:v>0.7</c:v>
                </c:pt>
                <c:pt idx="203">
                  <c:v>7.5</c:v>
                </c:pt>
                <c:pt idx="204">
                  <c:v>1.8</c:v>
                </c:pt>
                <c:pt idx="205">
                  <c:v>2.8</c:v>
                </c:pt>
                <c:pt idx="206">
                  <c:v>2.1</c:v>
                </c:pt>
                <c:pt idx="207">
                  <c:v>4.3</c:v>
                </c:pt>
                <c:pt idx="208">
                  <c:v>2.4</c:v>
                </c:pt>
                <c:pt idx="209">
                  <c:v>5.8</c:v>
                </c:pt>
                <c:pt idx="210">
                  <c:v>13.3</c:v>
                </c:pt>
                <c:pt idx="211">
                  <c:v>7.4</c:v>
                </c:pt>
                <c:pt idx="212">
                  <c:v>6.6</c:v>
                </c:pt>
                <c:pt idx="213">
                  <c:v>4.2</c:v>
                </c:pt>
                <c:pt idx="214">
                  <c:v>2.2000000000000002</c:v>
                </c:pt>
                <c:pt idx="215">
                  <c:v>3.1</c:v>
                </c:pt>
                <c:pt idx="216">
                  <c:v>5.6</c:v>
                </c:pt>
                <c:pt idx="217">
                  <c:v>1</c:v>
                </c:pt>
                <c:pt idx="218">
                  <c:v>1</c:v>
                </c:pt>
                <c:pt idx="219">
                  <c:v>6.7</c:v>
                </c:pt>
                <c:pt idx="220">
                  <c:v>10.5</c:v>
                </c:pt>
                <c:pt idx="221">
                  <c:v>10</c:v>
                </c:pt>
                <c:pt idx="222">
                  <c:v>1.4</c:v>
                </c:pt>
                <c:pt idx="223">
                  <c:v>6</c:v>
                </c:pt>
                <c:pt idx="224">
                  <c:v>4.5</c:v>
                </c:pt>
                <c:pt idx="225">
                  <c:v>6.5</c:v>
                </c:pt>
                <c:pt idx="226">
                  <c:v>5.4</c:v>
                </c:pt>
                <c:pt idx="227">
                  <c:v>2.6</c:v>
                </c:pt>
                <c:pt idx="228">
                  <c:v>9.5</c:v>
                </c:pt>
                <c:pt idx="229">
                  <c:v>5</c:v>
                </c:pt>
                <c:pt idx="230">
                  <c:v>5.4</c:v>
                </c:pt>
                <c:pt idx="231">
                  <c:v>8.5</c:v>
                </c:pt>
                <c:pt idx="232">
                  <c:v>7.6</c:v>
                </c:pt>
                <c:pt idx="233">
                  <c:v>13.9</c:v>
                </c:pt>
                <c:pt idx="234">
                  <c:v>6.5</c:v>
                </c:pt>
                <c:pt idx="235">
                  <c:v>9</c:v>
                </c:pt>
                <c:pt idx="236">
                  <c:v>7.8</c:v>
                </c:pt>
                <c:pt idx="237">
                  <c:v>9</c:v>
                </c:pt>
                <c:pt idx="238">
                  <c:v>0.2</c:v>
                </c:pt>
                <c:pt idx="239">
                  <c:v>3.3</c:v>
                </c:pt>
                <c:pt idx="240">
                  <c:v>3.6</c:v>
                </c:pt>
                <c:pt idx="241">
                  <c:v>7.5</c:v>
                </c:pt>
                <c:pt idx="242">
                  <c:v>9.1</c:v>
                </c:pt>
                <c:pt idx="243">
                  <c:v>3.4</c:v>
                </c:pt>
                <c:pt idx="244">
                  <c:v>17.3</c:v>
                </c:pt>
                <c:pt idx="245">
                  <c:v>0.6</c:v>
                </c:pt>
                <c:pt idx="246">
                  <c:v>5</c:v>
                </c:pt>
                <c:pt idx="247">
                  <c:v>11.7</c:v>
                </c:pt>
                <c:pt idx="248">
                  <c:v>13.1</c:v>
                </c:pt>
                <c:pt idx="249">
                  <c:v>10.9</c:v>
                </c:pt>
                <c:pt idx="250">
                  <c:v>0.4</c:v>
                </c:pt>
                <c:pt idx="251">
                  <c:v>14.5</c:v>
                </c:pt>
                <c:pt idx="252">
                  <c:v>9.8000000000000007</c:v>
                </c:pt>
                <c:pt idx="253">
                  <c:v>6.6</c:v>
                </c:pt>
                <c:pt idx="254">
                  <c:v>1.6</c:v>
                </c:pt>
                <c:pt idx="255">
                  <c:v>8.8000000000000007</c:v>
                </c:pt>
                <c:pt idx="256">
                  <c:v>7.4</c:v>
                </c:pt>
                <c:pt idx="257">
                  <c:v>3</c:v>
                </c:pt>
                <c:pt idx="258">
                  <c:v>0.1</c:v>
                </c:pt>
                <c:pt idx="259">
                  <c:v>2</c:v>
                </c:pt>
                <c:pt idx="260">
                  <c:v>7.5</c:v>
                </c:pt>
                <c:pt idx="261">
                  <c:v>8</c:v>
                </c:pt>
                <c:pt idx="262">
                  <c:v>3.3</c:v>
                </c:pt>
                <c:pt idx="263">
                  <c:v>5.3</c:v>
                </c:pt>
                <c:pt idx="264">
                  <c:v>4.8</c:v>
                </c:pt>
                <c:pt idx="265">
                  <c:v>3.7</c:v>
                </c:pt>
                <c:pt idx="266">
                  <c:v>5.4</c:v>
                </c:pt>
                <c:pt idx="267">
                  <c:v>3.9</c:v>
                </c:pt>
                <c:pt idx="268">
                  <c:v>10.4</c:v>
                </c:pt>
                <c:pt idx="269">
                  <c:v>2.2999999999999998</c:v>
                </c:pt>
                <c:pt idx="270">
                  <c:v>10.3</c:v>
                </c:pt>
                <c:pt idx="271">
                  <c:v>2.4</c:v>
                </c:pt>
                <c:pt idx="272">
                  <c:v>14</c:v>
                </c:pt>
                <c:pt idx="273">
                  <c:v>3.1</c:v>
                </c:pt>
                <c:pt idx="274">
                  <c:v>10.3</c:v>
                </c:pt>
                <c:pt idx="275">
                  <c:v>4</c:v>
                </c:pt>
                <c:pt idx="276">
                  <c:v>1.5</c:v>
                </c:pt>
                <c:pt idx="277">
                  <c:v>7.8</c:v>
                </c:pt>
                <c:pt idx="278">
                  <c:v>6</c:v>
                </c:pt>
                <c:pt idx="279">
                  <c:v>10.7</c:v>
                </c:pt>
                <c:pt idx="280">
                  <c:v>13.1</c:v>
                </c:pt>
                <c:pt idx="281">
                  <c:v>3.7</c:v>
                </c:pt>
                <c:pt idx="282">
                  <c:v>9.5</c:v>
                </c:pt>
                <c:pt idx="283">
                  <c:v>3</c:v>
                </c:pt>
                <c:pt idx="284">
                  <c:v>5.6</c:v>
                </c:pt>
                <c:pt idx="285">
                  <c:v>6.1</c:v>
                </c:pt>
                <c:pt idx="286">
                  <c:v>5.9</c:v>
                </c:pt>
                <c:pt idx="287">
                  <c:v>1.7</c:v>
                </c:pt>
                <c:pt idx="288">
                  <c:v>5.4</c:v>
                </c:pt>
                <c:pt idx="289">
                  <c:v>3.6</c:v>
                </c:pt>
                <c:pt idx="290">
                  <c:v>3.7</c:v>
                </c:pt>
                <c:pt idx="291">
                  <c:v>7.2</c:v>
                </c:pt>
                <c:pt idx="292">
                  <c:v>3</c:v>
                </c:pt>
                <c:pt idx="293">
                  <c:v>3.8</c:v>
                </c:pt>
                <c:pt idx="294">
                  <c:v>6.9</c:v>
                </c:pt>
                <c:pt idx="295">
                  <c:v>0.6</c:v>
                </c:pt>
                <c:pt idx="296">
                  <c:v>7.9</c:v>
                </c:pt>
                <c:pt idx="297">
                  <c:v>5.5</c:v>
                </c:pt>
                <c:pt idx="298">
                  <c:v>7.8</c:v>
                </c:pt>
                <c:pt idx="299">
                  <c:v>4.3</c:v>
                </c:pt>
                <c:pt idx="300">
                  <c:v>14.8</c:v>
                </c:pt>
                <c:pt idx="301">
                  <c:v>8.6</c:v>
                </c:pt>
                <c:pt idx="302">
                  <c:v>1.8</c:v>
                </c:pt>
                <c:pt idx="303">
                  <c:v>0.5</c:v>
                </c:pt>
                <c:pt idx="304">
                  <c:v>2.8</c:v>
                </c:pt>
                <c:pt idx="305">
                  <c:v>6.5</c:v>
                </c:pt>
                <c:pt idx="306">
                  <c:v>3.2</c:v>
                </c:pt>
                <c:pt idx="307">
                  <c:v>8.8000000000000007</c:v>
                </c:pt>
                <c:pt idx="308">
                  <c:v>11.5</c:v>
                </c:pt>
                <c:pt idx="309">
                  <c:v>8.8000000000000007</c:v>
                </c:pt>
                <c:pt idx="310">
                  <c:v>13.8</c:v>
                </c:pt>
                <c:pt idx="311">
                  <c:v>10.5</c:v>
                </c:pt>
                <c:pt idx="312">
                  <c:v>4.9000000000000004</c:v>
                </c:pt>
                <c:pt idx="313">
                  <c:v>9.4</c:v>
                </c:pt>
                <c:pt idx="314">
                  <c:v>5.0999999999999996</c:v>
                </c:pt>
                <c:pt idx="315">
                  <c:v>6</c:v>
                </c:pt>
                <c:pt idx="316">
                  <c:v>2.7</c:v>
                </c:pt>
                <c:pt idx="317">
                  <c:v>2.2000000000000002</c:v>
                </c:pt>
                <c:pt idx="318">
                  <c:v>1.5</c:v>
                </c:pt>
                <c:pt idx="319">
                  <c:v>6</c:v>
                </c:pt>
                <c:pt idx="320">
                  <c:v>10.7</c:v>
                </c:pt>
                <c:pt idx="321">
                  <c:v>8.5</c:v>
                </c:pt>
                <c:pt idx="322">
                  <c:v>10</c:v>
                </c:pt>
                <c:pt idx="323">
                  <c:v>7.4</c:v>
                </c:pt>
                <c:pt idx="324">
                  <c:v>0.9</c:v>
                </c:pt>
                <c:pt idx="325">
                  <c:v>4.5999999999999996</c:v>
                </c:pt>
                <c:pt idx="326">
                  <c:v>9</c:v>
                </c:pt>
                <c:pt idx="327">
                  <c:v>2.4</c:v>
                </c:pt>
                <c:pt idx="328">
                  <c:v>5.6</c:v>
                </c:pt>
                <c:pt idx="329">
                  <c:v>1.7</c:v>
                </c:pt>
                <c:pt idx="330">
                  <c:v>6.1</c:v>
                </c:pt>
                <c:pt idx="331">
                  <c:v>4.9000000000000004</c:v>
                </c:pt>
                <c:pt idx="332">
                  <c:v>9.8000000000000007</c:v>
                </c:pt>
                <c:pt idx="333">
                  <c:v>2.8</c:v>
                </c:pt>
                <c:pt idx="334">
                  <c:v>6.3</c:v>
                </c:pt>
                <c:pt idx="335">
                  <c:v>6.2</c:v>
                </c:pt>
                <c:pt idx="336">
                  <c:v>3.6</c:v>
                </c:pt>
                <c:pt idx="337">
                  <c:v>7</c:v>
                </c:pt>
                <c:pt idx="338">
                  <c:v>11.2</c:v>
                </c:pt>
                <c:pt idx="339">
                  <c:v>5.4</c:v>
                </c:pt>
                <c:pt idx="340">
                  <c:v>3.5</c:v>
                </c:pt>
                <c:pt idx="341">
                  <c:v>4.9000000000000004</c:v>
                </c:pt>
                <c:pt idx="342">
                  <c:v>10.8</c:v>
                </c:pt>
                <c:pt idx="343">
                  <c:v>7</c:v>
                </c:pt>
                <c:pt idx="344">
                  <c:v>2.2999999999999998</c:v>
                </c:pt>
                <c:pt idx="345">
                  <c:v>5.2</c:v>
                </c:pt>
                <c:pt idx="346">
                  <c:v>7.7</c:v>
                </c:pt>
                <c:pt idx="347">
                  <c:v>7</c:v>
                </c:pt>
                <c:pt idx="348">
                  <c:v>5.4</c:v>
                </c:pt>
                <c:pt idx="349">
                  <c:v>8.8000000000000007</c:v>
                </c:pt>
                <c:pt idx="350">
                  <c:v>9.6999999999999993</c:v>
                </c:pt>
                <c:pt idx="351">
                  <c:v>5.0999999999999996</c:v>
                </c:pt>
                <c:pt idx="352">
                  <c:v>7.9</c:v>
                </c:pt>
                <c:pt idx="353">
                  <c:v>5.8</c:v>
                </c:pt>
                <c:pt idx="354">
                  <c:v>3.9</c:v>
                </c:pt>
                <c:pt idx="355">
                  <c:v>8.4</c:v>
                </c:pt>
                <c:pt idx="356">
                  <c:v>3.7</c:v>
                </c:pt>
                <c:pt idx="357">
                  <c:v>10.3</c:v>
                </c:pt>
                <c:pt idx="358">
                  <c:v>10.1</c:v>
                </c:pt>
                <c:pt idx="359">
                  <c:v>8.5</c:v>
                </c:pt>
                <c:pt idx="360">
                  <c:v>6.3</c:v>
                </c:pt>
                <c:pt idx="361">
                  <c:v>9.3000000000000007</c:v>
                </c:pt>
                <c:pt idx="362">
                  <c:v>6.1</c:v>
                </c:pt>
                <c:pt idx="363">
                  <c:v>3.1</c:v>
                </c:pt>
                <c:pt idx="364">
                  <c:v>9.6</c:v>
                </c:pt>
                <c:pt idx="365">
                  <c:v>8.1</c:v>
                </c:pt>
                <c:pt idx="366">
                  <c:v>3.2</c:v>
                </c:pt>
                <c:pt idx="367">
                  <c:v>5.7</c:v>
                </c:pt>
                <c:pt idx="368">
                  <c:v>5.4</c:v>
                </c:pt>
                <c:pt idx="369">
                  <c:v>1.2</c:v>
                </c:pt>
                <c:pt idx="370">
                  <c:v>9.4</c:v>
                </c:pt>
                <c:pt idx="371">
                  <c:v>5.3</c:v>
                </c:pt>
                <c:pt idx="372">
                  <c:v>7.8</c:v>
                </c:pt>
                <c:pt idx="373">
                  <c:v>10.199999999999999</c:v>
                </c:pt>
                <c:pt idx="374">
                  <c:v>0.4</c:v>
                </c:pt>
                <c:pt idx="375">
                  <c:v>13.8</c:v>
                </c:pt>
                <c:pt idx="376">
                  <c:v>4.2</c:v>
                </c:pt>
                <c:pt idx="377">
                  <c:v>6.5</c:v>
                </c:pt>
                <c:pt idx="378">
                  <c:v>6.4</c:v>
                </c:pt>
                <c:pt idx="379">
                  <c:v>0.8</c:v>
                </c:pt>
                <c:pt idx="380">
                  <c:v>0.7</c:v>
                </c:pt>
                <c:pt idx="381">
                  <c:v>7.5</c:v>
                </c:pt>
                <c:pt idx="382">
                  <c:v>10.1</c:v>
                </c:pt>
                <c:pt idx="383">
                  <c:v>6.2</c:v>
                </c:pt>
                <c:pt idx="384">
                  <c:v>0.3</c:v>
                </c:pt>
                <c:pt idx="385">
                  <c:v>6.5</c:v>
                </c:pt>
                <c:pt idx="386">
                  <c:v>6</c:v>
                </c:pt>
                <c:pt idx="387">
                  <c:v>4.8</c:v>
                </c:pt>
                <c:pt idx="388">
                  <c:v>7.7</c:v>
                </c:pt>
                <c:pt idx="389">
                  <c:v>7.3</c:v>
                </c:pt>
                <c:pt idx="390">
                  <c:v>1.4</c:v>
                </c:pt>
                <c:pt idx="391">
                  <c:v>6.6</c:v>
                </c:pt>
                <c:pt idx="392">
                  <c:v>6.3</c:v>
                </c:pt>
                <c:pt idx="393">
                  <c:v>1.3</c:v>
                </c:pt>
                <c:pt idx="394">
                  <c:v>6</c:v>
                </c:pt>
                <c:pt idx="395">
                  <c:v>12.9</c:v>
                </c:pt>
                <c:pt idx="396">
                  <c:v>1.2</c:v>
                </c:pt>
                <c:pt idx="397">
                  <c:v>0.4</c:v>
                </c:pt>
                <c:pt idx="398">
                  <c:v>7.5</c:v>
                </c:pt>
                <c:pt idx="399">
                  <c:v>4.3</c:v>
                </c:pt>
                <c:pt idx="400">
                  <c:v>6.3</c:v>
                </c:pt>
                <c:pt idx="401">
                  <c:v>13</c:v>
                </c:pt>
                <c:pt idx="402">
                  <c:v>7.2</c:v>
                </c:pt>
                <c:pt idx="403">
                  <c:v>5.5</c:v>
                </c:pt>
                <c:pt idx="404">
                  <c:v>9.1999999999999993</c:v>
                </c:pt>
                <c:pt idx="405">
                  <c:v>5.9</c:v>
                </c:pt>
                <c:pt idx="406">
                  <c:v>4</c:v>
                </c:pt>
                <c:pt idx="407">
                  <c:v>5.0999999999999996</c:v>
                </c:pt>
                <c:pt idx="408">
                  <c:v>1.7</c:v>
                </c:pt>
                <c:pt idx="409">
                  <c:v>9.5</c:v>
                </c:pt>
                <c:pt idx="410">
                  <c:v>5.4</c:v>
                </c:pt>
                <c:pt idx="411">
                  <c:v>2.5</c:v>
                </c:pt>
                <c:pt idx="412">
                  <c:v>4.3</c:v>
                </c:pt>
                <c:pt idx="413">
                  <c:v>5.2</c:v>
                </c:pt>
                <c:pt idx="414">
                  <c:v>3.3</c:v>
                </c:pt>
                <c:pt idx="415">
                  <c:v>10</c:v>
                </c:pt>
                <c:pt idx="416">
                  <c:v>5.5</c:v>
                </c:pt>
                <c:pt idx="417">
                  <c:v>3.8</c:v>
                </c:pt>
                <c:pt idx="418">
                  <c:v>3.6</c:v>
                </c:pt>
                <c:pt idx="419">
                  <c:v>4.0999999999999996</c:v>
                </c:pt>
                <c:pt idx="420">
                  <c:v>5.3</c:v>
                </c:pt>
                <c:pt idx="421">
                  <c:v>7.2</c:v>
                </c:pt>
                <c:pt idx="422">
                  <c:v>5</c:v>
                </c:pt>
                <c:pt idx="423">
                  <c:v>9.5</c:v>
                </c:pt>
                <c:pt idx="424">
                  <c:v>1.4</c:v>
                </c:pt>
                <c:pt idx="425">
                  <c:v>3.3</c:v>
                </c:pt>
                <c:pt idx="426">
                  <c:v>8.4</c:v>
                </c:pt>
                <c:pt idx="427">
                  <c:v>5.3</c:v>
                </c:pt>
                <c:pt idx="428">
                  <c:v>5.6</c:v>
                </c:pt>
                <c:pt idx="429">
                  <c:v>3.7</c:v>
                </c:pt>
                <c:pt idx="430">
                  <c:v>1.1000000000000001</c:v>
                </c:pt>
                <c:pt idx="431">
                  <c:v>6.2</c:v>
                </c:pt>
                <c:pt idx="432">
                  <c:v>6.1</c:v>
                </c:pt>
                <c:pt idx="433">
                  <c:v>4.2</c:v>
                </c:pt>
                <c:pt idx="434">
                  <c:v>5.6</c:v>
                </c:pt>
                <c:pt idx="435">
                  <c:v>1.8</c:v>
                </c:pt>
                <c:pt idx="436">
                  <c:v>3.3</c:v>
                </c:pt>
                <c:pt idx="437">
                  <c:v>4.8</c:v>
                </c:pt>
                <c:pt idx="438">
                  <c:v>2.9</c:v>
                </c:pt>
                <c:pt idx="439">
                  <c:v>6.2</c:v>
                </c:pt>
                <c:pt idx="440">
                  <c:v>5.3</c:v>
                </c:pt>
                <c:pt idx="441">
                  <c:v>10.1</c:v>
                </c:pt>
                <c:pt idx="442">
                  <c:v>5.0999999999999996</c:v>
                </c:pt>
                <c:pt idx="443">
                  <c:v>9.4</c:v>
                </c:pt>
                <c:pt idx="444">
                  <c:v>14.2</c:v>
                </c:pt>
                <c:pt idx="445">
                  <c:v>7</c:v>
                </c:pt>
                <c:pt idx="446">
                  <c:v>5.0999999999999996</c:v>
                </c:pt>
                <c:pt idx="447">
                  <c:v>1.8</c:v>
                </c:pt>
                <c:pt idx="448">
                  <c:v>4.0999999999999996</c:v>
                </c:pt>
                <c:pt idx="449">
                  <c:v>2.9</c:v>
                </c:pt>
                <c:pt idx="450">
                  <c:v>8.3000000000000007</c:v>
                </c:pt>
                <c:pt idx="451">
                  <c:v>5.2</c:v>
                </c:pt>
                <c:pt idx="452">
                  <c:v>4.4000000000000004</c:v>
                </c:pt>
                <c:pt idx="453">
                  <c:v>6.1</c:v>
                </c:pt>
                <c:pt idx="454">
                  <c:v>3.9</c:v>
                </c:pt>
                <c:pt idx="455">
                  <c:v>3.7</c:v>
                </c:pt>
                <c:pt idx="456">
                  <c:v>7.5</c:v>
                </c:pt>
                <c:pt idx="457">
                  <c:v>2.9</c:v>
                </c:pt>
                <c:pt idx="458">
                  <c:v>12.7</c:v>
                </c:pt>
                <c:pt idx="459">
                  <c:v>1.2</c:v>
                </c:pt>
                <c:pt idx="460">
                  <c:v>4.5</c:v>
                </c:pt>
                <c:pt idx="461">
                  <c:v>4.3</c:v>
                </c:pt>
                <c:pt idx="462">
                  <c:v>8</c:v>
                </c:pt>
                <c:pt idx="463">
                  <c:v>6.9</c:v>
                </c:pt>
                <c:pt idx="464">
                  <c:v>6.1</c:v>
                </c:pt>
                <c:pt idx="465">
                  <c:v>10.7</c:v>
                </c:pt>
                <c:pt idx="466">
                  <c:v>7.9</c:v>
                </c:pt>
                <c:pt idx="467">
                  <c:v>10.4</c:v>
                </c:pt>
                <c:pt idx="468">
                  <c:v>5.3</c:v>
                </c:pt>
                <c:pt idx="469">
                  <c:v>5.9</c:v>
                </c:pt>
                <c:pt idx="470">
                  <c:v>4.0999999999999996</c:v>
                </c:pt>
                <c:pt idx="471">
                  <c:v>11.4</c:v>
                </c:pt>
                <c:pt idx="472">
                  <c:v>10.3</c:v>
                </c:pt>
                <c:pt idx="473">
                  <c:v>5.3</c:v>
                </c:pt>
                <c:pt idx="474">
                  <c:v>6.5</c:v>
                </c:pt>
                <c:pt idx="475">
                  <c:v>0</c:v>
                </c:pt>
                <c:pt idx="476">
                  <c:v>6.6</c:v>
                </c:pt>
                <c:pt idx="477">
                  <c:v>3.4</c:v>
                </c:pt>
                <c:pt idx="478">
                  <c:v>4.5999999999999996</c:v>
                </c:pt>
                <c:pt idx="479">
                  <c:v>5.9</c:v>
                </c:pt>
                <c:pt idx="480">
                  <c:v>4.7</c:v>
                </c:pt>
                <c:pt idx="481">
                  <c:v>10.3</c:v>
                </c:pt>
                <c:pt idx="482">
                  <c:v>11.6</c:v>
                </c:pt>
                <c:pt idx="483">
                  <c:v>6</c:v>
                </c:pt>
                <c:pt idx="484">
                  <c:v>8.5</c:v>
                </c:pt>
                <c:pt idx="485">
                  <c:v>5.7</c:v>
                </c:pt>
                <c:pt idx="486">
                  <c:v>6.4</c:v>
                </c:pt>
                <c:pt idx="487">
                  <c:v>6.9</c:v>
                </c:pt>
                <c:pt idx="488">
                  <c:v>11.3</c:v>
                </c:pt>
                <c:pt idx="489">
                  <c:v>8.5</c:v>
                </c:pt>
                <c:pt idx="490">
                  <c:v>5.6</c:v>
                </c:pt>
                <c:pt idx="491">
                  <c:v>5.9</c:v>
                </c:pt>
                <c:pt idx="492">
                  <c:v>7.6</c:v>
                </c:pt>
                <c:pt idx="493">
                  <c:v>9.1</c:v>
                </c:pt>
                <c:pt idx="494">
                  <c:v>6.3</c:v>
                </c:pt>
                <c:pt idx="495">
                  <c:v>0.7</c:v>
                </c:pt>
                <c:pt idx="496">
                  <c:v>3.7</c:v>
                </c:pt>
                <c:pt idx="497">
                  <c:v>7</c:v>
                </c:pt>
                <c:pt idx="498">
                  <c:v>8.4</c:v>
                </c:pt>
                <c:pt idx="499">
                  <c:v>9.8000000000000007</c:v>
                </c:pt>
                <c:pt idx="500">
                  <c:v>7.8</c:v>
                </c:pt>
                <c:pt idx="501">
                  <c:v>1</c:v>
                </c:pt>
                <c:pt idx="502">
                  <c:v>4.3</c:v>
                </c:pt>
                <c:pt idx="503">
                  <c:v>8.5</c:v>
                </c:pt>
                <c:pt idx="504">
                  <c:v>8.8000000000000007</c:v>
                </c:pt>
                <c:pt idx="505">
                  <c:v>11.3</c:v>
                </c:pt>
                <c:pt idx="506">
                  <c:v>6.3</c:v>
                </c:pt>
                <c:pt idx="507">
                  <c:v>4.5</c:v>
                </c:pt>
                <c:pt idx="508">
                  <c:v>1.4</c:v>
                </c:pt>
                <c:pt idx="509">
                  <c:v>6.7</c:v>
                </c:pt>
                <c:pt idx="510">
                  <c:v>5.6</c:v>
                </c:pt>
                <c:pt idx="511">
                  <c:v>7.7</c:v>
                </c:pt>
                <c:pt idx="512">
                  <c:v>9</c:v>
                </c:pt>
                <c:pt idx="513">
                  <c:v>7.4</c:v>
                </c:pt>
                <c:pt idx="514">
                  <c:v>8.1</c:v>
                </c:pt>
                <c:pt idx="515">
                  <c:v>11.2</c:v>
                </c:pt>
                <c:pt idx="516">
                  <c:v>10.7</c:v>
                </c:pt>
                <c:pt idx="517">
                  <c:v>1.3</c:v>
                </c:pt>
                <c:pt idx="518">
                  <c:v>1.6</c:v>
                </c:pt>
                <c:pt idx="519">
                  <c:v>2.2999999999999998</c:v>
                </c:pt>
                <c:pt idx="520">
                  <c:v>5.0999999999999996</c:v>
                </c:pt>
                <c:pt idx="521">
                  <c:v>8.4</c:v>
                </c:pt>
                <c:pt idx="522">
                  <c:v>5.6</c:v>
                </c:pt>
                <c:pt idx="523">
                  <c:v>7.8</c:v>
                </c:pt>
                <c:pt idx="524">
                  <c:v>5.3</c:v>
                </c:pt>
                <c:pt idx="525">
                  <c:v>10.199999999999999</c:v>
                </c:pt>
                <c:pt idx="526">
                  <c:v>4.9000000000000004</c:v>
                </c:pt>
                <c:pt idx="527">
                  <c:v>3.8</c:v>
                </c:pt>
                <c:pt idx="528">
                  <c:v>1.7</c:v>
                </c:pt>
                <c:pt idx="529">
                  <c:v>1.3</c:v>
                </c:pt>
                <c:pt idx="530">
                  <c:v>4.5999999999999996</c:v>
                </c:pt>
                <c:pt idx="531">
                  <c:v>4.9000000000000004</c:v>
                </c:pt>
                <c:pt idx="532">
                  <c:v>4.0999999999999996</c:v>
                </c:pt>
                <c:pt idx="533">
                  <c:v>0</c:v>
                </c:pt>
                <c:pt idx="534">
                  <c:v>8.5</c:v>
                </c:pt>
                <c:pt idx="535">
                  <c:v>12.7</c:v>
                </c:pt>
                <c:pt idx="536">
                  <c:v>7.1</c:v>
                </c:pt>
                <c:pt idx="537">
                  <c:v>6.2</c:v>
                </c:pt>
                <c:pt idx="538">
                  <c:v>5.6</c:v>
                </c:pt>
                <c:pt idx="539">
                  <c:v>10.4</c:v>
                </c:pt>
                <c:pt idx="540">
                  <c:v>6.6</c:v>
                </c:pt>
                <c:pt idx="541">
                  <c:v>6.7</c:v>
                </c:pt>
                <c:pt idx="542">
                  <c:v>7.4</c:v>
                </c:pt>
                <c:pt idx="543">
                  <c:v>7.9</c:v>
                </c:pt>
                <c:pt idx="544">
                  <c:v>6</c:v>
                </c:pt>
                <c:pt idx="545">
                  <c:v>6.8</c:v>
                </c:pt>
                <c:pt idx="546">
                  <c:v>8.3000000000000007</c:v>
                </c:pt>
                <c:pt idx="547">
                  <c:v>6.6</c:v>
                </c:pt>
                <c:pt idx="548">
                  <c:v>0.5</c:v>
                </c:pt>
                <c:pt idx="549">
                  <c:v>5.7</c:v>
                </c:pt>
                <c:pt idx="550">
                  <c:v>5.9</c:v>
                </c:pt>
                <c:pt idx="551">
                  <c:v>9.4</c:v>
                </c:pt>
                <c:pt idx="552">
                  <c:v>1.7</c:v>
                </c:pt>
                <c:pt idx="553">
                  <c:v>5</c:v>
                </c:pt>
                <c:pt idx="554">
                  <c:v>6.1</c:v>
                </c:pt>
                <c:pt idx="555">
                  <c:v>1.4</c:v>
                </c:pt>
                <c:pt idx="556">
                  <c:v>0.9</c:v>
                </c:pt>
                <c:pt idx="557">
                  <c:v>5.9</c:v>
                </c:pt>
                <c:pt idx="558">
                  <c:v>5.4</c:v>
                </c:pt>
                <c:pt idx="559">
                  <c:v>4.7</c:v>
                </c:pt>
                <c:pt idx="560">
                  <c:v>2.9</c:v>
                </c:pt>
                <c:pt idx="561">
                  <c:v>9</c:v>
                </c:pt>
                <c:pt idx="562">
                  <c:v>7.9</c:v>
                </c:pt>
                <c:pt idx="563">
                  <c:v>8.6999999999999993</c:v>
                </c:pt>
                <c:pt idx="564">
                  <c:v>8.6999999999999993</c:v>
                </c:pt>
                <c:pt idx="565">
                  <c:v>6.8</c:v>
                </c:pt>
                <c:pt idx="566">
                  <c:v>2.1</c:v>
                </c:pt>
                <c:pt idx="567">
                  <c:v>7.6</c:v>
                </c:pt>
                <c:pt idx="568">
                  <c:v>1.6</c:v>
                </c:pt>
                <c:pt idx="569">
                  <c:v>5.4</c:v>
                </c:pt>
                <c:pt idx="570">
                  <c:v>8</c:v>
                </c:pt>
                <c:pt idx="571">
                  <c:v>4.5999999999999996</c:v>
                </c:pt>
                <c:pt idx="572">
                  <c:v>0.3</c:v>
                </c:pt>
                <c:pt idx="573">
                  <c:v>8.1</c:v>
                </c:pt>
                <c:pt idx="574">
                  <c:v>4.8</c:v>
                </c:pt>
                <c:pt idx="575">
                  <c:v>6.6</c:v>
                </c:pt>
                <c:pt idx="576">
                  <c:v>9.5</c:v>
                </c:pt>
                <c:pt idx="577">
                  <c:v>2.5</c:v>
                </c:pt>
                <c:pt idx="578">
                  <c:v>1.3</c:v>
                </c:pt>
                <c:pt idx="579">
                  <c:v>3.9</c:v>
                </c:pt>
                <c:pt idx="580">
                  <c:v>4.7</c:v>
                </c:pt>
                <c:pt idx="581">
                  <c:v>3.3</c:v>
                </c:pt>
                <c:pt idx="582">
                  <c:v>2</c:v>
                </c:pt>
                <c:pt idx="583">
                  <c:v>1</c:v>
                </c:pt>
                <c:pt idx="584">
                  <c:v>12.3</c:v>
                </c:pt>
                <c:pt idx="585">
                  <c:v>8.8000000000000007</c:v>
                </c:pt>
                <c:pt idx="586">
                  <c:v>6.5</c:v>
                </c:pt>
                <c:pt idx="587">
                  <c:v>9.8000000000000007</c:v>
                </c:pt>
                <c:pt idx="588">
                  <c:v>3.2</c:v>
                </c:pt>
                <c:pt idx="589">
                  <c:v>4.8</c:v>
                </c:pt>
                <c:pt idx="590">
                  <c:v>2.2999999999999998</c:v>
                </c:pt>
                <c:pt idx="591">
                  <c:v>3.1</c:v>
                </c:pt>
                <c:pt idx="592">
                  <c:v>5.0999999999999996</c:v>
                </c:pt>
                <c:pt idx="593">
                  <c:v>5.7</c:v>
                </c:pt>
                <c:pt idx="594">
                  <c:v>4.3</c:v>
                </c:pt>
                <c:pt idx="595">
                  <c:v>4.5999999999999996</c:v>
                </c:pt>
                <c:pt idx="596">
                  <c:v>5.2</c:v>
                </c:pt>
                <c:pt idx="597">
                  <c:v>4.2</c:v>
                </c:pt>
                <c:pt idx="598">
                  <c:v>7.4</c:v>
                </c:pt>
                <c:pt idx="599">
                  <c:v>9.8000000000000007</c:v>
                </c:pt>
                <c:pt idx="600">
                  <c:v>12.3</c:v>
                </c:pt>
                <c:pt idx="601">
                  <c:v>11</c:v>
                </c:pt>
                <c:pt idx="602">
                  <c:v>0.2</c:v>
                </c:pt>
                <c:pt idx="603">
                  <c:v>11.4</c:v>
                </c:pt>
                <c:pt idx="604">
                  <c:v>6.7</c:v>
                </c:pt>
                <c:pt idx="605">
                  <c:v>11.3</c:v>
                </c:pt>
                <c:pt idx="606">
                  <c:v>6.3</c:v>
                </c:pt>
                <c:pt idx="607">
                  <c:v>10</c:v>
                </c:pt>
                <c:pt idx="608">
                  <c:v>5.9</c:v>
                </c:pt>
                <c:pt idx="609">
                  <c:v>5</c:v>
                </c:pt>
                <c:pt idx="610">
                  <c:v>3.3</c:v>
                </c:pt>
                <c:pt idx="611">
                  <c:v>0</c:v>
                </c:pt>
                <c:pt idx="612">
                  <c:v>6.6</c:v>
                </c:pt>
                <c:pt idx="613">
                  <c:v>8.4</c:v>
                </c:pt>
                <c:pt idx="614">
                  <c:v>4.0999999999999996</c:v>
                </c:pt>
                <c:pt idx="615">
                  <c:v>12.2</c:v>
                </c:pt>
                <c:pt idx="616">
                  <c:v>3.5</c:v>
                </c:pt>
                <c:pt idx="617">
                  <c:v>8.1999999999999993</c:v>
                </c:pt>
                <c:pt idx="618">
                  <c:v>9.5</c:v>
                </c:pt>
                <c:pt idx="619">
                  <c:v>4.4000000000000004</c:v>
                </c:pt>
                <c:pt idx="620">
                  <c:v>7.5</c:v>
                </c:pt>
                <c:pt idx="621">
                  <c:v>7.2</c:v>
                </c:pt>
                <c:pt idx="622">
                  <c:v>4.4000000000000004</c:v>
                </c:pt>
                <c:pt idx="623">
                  <c:v>5</c:v>
                </c:pt>
                <c:pt idx="624">
                  <c:v>8.1999999999999993</c:v>
                </c:pt>
                <c:pt idx="625">
                  <c:v>8.6</c:v>
                </c:pt>
                <c:pt idx="626">
                  <c:v>5.8</c:v>
                </c:pt>
                <c:pt idx="627">
                  <c:v>8.1999999999999993</c:v>
                </c:pt>
                <c:pt idx="628">
                  <c:v>11</c:v>
                </c:pt>
                <c:pt idx="629">
                  <c:v>9</c:v>
                </c:pt>
                <c:pt idx="630">
                  <c:v>4.4000000000000004</c:v>
                </c:pt>
                <c:pt idx="631">
                  <c:v>4.5999999999999996</c:v>
                </c:pt>
                <c:pt idx="632">
                  <c:v>4.3</c:v>
                </c:pt>
                <c:pt idx="633">
                  <c:v>3.1</c:v>
                </c:pt>
                <c:pt idx="634">
                  <c:v>6.5</c:v>
                </c:pt>
                <c:pt idx="635">
                  <c:v>1</c:v>
                </c:pt>
                <c:pt idx="636">
                  <c:v>8.1</c:v>
                </c:pt>
                <c:pt idx="637">
                  <c:v>8.5</c:v>
                </c:pt>
                <c:pt idx="638">
                  <c:v>3.8</c:v>
                </c:pt>
                <c:pt idx="639">
                  <c:v>8.6999999999999993</c:v>
                </c:pt>
                <c:pt idx="640">
                  <c:v>7.1</c:v>
                </c:pt>
                <c:pt idx="641">
                  <c:v>9</c:v>
                </c:pt>
                <c:pt idx="642">
                  <c:v>5.6</c:v>
                </c:pt>
                <c:pt idx="643">
                  <c:v>10.8</c:v>
                </c:pt>
                <c:pt idx="644">
                  <c:v>8.5</c:v>
                </c:pt>
                <c:pt idx="645">
                  <c:v>5.3</c:v>
                </c:pt>
                <c:pt idx="646">
                  <c:v>3.9</c:v>
                </c:pt>
                <c:pt idx="647">
                  <c:v>7.3</c:v>
                </c:pt>
                <c:pt idx="648">
                  <c:v>5.3</c:v>
                </c:pt>
                <c:pt idx="649">
                  <c:v>6.1</c:v>
                </c:pt>
                <c:pt idx="650">
                  <c:v>7.2</c:v>
                </c:pt>
                <c:pt idx="651">
                  <c:v>13.2</c:v>
                </c:pt>
                <c:pt idx="652">
                  <c:v>6.1</c:v>
                </c:pt>
                <c:pt idx="653">
                  <c:v>8.8000000000000007</c:v>
                </c:pt>
                <c:pt idx="654">
                  <c:v>9.5</c:v>
                </c:pt>
                <c:pt idx="655">
                  <c:v>4</c:v>
                </c:pt>
                <c:pt idx="656">
                  <c:v>6</c:v>
                </c:pt>
                <c:pt idx="657">
                  <c:v>8.8000000000000007</c:v>
                </c:pt>
                <c:pt idx="658">
                  <c:v>5.4</c:v>
                </c:pt>
                <c:pt idx="659">
                  <c:v>4.8</c:v>
                </c:pt>
                <c:pt idx="660">
                  <c:v>7.4</c:v>
                </c:pt>
                <c:pt idx="661">
                  <c:v>5.0999999999999996</c:v>
                </c:pt>
                <c:pt idx="662">
                  <c:v>4.5999999999999996</c:v>
                </c:pt>
                <c:pt idx="663">
                  <c:v>6.8</c:v>
                </c:pt>
                <c:pt idx="664">
                  <c:v>7.8</c:v>
                </c:pt>
                <c:pt idx="665">
                  <c:v>0.9</c:v>
                </c:pt>
                <c:pt idx="666">
                  <c:v>6.8</c:v>
                </c:pt>
                <c:pt idx="667">
                  <c:v>6.4</c:v>
                </c:pt>
                <c:pt idx="668">
                  <c:v>10.1</c:v>
                </c:pt>
                <c:pt idx="669">
                  <c:v>8.6</c:v>
                </c:pt>
                <c:pt idx="670">
                  <c:v>7.6</c:v>
                </c:pt>
                <c:pt idx="671">
                  <c:v>4.9000000000000004</c:v>
                </c:pt>
                <c:pt idx="672">
                  <c:v>5</c:v>
                </c:pt>
                <c:pt idx="673">
                  <c:v>3.6</c:v>
                </c:pt>
                <c:pt idx="674">
                  <c:v>9.4</c:v>
                </c:pt>
                <c:pt idx="675">
                  <c:v>3.3</c:v>
                </c:pt>
                <c:pt idx="676">
                  <c:v>4.5</c:v>
                </c:pt>
                <c:pt idx="677">
                  <c:v>5.7</c:v>
                </c:pt>
                <c:pt idx="678">
                  <c:v>7.1</c:v>
                </c:pt>
                <c:pt idx="679">
                  <c:v>9.1999999999999993</c:v>
                </c:pt>
                <c:pt idx="680">
                  <c:v>1.1000000000000001</c:v>
                </c:pt>
                <c:pt idx="681">
                  <c:v>3.3</c:v>
                </c:pt>
                <c:pt idx="682">
                  <c:v>3.8</c:v>
                </c:pt>
                <c:pt idx="683">
                  <c:v>7.9</c:v>
                </c:pt>
                <c:pt idx="684">
                  <c:v>6.1</c:v>
                </c:pt>
                <c:pt idx="685">
                  <c:v>14.7</c:v>
                </c:pt>
                <c:pt idx="686">
                  <c:v>5.4</c:v>
                </c:pt>
                <c:pt idx="687">
                  <c:v>10.199999999999999</c:v>
                </c:pt>
                <c:pt idx="688">
                  <c:v>3.7</c:v>
                </c:pt>
                <c:pt idx="689">
                  <c:v>7.2</c:v>
                </c:pt>
                <c:pt idx="690">
                  <c:v>5.9</c:v>
                </c:pt>
                <c:pt idx="691">
                  <c:v>6.6</c:v>
                </c:pt>
                <c:pt idx="692">
                  <c:v>5.3</c:v>
                </c:pt>
                <c:pt idx="693">
                  <c:v>6.7</c:v>
                </c:pt>
                <c:pt idx="694">
                  <c:v>2</c:v>
                </c:pt>
                <c:pt idx="695">
                  <c:v>9.9</c:v>
                </c:pt>
                <c:pt idx="696">
                  <c:v>11.6</c:v>
                </c:pt>
                <c:pt idx="697">
                  <c:v>5.4</c:v>
                </c:pt>
                <c:pt idx="698">
                  <c:v>6.2</c:v>
                </c:pt>
                <c:pt idx="699">
                  <c:v>6.9</c:v>
                </c:pt>
                <c:pt idx="700">
                  <c:v>10.3</c:v>
                </c:pt>
                <c:pt idx="701">
                  <c:v>0.8</c:v>
                </c:pt>
                <c:pt idx="702">
                  <c:v>0.9</c:v>
                </c:pt>
                <c:pt idx="703">
                  <c:v>6.9</c:v>
                </c:pt>
                <c:pt idx="704">
                  <c:v>6</c:v>
                </c:pt>
                <c:pt idx="705">
                  <c:v>5.9</c:v>
                </c:pt>
                <c:pt idx="706">
                  <c:v>7.6</c:v>
                </c:pt>
                <c:pt idx="707">
                  <c:v>6.3</c:v>
                </c:pt>
                <c:pt idx="708">
                  <c:v>8.8000000000000007</c:v>
                </c:pt>
                <c:pt idx="709">
                  <c:v>4.3</c:v>
                </c:pt>
                <c:pt idx="710">
                  <c:v>8.5</c:v>
                </c:pt>
                <c:pt idx="711">
                  <c:v>7.6</c:v>
                </c:pt>
                <c:pt idx="712">
                  <c:v>4</c:v>
                </c:pt>
                <c:pt idx="713">
                  <c:v>6</c:v>
                </c:pt>
                <c:pt idx="714">
                  <c:v>8</c:v>
                </c:pt>
                <c:pt idx="715">
                  <c:v>8.1999999999999993</c:v>
                </c:pt>
                <c:pt idx="716">
                  <c:v>6.2</c:v>
                </c:pt>
                <c:pt idx="717">
                  <c:v>7.4</c:v>
                </c:pt>
                <c:pt idx="718">
                  <c:v>5.7</c:v>
                </c:pt>
                <c:pt idx="719">
                  <c:v>9.1</c:v>
                </c:pt>
                <c:pt idx="720">
                  <c:v>6.7</c:v>
                </c:pt>
                <c:pt idx="721">
                  <c:v>11.5</c:v>
                </c:pt>
                <c:pt idx="722">
                  <c:v>6.3</c:v>
                </c:pt>
                <c:pt idx="723">
                  <c:v>0.4</c:v>
                </c:pt>
                <c:pt idx="724">
                  <c:v>6.6</c:v>
                </c:pt>
                <c:pt idx="725">
                  <c:v>5</c:v>
                </c:pt>
                <c:pt idx="726">
                  <c:v>8.1999999999999993</c:v>
                </c:pt>
                <c:pt idx="727">
                  <c:v>5.3</c:v>
                </c:pt>
                <c:pt idx="728">
                  <c:v>11.1</c:v>
                </c:pt>
                <c:pt idx="729">
                  <c:v>5.3</c:v>
                </c:pt>
                <c:pt idx="730">
                  <c:v>0.6</c:v>
                </c:pt>
                <c:pt idx="731">
                  <c:v>9.1</c:v>
                </c:pt>
                <c:pt idx="732">
                  <c:v>8.1</c:v>
                </c:pt>
                <c:pt idx="733">
                  <c:v>7.9</c:v>
                </c:pt>
                <c:pt idx="734">
                  <c:v>8.6</c:v>
                </c:pt>
                <c:pt idx="735">
                  <c:v>8.8000000000000007</c:v>
                </c:pt>
                <c:pt idx="736">
                  <c:v>10.7</c:v>
                </c:pt>
                <c:pt idx="737">
                  <c:v>6.6</c:v>
                </c:pt>
                <c:pt idx="738">
                  <c:v>5.5</c:v>
                </c:pt>
                <c:pt idx="739">
                  <c:v>10.8</c:v>
                </c:pt>
                <c:pt idx="740">
                  <c:v>3.1</c:v>
                </c:pt>
                <c:pt idx="741">
                  <c:v>8.1</c:v>
                </c:pt>
                <c:pt idx="742">
                  <c:v>6.3</c:v>
                </c:pt>
                <c:pt idx="743">
                  <c:v>4.4000000000000004</c:v>
                </c:pt>
                <c:pt idx="744">
                  <c:v>7.5</c:v>
                </c:pt>
                <c:pt idx="745">
                  <c:v>11</c:v>
                </c:pt>
                <c:pt idx="746">
                  <c:v>10.9</c:v>
                </c:pt>
                <c:pt idx="747">
                  <c:v>9.1999999999999993</c:v>
                </c:pt>
                <c:pt idx="748">
                  <c:v>2.2999999999999998</c:v>
                </c:pt>
                <c:pt idx="749">
                  <c:v>7.6</c:v>
                </c:pt>
                <c:pt idx="750">
                  <c:v>12.2</c:v>
                </c:pt>
                <c:pt idx="751">
                  <c:v>9.8000000000000007</c:v>
                </c:pt>
                <c:pt idx="752">
                  <c:v>13.8</c:v>
                </c:pt>
                <c:pt idx="753">
                  <c:v>13.1</c:v>
                </c:pt>
                <c:pt idx="754">
                  <c:v>10.7</c:v>
                </c:pt>
                <c:pt idx="755">
                  <c:v>10</c:v>
                </c:pt>
                <c:pt idx="756">
                  <c:v>10</c:v>
                </c:pt>
                <c:pt idx="757">
                  <c:v>9.8000000000000007</c:v>
                </c:pt>
                <c:pt idx="758">
                  <c:v>9.5</c:v>
                </c:pt>
                <c:pt idx="759">
                  <c:v>9.1</c:v>
                </c:pt>
                <c:pt idx="760">
                  <c:v>8.8000000000000007</c:v>
                </c:pt>
                <c:pt idx="761">
                  <c:v>8</c:v>
                </c:pt>
                <c:pt idx="762">
                  <c:v>7.5</c:v>
                </c:pt>
                <c:pt idx="763">
                  <c:v>7.3</c:v>
                </c:pt>
                <c:pt idx="764">
                  <c:v>7</c:v>
                </c:pt>
                <c:pt idx="765">
                  <c:v>6.1</c:v>
                </c:pt>
                <c:pt idx="766">
                  <c:v>4.5</c:v>
                </c:pt>
                <c:pt idx="767">
                  <c:v>2</c:v>
                </c:pt>
                <c:pt idx="768">
                  <c:v>2</c:v>
                </c:pt>
                <c:pt idx="769">
                  <c:v>1.6</c:v>
                </c:pt>
                <c:pt idx="770">
                  <c:v>1.3</c:v>
                </c:pt>
                <c:pt idx="771">
                  <c:v>1</c:v>
                </c:pt>
                <c:pt idx="772">
                  <c:v>0.6</c:v>
                </c:pt>
                <c:pt idx="773">
                  <c:v>0.1</c:v>
                </c:pt>
                <c:pt idx="774">
                  <c:v>5.9</c:v>
                </c:pt>
                <c:pt idx="775">
                  <c:v>9.1999999999999993</c:v>
                </c:pt>
                <c:pt idx="776">
                  <c:v>8.1999999999999993</c:v>
                </c:pt>
                <c:pt idx="777">
                  <c:v>4.5999999999999996</c:v>
                </c:pt>
                <c:pt idx="778">
                  <c:v>10.7</c:v>
                </c:pt>
                <c:pt idx="779">
                  <c:v>7.1</c:v>
                </c:pt>
                <c:pt idx="780">
                  <c:v>6.9</c:v>
                </c:pt>
                <c:pt idx="781">
                  <c:v>5.3</c:v>
                </c:pt>
                <c:pt idx="782">
                  <c:v>7.2</c:v>
                </c:pt>
                <c:pt idx="783">
                  <c:v>8.1999999999999993</c:v>
                </c:pt>
                <c:pt idx="784">
                  <c:v>9.5</c:v>
                </c:pt>
                <c:pt idx="785">
                  <c:v>3.7</c:v>
                </c:pt>
                <c:pt idx="786">
                  <c:v>6.1</c:v>
                </c:pt>
                <c:pt idx="787">
                  <c:v>7</c:v>
                </c:pt>
                <c:pt idx="788">
                  <c:v>10.4</c:v>
                </c:pt>
                <c:pt idx="789">
                  <c:v>6.4</c:v>
                </c:pt>
                <c:pt idx="790">
                  <c:v>4.2</c:v>
                </c:pt>
                <c:pt idx="791">
                  <c:v>11.7</c:v>
                </c:pt>
                <c:pt idx="792">
                  <c:v>8</c:v>
                </c:pt>
                <c:pt idx="793">
                  <c:v>5.2</c:v>
                </c:pt>
                <c:pt idx="794">
                  <c:v>5.9</c:v>
                </c:pt>
                <c:pt idx="795">
                  <c:v>8.5</c:v>
                </c:pt>
                <c:pt idx="796">
                  <c:v>7.7</c:v>
                </c:pt>
                <c:pt idx="797">
                  <c:v>5.5</c:v>
                </c:pt>
                <c:pt idx="798">
                  <c:v>0.7</c:v>
                </c:pt>
                <c:pt idx="799">
                  <c:v>9.5</c:v>
                </c:pt>
                <c:pt idx="800">
                  <c:v>8.6</c:v>
                </c:pt>
                <c:pt idx="801">
                  <c:v>13.7</c:v>
                </c:pt>
                <c:pt idx="802">
                  <c:v>8.4</c:v>
                </c:pt>
                <c:pt idx="803">
                  <c:v>0</c:v>
                </c:pt>
                <c:pt idx="804">
                  <c:v>8.8000000000000007</c:v>
                </c:pt>
                <c:pt idx="805">
                  <c:v>5.0999999999999996</c:v>
                </c:pt>
                <c:pt idx="806">
                  <c:v>4.7</c:v>
                </c:pt>
                <c:pt idx="807">
                  <c:v>9.1</c:v>
                </c:pt>
                <c:pt idx="808">
                  <c:v>4.4000000000000004</c:v>
                </c:pt>
                <c:pt idx="809">
                  <c:v>3.9</c:v>
                </c:pt>
                <c:pt idx="810">
                  <c:v>1.9</c:v>
                </c:pt>
                <c:pt idx="811">
                  <c:v>4.7</c:v>
                </c:pt>
                <c:pt idx="812">
                  <c:v>7.3</c:v>
                </c:pt>
                <c:pt idx="813">
                  <c:v>7.5</c:v>
                </c:pt>
                <c:pt idx="814">
                  <c:v>3.2</c:v>
                </c:pt>
                <c:pt idx="815">
                  <c:v>6.3</c:v>
                </c:pt>
                <c:pt idx="816">
                  <c:v>7.1</c:v>
                </c:pt>
                <c:pt idx="817">
                  <c:v>6.9</c:v>
                </c:pt>
                <c:pt idx="818">
                  <c:v>6.1</c:v>
                </c:pt>
                <c:pt idx="819">
                  <c:v>6.6</c:v>
                </c:pt>
                <c:pt idx="820">
                  <c:v>7.5</c:v>
                </c:pt>
                <c:pt idx="821">
                  <c:v>5.4</c:v>
                </c:pt>
                <c:pt idx="822">
                  <c:v>11.3</c:v>
                </c:pt>
                <c:pt idx="823">
                  <c:v>1</c:v>
                </c:pt>
                <c:pt idx="824">
                  <c:v>4.2</c:v>
                </c:pt>
                <c:pt idx="825">
                  <c:v>8.1999999999999993</c:v>
                </c:pt>
                <c:pt idx="826">
                  <c:v>3.3</c:v>
                </c:pt>
                <c:pt idx="827">
                  <c:v>9.6999999999999993</c:v>
                </c:pt>
                <c:pt idx="828">
                  <c:v>8.1</c:v>
                </c:pt>
                <c:pt idx="829">
                  <c:v>6.7</c:v>
                </c:pt>
                <c:pt idx="830">
                  <c:v>3.2</c:v>
                </c:pt>
                <c:pt idx="831">
                  <c:v>11.9</c:v>
                </c:pt>
                <c:pt idx="832">
                  <c:v>3.1</c:v>
                </c:pt>
                <c:pt idx="833">
                  <c:v>9.5</c:v>
                </c:pt>
                <c:pt idx="834">
                  <c:v>8</c:v>
                </c:pt>
                <c:pt idx="835">
                  <c:v>4.8</c:v>
                </c:pt>
                <c:pt idx="836">
                  <c:v>2.5</c:v>
                </c:pt>
                <c:pt idx="837">
                  <c:v>8.4</c:v>
                </c:pt>
                <c:pt idx="838">
                  <c:v>5.6</c:v>
                </c:pt>
                <c:pt idx="839">
                  <c:v>1</c:v>
                </c:pt>
                <c:pt idx="840">
                  <c:v>8.5</c:v>
                </c:pt>
                <c:pt idx="841">
                  <c:v>0</c:v>
                </c:pt>
                <c:pt idx="842">
                  <c:v>6.4</c:v>
                </c:pt>
                <c:pt idx="843">
                  <c:v>11.6</c:v>
                </c:pt>
                <c:pt idx="844">
                  <c:v>10.5</c:v>
                </c:pt>
                <c:pt idx="845">
                  <c:v>1.5</c:v>
                </c:pt>
                <c:pt idx="846">
                  <c:v>2.2999999999999998</c:v>
                </c:pt>
                <c:pt idx="847">
                  <c:v>7.6</c:v>
                </c:pt>
                <c:pt idx="848">
                  <c:v>7.7</c:v>
                </c:pt>
                <c:pt idx="849">
                  <c:v>11.9</c:v>
                </c:pt>
                <c:pt idx="850">
                  <c:v>7</c:v>
                </c:pt>
                <c:pt idx="851">
                  <c:v>3</c:v>
                </c:pt>
                <c:pt idx="852">
                  <c:v>4.3</c:v>
                </c:pt>
                <c:pt idx="853">
                  <c:v>4.7</c:v>
                </c:pt>
                <c:pt idx="854">
                  <c:v>3.4</c:v>
                </c:pt>
                <c:pt idx="855">
                  <c:v>3.5</c:v>
                </c:pt>
                <c:pt idx="856">
                  <c:v>2.2999999999999998</c:v>
                </c:pt>
                <c:pt idx="857">
                  <c:v>6.6</c:v>
                </c:pt>
                <c:pt idx="858">
                  <c:v>6.6</c:v>
                </c:pt>
                <c:pt idx="859">
                  <c:v>6.1</c:v>
                </c:pt>
                <c:pt idx="860">
                  <c:v>6.7</c:v>
                </c:pt>
                <c:pt idx="861">
                  <c:v>7.5</c:v>
                </c:pt>
                <c:pt idx="862">
                  <c:v>10</c:v>
                </c:pt>
                <c:pt idx="863">
                  <c:v>6.4</c:v>
                </c:pt>
                <c:pt idx="864">
                  <c:v>5</c:v>
                </c:pt>
                <c:pt idx="865">
                  <c:v>12.6</c:v>
                </c:pt>
                <c:pt idx="866">
                  <c:v>7.6</c:v>
                </c:pt>
                <c:pt idx="867">
                  <c:v>5.6</c:v>
                </c:pt>
                <c:pt idx="868">
                  <c:v>5.6</c:v>
                </c:pt>
                <c:pt idx="869">
                  <c:v>2.1</c:v>
                </c:pt>
                <c:pt idx="870">
                  <c:v>6.6</c:v>
                </c:pt>
                <c:pt idx="871">
                  <c:v>4.2</c:v>
                </c:pt>
                <c:pt idx="872">
                  <c:v>5.8</c:v>
                </c:pt>
                <c:pt idx="873">
                  <c:v>7.2</c:v>
                </c:pt>
                <c:pt idx="874">
                  <c:v>6.3</c:v>
                </c:pt>
                <c:pt idx="875">
                  <c:v>0.6</c:v>
                </c:pt>
                <c:pt idx="876">
                  <c:v>7.1</c:v>
                </c:pt>
                <c:pt idx="877">
                  <c:v>8</c:v>
                </c:pt>
                <c:pt idx="878">
                  <c:v>9.9</c:v>
                </c:pt>
                <c:pt idx="879">
                  <c:v>6.1</c:v>
                </c:pt>
                <c:pt idx="880">
                  <c:v>10.199999999999999</c:v>
                </c:pt>
                <c:pt idx="881">
                  <c:v>8.6</c:v>
                </c:pt>
                <c:pt idx="882">
                  <c:v>10.9</c:v>
                </c:pt>
                <c:pt idx="883">
                  <c:v>7.3</c:v>
                </c:pt>
                <c:pt idx="884">
                  <c:v>5.0999999999999996</c:v>
                </c:pt>
                <c:pt idx="885">
                  <c:v>5</c:v>
                </c:pt>
                <c:pt idx="886">
                  <c:v>9.3000000000000007</c:v>
                </c:pt>
                <c:pt idx="887">
                  <c:v>10.4</c:v>
                </c:pt>
                <c:pt idx="888">
                  <c:v>7.7</c:v>
                </c:pt>
                <c:pt idx="889">
                  <c:v>7.7</c:v>
                </c:pt>
                <c:pt idx="890">
                  <c:v>7.5</c:v>
                </c:pt>
                <c:pt idx="891">
                  <c:v>3.6</c:v>
                </c:pt>
                <c:pt idx="892">
                  <c:v>5.2</c:v>
                </c:pt>
                <c:pt idx="893">
                  <c:v>9.6999999999999993</c:v>
                </c:pt>
                <c:pt idx="894">
                  <c:v>7.7</c:v>
                </c:pt>
                <c:pt idx="895">
                  <c:v>6.4</c:v>
                </c:pt>
                <c:pt idx="896">
                  <c:v>9.1999999999999993</c:v>
                </c:pt>
                <c:pt idx="897">
                  <c:v>10.9</c:v>
                </c:pt>
                <c:pt idx="898">
                  <c:v>10.5</c:v>
                </c:pt>
                <c:pt idx="899">
                  <c:v>9</c:v>
                </c:pt>
                <c:pt idx="900">
                  <c:v>9.3000000000000007</c:v>
                </c:pt>
                <c:pt idx="901">
                  <c:v>5.5</c:v>
                </c:pt>
                <c:pt idx="902">
                  <c:v>4.8</c:v>
                </c:pt>
                <c:pt idx="903">
                  <c:v>7.8</c:v>
                </c:pt>
                <c:pt idx="904">
                  <c:v>7</c:v>
                </c:pt>
                <c:pt idx="905">
                  <c:v>7.7</c:v>
                </c:pt>
                <c:pt idx="906">
                  <c:v>9</c:v>
                </c:pt>
                <c:pt idx="907">
                  <c:v>7.3</c:v>
                </c:pt>
                <c:pt idx="908">
                  <c:v>6.7</c:v>
                </c:pt>
                <c:pt idx="909">
                  <c:v>17.2</c:v>
                </c:pt>
                <c:pt idx="910">
                  <c:v>6.8</c:v>
                </c:pt>
                <c:pt idx="911">
                  <c:v>4.2</c:v>
                </c:pt>
                <c:pt idx="912">
                  <c:v>0</c:v>
                </c:pt>
                <c:pt idx="913">
                  <c:v>6.9</c:v>
                </c:pt>
                <c:pt idx="914">
                  <c:v>6</c:v>
                </c:pt>
                <c:pt idx="915">
                  <c:v>4.8</c:v>
                </c:pt>
                <c:pt idx="916">
                  <c:v>9.9</c:v>
                </c:pt>
                <c:pt idx="917">
                  <c:v>9.3000000000000007</c:v>
                </c:pt>
                <c:pt idx="918">
                  <c:v>4.5999999999999996</c:v>
                </c:pt>
                <c:pt idx="919">
                  <c:v>2.9</c:v>
                </c:pt>
                <c:pt idx="920">
                  <c:v>6.3</c:v>
                </c:pt>
                <c:pt idx="921">
                  <c:v>8.9</c:v>
                </c:pt>
                <c:pt idx="922">
                  <c:v>6.1</c:v>
                </c:pt>
                <c:pt idx="923">
                  <c:v>5.9</c:v>
                </c:pt>
                <c:pt idx="924">
                  <c:v>6.9</c:v>
                </c:pt>
                <c:pt idx="925">
                  <c:v>8.1999999999999993</c:v>
                </c:pt>
                <c:pt idx="926">
                  <c:v>5.9</c:v>
                </c:pt>
                <c:pt idx="927">
                  <c:v>7.3</c:v>
                </c:pt>
                <c:pt idx="928">
                  <c:v>5</c:v>
                </c:pt>
                <c:pt idx="929">
                  <c:v>6.8</c:v>
                </c:pt>
                <c:pt idx="930">
                  <c:v>9.1</c:v>
                </c:pt>
                <c:pt idx="931">
                  <c:v>6.3</c:v>
                </c:pt>
                <c:pt idx="932">
                  <c:v>7.9</c:v>
                </c:pt>
                <c:pt idx="933">
                  <c:v>7.1</c:v>
                </c:pt>
                <c:pt idx="934">
                  <c:v>4.9000000000000004</c:v>
                </c:pt>
                <c:pt idx="935">
                  <c:v>5.7</c:v>
                </c:pt>
                <c:pt idx="936">
                  <c:v>6.9</c:v>
                </c:pt>
                <c:pt idx="937">
                  <c:v>6.7</c:v>
                </c:pt>
                <c:pt idx="938">
                  <c:v>6</c:v>
                </c:pt>
                <c:pt idx="939">
                  <c:v>6.2</c:v>
                </c:pt>
                <c:pt idx="940">
                  <c:v>6.6</c:v>
                </c:pt>
                <c:pt idx="941">
                  <c:v>3.6</c:v>
                </c:pt>
                <c:pt idx="942">
                  <c:v>6.4</c:v>
                </c:pt>
                <c:pt idx="943">
                  <c:v>6.5</c:v>
                </c:pt>
                <c:pt idx="944">
                  <c:v>7.6</c:v>
                </c:pt>
                <c:pt idx="945">
                  <c:v>4.5999999999999996</c:v>
                </c:pt>
                <c:pt idx="946">
                  <c:v>5.7</c:v>
                </c:pt>
                <c:pt idx="947">
                  <c:v>12.5</c:v>
                </c:pt>
                <c:pt idx="948">
                  <c:v>9.1</c:v>
                </c:pt>
                <c:pt idx="949">
                  <c:v>5</c:v>
                </c:pt>
                <c:pt idx="950">
                  <c:v>6.1</c:v>
                </c:pt>
                <c:pt idx="951">
                  <c:v>10.4</c:v>
                </c:pt>
                <c:pt idx="952">
                  <c:v>7.5</c:v>
                </c:pt>
                <c:pt idx="953">
                  <c:v>4.7</c:v>
                </c:pt>
                <c:pt idx="954">
                  <c:v>4.9000000000000004</c:v>
                </c:pt>
                <c:pt idx="955">
                  <c:v>4.8</c:v>
                </c:pt>
                <c:pt idx="956">
                  <c:v>0.7</c:v>
                </c:pt>
                <c:pt idx="957">
                  <c:v>5</c:v>
                </c:pt>
                <c:pt idx="958">
                  <c:v>8.5</c:v>
                </c:pt>
                <c:pt idx="959">
                  <c:v>11.6</c:v>
                </c:pt>
                <c:pt idx="960">
                  <c:v>5.7</c:v>
                </c:pt>
                <c:pt idx="961">
                  <c:v>3.9</c:v>
                </c:pt>
                <c:pt idx="962">
                  <c:v>6.1</c:v>
                </c:pt>
                <c:pt idx="963">
                  <c:v>6.6</c:v>
                </c:pt>
                <c:pt idx="964">
                  <c:v>4.2</c:v>
                </c:pt>
                <c:pt idx="965">
                  <c:v>7.5</c:v>
                </c:pt>
                <c:pt idx="966">
                  <c:v>6.5</c:v>
                </c:pt>
                <c:pt idx="967">
                  <c:v>6</c:v>
                </c:pt>
                <c:pt idx="968">
                  <c:v>6</c:v>
                </c:pt>
                <c:pt idx="969">
                  <c:v>12.8</c:v>
                </c:pt>
                <c:pt idx="970">
                  <c:v>9.1999999999999993</c:v>
                </c:pt>
                <c:pt idx="971">
                  <c:v>7</c:v>
                </c:pt>
                <c:pt idx="972">
                  <c:v>11.7</c:v>
                </c:pt>
                <c:pt idx="973">
                  <c:v>8.5</c:v>
                </c:pt>
                <c:pt idx="974">
                  <c:v>9.3000000000000007</c:v>
                </c:pt>
                <c:pt idx="975">
                  <c:v>4.9000000000000004</c:v>
                </c:pt>
                <c:pt idx="976">
                  <c:v>5.5</c:v>
                </c:pt>
                <c:pt idx="977">
                  <c:v>4.0999999999999996</c:v>
                </c:pt>
                <c:pt idx="978">
                  <c:v>10</c:v>
                </c:pt>
                <c:pt idx="979">
                  <c:v>7.6</c:v>
                </c:pt>
                <c:pt idx="980">
                  <c:v>9.6</c:v>
                </c:pt>
                <c:pt idx="981">
                  <c:v>8.8000000000000007</c:v>
                </c:pt>
                <c:pt idx="982">
                  <c:v>8.6</c:v>
                </c:pt>
                <c:pt idx="983">
                  <c:v>9.9</c:v>
                </c:pt>
                <c:pt idx="984">
                  <c:v>5.8</c:v>
                </c:pt>
                <c:pt idx="985">
                  <c:v>7.9</c:v>
                </c:pt>
                <c:pt idx="986">
                  <c:v>11.7</c:v>
                </c:pt>
                <c:pt idx="987">
                  <c:v>6.6</c:v>
                </c:pt>
                <c:pt idx="988">
                  <c:v>11.5</c:v>
                </c:pt>
                <c:pt idx="989">
                  <c:v>8.9</c:v>
                </c:pt>
                <c:pt idx="990">
                  <c:v>7</c:v>
                </c:pt>
                <c:pt idx="991">
                  <c:v>7.4</c:v>
                </c:pt>
                <c:pt idx="992">
                  <c:v>6.8</c:v>
                </c:pt>
                <c:pt idx="993">
                  <c:v>6.5</c:v>
                </c:pt>
                <c:pt idx="994">
                  <c:v>10.5</c:v>
                </c:pt>
                <c:pt idx="995">
                  <c:v>6.6</c:v>
                </c:pt>
                <c:pt idx="996">
                  <c:v>12</c:v>
                </c:pt>
                <c:pt idx="997">
                  <c:v>5.3</c:v>
                </c:pt>
                <c:pt idx="998">
                  <c:v>12.8</c:v>
                </c:pt>
                <c:pt idx="999">
                  <c:v>4.4000000000000004</c:v>
                </c:pt>
                <c:pt idx="1000">
                  <c:v>0</c:v>
                </c:pt>
                <c:pt idx="1001">
                  <c:v>7.4</c:v>
                </c:pt>
                <c:pt idx="1002">
                  <c:v>4.3</c:v>
                </c:pt>
                <c:pt idx="1003">
                  <c:v>4.7</c:v>
                </c:pt>
                <c:pt idx="1004">
                  <c:v>7.4</c:v>
                </c:pt>
                <c:pt idx="1005">
                  <c:v>11.4</c:v>
                </c:pt>
                <c:pt idx="1006">
                  <c:v>6.1</c:v>
                </c:pt>
                <c:pt idx="1007">
                  <c:v>13.6</c:v>
                </c:pt>
                <c:pt idx="1008">
                  <c:v>6.2</c:v>
                </c:pt>
                <c:pt idx="1009">
                  <c:v>6.5</c:v>
                </c:pt>
                <c:pt idx="1010">
                  <c:v>3.6</c:v>
                </c:pt>
                <c:pt idx="1011">
                  <c:v>8.5</c:v>
                </c:pt>
                <c:pt idx="1012">
                  <c:v>6</c:v>
                </c:pt>
                <c:pt idx="1013">
                  <c:v>8</c:v>
                </c:pt>
                <c:pt idx="1014">
                  <c:v>3.4</c:v>
                </c:pt>
                <c:pt idx="1015">
                  <c:v>3.6</c:v>
                </c:pt>
                <c:pt idx="1016">
                  <c:v>10.5</c:v>
                </c:pt>
                <c:pt idx="1017">
                  <c:v>5.3</c:v>
                </c:pt>
                <c:pt idx="1018">
                  <c:v>11.5</c:v>
                </c:pt>
                <c:pt idx="1019">
                  <c:v>6.3</c:v>
                </c:pt>
                <c:pt idx="1020">
                  <c:v>7.7</c:v>
                </c:pt>
                <c:pt idx="1021">
                  <c:v>6.8</c:v>
                </c:pt>
                <c:pt idx="1022">
                  <c:v>6.6</c:v>
                </c:pt>
                <c:pt idx="1023">
                  <c:v>8.6</c:v>
                </c:pt>
                <c:pt idx="1024">
                  <c:v>11.8</c:v>
                </c:pt>
                <c:pt idx="1025">
                  <c:v>10.3</c:v>
                </c:pt>
                <c:pt idx="1026">
                  <c:v>7</c:v>
                </c:pt>
                <c:pt idx="1027">
                  <c:v>6.3</c:v>
                </c:pt>
                <c:pt idx="1028">
                  <c:v>8.1</c:v>
                </c:pt>
                <c:pt idx="1029">
                  <c:v>5.7</c:v>
                </c:pt>
                <c:pt idx="1030">
                  <c:v>4.5</c:v>
                </c:pt>
                <c:pt idx="1031">
                  <c:v>5.6</c:v>
                </c:pt>
                <c:pt idx="1032">
                  <c:v>4.9000000000000004</c:v>
                </c:pt>
                <c:pt idx="1033">
                  <c:v>7.7</c:v>
                </c:pt>
                <c:pt idx="1034">
                  <c:v>0.2</c:v>
                </c:pt>
                <c:pt idx="1035">
                  <c:v>0.7</c:v>
                </c:pt>
                <c:pt idx="1036">
                  <c:v>7.5</c:v>
                </c:pt>
                <c:pt idx="1037">
                  <c:v>7.2</c:v>
                </c:pt>
                <c:pt idx="1038">
                  <c:v>7.2</c:v>
                </c:pt>
                <c:pt idx="1039">
                  <c:v>4.8</c:v>
                </c:pt>
                <c:pt idx="1040">
                  <c:v>6.7</c:v>
                </c:pt>
                <c:pt idx="1041">
                  <c:v>7.3</c:v>
                </c:pt>
                <c:pt idx="1042">
                  <c:v>6.8</c:v>
                </c:pt>
                <c:pt idx="1043">
                  <c:v>8</c:v>
                </c:pt>
                <c:pt idx="1044">
                  <c:v>11</c:v>
                </c:pt>
                <c:pt idx="1045">
                  <c:v>9.4</c:v>
                </c:pt>
                <c:pt idx="1046">
                  <c:v>8.5</c:v>
                </c:pt>
                <c:pt idx="1047">
                  <c:v>1.3</c:v>
                </c:pt>
                <c:pt idx="1048">
                  <c:v>5.5</c:v>
                </c:pt>
                <c:pt idx="1049">
                  <c:v>2.2000000000000002</c:v>
                </c:pt>
                <c:pt idx="1050">
                  <c:v>5.6</c:v>
                </c:pt>
                <c:pt idx="1051">
                  <c:v>14.6</c:v>
                </c:pt>
                <c:pt idx="1052">
                  <c:v>1.7</c:v>
                </c:pt>
                <c:pt idx="1053">
                  <c:v>7.7</c:v>
                </c:pt>
                <c:pt idx="1054">
                  <c:v>6</c:v>
                </c:pt>
                <c:pt idx="1055">
                  <c:v>9.9</c:v>
                </c:pt>
                <c:pt idx="1056">
                  <c:v>5.7</c:v>
                </c:pt>
                <c:pt idx="1057">
                  <c:v>5.3</c:v>
                </c:pt>
                <c:pt idx="1058">
                  <c:v>9</c:v>
                </c:pt>
                <c:pt idx="1059">
                  <c:v>5.9</c:v>
                </c:pt>
                <c:pt idx="1060">
                  <c:v>9.3000000000000007</c:v>
                </c:pt>
                <c:pt idx="1061">
                  <c:v>4</c:v>
                </c:pt>
                <c:pt idx="1062">
                  <c:v>8.6</c:v>
                </c:pt>
                <c:pt idx="1063">
                  <c:v>8.9</c:v>
                </c:pt>
                <c:pt idx="1064">
                  <c:v>5.0999999999999996</c:v>
                </c:pt>
                <c:pt idx="1065">
                  <c:v>8.5</c:v>
                </c:pt>
                <c:pt idx="1066">
                  <c:v>6.4</c:v>
                </c:pt>
                <c:pt idx="1067">
                  <c:v>8.5</c:v>
                </c:pt>
                <c:pt idx="1068">
                  <c:v>7.3</c:v>
                </c:pt>
                <c:pt idx="1069">
                  <c:v>4</c:v>
                </c:pt>
                <c:pt idx="1070">
                  <c:v>5.3</c:v>
                </c:pt>
                <c:pt idx="1071">
                  <c:v>3.5</c:v>
                </c:pt>
                <c:pt idx="1072">
                  <c:v>9.6999999999999993</c:v>
                </c:pt>
                <c:pt idx="1073">
                  <c:v>7.6</c:v>
                </c:pt>
                <c:pt idx="1074">
                  <c:v>6.4</c:v>
                </c:pt>
                <c:pt idx="1075">
                  <c:v>0.1</c:v>
                </c:pt>
                <c:pt idx="1076">
                  <c:v>9.8000000000000007</c:v>
                </c:pt>
                <c:pt idx="1077">
                  <c:v>3.3</c:v>
                </c:pt>
                <c:pt idx="1078">
                  <c:v>7.7</c:v>
                </c:pt>
                <c:pt idx="1079">
                  <c:v>2.9</c:v>
                </c:pt>
                <c:pt idx="1080">
                  <c:v>0.3</c:v>
                </c:pt>
                <c:pt idx="1081">
                  <c:v>10</c:v>
                </c:pt>
                <c:pt idx="1082">
                  <c:v>10.4</c:v>
                </c:pt>
                <c:pt idx="1083">
                  <c:v>4.9000000000000004</c:v>
                </c:pt>
                <c:pt idx="1084">
                  <c:v>5.0999999999999996</c:v>
                </c:pt>
                <c:pt idx="1085">
                  <c:v>6.6</c:v>
                </c:pt>
                <c:pt idx="1086">
                  <c:v>0</c:v>
                </c:pt>
                <c:pt idx="1087">
                  <c:v>8.9</c:v>
                </c:pt>
                <c:pt idx="1088">
                  <c:v>5.5</c:v>
                </c:pt>
                <c:pt idx="1089">
                  <c:v>8.6</c:v>
                </c:pt>
                <c:pt idx="1090">
                  <c:v>14.1</c:v>
                </c:pt>
                <c:pt idx="1091">
                  <c:v>7.6</c:v>
                </c:pt>
                <c:pt idx="1092">
                  <c:v>8</c:v>
                </c:pt>
                <c:pt idx="1093">
                  <c:v>5.0999999999999996</c:v>
                </c:pt>
                <c:pt idx="1094">
                  <c:v>4.2</c:v>
                </c:pt>
                <c:pt idx="1095">
                  <c:v>6.5</c:v>
                </c:pt>
                <c:pt idx="1096">
                  <c:v>8.4</c:v>
                </c:pt>
                <c:pt idx="1097">
                  <c:v>5.0999999999999996</c:v>
                </c:pt>
                <c:pt idx="1098">
                  <c:v>5.5</c:v>
                </c:pt>
                <c:pt idx="1099">
                  <c:v>9.3000000000000007</c:v>
                </c:pt>
                <c:pt idx="1100">
                  <c:v>6.5</c:v>
                </c:pt>
                <c:pt idx="1101">
                  <c:v>5.0999999999999996</c:v>
                </c:pt>
                <c:pt idx="1102">
                  <c:v>7.5</c:v>
                </c:pt>
                <c:pt idx="1103">
                  <c:v>5.7</c:v>
                </c:pt>
                <c:pt idx="1104">
                  <c:v>11.3</c:v>
                </c:pt>
                <c:pt idx="1105">
                  <c:v>10</c:v>
                </c:pt>
                <c:pt idx="1106">
                  <c:v>6.3</c:v>
                </c:pt>
                <c:pt idx="1107">
                  <c:v>5</c:v>
                </c:pt>
                <c:pt idx="1108">
                  <c:v>3.2</c:v>
                </c:pt>
                <c:pt idx="1109">
                  <c:v>1.9</c:v>
                </c:pt>
                <c:pt idx="1110">
                  <c:v>7.3</c:v>
                </c:pt>
                <c:pt idx="1111">
                  <c:v>3.6</c:v>
                </c:pt>
                <c:pt idx="1112">
                  <c:v>3.9</c:v>
                </c:pt>
                <c:pt idx="1113">
                  <c:v>4.8</c:v>
                </c:pt>
                <c:pt idx="1114">
                  <c:v>3.6</c:v>
                </c:pt>
                <c:pt idx="1115">
                  <c:v>4.9000000000000004</c:v>
                </c:pt>
                <c:pt idx="1116">
                  <c:v>9.1999999999999993</c:v>
                </c:pt>
                <c:pt idx="1117">
                  <c:v>3.9</c:v>
                </c:pt>
                <c:pt idx="1118">
                  <c:v>4.3</c:v>
                </c:pt>
                <c:pt idx="1119">
                  <c:v>8.1999999999999993</c:v>
                </c:pt>
                <c:pt idx="1120">
                  <c:v>11.8</c:v>
                </c:pt>
                <c:pt idx="1121">
                  <c:v>13.2</c:v>
                </c:pt>
                <c:pt idx="1122">
                  <c:v>5.8</c:v>
                </c:pt>
                <c:pt idx="1123">
                  <c:v>6.1</c:v>
                </c:pt>
                <c:pt idx="1124">
                  <c:v>5</c:v>
                </c:pt>
                <c:pt idx="1125">
                  <c:v>10.4</c:v>
                </c:pt>
                <c:pt idx="1126">
                  <c:v>9</c:v>
                </c:pt>
                <c:pt idx="1127">
                  <c:v>6.2</c:v>
                </c:pt>
                <c:pt idx="1128">
                  <c:v>5.4</c:v>
                </c:pt>
                <c:pt idx="1129">
                  <c:v>3.9</c:v>
                </c:pt>
                <c:pt idx="1130">
                  <c:v>7.5</c:v>
                </c:pt>
                <c:pt idx="1131">
                  <c:v>5.3</c:v>
                </c:pt>
                <c:pt idx="1132">
                  <c:v>7.4</c:v>
                </c:pt>
                <c:pt idx="1133">
                  <c:v>4.5</c:v>
                </c:pt>
                <c:pt idx="1134">
                  <c:v>9.8000000000000007</c:v>
                </c:pt>
                <c:pt idx="1135">
                  <c:v>12.5</c:v>
                </c:pt>
                <c:pt idx="1136">
                  <c:v>14</c:v>
                </c:pt>
                <c:pt idx="1137">
                  <c:v>5.9</c:v>
                </c:pt>
                <c:pt idx="1138">
                  <c:v>6</c:v>
                </c:pt>
                <c:pt idx="1139">
                  <c:v>5.9</c:v>
                </c:pt>
                <c:pt idx="1140">
                  <c:v>10</c:v>
                </c:pt>
                <c:pt idx="1141">
                  <c:v>4.3</c:v>
                </c:pt>
                <c:pt idx="1142">
                  <c:v>6.6</c:v>
                </c:pt>
                <c:pt idx="1143">
                  <c:v>5.0999999999999996</c:v>
                </c:pt>
                <c:pt idx="1144">
                  <c:v>4.2</c:v>
                </c:pt>
                <c:pt idx="1145">
                  <c:v>5.7</c:v>
                </c:pt>
                <c:pt idx="1146">
                  <c:v>6.8</c:v>
                </c:pt>
                <c:pt idx="1147">
                  <c:v>8.5</c:v>
                </c:pt>
                <c:pt idx="1148">
                  <c:v>8.4</c:v>
                </c:pt>
                <c:pt idx="1149">
                  <c:v>4.4000000000000004</c:v>
                </c:pt>
                <c:pt idx="1150">
                  <c:v>4</c:v>
                </c:pt>
                <c:pt idx="1151">
                  <c:v>4.9000000000000004</c:v>
                </c:pt>
                <c:pt idx="1152">
                  <c:v>7.5</c:v>
                </c:pt>
                <c:pt idx="1153">
                  <c:v>5</c:v>
                </c:pt>
                <c:pt idx="1154">
                  <c:v>8.6</c:v>
                </c:pt>
                <c:pt idx="1155">
                  <c:v>8.6</c:v>
                </c:pt>
                <c:pt idx="1156">
                  <c:v>6.9</c:v>
                </c:pt>
                <c:pt idx="1157">
                  <c:v>3.4</c:v>
                </c:pt>
                <c:pt idx="1158">
                  <c:v>6.2</c:v>
                </c:pt>
                <c:pt idx="1159">
                  <c:v>7.2</c:v>
                </c:pt>
                <c:pt idx="1160">
                  <c:v>11</c:v>
                </c:pt>
                <c:pt idx="1161">
                  <c:v>9.1</c:v>
                </c:pt>
                <c:pt idx="1162">
                  <c:v>7.1</c:v>
                </c:pt>
                <c:pt idx="1163">
                  <c:v>6.4</c:v>
                </c:pt>
                <c:pt idx="1164">
                  <c:v>13.4</c:v>
                </c:pt>
                <c:pt idx="1165">
                  <c:v>5.0999999999999996</c:v>
                </c:pt>
                <c:pt idx="1166">
                  <c:v>7.2</c:v>
                </c:pt>
                <c:pt idx="1167">
                  <c:v>8.6</c:v>
                </c:pt>
                <c:pt idx="1168">
                  <c:v>5.4</c:v>
                </c:pt>
                <c:pt idx="1169">
                  <c:v>7.2</c:v>
                </c:pt>
                <c:pt idx="1170">
                  <c:v>1</c:v>
                </c:pt>
                <c:pt idx="1171">
                  <c:v>6.7</c:v>
                </c:pt>
                <c:pt idx="1172">
                  <c:v>7.3</c:v>
                </c:pt>
                <c:pt idx="1173">
                  <c:v>5.8</c:v>
                </c:pt>
                <c:pt idx="1174">
                  <c:v>3.7</c:v>
                </c:pt>
                <c:pt idx="1175">
                  <c:v>7.5</c:v>
                </c:pt>
                <c:pt idx="1176">
                  <c:v>6.3</c:v>
                </c:pt>
                <c:pt idx="1177">
                  <c:v>6.6</c:v>
                </c:pt>
                <c:pt idx="1178">
                  <c:v>9.3000000000000007</c:v>
                </c:pt>
                <c:pt idx="1179">
                  <c:v>3.9</c:v>
                </c:pt>
                <c:pt idx="1180">
                  <c:v>3.5</c:v>
                </c:pt>
                <c:pt idx="1181">
                  <c:v>6.4</c:v>
                </c:pt>
                <c:pt idx="1182">
                  <c:v>9.1999999999999993</c:v>
                </c:pt>
                <c:pt idx="1183">
                  <c:v>10.7</c:v>
                </c:pt>
                <c:pt idx="1184">
                  <c:v>7.1</c:v>
                </c:pt>
                <c:pt idx="1185">
                  <c:v>6.6</c:v>
                </c:pt>
                <c:pt idx="1186">
                  <c:v>7.6</c:v>
                </c:pt>
                <c:pt idx="1187">
                  <c:v>4.0999999999999996</c:v>
                </c:pt>
                <c:pt idx="1188">
                  <c:v>5.4</c:v>
                </c:pt>
                <c:pt idx="1189">
                  <c:v>5.7</c:v>
                </c:pt>
                <c:pt idx="1190">
                  <c:v>11.8</c:v>
                </c:pt>
                <c:pt idx="1191">
                  <c:v>8.9</c:v>
                </c:pt>
                <c:pt idx="1192">
                  <c:v>6.7</c:v>
                </c:pt>
                <c:pt idx="1193">
                  <c:v>7.3</c:v>
                </c:pt>
                <c:pt idx="1194">
                  <c:v>6.6</c:v>
                </c:pt>
                <c:pt idx="1195">
                  <c:v>10.8</c:v>
                </c:pt>
                <c:pt idx="1196">
                  <c:v>5.6</c:v>
                </c:pt>
                <c:pt idx="1197">
                  <c:v>9</c:v>
                </c:pt>
                <c:pt idx="1198">
                  <c:v>6</c:v>
                </c:pt>
                <c:pt idx="1199">
                  <c:v>3</c:v>
                </c:pt>
                <c:pt idx="1200">
                  <c:v>10.9</c:v>
                </c:pt>
                <c:pt idx="1201">
                  <c:v>1.9</c:v>
                </c:pt>
                <c:pt idx="1202">
                  <c:v>10</c:v>
                </c:pt>
                <c:pt idx="1203">
                  <c:v>8.1999999999999993</c:v>
                </c:pt>
                <c:pt idx="1204">
                  <c:v>0</c:v>
                </c:pt>
                <c:pt idx="1205">
                  <c:v>10.7</c:v>
                </c:pt>
                <c:pt idx="1206">
                  <c:v>10.7</c:v>
                </c:pt>
                <c:pt idx="1207">
                  <c:v>8.8000000000000007</c:v>
                </c:pt>
                <c:pt idx="1208">
                  <c:v>10.199999999999999</c:v>
                </c:pt>
                <c:pt idx="1209">
                  <c:v>10.5</c:v>
                </c:pt>
                <c:pt idx="1210">
                  <c:v>3.4</c:v>
                </c:pt>
                <c:pt idx="1211">
                  <c:v>1.3</c:v>
                </c:pt>
                <c:pt idx="1212">
                  <c:v>8.3000000000000007</c:v>
                </c:pt>
                <c:pt idx="1213">
                  <c:v>0.5</c:v>
                </c:pt>
                <c:pt idx="1214">
                  <c:v>8.6999999999999993</c:v>
                </c:pt>
                <c:pt idx="1215">
                  <c:v>6.5</c:v>
                </c:pt>
                <c:pt idx="1216">
                  <c:v>7.3</c:v>
                </c:pt>
                <c:pt idx="1217">
                  <c:v>6.6</c:v>
                </c:pt>
                <c:pt idx="1218">
                  <c:v>6.5</c:v>
                </c:pt>
                <c:pt idx="1219">
                  <c:v>5.4</c:v>
                </c:pt>
                <c:pt idx="1220">
                  <c:v>9.6999999999999993</c:v>
                </c:pt>
                <c:pt idx="1221">
                  <c:v>5.3</c:v>
                </c:pt>
                <c:pt idx="1222">
                  <c:v>9.5</c:v>
                </c:pt>
                <c:pt idx="1223">
                  <c:v>8.1</c:v>
                </c:pt>
                <c:pt idx="1224">
                  <c:v>5.0999999999999996</c:v>
                </c:pt>
                <c:pt idx="1225">
                  <c:v>10</c:v>
                </c:pt>
                <c:pt idx="1226">
                  <c:v>3.3</c:v>
                </c:pt>
                <c:pt idx="1227">
                  <c:v>7.8</c:v>
                </c:pt>
                <c:pt idx="1228">
                  <c:v>11.4</c:v>
                </c:pt>
                <c:pt idx="1229">
                  <c:v>5.4</c:v>
                </c:pt>
                <c:pt idx="1230">
                  <c:v>10.8</c:v>
                </c:pt>
                <c:pt idx="1231">
                  <c:v>2.2000000000000002</c:v>
                </c:pt>
                <c:pt idx="1232">
                  <c:v>4.3</c:v>
                </c:pt>
                <c:pt idx="1233">
                  <c:v>6.5</c:v>
                </c:pt>
                <c:pt idx="1234">
                  <c:v>3.9</c:v>
                </c:pt>
                <c:pt idx="1235">
                  <c:v>4</c:v>
                </c:pt>
                <c:pt idx="1236">
                  <c:v>5</c:v>
                </c:pt>
                <c:pt idx="1237">
                  <c:v>4.0999999999999996</c:v>
                </c:pt>
                <c:pt idx="1238">
                  <c:v>7.8</c:v>
                </c:pt>
                <c:pt idx="1239">
                  <c:v>4.9000000000000004</c:v>
                </c:pt>
                <c:pt idx="1240">
                  <c:v>3.5</c:v>
                </c:pt>
                <c:pt idx="1241">
                  <c:v>7</c:v>
                </c:pt>
                <c:pt idx="1242">
                  <c:v>6.9</c:v>
                </c:pt>
                <c:pt idx="1243">
                  <c:v>11</c:v>
                </c:pt>
                <c:pt idx="1244">
                  <c:v>10</c:v>
                </c:pt>
                <c:pt idx="1245">
                  <c:v>5</c:v>
                </c:pt>
                <c:pt idx="1246">
                  <c:v>7.7</c:v>
                </c:pt>
                <c:pt idx="1247">
                  <c:v>9.9</c:v>
                </c:pt>
                <c:pt idx="1248">
                  <c:v>11.7</c:v>
                </c:pt>
                <c:pt idx="1249">
                  <c:v>5.3</c:v>
                </c:pt>
                <c:pt idx="1250">
                  <c:v>5.0999999999999996</c:v>
                </c:pt>
                <c:pt idx="1251">
                  <c:v>3.8</c:v>
                </c:pt>
                <c:pt idx="1252">
                  <c:v>5.2</c:v>
                </c:pt>
                <c:pt idx="1253">
                  <c:v>3.6</c:v>
                </c:pt>
                <c:pt idx="1254">
                  <c:v>3.7</c:v>
                </c:pt>
                <c:pt idx="1255">
                  <c:v>6.7</c:v>
                </c:pt>
                <c:pt idx="1256">
                  <c:v>6.2</c:v>
                </c:pt>
                <c:pt idx="1257">
                  <c:v>9.1999999999999993</c:v>
                </c:pt>
                <c:pt idx="1258">
                  <c:v>4</c:v>
                </c:pt>
                <c:pt idx="1259">
                  <c:v>8.4</c:v>
                </c:pt>
                <c:pt idx="1260">
                  <c:v>3.2</c:v>
                </c:pt>
                <c:pt idx="1261">
                  <c:v>5.6</c:v>
                </c:pt>
                <c:pt idx="1262">
                  <c:v>3.3</c:v>
                </c:pt>
                <c:pt idx="1263">
                  <c:v>5.2</c:v>
                </c:pt>
                <c:pt idx="1264">
                  <c:v>4.2</c:v>
                </c:pt>
                <c:pt idx="1265">
                  <c:v>0.9</c:v>
                </c:pt>
                <c:pt idx="1266">
                  <c:v>4.5999999999999996</c:v>
                </c:pt>
                <c:pt idx="1267">
                  <c:v>10.4</c:v>
                </c:pt>
                <c:pt idx="1268">
                  <c:v>9.5</c:v>
                </c:pt>
                <c:pt idx="1269">
                  <c:v>6.5</c:v>
                </c:pt>
                <c:pt idx="1270">
                  <c:v>8.5</c:v>
                </c:pt>
                <c:pt idx="1271">
                  <c:v>11</c:v>
                </c:pt>
                <c:pt idx="1272">
                  <c:v>6.2</c:v>
                </c:pt>
                <c:pt idx="1273">
                  <c:v>7.4</c:v>
                </c:pt>
                <c:pt idx="1274">
                  <c:v>0.3</c:v>
                </c:pt>
                <c:pt idx="1275">
                  <c:v>0.2</c:v>
                </c:pt>
                <c:pt idx="1276">
                  <c:v>3.6</c:v>
                </c:pt>
                <c:pt idx="1277">
                  <c:v>8.5</c:v>
                </c:pt>
                <c:pt idx="1278">
                  <c:v>11.5</c:v>
                </c:pt>
                <c:pt idx="1279">
                  <c:v>6.1</c:v>
                </c:pt>
                <c:pt idx="1280">
                  <c:v>3.5</c:v>
                </c:pt>
                <c:pt idx="1281">
                  <c:v>13</c:v>
                </c:pt>
                <c:pt idx="1282">
                  <c:v>3.8</c:v>
                </c:pt>
                <c:pt idx="1283">
                  <c:v>6.6</c:v>
                </c:pt>
                <c:pt idx="1284">
                  <c:v>8.1999999999999993</c:v>
                </c:pt>
                <c:pt idx="1285">
                  <c:v>5.8</c:v>
                </c:pt>
                <c:pt idx="1286">
                  <c:v>9.1</c:v>
                </c:pt>
                <c:pt idx="1287">
                  <c:v>9.8000000000000007</c:v>
                </c:pt>
                <c:pt idx="1288">
                  <c:v>7.6</c:v>
                </c:pt>
                <c:pt idx="1289">
                  <c:v>5.3</c:v>
                </c:pt>
                <c:pt idx="1290">
                  <c:v>8.5</c:v>
                </c:pt>
                <c:pt idx="1291">
                  <c:v>6.9</c:v>
                </c:pt>
                <c:pt idx="1292">
                  <c:v>3.6</c:v>
                </c:pt>
                <c:pt idx="1293">
                  <c:v>4</c:v>
                </c:pt>
                <c:pt idx="1294">
                  <c:v>4.5999999999999996</c:v>
                </c:pt>
                <c:pt idx="1295">
                  <c:v>6.5</c:v>
                </c:pt>
                <c:pt idx="1296">
                  <c:v>13.4</c:v>
                </c:pt>
                <c:pt idx="1297">
                  <c:v>5.4</c:v>
                </c:pt>
                <c:pt idx="1298">
                  <c:v>9.4</c:v>
                </c:pt>
                <c:pt idx="1299">
                  <c:v>8.6</c:v>
                </c:pt>
                <c:pt idx="1300">
                  <c:v>4.9000000000000004</c:v>
                </c:pt>
                <c:pt idx="1301">
                  <c:v>10.3</c:v>
                </c:pt>
                <c:pt idx="1302">
                  <c:v>6.8</c:v>
                </c:pt>
                <c:pt idx="1303">
                  <c:v>7.7</c:v>
                </c:pt>
                <c:pt idx="1304">
                  <c:v>8.9</c:v>
                </c:pt>
                <c:pt idx="1305">
                  <c:v>9.4</c:v>
                </c:pt>
                <c:pt idx="1306">
                  <c:v>6</c:v>
                </c:pt>
                <c:pt idx="1307">
                  <c:v>7.5</c:v>
                </c:pt>
                <c:pt idx="1308">
                  <c:v>5</c:v>
                </c:pt>
                <c:pt idx="1309">
                  <c:v>0.6</c:v>
                </c:pt>
                <c:pt idx="1310">
                  <c:v>3.9</c:v>
                </c:pt>
                <c:pt idx="1311">
                  <c:v>5</c:v>
                </c:pt>
                <c:pt idx="1312">
                  <c:v>3.2</c:v>
                </c:pt>
                <c:pt idx="1313">
                  <c:v>11.7</c:v>
                </c:pt>
                <c:pt idx="1314">
                  <c:v>7.9</c:v>
                </c:pt>
                <c:pt idx="1315">
                  <c:v>7.3</c:v>
                </c:pt>
                <c:pt idx="1316">
                  <c:v>4.5</c:v>
                </c:pt>
                <c:pt idx="1317">
                  <c:v>4.5</c:v>
                </c:pt>
                <c:pt idx="1318">
                  <c:v>4.0999999999999996</c:v>
                </c:pt>
                <c:pt idx="1319">
                  <c:v>3.8</c:v>
                </c:pt>
                <c:pt idx="1320">
                  <c:v>2.2999999999999998</c:v>
                </c:pt>
                <c:pt idx="1321">
                  <c:v>0.8</c:v>
                </c:pt>
                <c:pt idx="1322">
                  <c:v>4.4000000000000004</c:v>
                </c:pt>
                <c:pt idx="1323">
                  <c:v>6.4</c:v>
                </c:pt>
                <c:pt idx="1324">
                  <c:v>3.8</c:v>
                </c:pt>
                <c:pt idx="1325">
                  <c:v>9.1</c:v>
                </c:pt>
                <c:pt idx="1326">
                  <c:v>7.4</c:v>
                </c:pt>
                <c:pt idx="1327">
                  <c:v>3.7</c:v>
                </c:pt>
                <c:pt idx="1328">
                  <c:v>6.4</c:v>
                </c:pt>
                <c:pt idx="1329">
                  <c:v>5.2</c:v>
                </c:pt>
                <c:pt idx="1330">
                  <c:v>6.7</c:v>
                </c:pt>
                <c:pt idx="1331">
                  <c:v>9.6999999999999993</c:v>
                </c:pt>
                <c:pt idx="1332">
                  <c:v>5.8</c:v>
                </c:pt>
                <c:pt idx="1333">
                  <c:v>8</c:v>
                </c:pt>
                <c:pt idx="1334">
                  <c:v>8</c:v>
                </c:pt>
                <c:pt idx="1335">
                  <c:v>16.2</c:v>
                </c:pt>
                <c:pt idx="1336">
                  <c:v>4.5999999999999996</c:v>
                </c:pt>
                <c:pt idx="1337">
                  <c:v>9.1</c:v>
                </c:pt>
                <c:pt idx="1338">
                  <c:v>5.9</c:v>
                </c:pt>
                <c:pt idx="1339">
                  <c:v>8.3000000000000007</c:v>
                </c:pt>
                <c:pt idx="1340">
                  <c:v>8.1</c:v>
                </c:pt>
                <c:pt idx="1341">
                  <c:v>9.4</c:v>
                </c:pt>
                <c:pt idx="1342">
                  <c:v>7.6</c:v>
                </c:pt>
                <c:pt idx="1343">
                  <c:v>7</c:v>
                </c:pt>
                <c:pt idx="1344">
                  <c:v>2.1</c:v>
                </c:pt>
                <c:pt idx="1345">
                  <c:v>11.7</c:v>
                </c:pt>
                <c:pt idx="1346">
                  <c:v>8.4</c:v>
                </c:pt>
                <c:pt idx="1347">
                  <c:v>5.4</c:v>
                </c:pt>
                <c:pt idx="1348">
                  <c:v>9</c:v>
                </c:pt>
                <c:pt idx="1349">
                  <c:v>8.1999999999999993</c:v>
                </c:pt>
                <c:pt idx="1350">
                  <c:v>0.6</c:v>
                </c:pt>
                <c:pt idx="1351">
                  <c:v>9</c:v>
                </c:pt>
                <c:pt idx="1352">
                  <c:v>6.2</c:v>
                </c:pt>
                <c:pt idx="1353">
                  <c:v>4.2</c:v>
                </c:pt>
                <c:pt idx="1354">
                  <c:v>8.6999999999999993</c:v>
                </c:pt>
                <c:pt idx="1355">
                  <c:v>6.9</c:v>
                </c:pt>
                <c:pt idx="1356">
                  <c:v>6.2</c:v>
                </c:pt>
                <c:pt idx="1357">
                  <c:v>6.2</c:v>
                </c:pt>
                <c:pt idx="1358">
                  <c:v>10.1</c:v>
                </c:pt>
                <c:pt idx="1359">
                  <c:v>10.199999999999999</c:v>
                </c:pt>
                <c:pt idx="1360">
                  <c:v>2.9</c:v>
                </c:pt>
                <c:pt idx="1361">
                  <c:v>6.3</c:v>
                </c:pt>
                <c:pt idx="1362">
                  <c:v>6.6</c:v>
                </c:pt>
                <c:pt idx="1363">
                  <c:v>7.7</c:v>
                </c:pt>
                <c:pt idx="1364">
                  <c:v>1</c:v>
                </c:pt>
                <c:pt idx="1365">
                  <c:v>5.8</c:v>
                </c:pt>
                <c:pt idx="1366">
                  <c:v>8</c:v>
                </c:pt>
                <c:pt idx="1367">
                  <c:v>7.4</c:v>
                </c:pt>
                <c:pt idx="1368">
                  <c:v>7.9</c:v>
                </c:pt>
                <c:pt idx="1369">
                  <c:v>5.0999999999999996</c:v>
                </c:pt>
                <c:pt idx="1370">
                  <c:v>0.9</c:v>
                </c:pt>
                <c:pt idx="1371">
                  <c:v>5.7</c:v>
                </c:pt>
                <c:pt idx="1372">
                  <c:v>4.5</c:v>
                </c:pt>
                <c:pt idx="1373">
                  <c:v>7.5</c:v>
                </c:pt>
                <c:pt idx="1374">
                  <c:v>7.3</c:v>
                </c:pt>
                <c:pt idx="1375">
                  <c:v>7</c:v>
                </c:pt>
                <c:pt idx="1376">
                  <c:v>8.4</c:v>
                </c:pt>
                <c:pt idx="1377">
                  <c:v>7.6</c:v>
                </c:pt>
                <c:pt idx="1378">
                  <c:v>6.6</c:v>
                </c:pt>
                <c:pt idx="1379">
                  <c:v>9.3000000000000007</c:v>
                </c:pt>
                <c:pt idx="1380">
                  <c:v>11.6</c:v>
                </c:pt>
                <c:pt idx="1381">
                  <c:v>4.7</c:v>
                </c:pt>
                <c:pt idx="1382">
                  <c:v>2.6</c:v>
                </c:pt>
                <c:pt idx="1383">
                  <c:v>8.3000000000000007</c:v>
                </c:pt>
                <c:pt idx="1384">
                  <c:v>15.7</c:v>
                </c:pt>
                <c:pt idx="1385">
                  <c:v>7</c:v>
                </c:pt>
                <c:pt idx="1386">
                  <c:v>9.3000000000000007</c:v>
                </c:pt>
                <c:pt idx="1387">
                  <c:v>11.8</c:v>
                </c:pt>
                <c:pt idx="1388">
                  <c:v>6.5</c:v>
                </c:pt>
                <c:pt idx="1389">
                  <c:v>9.5</c:v>
                </c:pt>
                <c:pt idx="1390">
                  <c:v>5.2</c:v>
                </c:pt>
                <c:pt idx="1391">
                  <c:v>8.3000000000000007</c:v>
                </c:pt>
                <c:pt idx="1392">
                  <c:v>12.4</c:v>
                </c:pt>
                <c:pt idx="1393">
                  <c:v>11.6</c:v>
                </c:pt>
                <c:pt idx="1394">
                  <c:v>6.5</c:v>
                </c:pt>
                <c:pt idx="1395">
                  <c:v>4.3</c:v>
                </c:pt>
                <c:pt idx="1396">
                  <c:v>13.3</c:v>
                </c:pt>
                <c:pt idx="1397">
                  <c:v>10.3</c:v>
                </c:pt>
                <c:pt idx="1398">
                  <c:v>8.1</c:v>
                </c:pt>
                <c:pt idx="1399">
                  <c:v>6</c:v>
                </c:pt>
                <c:pt idx="1400">
                  <c:v>6.2</c:v>
                </c:pt>
                <c:pt idx="1401">
                  <c:v>11.1</c:v>
                </c:pt>
                <c:pt idx="1402">
                  <c:v>7.9</c:v>
                </c:pt>
                <c:pt idx="1403">
                  <c:v>4.9000000000000004</c:v>
                </c:pt>
                <c:pt idx="1404">
                  <c:v>6.4</c:v>
                </c:pt>
                <c:pt idx="1405">
                  <c:v>10.4</c:v>
                </c:pt>
                <c:pt idx="1406">
                  <c:v>9.4</c:v>
                </c:pt>
                <c:pt idx="1407">
                  <c:v>10.5</c:v>
                </c:pt>
                <c:pt idx="1408">
                  <c:v>7.7</c:v>
                </c:pt>
                <c:pt idx="1409">
                  <c:v>4.9000000000000004</c:v>
                </c:pt>
                <c:pt idx="1410">
                  <c:v>3.5</c:v>
                </c:pt>
                <c:pt idx="1411">
                  <c:v>5.2</c:v>
                </c:pt>
                <c:pt idx="1412">
                  <c:v>5.4</c:v>
                </c:pt>
                <c:pt idx="1413">
                  <c:v>5</c:v>
                </c:pt>
                <c:pt idx="1414">
                  <c:v>6.7</c:v>
                </c:pt>
                <c:pt idx="1415">
                  <c:v>6.2</c:v>
                </c:pt>
                <c:pt idx="1416">
                  <c:v>12.1</c:v>
                </c:pt>
                <c:pt idx="1417">
                  <c:v>7.8</c:v>
                </c:pt>
                <c:pt idx="1418">
                  <c:v>3.6</c:v>
                </c:pt>
                <c:pt idx="1419">
                  <c:v>2.9</c:v>
                </c:pt>
                <c:pt idx="1420">
                  <c:v>10.1</c:v>
                </c:pt>
                <c:pt idx="1421">
                  <c:v>10.1</c:v>
                </c:pt>
                <c:pt idx="1422">
                  <c:v>8</c:v>
                </c:pt>
                <c:pt idx="1423">
                  <c:v>6.2</c:v>
                </c:pt>
                <c:pt idx="1424">
                  <c:v>4</c:v>
                </c:pt>
                <c:pt idx="1425">
                  <c:v>9.1</c:v>
                </c:pt>
                <c:pt idx="1426">
                  <c:v>4.9000000000000004</c:v>
                </c:pt>
                <c:pt idx="1427">
                  <c:v>3.9</c:v>
                </c:pt>
                <c:pt idx="1428">
                  <c:v>5.0999999999999996</c:v>
                </c:pt>
                <c:pt idx="1429">
                  <c:v>9.8000000000000007</c:v>
                </c:pt>
                <c:pt idx="1430">
                  <c:v>7</c:v>
                </c:pt>
                <c:pt idx="1431">
                  <c:v>4.9000000000000004</c:v>
                </c:pt>
                <c:pt idx="1432">
                  <c:v>5.2</c:v>
                </c:pt>
                <c:pt idx="1433">
                  <c:v>3.9</c:v>
                </c:pt>
                <c:pt idx="1434">
                  <c:v>9.1</c:v>
                </c:pt>
                <c:pt idx="1435">
                  <c:v>5.9</c:v>
                </c:pt>
                <c:pt idx="1436">
                  <c:v>4</c:v>
                </c:pt>
                <c:pt idx="1437">
                  <c:v>0</c:v>
                </c:pt>
                <c:pt idx="1438">
                  <c:v>7.2</c:v>
                </c:pt>
                <c:pt idx="1439">
                  <c:v>10</c:v>
                </c:pt>
                <c:pt idx="1440">
                  <c:v>4.9000000000000004</c:v>
                </c:pt>
                <c:pt idx="1441">
                  <c:v>8.6</c:v>
                </c:pt>
                <c:pt idx="1442">
                  <c:v>9.8000000000000007</c:v>
                </c:pt>
                <c:pt idx="1443">
                  <c:v>8.4</c:v>
                </c:pt>
                <c:pt idx="1444">
                  <c:v>6.4</c:v>
                </c:pt>
                <c:pt idx="1445">
                  <c:v>5.9</c:v>
                </c:pt>
                <c:pt idx="1446">
                  <c:v>9.1999999999999993</c:v>
                </c:pt>
                <c:pt idx="1447">
                  <c:v>6.5</c:v>
                </c:pt>
                <c:pt idx="1448">
                  <c:v>4.9000000000000004</c:v>
                </c:pt>
                <c:pt idx="1449">
                  <c:v>6.1</c:v>
                </c:pt>
                <c:pt idx="1450">
                  <c:v>11.2</c:v>
                </c:pt>
                <c:pt idx="1451">
                  <c:v>6.9</c:v>
                </c:pt>
                <c:pt idx="1452">
                  <c:v>6</c:v>
                </c:pt>
                <c:pt idx="1453">
                  <c:v>4.8</c:v>
                </c:pt>
                <c:pt idx="1454">
                  <c:v>7.5</c:v>
                </c:pt>
                <c:pt idx="1455">
                  <c:v>5.0999999999999996</c:v>
                </c:pt>
                <c:pt idx="1456">
                  <c:v>8.4</c:v>
                </c:pt>
                <c:pt idx="1457">
                  <c:v>6.5</c:v>
                </c:pt>
                <c:pt idx="1458">
                  <c:v>6.8</c:v>
                </c:pt>
                <c:pt idx="1459">
                  <c:v>10.4</c:v>
                </c:pt>
                <c:pt idx="1460">
                  <c:v>3.4</c:v>
                </c:pt>
                <c:pt idx="1461">
                  <c:v>2.2000000000000002</c:v>
                </c:pt>
                <c:pt idx="1462">
                  <c:v>5.7</c:v>
                </c:pt>
                <c:pt idx="1463">
                  <c:v>5.9</c:v>
                </c:pt>
                <c:pt idx="1464">
                  <c:v>6</c:v>
                </c:pt>
                <c:pt idx="1465">
                  <c:v>6.4</c:v>
                </c:pt>
                <c:pt idx="1466">
                  <c:v>5.7</c:v>
                </c:pt>
                <c:pt idx="1467">
                  <c:v>1.1000000000000001</c:v>
                </c:pt>
                <c:pt idx="1468">
                  <c:v>6.7</c:v>
                </c:pt>
                <c:pt idx="1469">
                  <c:v>9.9</c:v>
                </c:pt>
                <c:pt idx="1470">
                  <c:v>6.4</c:v>
                </c:pt>
                <c:pt idx="1471">
                  <c:v>8.4</c:v>
                </c:pt>
                <c:pt idx="1472">
                  <c:v>6.4</c:v>
                </c:pt>
                <c:pt idx="1473">
                  <c:v>8.8000000000000007</c:v>
                </c:pt>
                <c:pt idx="1474">
                  <c:v>7.4</c:v>
                </c:pt>
                <c:pt idx="1475">
                  <c:v>0.7</c:v>
                </c:pt>
                <c:pt idx="1476">
                  <c:v>4.8</c:v>
                </c:pt>
                <c:pt idx="1477">
                  <c:v>2.9</c:v>
                </c:pt>
                <c:pt idx="1478">
                  <c:v>13</c:v>
                </c:pt>
                <c:pt idx="1479">
                  <c:v>6.3</c:v>
                </c:pt>
                <c:pt idx="1480">
                  <c:v>4.4000000000000004</c:v>
                </c:pt>
                <c:pt idx="1481">
                  <c:v>6.7</c:v>
                </c:pt>
                <c:pt idx="1482">
                  <c:v>6.7</c:v>
                </c:pt>
                <c:pt idx="1483">
                  <c:v>9.4</c:v>
                </c:pt>
                <c:pt idx="1484">
                  <c:v>1.8</c:v>
                </c:pt>
                <c:pt idx="1485">
                  <c:v>4</c:v>
                </c:pt>
                <c:pt idx="1486">
                  <c:v>5.3</c:v>
                </c:pt>
                <c:pt idx="1487">
                  <c:v>2.2000000000000002</c:v>
                </c:pt>
                <c:pt idx="1488">
                  <c:v>11.6</c:v>
                </c:pt>
                <c:pt idx="1489">
                  <c:v>3.7</c:v>
                </c:pt>
                <c:pt idx="1490">
                  <c:v>5.8</c:v>
                </c:pt>
                <c:pt idx="1491">
                  <c:v>7.2</c:v>
                </c:pt>
                <c:pt idx="1492">
                  <c:v>11.8</c:v>
                </c:pt>
                <c:pt idx="1493">
                  <c:v>7.1</c:v>
                </c:pt>
                <c:pt idx="1494">
                  <c:v>4.0999999999999996</c:v>
                </c:pt>
                <c:pt idx="1495">
                  <c:v>11.1</c:v>
                </c:pt>
                <c:pt idx="1496">
                  <c:v>3.4</c:v>
                </c:pt>
                <c:pt idx="1497">
                  <c:v>6.9</c:v>
                </c:pt>
                <c:pt idx="1498">
                  <c:v>2.4</c:v>
                </c:pt>
                <c:pt idx="1499">
                  <c:v>3</c:v>
                </c:pt>
                <c:pt idx="1500">
                  <c:v>11.4</c:v>
                </c:pt>
                <c:pt idx="1501">
                  <c:v>8.1</c:v>
                </c:pt>
                <c:pt idx="1502">
                  <c:v>5.2</c:v>
                </c:pt>
                <c:pt idx="1503">
                  <c:v>1.4</c:v>
                </c:pt>
                <c:pt idx="1504">
                  <c:v>6.3</c:v>
                </c:pt>
                <c:pt idx="1505">
                  <c:v>8.1</c:v>
                </c:pt>
                <c:pt idx="1506">
                  <c:v>2</c:v>
                </c:pt>
                <c:pt idx="1507">
                  <c:v>7.9</c:v>
                </c:pt>
                <c:pt idx="1508">
                  <c:v>8.3000000000000007</c:v>
                </c:pt>
                <c:pt idx="1509">
                  <c:v>2.5</c:v>
                </c:pt>
                <c:pt idx="1510">
                  <c:v>7</c:v>
                </c:pt>
                <c:pt idx="1511">
                  <c:v>6</c:v>
                </c:pt>
                <c:pt idx="1512">
                  <c:v>5.6</c:v>
                </c:pt>
                <c:pt idx="1513">
                  <c:v>2.2000000000000002</c:v>
                </c:pt>
                <c:pt idx="1514">
                  <c:v>6</c:v>
                </c:pt>
                <c:pt idx="1515">
                  <c:v>6.7</c:v>
                </c:pt>
                <c:pt idx="1516">
                  <c:v>5.0999999999999996</c:v>
                </c:pt>
                <c:pt idx="1517">
                  <c:v>8.1999999999999993</c:v>
                </c:pt>
                <c:pt idx="1518">
                  <c:v>5.7</c:v>
                </c:pt>
                <c:pt idx="1519">
                  <c:v>9</c:v>
                </c:pt>
                <c:pt idx="1520">
                  <c:v>7.7</c:v>
                </c:pt>
                <c:pt idx="1521">
                  <c:v>5.7</c:v>
                </c:pt>
                <c:pt idx="1522">
                  <c:v>5</c:v>
                </c:pt>
                <c:pt idx="1523">
                  <c:v>6.4</c:v>
                </c:pt>
                <c:pt idx="1524">
                  <c:v>3.7</c:v>
                </c:pt>
                <c:pt idx="1525">
                  <c:v>6.3</c:v>
                </c:pt>
                <c:pt idx="1526">
                  <c:v>7.5</c:v>
                </c:pt>
                <c:pt idx="1527">
                  <c:v>0</c:v>
                </c:pt>
                <c:pt idx="1528">
                  <c:v>6</c:v>
                </c:pt>
                <c:pt idx="1529">
                  <c:v>5.4</c:v>
                </c:pt>
                <c:pt idx="1530">
                  <c:v>10.8</c:v>
                </c:pt>
                <c:pt idx="1531">
                  <c:v>7.1</c:v>
                </c:pt>
                <c:pt idx="1532">
                  <c:v>9.1</c:v>
                </c:pt>
                <c:pt idx="1533">
                  <c:v>7</c:v>
                </c:pt>
                <c:pt idx="1534">
                  <c:v>7.7</c:v>
                </c:pt>
                <c:pt idx="1535">
                  <c:v>13.3</c:v>
                </c:pt>
                <c:pt idx="1536">
                  <c:v>10.3</c:v>
                </c:pt>
                <c:pt idx="1537">
                  <c:v>8.4</c:v>
                </c:pt>
                <c:pt idx="1538">
                  <c:v>5.6</c:v>
                </c:pt>
                <c:pt idx="1539">
                  <c:v>5.2</c:v>
                </c:pt>
                <c:pt idx="1540">
                  <c:v>3.6</c:v>
                </c:pt>
                <c:pt idx="1541">
                  <c:v>10.5</c:v>
                </c:pt>
                <c:pt idx="1542">
                  <c:v>7.2</c:v>
                </c:pt>
                <c:pt idx="1543">
                  <c:v>11.1</c:v>
                </c:pt>
                <c:pt idx="1544">
                  <c:v>13.6</c:v>
                </c:pt>
                <c:pt idx="1545">
                  <c:v>10.9</c:v>
                </c:pt>
                <c:pt idx="1546">
                  <c:v>6.9</c:v>
                </c:pt>
                <c:pt idx="1547">
                  <c:v>6.9</c:v>
                </c:pt>
                <c:pt idx="1548">
                  <c:v>4.0999999999999996</c:v>
                </c:pt>
                <c:pt idx="1549">
                  <c:v>7.2</c:v>
                </c:pt>
                <c:pt idx="1550">
                  <c:v>8.6999999999999993</c:v>
                </c:pt>
                <c:pt idx="1551">
                  <c:v>6.4</c:v>
                </c:pt>
                <c:pt idx="1552">
                  <c:v>11</c:v>
                </c:pt>
                <c:pt idx="1553">
                  <c:v>6.3</c:v>
                </c:pt>
                <c:pt idx="1554">
                  <c:v>8</c:v>
                </c:pt>
                <c:pt idx="1555">
                  <c:v>4.5</c:v>
                </c:pt>
                <c:pt idx="1556">
                  <c:v>6.6</c:v>
                </c:pt>
                <c:pt idx="1557">
                  <c:v>8.4</c:v>
                </c:pt>
                <c:pt idx="1558">
                  <c:v>6.3</c:v>
                </c:pt>
                <c:pt idx="1559">
                  <c:v>6.9</c:v>
                </c:pt>
                <c:pt idx="1560">
                  <c:v>4.8</c:v>
                </c:pt>
                <c:pt idx="1561">
                  <c:v>5.2</c:v>
                </c:pt>
                <c:pt idx="1562">
                  <c:v>6.6</c:v>
                </c:pt>
                <c:pt idx="1563">
                  <c:v>9</c:v>
                </c:pt>
                <c:pt idx="1564">
                  <c:v>5</c:v>
                </c:pt>
                <c:pt idx="1565">
                  <c:v>1.3</c:v>
                </c:pt>
                <c:pt idx="1566">
                  <c:v>1.9</c:v>
                </c:pt>
                <c:pt idx="1567">
                  <c:v>3.6</c:v>
                </c:pt>
                <c:pt idx="1568">
                  <c:v>5.4</c:v>
                </c:pt>
                <c:pt idx="1569">
                  <c:v>6.3</c:v>
                </c:pt>
                <c:pt idx="1570">
                  <c:v>4.0999999999999996</c:v>
                </c:pt>
                <c:pt idx="1571">
                  <c:v>3.2</c:v>
                </c:pt>
                <c:pt idx="1572">
                  <c:v>12.9</c:v>
                </c:pt>
                <c:pt idx="1573">
                  <c:v>6.4</c:v>
                </c:pt>
                <c:pt idx="1574">
                  <c:v>8.1999999999999993</c:v>
                </c:pt>
                <c:pt idx="1575">
                  <c:v>7</c:v>
                </c:pt>
                <c:pt idx="1576">
                  <c:v>5.9</c:v>
                </c:pt>
                <c:pt idx="1577">
                  <c:v>7</c:v>
                </c:pt>
                <c:pt idx="1578">
                  <c:v>4.2</c:v>
                </c:pt>
                <c:pt idx="1579">
                  <c:v>7.4</c:v>
                </c:pt>
                <c:pt idx="1580">
                  <c:v>7.4</c:v>
                </c:pt>
                <c:pt idx="1581">
                  <c:v>5.3</c:v>
                </c:pt>
                <c:pt idx="1582">
                  <c:v>4.8</c:v>
                </c:pt>
                <c:pt idx="1583">
                  <c:v>6.2</c:v>
                </c:pt>
                <c:pt idx="1584">
                  <c:v>4</c:v>
                </c:pt>
                <c:pt idx="1585">
                  <c:v>7.2</c:v>
                </c:pt>
                <c:pt idx="1586">
                  <c:v>7.1</c:v>
                </c:pt>
                <c:pt idx="1587">
                  <c:v>4.2</c:v>
                </c:pt>
                <c:pt idx="1588">
                  <c:v>5.9</c:v>
                </c:pt>
                <c:pt idx="1589">
                  <c:v>5.3</c:v>
                </c:pt>
                <c:pt idx="1590">
                  <c:v>6</c:v>
                </c:pt>
                <c:pt idx="1591">
                  <c:v>8</c:v>
                </c:pt>
                <c:pt idx="1592">
                  <c:v>9.3000000000000007</c:v>
                </c:pt>
                <c:pt idx="1593">
                  <c:v>8.1</c:v>
                </c:pt>
                <c:pt idx="1594">
                  <c:v>6</c:v>
                </c:pt>
                <c:pt idx="1595">
                  <c:v>6</c:v>
                </c:pt>
                <c:pt idx="1596">
                  <c:v>4</c:v>
                </c:pt>
                <c:pt idx="1597">
                  <c:v>4.9000000000000004</c:v>
                </c:pt>
                <c:pt idx="1598">
                  <c:v>5.5</c:v>
                </c:pt>
                <c:pt idx="1599">
                  <c:v>7.8</c:v>
                </c:pt>
                <c:pt idx="1600">
                  <c:v>1.6</c:v>
                </c:pt>
                <c:pt idx="1601">
                  <c:v>9.4</c:v>
                </c:pt>
                <c:pt idx="1602">
                  <c:v>9.6</c:v>
                </c:pt>
                <c:pt idx="1603">
                  <c:v>4.9000000000000004</c:v>
                </c:pt>
                <c:pt idx="1604">
                  <c:v>7.1</c:v>
                </c:pt>
                <c:pt idx="1605">
                  <c:v>8.1</c:v>
                </c:pt>
                <c:pt idx="1606">
                  <c:v>0.9</c:v>
                </c:pt>
                <c:pt idx="1607">
                  <c:v>8.1999999999999993</c:v>
                </c:pt>
                <c:pt idx="1608">
                  <c:v>5</c:v>
                </c:pt>
                <c:pt idx="1609">
                  <c:v>6.9</c:v>
                </c:pt>
                <c:pt idx="1610">
                  <c:v>9.1</c:v>
                </c:pt>
                <c:pt idx="1611">
                  <c:v>11.5</c:v>
                </c:pt>
                <c:pt idx="1612">
                  <c:v>4.2</c:v>
                </c:pt>
                <c:pt idx="1613">
                  <c:v>10.6</c:v>
                </c:pt>
                <c:pt idx="1614">
                  <c:v>4.5</c:v>
                </c:pt>
                <c:pt idx="1615">
                  <c:v>6.9</c:v>
                </c:pt>
                <c:pt idx="1616">
                  <c:v>5.4</c:v>
                </c:pt>
                <c:pt idx="1617">
                  <c:v>7.4</c:v>
                </c:pt>
                <c:pt idx="1618">
                  <c:v>6.4</c:v>
                </c:pt>
                <c:pt idx="1619">
                  <c:v>10.199999999999999</c:v>
                </c:pt>
                <c:pt idx="1620">
                  <c:v>11.8</c:v>
                </c:pt>
                <c:pt idx="1621">
                  <c:v>8</c:v>
                </c:pt>
                <c:pt idx="1622">
                  <c:v>9</c:v>
                </c:pt>
                <c:pt idx="1623">
                  <c:v>3</c:v>
                </c:pt>
                <c:pt idx="1624">
                  <c:v>10.5</c:v>
                </c:pt>
                <c:pt idx="1625">
                  <c:v>8.8000000000000007</c:v>
                </c:pt>
                <c:pt idx="1626">
                  <c:v>3.9</c:v>
                </c:pt>
                <c:pt idx="1627">
                  <c:v>1.3</c:v>
                </c:pt>
                <c:pt idx="1628">
                  <c:v>8.5</c:v>
                </c:pt>
                <c:pt idx="1629">
                  <c:v>5.2</c:v>
                </c:pt>
                <c:pt idx="1630">
                  <c:v>3.8</c:v>
                </c:pt>
                <c:pt idx="1631">
                  <c:v>10.3</c:v>
                </c:pt>
                <c:pt idx="1632">
                  <c:v>5.7</c:v>
                </c:pt>
                <c:pt idx="1633">
                  <c:v>9.5</c:v>
                </c:pt>
                <c:pt idx="1634">
                  <c:v>10</c:v>
                </c:pt>
                <c:pt idx="1635">
                  <c:v>6.5</c:v>
                </c:pt>
                <c:pt idx="1636">
                  <c:v>7.2</c:v>
                </c:pt>
                <c:pt idx="1637">
                  <c:v>9.6</c:v>
                </c:pt>
                <c:pt idx="1638">
                  <c:v>7.6</c:v>
                </c:pt>
                <c:pt idx="1639">
                  <c:v>7.4</c:v>
                </c:pt>
                <c:pt idx="1640">
                  <c:v>5.9</c:v>
                </c:pt>
                <c:pt idx="1641">
                  <c:v>1.8</c:v>
                </c:pt>
                <c:pt idx="1642">
                  <c:v>4.4000000000000004</c:v>
                </c:pt>
                <c:pt idx="1643">
                  <c:v>4.5999999999999996</c:v>
                </c:pt>
                <c:pt idx="1644">
                  <c:v>7.2</c:v>
                </c:pt>
                <c:pt idx="1645">
                  <c:v>7.9</c:v>
                </c:pt>
                <c:pt idx="1646">
                  <c:v>11.6</c:v>
                </c:pt>
                <c:pt idx="1647">
                  <c:v>5.7</c:v>
                </c:pt>
                <c:pt idx="1648">
                  <c:v>5.5</c:v>
                </c:pt>
                <c:pt idx="1649">
                  <c:v>5.6</c:v>
                </c:pt>
                <c:pt idx="1650">
                  <c:v>5.6</c:v>
                </c:pt>
                <c:pt idx="1651">
                  <c:v>7</c:v>
                </c:pt>
                <c:pt idx="1652">
                  <c:v>2.2000000000000002</c:v>
                </c:pt>
                <c:pt idx="1653">
                  <c:v>10.199999999999999</c:v>
                </c:pt>
                <c:pt idx="1654">
                  <c:v>5.6</c:v>
                </c:pt>
                <c:pt idx="1655">
                  <c:v>3.7</c:v>
                </c:pt>
                <c:pt idx="1656">
                  <c:v>11</c:v>
                </c:pt>
                <c:pt idx="1657">
                  <c:v>6.7</c:v>
                </c:pt>
                <c:pt idx="1658">
                  <c:v>6.5</c:v>
                </c:pt>
                <c:pt idx="1659">
                  <c:v>9.1999999999999993</c:v>
                </c:pt>
                <c:pt idx="1660">
                  <c:v>12.1</c:v>
                </c:pt>
                <c:pt idx="1661">
                  <c:v>6.4</c:v>
                </c:pt>
                <c:pt idx="1662">
                  <c:v>12.4</c:v>
                </c:pt>
                <c:pt idx="1663">
                  <c:v>3.4</c:v>
                </c:pt>
                <c:pt idx="1664">
                  <c:v>5.9</c:v>
                </c:pt>
                <c:pt idx="1665">
                  <c:v>4.0999999999999996</c:v>
                </c:pt>
                <c:pt idx="1666">
                  <c:v>8</c:v>
                </c:pt>
                <c:pt idx="1667">
                  <c:v>4.3</c:v>
                </c:pt>
                <c:pt idx="1668">
                  <c:v>5.9</c:v>
                </c:pt>
                <c:pt idx="1669">
                  <c:v>3.4</c:v>
                </c:pt>
                <c:pt idx="1670">
                  <c:v>7.3</c:v>
                </c:pt>
                <c:pt idx="1671">
                  <c:v>5</c:v>
                </c:pt>
                <c:pt idx="1672">
                  <c:v>8.1</c:v>
                </c:pt>
                <c:pt idx="1673">
                  <c:v>6.5</c:v>
                </c:pt>
                <c:pt idx="1674">
                  <c:v>10.3</c:v>
                </c:pt>
                <c:pt idx="1675">
                  <c:v>8.5</c:v>
                </c:pt>
                <c:pt idx="1676">
                  <c:v>6.2</c:v>
                </c:pt>
                <c:pt idx="1677">
                  <c:v>3.9</c:v>
                </c:pt>
                <c:pt idx="1678">
                  <c:v>9</c:v>
                </c:pt>
                <c:pt idx="1679">
                  <c:v>6</c:v>
                </c:pt>
                <c:pt idx="1680">
                  <c:v>8.8000000000000007</c:v>
                </c:pt>
                <c:pt idx="1681">
                  <c:v>10.8</c:v>
                </c:pt>
                <c:pt idx="1682">
                  <c:v>11</c:v>
                </c:pt>
                <c:pt idx="1683">
                  <c:v>3.8</c:v>
                </c:pt>
                <c:pt idx="1684">
                  <c:v>2.7</c:v>
                </c:pt>
                <c:pt idx="1685">
                  <c:v>7.4</c:v>
                </c:pt>
                <c:pt idx="1686">
                  <c:v>5.5</c:v>
                </c:pt>
                <c:pt idx="1687">
                  <c:v>9.5</c:v>
                </c:pt>
                <c:pt idx="1688">
                  <c:v>9.9</c:v>
                </c:pt>
                <c:pt idx="1689">
                  <c:v>1.6</c:v>
                </c:pt>
                <c:pt idx="1690">
                  <c:v>5.3</c:v>
                </c:pt>
                <c:pt idx="1691">
                  <c:v>7.2</c:v>
                </c:pt>
                <c:pt idx="1692">
                  <c:v>7.5</c:v>
                </c:pt>
                <c:pt idx="1693">
                  <c:v>4</c:v>
                </c:pt>
                <c:pt idx="1694">
                  <c:v>8</c:v>
                </c:pt>
                <c:pt idx="1695">
                  <c:v>11</c:v>
                </c:pt>
                <c:pt idx="1696">
                  <c:v>6</c:v>
                </c:pt>
                <c:pt idx="1697">
                  <c:v>7.4</c:v>
                </c:pt>
                <c:pt idx="1698">
                  <c:v>8.5</c:v>
                </c:pt>
                <c:pt idx="1699">
                  <c:v>6.8</c:v>
                </c:pt>
                <c:pt idx="1700">
                  <c:v>3.8</c:v>
                </c:pt>
                <c:pt idx="1701">
                  <c:v>6.1</c:v>
                </c:pt>
                <c:pt idx="1702">
                  <c:v>5.0999999999999996</c:v>
                </c:pt>
                <c:pt idx="1703">
                  <c:v>5</c:v>
                </c:pt>
                <c:pt idx="1704">
                  <c:v>4.2</c:v>
                </c:pt>
                <c:pt idx="1705">
                  <c:v>6.3</c:v>
                </c:pt>
                <c:pt idx="1706">
                  <c:v>5.3</c:v>
                </c:pt>
                <c:pt idx="1707">
                  <c:v>11.8</c:v>
                </c:pt>
                <c:pt idx="1708">
                  <c:v>3.4</c:v>
                </c:pt>
                <c:pt idx="1709">
                  <c:v>5.9</c:v>
                </c:pt>
                <c:pt idx="1710">
                  <c:v>11.9</c:v>
                </c:pt>
                <c:pt idx="1711">
                  <c:v>11.4</c:v>
                </c:pt>
                <c:pt idx="1712">
                  <c:v>4.4000000000000004</c:v>
                </c:pt>
                <c:pt idx="1713">
                  <c:v>8.4</c:v>
                </c:pt>
                <c:pt idx="1714">
                  <c:v>4.5</c:v>
                </c:pt>
                <c:pt idx="1715">
                  <c:v>8.3000000000000007</c:v>
                </c:pt>
                <c:pt idx="1716">
                  <c:v>6.6</c:v>
                </c:pt>
                <c:pt idx="1717">
                  <c:v>7.5</c:v>
                </c:pt>
                <c:pt idx="1718">
                  <c:v>4.5</c:v>
                </c:pt>
                <c:pt idx="1719">
                  <c:v>5.6</c:v>
                </c:pt>
                <c:pt idx="1720">
                  <c:v>4.4000000000000004</c:v>
                </c:pt>
                <c:pt idx="1721">
                  <c:v>7</c:v>
                </c:pt>
                <c:pt idx="1722">
                  <c:v>7.1</c:v>
                </c:pt>
                <c:pt idx="1723">
                  <c:v>2.9</c:v>
                </c:pt>
                <c:pt idx="1724">
                  <c:v>5.8</c:v>
                </c:pt>
                <c:pt idx="1725">
                  <c:v>7.3</c:v>
                </c:pt>
                <c:pt idx="1726">
                  <c:v>13.2</c:v>
                </c:pt>
                <c:pt idx="1727">
                  <c:v>7.2</c:v>
                </c:pt>
                <c:pt idx="1728">
                  <c:v>5.5</c:v>
                </c:pt>
                <c:pt idx="1729">
                  <c:v>5.2</c:v>
                </c:pt>
                <c:pt idx="1730">
                  <c:v>5.2</c:v>
                </c:pt>
                <c:pt idx="1731">
                  <c:v>9.8000000000000007</c:v>
                </c:pt>
                <c:pt idx="1732">
                  <c:v>8.9</c:v>
                </c:pt>
                <c:pt idx="1733">
                  <c:v>6.7</c:v>
                </c:pt>
                <c:pt idx="1734">
                  <c:v>5.0999999999999996</c:v>
                </c:pt>
                <c:pt idx="1735">
                  <c:v>4.8</c:v>
                </c:pt>
                <c:pt idx="1736">
                  <c:v>4.2</c:v>
                </c:pt>
                <c:pt idx="1737">
                  <c:v>7.4</c:v>
                </c:pt>
                <c:pt idx="1738">
                  <c:v>6</c:v>
                </c:pt>
                <c:pt idx="1739">
                  <c:v>6.8</c:v>
                </c:pt>
                <c:pt idx="1740">
                  <c:v>5.6</c:v>
                </c:pt>
                <c:pt idx="1741">
                  <c:v>6.7</c:v>
                </c:pt>
                <c:pt idx="1742">
                  <c:v>8</c:v>
                </c:pt>
                <c:pt idx="1743">
                  <c:v>8.4</c:v>
                </c:pt>
                <c:pt idx="1744">
                  <c:v>5.0999999999999996</c:v>
                </c:pt>
                <c:pt idx="1745">
                  <c:v>6.1</c:v>
                </c:pt>
                <c:pt idx="1746">
                  <c:v>4</c:v>
                </c:pt>
                <c:pt idx="1747">
                  <c:v>10.9</c:v>
                </c:pt>
                <c:pt idx="1748">
                  <c:v>7.8</c:v>
                </c:pt>
                <c:pt idx="1749">
                  <c:v>13</c:v>
                </c:pt>
                <c:pt idx="1750">
                  <c:v>7.6</c:v>
                </c:pt>
                <c:pt idx="1751">
                  <c:v>7.3</c:v>
                </c:pt>
                <c:pt idx="1752">
                  <c:v>4.5999999999999996</c:v>
                </c:pt>
                <c:pt idx="1753">
                  <c:v>7.9</c:v>
                </c:pt>
                <c:pt idx="1754">
                  <c:v>7.9</c:v>
                </c:pt>
                <c:pt idx="1755">
                  <c:v>5.4</c:v>
                </c:pt>
                <c:pt idx="1756">
                  <c:v>3.7</c:v>
                </c:pt>
                <c:pt idx="1757">
                  <c:v>10.5</c:v>
                </c:pt>
                <c:pt idx="1758">
                  <c:v>8</c:v>
                </c:pt>
                <c:pt idx="1759">
                  <c:v>6.6</c:v>
                </c:pt>
                <c:pt idx="1760">
                  <c:v>9.1</c:v>
                </c:pt>
                <c:pt idx="1761">
                  <c:v>7.3</c:v>
                </c:pt>
                <c:pt idx="1762">
                  <c:v>3</c:v>
                </c:pt>
                <c:pt idx="1763">
                  <c:v>4.5</c:v>
                </c:pt>
                <c:pt idx="1764">
                  <c:v>9.1999999999999993</c:v>
                </c:pt>
                <c:pt idx="1765">
                  <c:v>6.5</c:v>
                </c:pt>
                <c:pt idx="1766">
                  <c:v>5.8</c:v>
                </c:pt>
                <c:pt idx="1767">
                  <c:v>2.9</c:v>
                </c:pt>
                <c:pt idx="1768">
                  <c:v>7</c:v>
                </c:pt>
                <c:pt idx="1769">
                  <c:v>5.0999999999999996</c:v>
                </c:pt>
                <c:pt idx="1770">
                  <c:v>3</c:v>
                </c:pt>
                <c:pt idx="1771">
                  <c:v>7.9</c:v>
                </c:pt>
                <c:pt idx="1772">
                  <c:v>11.4</c:v>
                </c:pt>
                <c:pt idx="1773">
                  <c:v>5.9</c:v>
                </c:pt>
                <c:pt idx="1774">
                  <c:v>6</c:v>
                </c:pt>
                <c:pt idx="1775">
                  <c:v>8</c:v>
                </c:pt>
                <c:pt idx="1776">
                  <c:v>12</c:v>
                </c:pt>
                <c:pt idx="1777">
                  <c:v>7.6</c:v>
                </c:pt>
                <c:pt idx="1778">
                  <c:v>12.3</c:v>
                </c:pt>
                <c:pt idx="1779">
                  <c:v>10.3</c:v>
                </c:pt>
                <c:pt idx="1780">
                  <c:v>5.4</c:v>
                </c:pt>
                <c:pt idx="1781">
                  <c:v>5.6</c:v>
                </c:pt>
                <c:pt idx="1782">
                  <c:v>1.7</c:v>
                </c:pt>
                <c:pt idx="1783">
                  <c:v>11.4</c:v>
                </c:pt>
                <c:pt idx="1784">
                  <c:v>5.7</c:v>
                </c:pt>
                <c:pt idx="1785">
                  <c:v>9.6</c:v>
                </c:pt>
                <c:pt idx="1786">
                  <c:v>8.5</c:v>
                </c:pt>
                <c:pt idx="1787">
                  <c:v>8.9</c:v>
                </c:pt>
                <c:pt idx="1788">
                  <c:v>8.5</c:v>
                </c:pt>
                <c:pt idx="1789">
                  <c:v>4</c:v>
                </c:pt>
                <c:pt idx="1790">
                  <c:v>7.1</c:v>
                </c:pt>
                <c:pt idx="1791">
                  <c:v>6.2</c:v>
                </c:pt>
                <c:pt idx="1792">
                  <c:v>7.1</c:v>
                </c:pt>
                <c:pt idx="1793">
                  <c:v>9.4</c:v>
                </c:pt>
                <c:pt idx="1794">
                  <c:v>6.3</c:v>
                </c:pt>
                <c:pt idx="1795">
                  <c:v>5.6</c:v>
                </c:pt>
                <c:pt idx="1796">
                  <c:v>5</c:v>
                </c:pt>
                <c:pt idx="1797">
                  <c:v>7.5</c:v>
                </c:pt>
                <c:pt idx="1798">
                  <c:v>9.8000000000000007</c:v>
                </c:pt>
                <c:pt idx="1799">
                  <c:v>7.2</c:v>
                </c:pt>
                <c:pt idx="1800">
                  <c:v>7.7</c:v>
                </c:pt>
                <c:pt idx="1801">
                  <c:v>7.7</c:v>
                </c:pt>
                <c:pt idx="1802">
                  <c:v>10.8</c:v>
                </c:pt>
                <c:pt idx="1803">
                  <c:v>4.9000000000000004</c:v>
                </c:pt>
                <c:pt idx="1804">
                  <c:v>6.2</c:v>
                </c:pt>
                <c:pt idx="1805">
                  <c:v>8.5</c:v>
                </c:pt>
                <c:pt idx="1806">
                  <c:v>9.5</c:v>
                </c:pt>
                <c:pt idx="1807">
                  <c:v>4.2</c:v>
                </c:pt>
                <c:pt idx="1808">
                  <c:v>1.2</c:v>
                </c:pt>
                <c:pt idx="1809">
                  <c:v>6.4</c:v>
                </c:pt>
                <c:pt idx="1810">
                  <c:v>8.5</c:v>
                </c:pt>
                <c:pt idx="1811">
                  <c:v>1.5</c:v>
                </c:pt>
                <c:pt idx="1812">
                  <c:v>13.5</c:v>
                </c:pt>
                <c:pt idx="1813">
                  <c:v>7.1</c:v>
                </c:pt>
                <c:pt idx="1814">
                  <c:v>5</c:v>
                </c:pt>
                <c:pt idx="1815">
                  <c:v>8.5</c:v>
                </c:pt>
                <c:pt idx="1816">
                  <c:v>13.8</c:v>
                </c:pt>
                <c:pt idx="1817">
                  <c:v>9.8000000000000007</c:v>
                </c:pt>
                <c:pt idx="1818">
                  <c:v>7.3</c:v>
                </c:pt>
                <c:pt idx="1819">
                  <c:v>0.8</c:v>
                </c:pt>
                <c:pt idx="1820">
                  <c:v>4.7</c:v>
                </c:pt>
                <c:pt idx="1821">
                  <c:v>3</c:v>
                </c:pt>
                <c:pt idx="1822">
                  <c:v>4.5</c:v>
                </c:pt>
                <c:pt idx="1823">
                  <c:v>6.3</c:v>
                </c:pt>
                <c:pt idx="1824">
                  <c:v>6.4</c:v>
                </c:pt>
                <c:pt idx="1825">
                  <c:v>7.8</c:v>
                </c:pt>
                <c:pt idx="1826">
                  <c:v>8</c:v>
                </c:pt>
                <c:pt idx="1827">
                  <c:v>6.9</c:v>
                </c:pt>
                <c:pt idx="1828">
                  <c:v>6</c:v>
                </c:pt>
                <c:pt idx="1829">
                  <c:v>9.3000000000000007</c:v>
                </c:pt>
                <c:pt idx="1830">
                  <c:v>13.3</c:v>
                </c:pt>
                <c:pt idx="1831">
                  <c:v>4.7</c:v>
                </c:pt>
                <c:pt idx="1832">
                  <c:v>7.2</c:v>
                </c:pt>
                <c:pt idx="1833">
                  <c:v>5.6</c:v>
                </c:pt>
                <c:pt idx="1834">
                  <c:v>6.1</c:v>
                </c:pt>
                <c:pt idx="1835">
                  <c:v>6.2</c:v>
                </c:pt>
                <c:pt idx="1836">
                  <c:v>7.7</c:v>
                </c:pt>
                <c:pt idx="1837">
                  <c:v>9.6999999999999993</c:v>
                </c:pt>
                <c:pt idx="1838">
                  <c:v>11.9</c:v>
                </c:pt>
                <c:pt idx="1839">
                  <c:v>7</c:v>
                </c:pt>
                <c:pt idx="1840">
                  <c:v>10.199999999999999</c:v>
                </c:pt>
                <c:pt idx="1841">
                  <c:v>7</c:v>
                </c:pt>
                <c:pt idx="1842">
                  <c:v>4.4000000000000004</c:v>
                </c:pt>
                <c:pt idx="1843">
                  <c:v>12.9</c:v>
                </c:pt>
                <c:pt idx="1844">
                  <c:v>5.4</c:v>
                </c:pt>
                <c:pt idx="1845">
                  <c:v>0</c:v>
                </c:pt>
                <c:pt idx="1846">
                  <c:v>8.6999999999999993</c:v>
                </c:pt>
                <c:pt idx="1847">
                  <c:v>9.6</c:v>
                </c:pt>
                <c:pt idx="1848">
                  <c:v>7.7</c:v>
                </c:pt>
                <c:pt idx="1849">
                  <c:v>0.6</c:v>
                </c:pt>
                <c:pt idx="1850">
                  <c:v>6.2</c:v>
                </c:pt>
                <c:pt idx="1851">
                  <c:v>10.6</c:v>
                </c:pt>
                <c:pt idx="1852">
                  <c:v>6</c:v>
                </c:pt>
                <c:pt idx="1853">
                  <c:v>7.8</c:v>
                </c:pt>
                <c:pt idx="1854">
                  <c:v>8.9</c:v>
                </c:pt>
                <c:pt idx="1855">
                  <c:v>8.1999999999999993</c:v>
                </c:pt>
                <c:pt idx="1856">
                  <c:v>8.1999999999999993</c:v>
                </c:pt>
                <c:pt idx="1857">
                  <c:v>4</c:v>
                </c:pt>
                <c:pt idx="1858">
                  <c:v>8.6999999999999993</c:v>
                </c:pt>
                <c:pt idx="1859">
                  <c:v>6.2</c:v>
                </c:pt>
                <c:pt idx="1860">
                  <c:v>5</c:v>
                </c:pt>
                <c:pt idx="1861">
                  <c:v>8.8000000000000007</c:v>
                </c:pt>
                <c:pt idx="1862">
                  <c:v>6.9</c:v>
                </c:pt>
                <c:pt idx="1863">
                  <c:v>6.7</c:v>
                </c:pt>
                <c:pt idx="1864">
                  <c:v>8.1</c:v>
                </c:pt>
                <c:pt idx="1865">
                  <c:v>13.4</c:v>
                </c:pt>
                <c:pt idx="1866">
                  <c:v>5.2</c:v>
                </c:pt>
                <c:pt idx="1867">
                  <c:v>9.1</c:v>
                </c:pt>
                <c:pt idx="1868">
                  <c:v>5.4</c:v>
                </c:pt>
                <c:pt idx="1869">
                  <c:v>2.8</c:v>
                </c:pt>
                <c:pt idx="1870">
                  <c:v>9.4</c:v>
                </c:pt>
                <c:pt idx="1871">
                  <c:v>4.8</c:v>
                </c:pt>
                <c:pt idx="1872">
                  <c:v>6.2</c:v>
                </c:pt>
                <c:pt idx="1873">
                  <c:v>6.5</c:v>
                </c:pt>
                <c:pt idx="1874">
                  <c:v>0.9</c:v>
                </c:pt>
                <c:pt idx="1875">
                  <c:v>6.4</c:v>
                </c:pt>
                <c:pt idx="1876">
                  <c:v>10.1</c:v>
                </c:pt>
                <c:pt idx="1877">
                  <c:v>5.3</c:v>
                </c:pt>
                <c:pt idx="1878">
                  <c:v>9</c:v>
                </c:pt>
                <c:pt idx="1879">
                  <c:v>7.2</c:v>
                </c:pt>
                <c:pt idx="1880">
                  <c:v>8</c:v>
                </c:pt>
                <c:pt idx="1881">
                  <c:v>9.1999999999999993</c:v>
                </c:pt>
                <c:pt idx="1882">
                  <c:v>7.3</c:v>
                </c:pt>
                <c:pt idx="1883">
                  <c:v>5.6</c:v>
                </c:pt>
                <c:pt idx="1884">
                  <c:v>9.1</c:v>
                </c:pt>
                <c:pt idx="1885">
                  <c:v>8.3000000000000007</c:v>
                </c:pt>
                <c:pt idx="1886">
                  <c:v>7.7</c:v>
                </c:pt>
                <c:pt idx="1887">
                  <c:v>8.6</c:v>
                </c:pt>
                <c:pt idx="1888">
                  <c:v>6.6</c:v>
                </c:pt>
                <c:pt idx="1889">
                  <c:v>6.8</c:v>
                </c:pt>
                <c:pt idx="1890">
                  <c:v>6.7</c:v>
                </c:pt>
                <c:pt idx="1891">
                  <c:v>6.3</c:v>
                </c:pt>
                <c:pt idx="1892">
                  <c:v>7.8</c:v>
                </c:pt>
                <c:pt idx="1893">
                  <c:v>7</c:v>
                </c:pt>
                <c:pt idx="1894">
                  <c:v>9.4</c:v>
                </c:pt>
                <c:pt idx="1895">
                  <c:v>5.2</c:v>
                </c:pt>
                <c:pt idx="1896">
                  <c:v>6.2</c:v>
                </c:pt>
                <c:pt idx="1897">
                  <c:v>5.4</c:v>
                </c:pt>
                <c:pt idx="1898">
                  <c:v>9.4</c:v>
                </c:pt>
                <c:pt idx="1899">
                  <c:v>10.199999999999999</c:v>
                </c:pt>
                <c:pt idx="1900">
                  <c:v>9.6</c:v>
                </c:pt>
                <c:pt idx="1901">
                  <c:v>7.2</c:v>
                </c:pt>
                <c:pt idx="1902">
                  <c:v>8.3000000000000007</c:v>
                </c:pt>
                <c:pt idx="1903">
                  <c:v>4.9000000000000004</c:v>
                </c:pt>
                <c:pt idx="1904">
                  <c:v>8.5</c:v>
                </c:pt>
                <c:pt idx="1905">
                  <c:v>7.6</c:v>
                </c:pt>
                <c:pt idx="1906">
                  <c:v>6.6</c:v>
                </c:pt>
                <c:pt idx="1907">
                  <c:v>8</c:v>
                </c:pt>
                <c:pt idx="1908">
                  <c:v>6.7</c:v>
                </c:pt>
                <c:pt idx="1909">
                  <c:v>4</c:v>
                </c:pt>
                <c:pt idx="1910">
                  <c:v>5.4</c:v>
                </c:pt>
                <c:pt idx="1911">
                  <c:v>9.5</c:v>
                </c:pt>
                <c:pt idx="1912">
                  <c:v>4.5</c:v>
                </c:pt>
                <c:pt idx="1913">
                  <c:v>7.9</c:v>
                </c:pt>
                <c:pt idx="1914">
                  <c:v>6.3</c:v>
                </c:pt>
                <c:pt idx="1915">
                  <c:v>10.1</c:v>
                </c:pt>
                <c:pt idx="1916">
                  <c:v>8.6</c:v>
                </c:pt>
                <c:pt idx="1917">
                  <c:v>5.5</c:v>
                </c:pt>
                <c:pt idx="1918">
                  <c:v>7.9</c:v>
                </c:pt>
                <c:pt idx="1919">
                  <c:v>4.5</c:v>
                </c:pt>
                <c:pt idx="1920">
                  <c:v>6.5</c:v>
                </c:pt>
                <c:pt idx="1921">
                  <c:v>9.6999999999999993</c:v>
                </c:pt>
                <c:pt idx="1922">
                  <c:v>5.8</c:v>
                </c:pt>
                <c:pt idx="1923">
                  <c:v>8.1</c:v>
                </c:pt>
                <c:pt idx="1924">
                  <c:v>6.7</c:v>
                </c:pt>
                <c:pt idx="1925">
                  <c:v>6.3</c:v>
                </c:pt>
                <c:pt idx="1926">
                  <c:v>7.5</c:v>
                </c:pt>
                <c:pt idx="1927">
                  <c:v>7.4</c:v>
                </c:pt>
                <c:pt idx="1928">
                  <c:v>7.6</c:v>
                </c:pt>
                <c:pt idx="1929">
                  <c:v>7</c:v>
                </c:pt>
                <c:pt idx="1930">
                  <c:v>3.8</c:v>
                </c:pt>
                <c:pt idx="1931">
                  <c:v>10.199999999999999</c:v>
                </c:pt>
                <c:pt idx="1932">
                  <c:v>7</c:v>
                </c:pt>
                <c:pt idx="1933">
                  <c:v>5.3</c:v>
                </c:pt>
                <c:pt idx="1934">
                  <c:v>9.4</c:v>
                </c:pt>
                <c:pt idx="1935">
                  <c:v>7.5</c:v>
                </c:pt>
                <c:pt idx="1936">
                  <c:v>4.7</c:v>
                </c:pt>
                <c:pt idx="1937">
                  <c:v>0.8</c:v>
                </c:pt>
                <c:pt idx="1938">
                  <c:v>9.1</c:v>
                </c:pt>
                <c:pt idx="1939">
                  <c:v>8.9</c:v>
                </c:pt>
                <c:pt idx="1940">
                  <c:v>4.4000000000000004</c:v>
                </c:pt>
                <c:pt idx="1941">
                  <c:v>5.9</c:v>
                </c:pt>
                <c:pt idx="1942">
                  <c:v>8.1</c:v>
                </c:pt>
                <c:pt idx="1943">
                  <c:v>6</c:v>
                </c:pt>
                <c:pt idx="1944">
                  <c:v>5</c:v>
                </c:pt>
                <c:pt idx="1945">
                  <c:v>5.2</c:v>
                </c:pt>
                <c:pt idx="1946">
                  <c:v>6.2</c:v>
                </c:pt>
                <c:pt idx="1947">
                  <c:v>8.1</c:v>
                </c:pt>
                <c:pt idx="1948">
                  <c:v>10.3</c:v>
                </c:pt>
                <c:pt idx="1949">
                  <c:v>8.1</c:v>
                </c:pt>
                <c:pt idx="1950">
                  <c:v>7.9</c:v>
                </c:pt>
                <c:pt idx="1951">
                  <c:v>9.9</c:v>
                </c:pt>
                <c:pt idx="1952">
                  <c:v>5.7</c:v>
                </c:pt>
                <c:pt idx="1953">
                  <c:v>5.4</c:v>
                </c:pt>
                <c:pt idx="1954">
                  <c:v>8.9</c:v>
                </c:pt>
                <c:pt idx="1955">
                  <c:v>2.4</c:v>
                </c:pt>
                <c:pt idx="1956">
                  <c:v>6.4</c:v>
                </c:pt>
                <c:pt idx="1957">
                  <c:v>5.6</c:v>
                </c:pt>
                <c:pt idx="1958">
                  <c:v>8.3000000000000007</c:v>
                </c:pt>
                <c:pt idx="1959">
                  <c:v>10.8</c:v>
                </c:pt>
                <c:pt idx="1960">
                  <c:v>3.8</c:v>
                </c:pt>
                <c:pt idx="1961">
                  <c:v>0.9</c:v>
                </c:pt>
                <c:pt idx="1962">
                  <c:v>6.4</c:v>
                </c:pt>
                <c:pt idx="1963">
                  <c:v>6.2</c:v>
                </c:pt>
                <c:pt idx="1964">
                  <c:v>5.6</c:v>
                </c:pt>
                <c:pt idx="1965">
                  <c:v>10.5</c:v>
                </c:pt>
                <c:pt idx="1966">
                  <c:v>1.4</c:v>
                </c:pt>
                <c:pt idx="1967">
                  <c:v>8.6</c:v>
                </c:pt>
                <c:pt idx="1968">
                  <c:v>10</c:v>
                </c:pt>
                <c:pt idx="1969">
                  <c:v>8.6999999999999993</c:v>
                </c:pt>
                <c:pt idx="1970">
                  <c:v>8.5</c:v>
                </c:pt>
                <c:pt idx="1971">
                  <c:v>5.6</c:v>
                </c:pt>
                <c:pt idx="1972">
                  <c:v>7.2</c:v>
                </c:pt>
                <c:pt idx="1973">
                  <c:v>3</c:v>
                </c:pt>
                <c:pt idx="1974">
                  <c:v>1.4</c:v>
                </c:pt>
                <c:pt idx="1975">
                  <c:v>6.9</c:v>
                </c:pt>
                <c:pt idx="1976">
                  <c:v>3.6</c:v>
                </c:pt>
                <c:pt idx="1977">
                  <c:v>7.3</c:v>
                </c:pt>
                <c:pt idx="1978">
                  <c:v>4.4000000000000004</c:v>
                </c:pt>
                <c:pt idx="1979">
                  <c:v>7.1</c:v>
                </c:pt>
                <c:pt idx="1980">
                  <c:v>6.9</c:v>
                </c:pt>
                <c:pt idx="1981">
                  <c:v>9.6999999999999993</c:v>
                </c:pt>
                <c:pt idx="1982">
                  <c:v>6</c:v>
                </c:pt>
                <c:pt idx="1983">
                  <c:v>5.6</c:v>
                </c:pt>
                <c:pt idx="1984">
                  <c:v>9.1999999999999993</c:v>
                </c:pt>
                <c:pt idx="1985">
                  <c:v>8.9</c:v>
                </c:pt>
                <c:pt idx="1986">
                  <c:v>8.4</c:v>
                </c:pt>
                <c:pt idx="1987">
                  <c:v>10.3</c:v>
                </c:pt>
                <c:pt idx="1988">
                  <c:v>5.5</c:v>
                </c:pt>
                <c:pt idx="1989">
                  <c:v>2.8</c:v>
                </c:pt>
                <c:pt idx="1990">
                  <c:v>6.9</c:v>
                </c:pt>
                <c:pt idx="1991">
                  <c:v>10.1</c:v>
                </c:pt>
                <c:pt idx="1992">
                  <c:v>1.1000000000000001</c:v>
                </c:pt>
                <c:pt idx="1993">
                  <c:v>0.4</c:v>
                </c:pt>
                <c:pt idx="1994">
                  <c:v>6.3</c:v>
                </c:pt>
                <c:pt idx="1995">
                  <c:v>4</c:v>
                </c:pt>
                <c:pt idx="1996">
                  <c:v>4.9000000000000004</c:v>
                </c:pt>
                <c:pt idx="1997">
                  <c:v>8.1999999999999993</c:v>
                </c:pt>
                <c:pt idx="1998">
                  <c:v>4.7</c:v>
                </c:pt>
                <c:pt idx="1999">
                  <c:v>5.9</c:v>
                </c:pt>
                <c:pt idx="2000">
                  <c:v>9.6999999999999993</c:v>
                </c:pt>
                <c:pt idx="2001">
                  <c:v>7.3</c:v>
                </c:pt>
                <c:pt idx="2002">
                  <c:v>7.2</c:v>
                </c:pt>
                <c:pt idx="2003">
                  <c:v>6.5</c:v>
                </c:pt>
                <c:pt idx="2004">
                  <c:v>5.9</c:v>
                </c:pt>
                <c:pt idx="2005">
                  <c:v>5.5</c:v>
                </c:pt>
                <c:pt idx="2006">
                  <c:v>4.5</c:v>
                </c:pt>
                <c:pt idx="2007">
                  <c:v>4.0999999999999996</c:v>
                </c:pt>
                <c:pt idx="2008">
                  <c:v>4</c:v>
                </c:pt>
                <c:pt idx="2009">
                  <c:v>3.7</c:v>
                </c:pt>
                <c:pt idx="2010">
                  <c:v>15.5</c:v>
                </c:pt>
                <c:pt idx="2011">
                  <c:v>10.4</c:v>
                </c:pt>
                <c:pt idx="2012">
                  <c:v>5.0999999999999996</c:v>
                </c:pt>
                <c:pt idx="2013">
                  <c:v>7.3</c:v>
                </c:pt>
                <c:pt idx="2014">
                  <c:v>14</c:v>
                </c:pt>
                <c:pt idx="2015">
                  <c:v>11.6</c:v>
                </c:pt>
                <c:pt idx="2016">
                  <c:v>10.7</c:v>
                </c:pt>
                <c:pt idx="2017">
                  <c:v>15.3</c:v>
                </c:pt>
                <c:pt idx="2018">
                  <c:v>0</c:v>
                </c:pt>
                <c:pt idx="2019">
                  <c:v>6.1</c:v>
                </c:pt>
                <c:pt idx="2020">
                  <c:v>6.3</c:v>
                </c:pt>
                <c:pt idx="2021">
                  <c:v>14.1</c:v>
                </c:pt>
                <c:pt idx="2022">
                  <c:v>7.5</c:v>
                </c:pt>
                <c:pt idx="2023">
                  <c:v>5.9</c:v>
                </c:pt>
                <c:pt idx="2024">
                  <c:v>9.6999999999999993</c:v>
                </c:pt>
                <c:pt idx="2025">
                  <c:v>7</c:v>
                </c:pt>
                <c:pt idx="2026">
                  <c:v>0.2</c:v>
                </c:pt>
                <c:pt idx="2027">
                  <c:v>7.5</c:v>
                </c:pt>
                <c:pt idx="2028">
                  <c:v>13.7</c:v>
                </c:pt>
                <c:pt idx="2029">
                  <c:v>6.8</c:v>
                </c:pt>
                <c:pt idx="2030">
                  <c:v>6.2</c:v>
                </c:pt>
                <c:pt idx="2031">
                  <c:v>8.1999999999999993</c:v>
                </c:pt>
                <c:pt idx="2032">
                  <c:v>7.8</c:v>
                </c:pt>
                <c:pt idx="2033">
                  <c:v>8</c:v>
                </c:pt>
                <c:pt idx="2034">
                  <c:v>8.1</c:v>
                </c:pt>
                <c:pt idx="2035">
                  <c:v>10.9</c:v>
                </c:pt>
                <c:pt idx="2036">
                  <c:v>6</c:v>
                </c:pt>
                <c:pt idx="2037">
                  <c:v>7.2</c:v>
                </c:pt>
                <c:pt idx="2038">
                  <c:v>8</c:v>
                </c:pt>
                <c:pt idx="2039">
                  <c:v>9.6999999999999993</c:v>
                </c:pt>
                <c:pt idx="2040">
                  <c:v>15.2</c:v>
                </c:pt>
                <c:pt idx="2041">
                  <c:v>8.1</c:v>
                </c:pt>
                <c:pt idx="2042">
                  <c:v>7.4</c:v>
                </c:pt>
                <c:pt idx="2043">
                  <c:v>4.2</c:v>
                </c:pt>
                <c:pt idx="2044">
                  <c:v>7.9</c:v>
                </c:pt>
                <c:pt idx="2045">
                  <c:v>6.1</c:v>
                </c:pt>
                <c:pt idx="2046">
                  <c:v>6.3</c:v>
                </c:pt>
                <c:pt idx="2047">
                  <c:v>6</c:v>
                </c:pt>
                <c:pt idx="2048">
                  <c:v>3.3</c:v>
                </c:pt>
                <c:pt idx="2049">
                  <c:v>4.9000000000000004</c:v>
                </c:pt>
                <c:pt idx="2050">
                  <c:v>8.6999999999999993</c:v>
                </c:pt>
                <c:pt idx="2051">
                  <c:v>7.6</c:v>
                </c:pt>
                <c:pt idx="2052">
                  <c:v>6.8</c:v>
                </c:pt>
                <c:pt idx="2053">
                  <c:v>7.3</c:v>
                </c:pt>
                <c:pt idx="2054">
                  <c:v>5.7</c:v>
                </c:pt>
                <c:pt idx="2055">
                  <c:v>6.4</c:v>
                </c:pt>
                <c:pt idx="2056">
                  <c:v>6.7</c:v>
                </c:pt>
                <c:pt idx="2057">
                  <c:v>7.6</c:v>
                </c:pt>
                <c:pt idx="2058">
                  <c:v>8.4</c:v>
                </c:pt>
                <c:pt idx="2059">
                  <c:v>7.3</c:v>
                </c:pt>
                <c:pt idx="2060">
                  <c:v>10.199999999999999</c:v>
                </c:pt>
                <c:pt idx="2061">
                  <c:v>3.6</c:v>
                </c:pt>
                <c:pt idx="2062">
                  <c:v>7.9</c:v>
                </c:pt>
                <c:pt idx="2063">
                  <c:v>10.8</c:v>
                </c:pt>
                <c:pt idx="2064">
                  <c:v>5.3</c:v>
                </c:pt>
                <c:pt idx="2065">
                  <c:v>5.7</c:v>
                </c:pt>
                <c:pt idx="2066">
                  <c:v>3.7</c:v>
                </c:pt>
                <c:pt idx="2067">
                  <c:v>6.5</c:v>
                </c:pt>
                <c:pt idx="2068">
                  <c:v>10.1</c:v>
                </c:pt>
                <c:pt idx="2069">
                  <c:v>5.3</c:v>
                </c:pt>
                <c:pt idx="2070">
                  <c:v>5.7</c:v>
                </c:pt>
                <c:pt idx="2071">
                  <c:v>7.8</c:v>
                </c:pt>
                <c:pt idx="2072">
                  <c:v>8.3000000000000007</c:v>
                </c:pt>
                <c:pt idx="2073">
                  <c:v>7.9</c:v>
                </c:pt>
                <c:pt idx="2074">
                  <c:v>7.2</c:v>
                </c:pt>
                <c:pt idx="2075">
                  <c:v>8.3000000000000007</c:v>
                </c:pt>
                <c:pt idx="2076">
                  <c:v>7.9</c:v>
                </c:pt>
                <c:pt idx="2077">
                  <c:v>7.1</c:v>
                </c:pt>
                <c:pt idx="2078">
                  <c:v>11.5</c:v>
                </c:pt>
                <c:pt idx="2079">
                  <c:v>5.0999999999999996</c:v>
                </c:pt>
                <c:pt idx="2080">
                  <c:v>8.1</c:v>
                </c:pt>
                <c:pt idx="2081">
                  <c:v>4.8</c:v>
                </c:pt>
                <c:pt idx="2082">
                  <c:v>9.6</c:v>
                </c:pt>
                <c:pt idx="2083">
                  <c:v>4.5999999999999996</c:v>
                </c:pt>
                <c:pt idx="2084">
                  <c:v>10.9</c:v>
                </c:pt>
                <c:pt idx="2085">
                  <c:v>1.2</c:v>
                </c:pt>
                <c:pt idx="2086">
                  <c:v>9.1</c:v>
                </c:pt>
                <c:pt idx="2087">
                  <c:v>8</c:v>
                </c:pt>
                <c:pt idx="2088">
                  <c:v>2.2999999999999998</c:v>
                </c:pt>
                <c:pt idx="2089">
                  <c:v>9.4</c:v>
                </c:pt>
                <c:pt idx="2090">
                  <c:v>6.8</c:v>
                </c:pt>
                <c:pt idx="2091">
                  <c:v>9.8000000000000007</c:v>
                </c:pt>
                <c:pt idx="2092">
                  <c:v>4.8</c:v>
                </c:pt>
                <c:pt idx="2093">
                  <c:v>6.2</c:v>
                </c:pt>
                <c:pt idx="2094">
                  <c:v>6.6</c:v>
                </c:pt>
                <c:pt idx="2095">
                  <c:v>9.3000000000000007</c:v>
                </c:pt>
                <c:pt idx="2096">
                  <c:v>8.3000000000000007</c:v>
                </c:pt>
                <c:pt idx="2097">
                  <c:v>8</c:v>
                </c:pt>
                <c:pt idx="2098">
                  <c:v>7.2</c:v>
                </c:pt>
                <c:pt idx="2099">
                  <c:v>0.7</c:v>
                </c:pt>
                <c:pt idx="2100">
                  <c:v>13.4</c:v>
                </c:pt>
                <c:pt idx="2101">
                  <c:v>7.1</c:v>
                </c:pt>
                <c:pt idx="2102">
                  <c:v>7.4</c:v>
                </c:pt>
                <c:pt idx="2103">
                  <c:v>7.3</c:v>
                </c:pt>
                <c:pt idx="2104">
                  <c:v>7.4</c:v>
                </c:pt>
                <c:pt idx="2105">
                  <c:v>7.4</c:v>
                </c:pt>
                <c:pt idx="2106">
                  <c:v>6.2</c:v>
                </c:pt>
                <c:pt idx="2107">
                  <c:v>7.3</c:v>
                </c:pt>
                <c:pt idx="2108">
                  <c:v>7.3</c:v>
                </c:pt>
                <c:pt idx="2109">
                  <c:v>3.2</c:v>
                </c:pt>
                <c:pt idx="2110">
                  <c:v>8.1</c:v>
                </c:pt>
                <c:pt idx="2111">
                  <c:v>4.7</c:v>
                </c:pt>
                <c:pt idx="2112">
                  <c:v>5.7</c:v>
                </c:pt>
                <c:pt idx="2113">
                  <c:v>19.8</c:v>
                </c:pt>
                <c:pt idx="2114">
                  <c:v>9.6</c:v>
                </c:pt>
                <c:pt idx="2115">
                  <c:v>8.8000000000000007</c:v>
                </c:pt>
                <c:pt idx="2116">
                  <c:v>12</c:v>
                </c:pt>
                <c:pt idx="2117">
                  <c:v>7.6</c:v>
                </c:pt>
                <c:pt idx="2118">
                  <c:v>10.7</c:v>
                </c:pt>
                <c:pt idx="2119">
                  <c:v>7.1</c:v>
                </c:pt>
                <c:pt idx="2120">
                  <c:v>5.8</c:v>
                </c:pt>
                <c:pt idx="2121">
                  <c:v>6.9</c:v>
                </c:pt>
                <c:pt idx="2122">
                  <c:v>6.2</c:v>
                </c:pt>
                <c:pt idx="2123">
                  <c:v>4.4000000000000004</c:v>
                </c:pt>
                <c:pt idx="2124">
                  <c:v>1.4</c:v>
                </c:pt>
                <c:pt idx="2125">
                  <c:v>6</c:v>
                </c:pt>
                <c:pt idx="2126">
                  <c:v>10.6</c:v>
                </c:pt>
                <c:pt idx="2127">
                  <c:v>2.7</c:v>
                </c:pt>
                <c:pt idx="2128">
                  <c:v>7.9</c:v>
                </c:pt>
                <c:pt idx="2129">
                  <c:v>12.2</c:v>
                </c:pt>
                <c:pt idx="2130">
                  <c:v>7.2</c:v>
                </c:pt>
                <c:pt idx="2131">
                  <c:v>1.6</c:v>
                </c:pt>
                <c:pt idx="2132">
                  <c:v>8.8000000000000007</c:v>
                </c:pt>
                <c:pt idx="2133">
                  <c:v>1.8</c:v>
                </c:pt>
                <c:pt idx="2134">
                  <c:v>10.1</c:v>
                </c:pt>
                <c:pt idx="2135">
                  <c:v>7.1</c:v>
                </c:pt>
                <c:pt idx="2136">
                  <c:v>6.6</c:v>
                </c:pt>
                <c:pt idx="2137">
                  <c:v>5.8</c:v>
                </c:pt>
                <c:pt idx="2138">
                  <c:v>10.3</c:v>
                </c:pt>
                <c:pt idx="2139">
                  <c:v>7.7</c:v>
                </c:pt>
                <c:pt idx="2140">
                  <c:v>3.9</c:v>
                </c:pt>
                <c:pt idx="2141">
                  <c:v>4.9000000000000004</c:v>
                </c:pt>
                <c:pt idx="2142">
                  <c:v>6.1</c:v>
                </c:pt>
                <c:pt idx="2143">
                  <c:v>7.5</c:v>
                </c:pt>
                <c:pt idx="2144">
                  <c:v>5.8</c:v>
                </c:pt>
                <c:pt idx="2145">
                  <c:v>7</c:v>
                </c:pt>
                <c:pt idx="2146">
                  <c:v>11.6</c:v>
                </c:pt>
                <c:pt idx="2147">
                  <c:v>14.4</c:v>
                </c:pt>
                <c:pt idx="2148">
                  <c:v>10.9</c:v>
                </c:pt>
                <c:pt idx="2149">
                  <c:v>7.4</c:v>
                </c:pt>
                <c:pt idx="2150">
                  <c:v>8.8000000000000007</c:v>
                </c:pt>
                <c:pt idx="2151">
                  <c:v>8.9</c:v>
                </c:pt>
                <c:pt idx="2152">
                  <c:v>6.8</c:v>
                </c:pt>
                <c:pt idx="2153">
                  <c:v>5.2</c:v>
                </c:pt>
                <c:pt idx="2154">
                  <c:v>7.4</c:v>
                </c:pt>
                <c:pt idx="2155">
                  <c:v>4.9000000000000004</c:v>
                </c:pt>
                <c:pt idx="2156">
                  <c:v>9.9</c:v>
                </c:pt>
                <c:pt idx="2157">
                  <c:v>3.7</c:v>
                </c:pt>
                <c:pt idx="2158">
                  <c:v>7</c:v>
                </c:pt>
                <c:pt idx="2159">
                  <c:v>3.4</c:v>
                </c:pt>
                <c:pt idx="2160">
                  <c:v>6.1</c:v>
                </c:pt>
                <c:pt idx="2161">
                  <c:v>10.4</c:v>
                </c:pt>
                <c:pt idx="2162">
                  <c:v>7.6</c:v>
                </c:pt>
                <c:pt idx="2163">
                  <c:v>8.6999999999999993</c:v>
                </c:pt>
                <c:pt idx="2164">
                  <c:v>9.1999999999999993</c:v>
                </c:pt>
                <c:pt idx="2165">
                  <c:v>7.3</c:v>
                </c:pt>
                <c:pt idx="2166">
                  <c:v>5.7</c:v>
                </c:pt>
                <c:pt idx="2167">
                  <c:v>0</c:v>
                </c:pt>
                <c:pt idx="2168">
                  <c:v>7.5</c:v>
                </c:pt>
                <c:pt idx="2169">
                  <c:v>7.9</c:v>
                </c:pt>
                <c:pt idx="2170">
                  <c:v>8.6</c:v>
                </c:pt>
                <c:pt idx="2171">
                  <c:v>9.1</c:v>
                </c:pt>
                <c:pt idx="2172">
                  <c:v>4.8</c:v>
                </c:pt>
                <c:pt idx="2173">
                  <c:v>7.7</c:v>
                </c:pt>
                <c:pt idx="2174">
                  <c:v>5.3</c:v>
                </c:pt>
                <c:pt idx="2175">
                  <c:v>4.3</c:v>
                </c:pt>
                <c:pt idx="2176">
                  <c:v>5.4</c:v>
                </c:pt>
                <c:pt idx="2177">
                  <c:v>5</c:v>
                </c:pt>
                <c:pt idx="2178">
                  <c:v>9.6</c:v>
                </c:pt>
                <c:pt idx="2179">
                  <c:v>8.8000000000000007</c:v>
                </c:pt>
                <c:pt idx="2180">
                  <c:v>5.2</c:v>
                </c:pt>
                <c:pt idx="2181">
                  <c:v>9.1999999999999993</c:v>
                </c:pt>
                <c:pt idx="2182">
                  <c:v>7.1</c:v>
                </c:pt>
                <c:pt idx="2183">
                  <c:v>7.4</c:v>
                </c:pt>
                <c:pt idx="2184">
                  <c:v>6</c:v>
                </c:pt>
                <c:pt idx="2185">
                  <c:v>12.2</c:v>
                </c:pt>
                <c:pt idx="2186">
                  <c:v>3.6</c:v>
                </c:pt>
                <c:pt idx="2187">
                  <c:v>6.3</c:v>
                </c:pt>
                <c:pt idx="2188">
                  <c:v>6.7</c:v>
                </c:pt>
                <c:pt idx="2189">
                  <c:v>11.1</c:v>
                </c:pt>
                <c:pt idx="2190">
                  <c:v>9.4</c:v>
                </c:pt>
                <c:pt idx="2191">
                  <c:v>3.9</c:v>
                </c:pt>
                <c:pt idx="2192">
                  <c:v>6</c:v>
                </c:pt>
                <c:pt idx="2193">
                  <c:v>5.3</c:v>
                </c:pt>
                <c:pt idx="2194">
                  <c:v>3.4</c:v>
                </c:pt>
                <c:pt idx="2195">
                  <c:v>3.9</c:v>
                </c:pt>
                <c:pt idx="2196">
                  <c:v>15.2</c:v>
                </c:pt>
                <c:pt idx="2197">
                  <c:v>7.7</c:v>
                </c:pt>
                <c:pt idx="2198">
                  <c:v>7.6</c:v>
                </c:pt>
                <c:pt idx="2199">
                  <c:v>11</c:v>
                </c:pt>
                <c:pt idx="2200">
                  <c:v>4.5999999999999996</c:v>
                </c:pt>
                <c:pt idx="2201">
                  <c:v>9.1</c:v>
                </c:pt>
                <c:pt idx="2202">
                  <c:v>6.3</c:v>
                </c:pt>
                <c:pt idx="2203">
                  <c:v>6</c:v>
                </c:pt>
                <c:pt idx="2204">
                  <c:v>4.9000000000000004</c:v>
                </c:pt>
                <c:pt idx="2205">
                  <c:v>3.4</c:v>
                </c:pt>
                <c:pt idx="2206">
                  <c:v>11.3</c:v>
                </c:pt>
                <c:pt idx="2207">
                  <c:v>6.5</c:v>
                </c:pt>
                <c:pt idx="2208">
                  <c:v>6.8</c:v>
                </c:pt>
                <c:pt idx="2209">
                  <c:v>9.5</c:v>
                </c:pt>
                <c:pt idx="2210">
                  <c:v>5.8</c:v>
                </c:pt>
                <c:pt idx="2211">
                  <c:v>7.5</c:v>
                </c:pt>
                <c:pt idx="2212">
                  <c:v>6.8</c:v>
                </c:pt>
                <c:pt idx="2213">
                  <c:v>8.4</c:v>
                </c:pt>
                <c:pt idx="2214">
                  <c:v>8.6999999999999993</c:v>
                </c:pt>
                <c:pt idx="2215">
                  <c:v>5.0999999999999996</c:v>
                </c:pt>
                <c:pt idx="2216">
                  <c:v>8.9</c:v>
                </c:pt>
                <c:pt idx="2217">
                  <c:v>1.7</c:v>
                </c:pt>
                <c:pt idx="2218">
                  <c:v>3.5</c:v>
                </c:pt>
                <c:pt idx="2219">
                  <c:v>6.9</c:v>
                </c:pt>
                <c:pt idx="2220">
                  <c:v>8.6</c:v>
                </c:pt>
                <c:pt idx="2221">
                  <c:v>7.4</c:v>
                </c:pt>
                <c:pt idx="2222">
                  <c:v>12.3</c:v>
                </c:pt>
                <c:pt idx="2223">
                  <c:v>8</c:v>
                </c:pt>
                <c:pt idx="2224">
                  <c:v>6.8</c:v>
                </c:pt>
                <c:pt idx="2225">
                  <c:v>4.7</c:v>
                </c:pt>
                <c:pt idx="2226">
                  <c:v>4.5999999999999996</c:v>
                </c:pt>
                <c:pt idx="2227">
                  <c:v>5.7</c:v>
                </c:pt>
                <c:pt idx="2228">
                  <c:v>13.5</c:v>
                </c:pt>
                <c:pt idx="2229">
                  <c:v>9</c:v>
                </c:pt>
                <c:pt idx="2230">
                  <c:v>7.9</c:v>
                </c:pt>
                <c:pt idx="2231">
                  <c:v>13.2</c:v>
                </c:pt>
                <c:pt idx="2232">
                  <c:v>4.8</c:v>
                </c:pt>
                <c:pt idx="2233">
                  <c:v>5.8</c:v>
                </c:pt>
                <c:pt idx="2234">
                  <c:v>10.6</c:v>
                </c:pt>
                <c:pt idx="2235">
                  <c:v>8</c:v>
                </c:pt>
                <c:pt idx="2236">
                  <c:v>5.7</c:v>
                </c:pt>
                <c:pt idx="2237">
                  <c:v>9.6999999999999993</c:v>
                </c:pt>
                <c:pt idx="2238">
                  <c:v>5.6</c:v>
                </c:pt>
                <c:pt idx="2239">
                  <c:v>8.8000000000000007</c:v>
                </c:pt>
                <c:pt idx="2240">
                  <c:v>11.3</c:v>
                </c:pt>
                <c:pt idx="2241">
                  <c:v>2.6</c:v>
                </c:pt>
                <c:pt idx="2242">
                  <c:v>7.3</c:v>
                </c:pt>
                <c:pt idx="2243">
                  <c:v>5.4</c:v>
                </c:pt>
                <c:pt idx="2244">
                  <c:v>8</c:v>
                </c:pt>
                <c:pt idx="2245">
                  <c:v>11.8</c:v>
                </c:pt>
                <c:pt idx="2246">
                  <c:v>9</c:v>
                </c:pt>
                <c:pt idx="2247">
                  <c:v>7.5</c:v>
                </c:pt>
                <c:pt idx="2248">
                  <c:v>7.4</c:v>
                </c:pt>
                <c:pt idx="2249">
                  <c:v>5.8</c:v>
                </c:pt>
                <c:pt idx="2250">
                  <c:v>7</c:v>
                </c:pt>
                <c:pt idx="2251">
                  <c:v>5.3</c:v>
                </c:pt>
                <c:pt idx="2252">
                  <c:v>13.2</c:v>
                </c:pt>
                <c:pt idx="2253">
                  <c:v>5.3</c:v>
                </c:pt>
                <c:pt idx="2254">
                  <c:v>8.3000000000000007</c:v>
                </c:pt>
                <c:pt idx="2255">
                  <c:v>11.9</c:v>
                </c:pt>
                <c:pt idx="2256">
                  <c:v>7.4</c:v>
                </c:pt>
                <c:pt idx="2257">
                  <c:v>9.3000000000000007</c:v>
                </c:pt>
                <c:pt idx="2258">
                  <c:v>12.2</c:v>
                </c:pt>
                <c:pt idx="2259">
                  <c:v>6.8</c:v>
                </c:pt>
                <c:pt idx="2260">
                  <c:v>9</c:v>
                </c:pt>
                <c:pt idx="2261">
                  <c:v>8.6999999999999993</c:v>
                </c:pt>
                <c:pt idx="2262">
                  <c:v>6.9</c:v>
                </c:pt>
                <c:pt idx="2263">
                  <c:v>8.6</c:v>
                </c:pt>
                <c:pt idx="2264">
                  <c:v>13.6</c:v>
                </c:pt>
                <c:pt idx="2265">
                  <c:v>9.1999999999999993</c:v>
                </c:pt>
                <c:pt idx="2266">
                  <c:v>7.8</c:v>
                </c:pt>
                <c:pt idx="2267">
                  <c:v>1.6</c:v>
                </c:pt>
                <c:pt idx="2268">
                  <c:v>5.8</c:v>
                </c:pt>
                <c:pt idx="2269">
                  <c:v>6.4</c:v>
                </c:pt>
                <c:pt idx="2270">
                  <c:v>5.8</c:v>
                </c:pt>
                <c:pt idx="2271">
                  <c:v>9.4</c:v>
                </c:pt>
                <c:pt idx="2272">
                  <c:v>5.6</c:v>
                </c:pt>
                <c:pt idx="2273">
                  <c:v>7.6</c:v>
                </c:pt>
                <c:pt idx="2274">
                  <c:v>5.8</c:v>
                </c:pt>
                <c:pt idx="2275">
                  <c:v>4.9000000000000004</c:v>
                </c:pt>
                <c:pt idx="2276">
                  <c:v>9.8000000000000007</c:v>
                </c:pt>
                <c:pt idx="2277">
                  <c:v>7.7</c:v>
                </c:pt>
                <c:pt idx="2278">
                  <c:v>10.5</c:v>
                </c:pt>
                <c:pt idx="2279">
                  <c:v>2.2000000000000002</c:v>
                </c:pt>
                <c:pt idx="2280">
                  <c:v>11.4</c:v>
                </c:pt>
                <c:pt idx="2281">
                  <c:v>6.3</c:v>
                </c:pt>
                <c:pt idx="2282">
                  <c:v>2.7</c:v>
                </c:pt>
                <c:pt idx="2283">
                  <c:v>10.8</c:v>
                </c:pt>
                <c:pt idx="2284">
                  <c:v>13.2</c:v>
                </c:pt>
                <c:pt idx="2285">
                  <c:v>9.6999999999999993</c:v>
                </c:pt>
                <c:pt idx="2286">
                  <c:v>6.1</c:v>
                </c:pt>
                <c:pt idx="2287">
                  <c:v>5.4</c:v>
                </c:pt>
                <c:pt idx="2288">
                  <c:v>8.5</c:v>
                </c:pt>
                <c:pt idx="2289">
                  <c:v>7.8</c:v>
                </c:pt>
                <c:pt idx="2290">
                  <c:v>8</c:v>
                </c:pt>
                <c:pt idx="2291">
                  <c:v>8.9</c:v>
                </c:pt>
                <c:pt idx="2292">
                  <c:v>6.6</c:v>
                </c:pt>
                <c:pt idx="2293">
                  <c:v>8.4</c:v>
                </c:pt>
                <c:pt idx="2294">
                  <c:v>6.5</c:v>
                </c:pt>
                <c:pt idx="2295">
                  <c:v>9</c:v>
                </c:pt>
                <c:pt idx="2296">
                  <c:v>7.7</c:v>
                </c:pt>
                <c:pt idx="2297">
                  <c:v>7.6</c:v>
                </c:pt>
                <c:pt idx="2298">
                  <c:v>8.8000000000000007</c:v>
                </c:pt>
                <c:pt idx="2299">
                  <c:v>5.9</c:v>
                </c:pt>
                <c:pt idx="2300">
                  <c:v>9.3000000000000007</c:v>
                </c:pt>
                <c:pt idx="2301">
                  <c:v>11.5</c:v>
                </c:pt>
                <c:pt idx="2302">
                  <c:v>10.7</c:v>
                </c:pt>
                <c:pt idx="2303">
                  <c:v>7.2</c:v>
                </c:pt>
                <c:pt idx="2304">
                  <c:v>6.8</c:v>
                </c:pt>
                <c:pt idx="2305">
                  <c:v>6.6</c:v>
                </c:pt>
                <c:pt idx="2306">
                  <c:v>6.5</c:v>
                </c:pt>
                <c:pt idx="2307">
                  <c:v>6.3</c:v>
                </c:pt>
                <c:pt idx="2308">
                  <c:v>4.9000000000000004</c:v>
                </c:pt>
                <c:pt idx="2309">
                  <c:v>7.2</c:v>
                </c:pt>
                <c:pt idx="2310">
                  <c:v>7.2</c:v>
                </c:pt>
                <c:pt idx="2311">
                  <c:v>6.6</c:v>
                </c:pt>
                <c:pt idx="2312">
                  <c:v>5.0999999999999996</c:v>
                </c:pt>
                <c:pt idx="2313">
                  <c:v>8.1999999999999993</c:v>
                </c:pt>
                <c:pt idx="2314">
                  <c:v>5.7</c:v>
                </c:pt>
                <c:pt idx="2315">
                  <c:v>6.7</c:v>
                </c:pt>
                <c:pt idx="2316">
                  <c:v>6.1</c:v>
                </c:pt>
                <c:pt idx="2317">
                  <c:v>5.9</c:v>
                </c:pt>
                <c:pt idx="2318">
                  <c:v>10.1</c:v>
                </c:pt>
                <c:pt idx="2319">
                  <c:v>9.1</c:v>
                </c:pt>
                <c:pt idx="2320">
                  <c:v>9.1999999999999993</c:v>
                </c:pt>
                <c:pt idx="2321">
                  <c:v>11.4</c:v>
                </c:pt>
                <c:pt idx="2322">
                  <c:v>7.6</c:v>
                </c:pt>
                <c:pt idx="2323">
                  <c:v>7.2</c:v>
                </c:pt>
                <c:pt idx="2324">
                  <c:v>5.7</c:v>
                </c:pt>
                <c:pt idx="2325">
                  <c:v>3.8</c:v>
                </c:pt>
                <c:pt idx="2326">
                  <c:v>5.6</c:v>
                </c:pt>
                <c:pt idx="2327">
                  <c:v>8.4</c:v>
                </c:pt>
                <c:pt idx="2328">
                  <c:v>2.6</c:v>
                </c:pt>
                <c:pt idx="2329">
                  <c:v>10.1</c:v>
                </c:pt>
                <c:pt idx="2330">
                  <c:v>3.6</c:v>
                </c:pt>
                <c:pt idx="2331">
                  <c:v>5.9</c:v>
                </c:pt>
                <c:pt idx="2332">
                  <c:v>9.3000000000000007</c:v>
                </c:pt>
                <c:pt idx="2333">
                  <c:v>9.6999999999999993</c:v>
                </c:pt>
                <c:pt idx="2334">
                  <c:v>6</c:v>
                </c:pt>
                <c:pt idx="2335">
                  <c:v>7.4</c:v>
                </c:pt>
                <c:pt idx="2336">
                  <c:v>2.5</c:v>
                </c:pt>
                <c:pt idx="2337">
                  <c:v>7.7</c:v>
                </c:pt>
                <c:pt idx="2338">
                  <c:v>0.8</c:v>
                </c:pt>
                <c:pt idx="2339">
                  <c:v>7.2</c:v>
                </c:pt>
                <c:pt idx="2340">
                  <c:v>8.5</c:v>
                </c:pt>
                <c:pt idx="2341">
                  <c:v>6.4</c:v>
                </c:pt>
                <c:pt idx="2342">
                  <c:v>8.6999999999999993</c:v>
                </c:pt>
                <c:pt idx="2343">
                  <c:v>6</c:v>
                </c:pt>
                <c:pt idx="2344">
                  <c:v>8.1</c:v>
                </c:pt>
                <c:pt idx="2345">
                  <c:v>7.5</c:v>
                </c:pt>
                <c:pt idx="2346">
                  <c:v>5.3</c:v>
                </c:pt>
                <c:pt idx="2347">
                  <c:v>4.9000000000000004</c:v>
                </c:pt>
                <c:pt idx="2348">
                  <c:v>7.1</c:v>
                </c:pt>
                <c:pt idx="2349">
                  <c:v>7.7</c:v>
                </c:pt>
                <c:pt idx="2350">
                  <c:v>10.1</c:v>
                </c:pt>
                <c:pt idx="2351">
                  <c:v>2.2000000000000002</c:v>
                </c:pt>
                <c:pt idx="2352">
                  <c:v>9.1</c:v>
                </c:pt>
                <c:pt idx="2353">
                  <c:v>10.3</c:v>
                </c:pt>
                <c:pt idx="2354">
                  <c:v>7.6</c:v>
                </c:pt>
                <c:pt idx="2355">
                  <c:v>7.2</c:v>
                </c:pt>
                <c:pt idx="2356">
                  <c:v>5.5</c:v>
                </c:pt>
                <c:pt idx="2357">
                  <c:v>10.7</c:v>
                </c:pt>
                <c:pt idx="2358">
                  <c:v>9.6999999999999993</c:v>
                </c:pt>
                <c:pt idx="2359">
                  <c:v>4.4000000000000004</c:v>
                </c:pt>
                <c:pt idx="2360">
                  <c:v>5.7</c:v>
                </c:pt>
                <c:pt idx="2361">
                  <c:v>7.5</c:v>
                </c:pt>
                <c:pt idx="2362">
                  <c:v>4.2</c:v>
                </c:pt>
                <c:pt idx="2363">
                  <c:v>2.2999999999999998</c:v>
                </c:pt>
                <c:pt idx="2364">
                  <c:v>9.6</c:v>
                </c:pt>
                <c:pt idx="2365">
                  <c:v>4.9000000000000004</c:v>
                </c:pt>
                <c:pt idx="2366">
                  <c:v>3.7</c:v>
                </c:pt>
                <c:pt idx="2367">
                  <c:v>9.5</c:v>
                </c:pt>
                <c:pt idx="2368">
                  <c:v>6.5</c:v>
                </c:pt>
                <c:pt idx="2369">
                  <c:v>8</c:v>
                </c:pt>
                <c:pt idx="2370">
                  <c:v>5.0999999999999996</c:v>
                </c:pt>
                <c:pt idx="2371">
                  <c:v>5.4</c:v>
                </c:pt>
                <c:pt idx="2372">
                  <c:v>5.2</c:v>
                </c:pt>
                <c:pt idx="2373">
                  <c:v>7.1</c:v>
                </c:pt>
                <c:pt idx="2374">
                  <c:v>5.2</c:v>
                </c:pt>
                <c:pt idx="2375">
                  <c:v>9.9</c:v>
                </c:pt>
                <c:pt idx="2376">
                  <c:v>3.9</c:v>
                </c:pt>
                <c:pt idx="2377">
                  <c:v>5.7</c:v>
                </c:pt>
                <c:pt idx="2378">
                  <c:v>7.8</c:v>
                </c:pt>
                <c:pt idx="2379">
                  <c:v>6.4</c:v>
                </c:pt>
                <c:pt idx="2380">
                  <c:v>8.9</c:v>
                </c:pt>
                <c:pt idx="2381">
                  <c:v>9.4</c:v>
                </c:pt>
                <c:pt idx="2382">
                  <c:v>6.5</c:v>
                </c:pt>
                <c:pt idx="2383">
                  <c:v>10.4</c:v>
                </c:pt>
                <c:pt idx="2384">
                  <c:v>7.2</c:v>
                </c:pt>
                <c:pt idx="2385">
                  <c:v>9.3000000000000007</c:v>
                </c:pt>
                <c:pt idx="2386">
                  <c:v>8.6</c:v>
                </c:pt>
                <c:pt idx="2387">
                  <c:v>6</c:v>
                </c:pt>
                <c:pt idx="2388">
                  <c:v>8.6999999999999993</c:v>
                </c:pt>
                <c:pt idx="2389">
                  <c:v>3.4</c:v>
                </c:pt>
                <c:pt idx="2390">
                  <c:v>8.4</c:v>
                </c:pt>
                <c:pt idx="2391">
                  <c:v>8.1999999999999993</c:v>
                </c:pt>
                <c:pt idx="2392">
                  <c:v>1.2</c:v>
                </c:pt>
                <c:pt idx="2393">
                  <c:v>7.4</c:v>
                </c:pt>
                <c:pt idx="2394">
                  <c:v>2.2000000000000002</c:v>
                </c:pt>
                <c:pt idx="2395">
                  <c:v>6.6</c:v>
                </c:pt>
                <c:pt idx="2396">
                  <c:v>0.9</c:v>
                </c:pt>
                <c:pt idx="2397">
                  <c:v>14.2</c:v>
                </c:pt>
                <c:pt idx="2398">
                  <c:v>7.1</c:v>
                </c:pt>
                <c:pt idx="2399">
                  <c:v>5.5</c:v>
                </c:pt>
                <c:pt idx="2400">
                  <c:v>0.4</c:v>
                </c:pt>
                <c:pt idx="2401">
                  <c:v>6</c:v>
                </c:pt>
                <c:pt idx="2402">
                  <c:v>5</c:v>
                </c:pt>
                <c:pt idx="2403">
                  <c:v>8.3000000000000007</c:v>
                </c:pt>
                <c:pt idx="2404">
                  <c:v>8.1</c:v>
                </c:pt>
                <c:pt idx="2405">
                  <c:v>9</c:v>
                </c:pt>
                <c:pt idx="2406">
                  <c:v>7.8</c:v>
                </c:pt>
                <c:pt idx="2407">
                  <c:v>4.8</c:v>
                </c:pt>
                <c:pt idx="2408">
                  <c:v>9</c:v>
                </c:pt>
                <c:pt idx="2409">
                  <c:v>5.5</c:v>
                </c:pt>
                <c:pt idx="2410">
                  <c:v>4.3</c:v>
                </c:pt>
                <c:pt idx="2411">
                  <c:v>9.4</c:v>
                </c:pt>
                <c:pt idx="2412">
                  <c:v>5.4</c:v>
                </c:pt>
                <c:pt idx="2413">
                  <c:v>6.9</c:v>
                </c:pt>
                <c:pt idx="2414">
                  <c:v>5.9</c:v>
                </c:pt>
                <c:pt idx="2415">
                  <c:v>6</c:v>
                </c:pt>
                <c:pt idx="2416">
                  <c:v>5.4</c:v>
                </c:pt>
                <c:pt idx="2417">
                  <c:v>12.3</c:v>
                </c:pt>
                <c:pt idx="2418">
                  <c:v>6</c:v>
                </c:pt>
                <c:pt idx="2419">
                  <c:v>8.4</c:v>
                </c:pt>
                <c:pt idx="2420">
                  <c:v>7.9</c:v>
                </c:pt>
                <c:pt idx="2421">
                  <c:v>7.6</c:v>
                </c:pt>
                <c:pt idx="2422">
                  <c:v>10.1</c:v>
                </c:pt>
                <c:pt idx="2423">
                  <c:v>15.5</c:v>
                </c:pt>
                <c:pt idx="2424">
                  <c:v>12.6</c:v>
                </c:pt>
                <c:pt idx="2425">
                  <c:v>7.4</c:v>
                </c:pt>
                <c:pt idx="2426">
                  <c:v>5.3</c:v>
                </c:pt>
                <c:pt idx="2427">
                  <c:v>7</c:v>
                </c:pt>
                <c:pt idx="2428">
                  <c:v>11</c:v>
                </c:pt>
                <c:pt idx="2429">
                  <c:v>6.5</c:v>
                </c:pt>
                <c:pt idx="2430">
                  <c:v>1.3</c:v>
                </c:pt>
                <c:pt idx="2431">
                  <c:v>9.6999999999999993</c:v>
                </c:pt>
                <c:pt idx="2432">
                  <c:v>9</c:v>
                </c:pt>
                <c:pt idx="2433">
                  <c:v>7.3</c:v>
                </c:pt>
                <c:pt idx="2434">
                  <c:v>4.0999999999999996</c:v>
                </c:pt>
                <c:pt idx="2435">
                  <c:v>7.7</c:v>
                </c:pt>
                <c:pt idx="2436">
                  <c:v>6.3</c:v>
                </c:pt>
                <c:pt idx="2437">
                  <c:v>8.9</c:v>
                </c:pt>
                <c:pt idx="2438">
                  <c:v>8.1</c:v>
                </c:pt>
                <c:pt idx="2439">
                  <c:v>6.1</c:v>
                </c:pt>
                <c:pt idx="2440">
                  <c:v>5.9</c:v>
                </c:pt>
                <c:pt idx="2441">
                  <c:v>5.2</c:v>
                </c:pt>
                <c:pt idx="2442">
                  <c:v>2.5</c:v>
                </c:pt>
                <c:pt idx="2443">
                  <c:v>11.8</c:v>
                </c:pt>
                <c:pt idx="2444">
                  <c:v>9.6</c:v>
                </c:pt>
                <c:pt idx="2445">
                  <c:v>7</c:v>
                </c:pt>
                <c:pt idx="2446">
                  <c:v>7.7</c:v>
                </c:pt>
                <c:pt idx="2447">
                  <c:v>10</c:v>
                </c:pt>
                <c:pt idx="2448">
                  <c:v>5.9</c:v>
                </c:pt>
                <c:pt idx="2449">
                  <c:v>7.6</c:v>
                </c:pt>
                <c:pt idx="2450">
                  <c:v>9.5</c:v>
                </c:pt>
                <c:pt idx="2451">
                  <c:v>1.1000000000000001</c:v>
                </c:pt>
                <c:pt idx="2452">
                  <c:v>9.6</c:v>
                </c:pt>
                <c:pt idx="2453">
                  <c:v>9.1</c:v>
                </c:pt>
                <c:pt idx="2454">
                  <c:v>8.3000000000000007</c:v>
                </c:pt>
                <c:pt idx="2455">
                  <c:v>9.6999999999999993</c:v>
                </c:pt>
                <c:pt idx="2456">
                  <c:v>5.7</c:v>
                </c:pt>
                <c:pt idx="2457">
                  <c:v>10.6</c:v>
                </c:pt>
                <c:pt idx="2458">
                  <c:v>10</c:v>
                </c:pt>
                <c:pt idx="2459">
                  <c:v>4.9000000000000004</c:v>
                </c:pt>
                <c:pt idx="2460">
                  <c:v>7.8</c:v>
                </c:pt>
                <c:pt idx="2461">
                  <c:v>6.3</c:v>
                </c:pt>
                <c:pt idx="2462">
                  <c:v>5.6</c:v>
                </c:pt>
                <c:pt idx="2463">
                  <c:v>5.0999999999999996</c:v>
                </c:pt>
                <c:pt idx="2464">
                  <c:v>6</c:v>
                </c:pt>
                <c:pt idx="2465">
                  <c:v>6.9</c:v>
                </c:pt>
                <c:pt idx="2466">
                  <c:v>5.4</c:v>
                </c:pt>
                <c:pt idx="2467">
                  <c:v>5.4</c:v>
                </c:pt>
                <c:pt idx="2468">
                  <c:v>8.1</c:v>
                </c:pt>
                <c:pt idx="2469">
                  <c:v>9.1</c:v>
                </c:pt>
                <c:pt idx="2470">
                  <c:v>8.5</c:v>
                </c:pt>
                <c:pt idx="2471">
                  <c:v>8.8000000000000007</c:v>
                </c:pt>
                <c:pt idx="2472">
                  <c:v>3.3</c:v>
                </c:pt>
                <c:pt idx="2473">
                  <c:v>5.2</c:v>
                </c:pt>
                <c:pt idx="2474">
                  <c:v>8.1999999999999993</c:v>
                </c:pt>
                <c:pt idx="2475">
                  <c:v>5.3</c:v>
                </c:pt>
                <c:pt idx="2476">
                  <c:v>4.8</c:v>
                </c:pt>
                <c:pt idx="2477">
                  <c:v>1.3</c:v>
                </c:pt>
                <c:pt idx="2478">
                  <c:v>6.6</c:v>
                </c:pt>
                <c:pt idx="2479">
                  <c:v>8.1999999999999993</c:v>
                </c:pt>
                <c:pt idx="2480">
                  <c:v>8.8000000000000007</c:v>
                </c:pt>
                <c:pt idx="2481">
                  <c:v>12.5</c:v>
                </c:pt>
                <c:pt idx="2482">
                  <c:v>5.2</c:v>
                </c:pt>
                <c:pt idx="2483">
                  <c:v>8.1</c:v>
                </c:pt>
                <c:pt idx="2484">
                  <c:v>9.1</c:v>
                </c:pt>
                <c:pt idx="2485">
                  <c:v>3.9</c:v>
                </c:pt>
                <c:pt idx="2486">
                  <c:v>0.1</c:v>
                </c:pt>
                <c:pt idx="2487">
                  <c:v>10.7</c:v>
                </c:pt>
                <c:pt idx="2488">
                  <c:v>5.6</c:v>
                </c:pt>
                <c:pt idx="2489">
                  <c:v>8.3000000000000007</c:v>
                </c:pt>
                <c:pt idx="2490">
                  <c:v>5.7</c:v>
                </c:pt>
                <c:pt idx="2491">
                  <c:v>7.8</c:v>
                </c:pt>
                <c:pt idx="2492">
                  <c:v>6.5</c:v>
                </c:pt>
                <c:pt idx="2493">
                  <c:v>6.9</c:v>
                </c:pt>
                <c:pt idx="2494">
                  <c:v>7.4</c:v>
                </c:pt>
                <c:pt idx="2495">
                  <c:v>6</c:v>
                </c:pt>
                <c:pt idx="2496">
                  <c:v>12.8</c:v>
                </c:pt>
                <c:pt idx="2497">
                  <c:v>10.6</c:v>
                </c:pt>
                <c:pt idx="2498">
                  <c:v>8</c:v>
                </c:pt>
                <c:pt idx="2499">
                  <c:v>7.5</c:v>
                </c:pt>
                <c:pt idx="2500">
                  <c:v>7.3</c:v>
                </c:pt>
                <c:pt idx="2501">
                  <c:v>6.3</c:v>
                </c:pt>
                <c:pt idx="2502">
                  <c:v>6.2</c:v>
                </c:pt>
                <c:pt idx="2503">
                  <c:v>6</c:v>
                </c:pt>
                <c:pt idx="2504">
                  <c:v>5.9</c:v>
                </c:pt>
                <c:pt idx="2505">
                  <c:v>5.7</c:v>
                </c:pt>
                <c:pt idx="2506">
                  <c:v>5</c:v>
                </c:pt>
                <c:pt idx="2507">
                  <c:v>12.1</c:v>
                </c:pt>
                <c:pt idx="2508">
                  <c:v>6.9</c:v>
                </c:pt>
                <c:pt idx="2509">
                  <c:v>4.4000000000000004</c:v>
                </c:pt>
                <c:pt idx="2510">
                  <c:v>7.8</c:v>
                </c:pt>
                <c:pt idx="2511">
                  <c:v>7.5</c:v>
                </c:pt>
                <c:pt idx="2512">
                  <c:v>8.6999999999999993</c:v>
                </c:pt>
                <c:pt idx="2513">
                  <c:v>2.6</c:v>
                </c:pt>
                <c:pt idx="2514">
                  <c:v>7.6</c:v>
                </c:pt>
                <c:pt idx="2515">
                  <c:v>7.2</c:v>
                </c:pt>
                <c:pt idx="2516">
                  <c:v>6.8</c:v>
                </c:pt>
                <c:pt idx="2517">
                  <c:v>9.5</c:v>
                </c:pt>
                <c:pt idx="2518">
                  <c:v>8.4</c:v>
                </c:pt>
                <c:pt idx="2519">
                  <c:v>8.4</c:v>
                </c:pt>
                <c:pt idx="2520">
                  <c:v>8.1</c:v>
                </c:pt>
                <c:pt idx="2521">
                  <c:v>5.9</c:v>
                </c:pt>
                <c:pt idx="2522">
                  <c:v>7.4</c:v>
                </c:pt>
                <c:pt idx="2523">
                  <c:v>5.4</c:v>
                </c:pt>
                <c:pt idx="2524">
                  <c:v>5.4</c:v>
                </c:pt>
                <c:pt idx="2525">
                  <c:v>8.8000000000000007</c:v>
                </c:pt>
                <c:pt idx="2526">
                  <c:v>7.9</c:v>
                </c:pt>
                <c:pt idx="2527">
                  <c:v>7.3</c:v>
                </c:pt>
                <c:pt idx="2528">
                  <c:v>7</c:v>
                </c:pt>
                <c:pt idx="2529">
                  <c:v>9.4</c:v>
                </c:pt>
                <c:pt idx="2530">
                  <c:v>7.4</c:v>
                </c:pt>
                <c:pt idx="2531">
                  <c:v>12</c:v>
                </c:pt>
                <c:pt idx="2532">
                  <c:v>0.7</c:v>
                </c:pt>
                <c:pt idx="2533">
                  <c:v>7.3</c:v>
                </c:pt>
                <c:pt idx="2534">
                  <c:v>7.8</c:v>
                </c:pt>
                <c:pt idx="2535">
                  <c:v>5.4</c:v>
                </c:pt>
                <c:pt idx="2536">
                  <c:v>8.8000000000000007</c:v>
                </c:pt>
                <c:pt idx="2537">
                  <c:v>11.5</c:v>
                </c:pt>
                <c:pt idx="2538">
                  <c:v>6.7</c:v>
                </c:pt>
                <c:pt idx="2539">
                  <c:v>8.6999999999999993</c:v>
                </c:pt>
                <c:pt idx="2540">
                  <c:v>6.6</c:v>
                </c:pt>
                <c:pt idx="2541">
                  <c:v>3.4</c:v>
                </c:pt>
                <c:pt idx="2542">
                  <c:v>10.4</c:v>
                </c:pt>
                <c:pt idx="2543">
                  <c:v>12</c:v>
                </c:pt>
                <c:pt idx="2544">
                  <c:v>7.1</c:v>
                </c:pt>
                <c:pt idx="2545">
                  <c:v>5.5</c:v>
                </c:pt>
                <c:pt idx="2546">
                  <c:v>5.3</c:v>
                </c:pt>
                <c:pt idx="2547">
                  <c:v>8.1999999999999993</c:v>
                </c:pt>
                <c:pt idx="2548">
                  <c:v>8</c:v>
                </c:pt>
                <c:pt idx="2549">
                  <c:v>2</c:v>
                </c:pt>
                <c:pt idx="2550">
                  <c:v>7.1</c:v>
                </c:pt>
                <c:pt idx="2551">
                  <c:v>3.9</c:v>
                </c:pt>
                <c:pt idx="2552">
                  <c:v>2.2000000000000002</c:v>
                </c:pt>
                <c:pt idx="2553">
                  <c:v>9.5</c:v>
                </c:pt>
                <c:pt idx="2554">
                  <c:v>12.7</c:v>
                </c:pt>
                <c:pt idx="2555">
                  <c:v>3.8</c:v>
                </c:pt>
                <c:pt idx="2556">
                  <c:v>11.5</c:v>
                </c:pt>
                <c:pt idx="2557">
                  <c:v>7.5</c:v>
                </c:pt>
                <c:pt idx="2558">
                  <c:v>7.6</c:v>
                </c:pt>
                <c:pt idx="2559">
                  <c:v>13.5</c:v>
                </c:pt>
                <c:pt idx="2560">
                  <c:v>2.8</c:v>
                </c:pt>
                <c:pt idx="2561">
                  <c:v>7.4</c:v>
                </c:pt>
                <c:pt idx="2562">
                  <c:v>10.5</c:v>
                </c:pt>
                <c:pt idx="2563">
                  <c:v>9.8000000000000007</c:v>
                </c:pt>
                <c:pt idx="2564">
                  <c:v>7.4</c:v>
                </c:pt>
                <c:pt idx="2565">
                  <c:v>6.5</c:v>
                </c:pt>
                <c:pt idx="2566">
                  <c:v>6.5</c:v>
                </c:pt>
                <c:pt idx="2567">
                  <c:v>4.0999999999999996</c:v>
                </c:pt>
                <c:pt idx="2568">
                  <c:v>6.7</c:v>
                </c:pt>
                <c:pt idx="2569">
                  <c:v>7</c:v>
                </c:pt>
                <c:pt idx="2570">
                  <c:v>11.4</c:v>
                </c:pt>
                <c:pt idx="2571">
                  <c:v>5.0999999999999996</c:v>
                </c:pt>
                <c:pt idx="2572">
                  <c:v>12.1</c:v>
                </c:pt>
                <c:pt idx="2573">
                  <c:v>6.7</c:v>
                </c:pt>
                <c:pt idx="2574">
                  <c:v>1.8</c:v>
                </c:pt>
                <c:pt idx="2575">
                  <c:v>10.6</c:v>
                </c:pt>
                <c:pt idx="2576">
                  <c:v>9.9</c:v>
                </c:pt>
                <c:pt idx="2577">
                  <c:v>6</c:v>
                </c:pt>
                <c:pt idx="2578">
                  <c:v>8.5</c:v>
                </c:pt>
                <c:pt idx="2579">
                  <c:v>7.5</c:v>
                </c:pt>
                <c:pt idx="2580">
                  <c:v>12.7</c:v>
                </c:pt>
                <c:pt idx="2581">
                  <c:v>6.6</c:v>
                </c:pt>
                <c:pt idx="2582">
                  <c:v>8.6</c:v>
                </c:pt>
                <c:pt idx="2583">
                  <c:v>6.1</c:v>
                </c:pt>
                <c:pt idx="2584">
                  <c:v>7</c:v>
                </c:pt>
                <c:pt idx="2585">
                  <c:v>6.9</c:v>
                </c:pt>
                <c:pt idx="2586">
                  <c:v>7.1</c:v>
                </c:pt>
                <c:pt idx="2587">
                  <c:v>4.0999999999999996</c:v>
                </c:pt>
                <c:pt idx="2588">
                  <c:v>8.1</c:v>
                </c:pt>
                <c:pt idx="2589">
                  <c:v>10.7</c:v>
                </c:pt>
                <c:pt idx="2590">
                  <c:v>6.9</c:v>
                </c:pt>
                <c:pt idx="2591">
                  <c:v>3.3</c:v>
                </c:pt>
                <c:pt idx="2592">
                  <c:v>10.6</c:v>
                </c:pt>
                <c:pt idx="2593">
                  <c:v>6</c:v>
                </c:pt>
                <c:pt idx="2594">
                  <c:v>3.5</c:v>
                </c:pt>
                <c:pt idx="2595">
                  <c:v>1.1000000000000001</c:v>
                </c:pt>
                <c:pt idx="2596">
                  <c:v>7.9</c:v>
                </c:pt>
                <c:pt idx="2597">
                  <c:v>1.4</c:v>
                </c:pt>
                <c:pt idx="2598">
                  <c:v>12</c:v>
                </c:pt>
                <c:pt idx="2599">
                  <c:v>6.3</c:v>
                </c:pt>
                <c:pt idx="2600">
                  <c:v>5.0999999999999996</c:v>
                </c:pt>
                <c:pt idx="2601">
                  <c:v>7.4</c:v>
                </c:pt>
                <c:pt idx="2602">
                  <c:v>7.2</c:v>
                </c:pt>
                <c:pt idx="2603">
                  <c:v>7.1</c:v>
                </c:pt>
                <c:pt idx="2604">
                  <c:v>5.0999999999999996</c:v>
                </c:pt>
                <c:pt idx="2605">
                  <c:v>5.9</c:v>
                </c:pt>
                <c:pt idx="2606">
                  <c:v>8.6999999999999993</c:v>
                </c:pt>
                <c:pt idx="2607">
                  <c:v>10.4</c:v>
                </c:pt>
                <c:pt idx="2608">
                  <c:v>4.4000000000000004</c:v>
                </c:pt>
                <c:pt idx="2609">
                  <c:v>4.7</c:v>
                </c:pt>
                <c:pt idx="2610">
                  <c:v>8.1</c:v>
                </c:pt>
                <c:pt idx="2611">
                  <c:v>6.7</c:v>
                </c:pt>
                <c:pt idx="2612">
                  <c:v>9.1</c:v>
                </c:pt>
                <c:pt idx="2613">
                  <c:v>11.2</c:v>
                </c:pt>
                <c:pt idx="2614">
                  <c:v>4.4000000000000004</c:v>
                </c:pt>
                <c:pt idx="2615">
                  <c:v>10.199999999999999</c:v>
                </c:pt>
                <c:pt idx="2616">
                  <c:v>12.9</c:v>
                </c:pt>
                <c:pt idx="2617">
                  <c:v>8.1</c:v>
                </c:pt>
                <c:pt idx="2618">
                  <c:v>7.5</c:v>
                </c:pt>
                <c:pt idx="2619">
                  <c:v>10.1</c:v>
                </c:pt>
                <c:pt idx="2620">
                  <c:v>9.6</c:v>
                </c:pt>
                <c:pt idx="2621">
                  <c:v>7.2</c:v>
                </c:pt>
                <c:pt idx="2622">
                  <c:v>4.9000000000000004</c:v>
                </c:pt>
                <c:pt idx="2623">
                  <c:v>9.3000000000000007</c:v>
                </c:pt>
                <c:pt idx="2624">
                  <c:v>5.9</c:v>
                </c:pt>
                <c:pt idx="2625">
                  <c:v>4.8</c:v>
                </c:pt>
                <c:pt idx="2626">
                  <c:v>6.9</c:v>
                </c:pt>
                <c:pt idx="2627">
                  <c:v>10.8</c:v>
                </c:pt>
                <c:pt idx="2628">
                  <c:v>5.2</c:v>
                </c:pt>
                <c:pt idx="2629">
                  <c:v>12.3</c:v>
                </c:pt>
                <c:pt idx="2630">
                  <c:v>8</c:v>
                </c:pt>
                <c:pt idx="2631">
                  <c:v>14.8</c:v>
                </c:pt>
                <c:pt idx="2632">
                  <c:v>5.7</c:v>
                </c:pt>
                <c:pt idx="2633">
                  <c:v>10.1</c:v>
                </c:pt>
                <c:pt idx="2634">
                  <c:v>9.1</c:v>
                </c:pt>
                <c:pt idx="2635">
                  <c:v>6.5</c:v>
                </c:pt>
                <c:pt idx="2636">
                  <c:v>7.6</c:v>
                </c:pt>
                <c:pt idx="2637">
                  <c:v>10.5</c:v>
                </c:pt>
                <c:pt idx="2638">
                  <c:v>10.4</c:v>
                </c:pt>
                <c:pt idx="2639">
                  <c:v>9.1999999999999993</c:v>
                </c:pt>
                <c:pt idx="2640">
                  <c:v>8.9</c:v>
                </c:pt>
                <c:pt idx="2641">
                  <c:v>6.5</c:v>
                </c:pt>
                <c:pt idx="2642">
                  <c:v>4.7</c:v>
                </c:pt>
                <c:pt idx="2643">
                  <c:v>6.8</c:v>
                </c:pt>
                <c:pt idx="2644">
                  <c:v>5.8</c:v>
                </c:pt>
                <c:pt idx="2645">
                  <c:v>5.4</c:v>
                </c:pt>
                <c:pt idx="2646">
                  <c:v>9.5</c:v>
                </c:pt>
                <c:pt idx="2647">
                  <c:v>7.7</c:v>
                </c:pt>
                <c:pt idx="2648">
                  <c:v>4.3</c:v>
                </c:pt>
                <c:pt idx="2649">
                  <c:v>5.9</c:v>
                </c:pt>
                <c:pt idx="2650">
                  <c:v>11</c:v>
                </c:pt>
                <c:pt idx="2651">
                  <c:v>6.3</c:v>
                </c:pt>
                <c:pt idx="2652">
                  <c:v>4</c:v>
                </c:pt>
                <c:pt idx="2653">
                  <c:v>1.2</c:v>
                </c:pt>
                <c:pt idx="2654">
                  <c:v>7.4</c:v>
                </c:pt>
                <c:pt idx="2655">
                  <c:v>7</c:v>
                </c:pt>
                <c:pt idx="2656">
                  <c:v>10.7</c:v>
                </c:pt>
                <c:pt idx="2657">
                  <c:v>4.5</c:v>
                </c:pt>
                <c:pt idx="2658">
                  <c:v>6.4</c:v>
                </c:pt>
                <c:pt idx="2659">
                  <c:v>5.0999999999999996</c:v>
                </c:pt>
                <c:pt idx="2660">
                  <c:v>6.7</c:v>
                </c:pt>
                <c:pt idx="2661">
                  <c:v>6.7</c:v>
                </c:pt>
                <c:pt idx="2662">
                  <c:v>5.6</c:v>
                </c:pt>
                <c:pt idx="2663">
                  <c:v>12.1</c:v>
                </c:pt>
                <c:pt idx="2664">
                  <c:v>4.4000000000000004</c:v>
                </c:pt>
                <c:pt idx="2665">
                  <c:v>2.9</c:v>
                </c:pt>
                <c:pt idx="2666">
                  <c:v>5</c:v>
                </c:pt>
                <c:pt idx="2667">
                  <c:v>11</c:v>
                </c:pt>
                <c:pt idx="2668">
                  <c:v>7</c:v>
                </c:pt>
                <c:pt idx="2669">
                  <c:v>7.5</c:v>
                </c:pt>
                <c:pt idx="2670">
                  <c:v>10.8</c:v>
                </c:pt>
                <c:pt idx="2671">
                  <c:v>3.3</c:v>
                </c:pt>
                <c:pt idx="2672">
                  <c:v>2.2999999999999998</c:v>
                </c:pt>
                <c:pt idx="2673">
                  <c:v>9.1</c:v>
                </c:pt>
                <c:pt idx="2674">
                  <c:v>11.8</c:v>
                </c:pt>
                <c:pt idx="2675">
                  <c:v>11.2</c:v>
                </c:pt>
                <c:pt idx="2676">
                  <c:v>9.4</c:v>
                </c:pt>
                <c:pt idx="2677">
                  <c:v>7.8</c:v>
                </c:pt>
                <c:pt idx="2678">
                  <c:v>7</c:v>
                </c:pt>
                <c:pt idx="2679">
                  <c:v>9.6</c:v>
                </c:pt>
                <c:pt idx="2680">
                  <c:v>7.1</c:v>
                </c:pt>
                <c:pt idx="2681">
                  <c:v>4</c:v>
                </c:pt>
                <c:pt idx="2682">
                  <c:v>12.3</c:v>
                </c:pt>
                <c:pt idx="2683">
                  <c:v>9.6999999999999993</c:v>
                </c:pt>
                <c:pt idx="2684">
                  <c:v>7.6</c:v>
                </c:pt>
                <c:pt idx="2685">
                  <c:v>7.9</c:v>
                </c:pt>
                <c:pt idx="2686">
                  <c:v>7.4</c:v>
                </c:pt>
                <c:pt idx="2687">
                  <c:v>8.9</c:v>
                </c:pt>
                <c:pt idx="2688">
                  <c:v>8.1</c:v>
                </c:pt>
                <c:pt idx="2689">
                  <c:v>6.6</c:v>
                </c:pt>
                <c:pt idx="2690">
                  <c:v>6.3</c:v>
                </c:pt>
                <c:pt idx="2691">
                  <c:v>7.5</c:v>
                </c:pt>
                <c:pt idx="2692">
                  <c:v>5.3</c:v>
                </c:pt>
                <c:pt idx="2693">
                  <c:v>7.5</c:v>
                </c:pt>
                <c:pt idx="2694">
                  <c:v>2.9</c:v>
                </c:pt>
                <c:pt idx="2695">
                  <c:v>9</c:v>
                </c:pt>
                <c:pt idx="2696">
                  <c:v>6.6</c:v>
                </c:pt>
                <c:pt idx="2697">
                  <c:v>6.4</c:v>
                </c:pt>
                <c:pt idx="2698">
                  <c:v>2.8</c:v>
                </c:pt>
                <c:pt idx="2699">
                  <c:v>8.6999999999999993</c:v>
                </c:pt>
                <c:pt idx="2700">
                  <c:v>6</c:v>
                </c:pt>
                <c:pt idx="2701">
                  <c:v>7.6</c:v>
                </c:pt>
                <c:pt idx="2702">
                  <c:v>6.8</c:v>
                </c:pt>
                <c:pt idx="2703">
                  <c:v>6.3</c:v>
                </c:pt>
                <c:pt idx="2704">
                  <c:v>10.199999999999999</c:v>
                </c:pt>
                <c:pt idx="2705">
                  <c:v>7</c:v>
                </c:pt>
                <c:pt idx="2706">
                  <c:v>4.3</c:v>
                </c:pt>
                <c:pt idx="2707">
                  <c:v>7.7</c:v>
                </c:pt>
                <c:pt idx="2708">
                  <c:v>4.5</c:v>
                </c:pt>
                <c:pt idx="2709">
                  <c:v>4.5</c:v>
                </c:pt>
                <c:pt idx="2710">
                  <c:v>7.2</c:v>
                </c:pt>
                <c:pt idx="2711">
                  <c:v>2.8</c:v>
                </c:pt>
                <c:pt idx="2712">
                  <c:v>2.2000000000000002</c:v>
                </c:pt>
                <c:pt idx="2713">
                  <c:v>7.1</c:v>
                </c:pt>
                <c:pt idx="2714">
                  <c:v>10.7</c:v>
                </c:pt>
                <c:pt idx="2715">
                  <c:v>10.3</c:v>
                </c:pt>
                <c:pt idx="2716">
                  <c:v>6.9</c:v>
                </c:pt>
                <c:pt idx="2717">
                  <c:v>4.8</c:v>
                </c:pt>
                <c:pt idx="2718">
                  <c:v>7.1</c:v>
                </c:pt>
                <c:pt idx="2719">
                  <c:v>10.6</c:v>
                </c:pt>
                <c:pt idx="2720">
                  <c:v>6.3</c:v>
                </c:pt>
                <c:pt idx="2721">
                  <c:v>6.7</c:v>
                </c:pt>
                <c:pt idx="2722">
                  <c:v>4.8</c:v>
                </c:pt>
                <c:pt idx="2723">
                  <c:v>7.9</c:v>
                </c:pt>
                <c:pt idx="2724">
                  <c:v>5.6</c:v>
                </c:pt>
                <c:pt idx="2725">
                  <c:v>8.3000000000000007</c:v>
                </c:pt>
                <c:pt idx="2726">
                  <c:v>8.1999999999999993</c:v>
                </c:pt>
                <c:pt idx="2727">
                  <c:v>6</c:v>
                </c:pt>
                <c:pt idx="2728">
                  <c:v>5.8</c:v>
                </c:pt>
                <c:pt idx="2729">
                  <c:v>8.6999999999999993</c:v>
                </c:pt>
                <c:pt idx="2730">
                  <c:v>6.8</c:v>
                </c:pt>
                <c:pt idx="2731">
                  <c:v>9.6</c:v>
                </c:pt>
                <c:pt idx="2732">
                  <c:v>5.3</c:v>
                </c:pt>
                <c:pt idx="2733">
                  <c:v>10.199999999999999</c:v>
                </c:pt>
                <c:pt idx="2734">
                  <c:v>1.7</c:v>
                </c:pt>
                <c:pt idx="2735">
                  <c:v>4.4000000000000004</c:v>
                </c:pt>
                <c:pt idx="2736">
                  <c:v>13.8</c:v>
                </c:pt>
                <c:pt idx="2737">
                  <c:v>9.1</c:v>
                </c:pt>
                <c:pt idx="2738">
                  <c:v>8.9</c:v>
                </c:pt>
                <c:pt idx="2739">
                  <c:v>8.4</c:v>
                </c:pt>
                <c:pt idx="2740">
                  <c:v>8.1999999999999993</c:v>
                </c:pt>
                <c:pt idx="2741">
                  <c:v>6.9</c:v>
                </c:pt>
                <c:pt idx="2742">
                  <c:v>6.4</c:v>
                </c:pt>
                <c:pt idx="2743">
                  <c:v>5.9</c:v>
                </c:pt>
                <c:pt idx="2744">
                  <c:v>5.3</c:v>
                </c:pt>
                <c:pt idx="2745">
                  <c:v>4.9000000000000004</c:v>
                </c:pt>
                <c:pt idx="2746">
                  <c:v>6.8</c:v>
                </c:pt>
                <c:pt idx="2747">
                  <c:v>6.3</c:v>
                </c:pt>
                <c:pt idx="2748">
                  <c:v>5.5</c:v>
                </c:pt>
                <c:pt idx="2749">
                  <c:v>7.3</c:v>
                </c:pt>
                <c:pt idx="2750">
                  <c:v>8.1999999999999993</c:v>
                </c:pt>
                <c:pt idx="2751">
                  <c:v>6.2</c:v>
                </c:pt>
                <c:pt idx="2752">
                  <c:v>6.1</c:v>
                </c:pt>
                <c:pt idx="2753">
                  <c:v>8.6999999999999993</c:v>
                </c:pt>
                <c:pt idx="2754">
                  <c:v>9.9</c:v>
                </c:pt>
                <c:pt idx="2755">
                  <c:v>9.4</c:v>
                </c:pt>
                <c:pt idx="2756">
                  <c:v>6.5</c:v>
                </c:pt>
                <c:pt idx="2757">
                  <c:v>3.6</c:v>
                </c:pt>
                <c:pt idx="2758">
                  <c:v>11.2</c:v>
                </c:pt>
                <c:pt idx="2759">
                  <c:v>3.4</c:v>
                </c:pt>
                <c:pt idx="2760">
                  <c:v>9.4</c:v>
                </c:pt>
                <c:pt idx="2761">
                  <c:v>7.9</c:v>
                </c:pt>
                <c:pt idx="2762">
                  <c:v>4.0999999999999996</c:v>
                </c:pt>
                <c:pt idx="2763">
                  <c:v>13.7</c:v>
                </c:pt>
                <c:pt idx="2764">
                  <c:v>7</c:v>
                </c:pt>
                <c:pt idx="2765">
                  <c:v>5</c:v>
                </c:pt>
                <c:pt idx="2766">
                  <c:v>6.9</c:v>
                </c:pt>
                <c:pt idx="2767">
                  <c:v>7.5</c:v>
                </c:pt>
                <c:pt idx="2768">
                  <c:v>5.2</c:v>
                </c:pt>
                <c:pt idx="2769">
                  <c:v>7.5</c:v>
                </c:pt>
                <c:pt idx="2770">
                  <c:v>4.5</c:v>
                </c:pt>
                <c:pt idx="2771">
                  <c:v>10.1</c:v>
                </c:pt>
                <c:pt idx="2772">
                  <c:v>5.8</c:v>
                </c:pt>
                <c:pt idx="2773">
                  <c:v>9.6999999999999993</c:v>
                </c:pt>
                <c:pt idx="2774">
                  <c:v>9.9</c:v>
                </c:pt>
                <c:pt idx="2775">
                  <c:v>10.8</c:v>
                </c:pt>
                <c:pt idx="2776">
                  <c:v>4.2</c:v>
                </c:pt>
                <c:pt idx="2777">
                  <c:v>5.3</c:v>
                </c:pt>
                <c:pt idx="2778">
                  <c:v>8</c:v>
                </c:pt>
                <c:pt idx="2779">
                  <c:v>4.3</c:v>
                </c:pt>
                <c:pt idx="2780">
                  <c:v>12.9</c:v>
                </c:pt>
                <c:pt idx="2781">
                  <c:v>7.9</c:v>
                </c:pt>
                <c:pt idx="2782">
                  <c:v>5.5</c:v>
                </c:pt>
                <c:pt idx="2783">
                  <c:v>5.9</c:v>
                </c:pt>
                <c:pt idx="2784">
                  <c:v>4.8</c:v>
                </c:pt>
                <c:pt idx="2785">
                  <c:v>11.5</c:v>
                </c:pt>
                <c:pt idx="2786">
                  <c:v>3.5</c:v>
                </c:pt>
                <c:pt idx="2787">
                  <c:v>9.9</c:v>
                </c:pt>
                <c:pt idx="2788">
                  <c:v>13.9</c:v>
                </c:pt>
                <c:pt idx="2789">
                  <c:v>9.9</c:v>
                </c:pt>
                <c:pt idx="2790">
                  <c:v>4.8</c:v>
                </c:pt>
                <c:pt idx="2791">
                  <c:v>6.7</c:v>
                </c:pt>
                <c:pt idx="2792">
                  <c:v>3.2</c:v>
                </c:pt>
                <c:pt idx="2793">
                  <c:v>4.3</c:v>
                </c:pt>
                <c:pt idx="2794">
                  <c:v>12.6</c:v>
                </c:pt>
                <c:pt idx="2795">
                  <c:v>6.8</c:v>
                </c:pt>
                <c:pt idx="2796">
                  <c:v>6.8</c:v>
                </c:pt>
                <c:pt idx="2797">
                  <c:v>6.7</c:v>
                </c:pt>
                <c:pt idx="2798">
                  <c:v>6.9</c:v>
                </c:pt>
                <c:pt idx="2799">
                  <c:v>5.2</c:v>
                </c:pt>
                <c:pt idx="2800">
                  <c:v>4.7</c:v>
                </c:pt>
                <c:pt idx="2801">
                  <c:v>5.9</c:v>
                </c:pt>
                <c:pt idx="2802">
                  <c:v>7.4</c:v>
                </c:pt>
                <c:pt idx="2803">
                  <c:v>14.8</c:v>
                </c:pt>
                <c:pt idx="2804">
                  <c:v>11</c:v>
                </c:pt>
                <c:pt idx="2805">
                  <c:v>6</c:v>
                </c:pt>
                <c:pt idx="2806">
                  <c:v>11.4</c:v>
                </c:pt>
                <c:pt idx="2807">
                  <c:v>8.9</c:v>
                </c:pt>
                <c:pt idx="2808">
                  <c:v>1</c:v>
                </c:pt>
                <c:pt idx="2809">
                  <c:v>9.6</c:v>
                </c:pt>
                <c:pt idx="2810">
                  <c:v>1.7</c:v>
                </c:pt>
                <c:pt idx="2811">
                  <c:v>6.3</c:v>
                </c:pt>
                <c:pt idx="2812">
                  <c:v>6.6</c:v>
                </c:pt>
                <c:pt idx="2813">
                  <c:v>6.6</c:v>
                </c:pt>
                <c:pt idx="2814">
                  <c:v>11</c:v>
                </c:pt>
                <c:pt idx="2815">
                  <c:v>7.1</c:v>
                </c:pt>
                <c:pt idx="2816">
                  <c:v>7.6</c:v>
                </c:pt>
                <c:pt idx="2817">
                  <c:v>4.9000000000000004</c:v>
                </c:pt>
                <c:pt idx="2818">
                  <c:v>6</c:v>
                </c:pt>
                <c:pt idx="2819">
                  <c:v>8.5</c:v>
                </c:pt>
                <c:pt idx="2820">
                  <c:v>12.2</c:v>
                </c:pt>
                <c:pt idx="2821">
                  <c:v>4.8</c:v>
                </c:pt>
                <c:pt idx="2822">
                  <c:v>7.9</c:v>
                </c:pt>
                <c:pt idx="2823">
                  <c:v>8.9</c:v>
                </c:pt>
                <c:pt idx="2824">
                  <c:v>7.7</c:v>
                </c:pt>
                <c:pt idx="2825">
                  <c:v>4.5</c:v>
                </c:pt>
                <c:pt idx="2826">
                  <c:v>12.5</c:v>
                </c:pt>
                <c:pt idx="2827">
                  <c:v>10.6</c:v>
                </c:pt>
                <c:pt idx="2828">
                  <c:v>7.8</c:v>
                </c:pt>
                <c:pt idx="2829">
                  <c:v>7.6</c:v>
                </c:pt>
                <c:pt idx="2830">
                  <c:v>10</c:v>
                </c:pt>
                <c:pt idx="2831">
                  <c:v>5.7</c:v>
                </c:pt>
                <c:pt idx="2832">
                  <c:v>8.3000000000000007</c:v>
                </c:pt>
                <c:pt idx="2833">
                  <c:v>7.2</c:v>
                </c:pt>
                <c:pt idx="2834">
                  <c:v>5.8</c:v>
                </c:pt>
                <c:pt idx="2835">
                  <c:v>4.9000000000000004</c:v>
                </c:pt>
                <c:pt idx="2836">
                  <c:v>5.2</c:v>
                </c:pt>
                <c:pt idx="2837">
                  <c:v>7.4</c:v>
                </c:pt>
                <c:pt idx="2838">
                  <c:v>8.5</c:v>
                </c:pt>
                <c:pt idx="2839">
                  <c:v>5.7</c:v>
                </c:pt>
                <c:pt idx="2840">
                  <c:v>7</c:v>
                </c:pt>
                <c:pt idx="2841">
                  <c:v>10</c:v>
                </c:pt>
                <c:pt idx="2842">
                  <c:v>7.2</c:v>
                </c:pt>
                <c:pt idx="2843">
                  <c:v>10.4</c:v>
                </c:pt>
                <c:pt idx="2844">
                  <c:v>9.1</c:v>
                </c:pt>
                <c:pt idx="2845">
                  <c:v>5.7</c:v>
                </c:pt>
                <c:pt idx="2846">
                  <c:v>7</c:v>
                </c:pt>
                <c:pt idx="2847">
                  <c:v>13.6</c:v>
                </c:pt>
                <c:pt idx="2848">
                  <c:v>7.5</c:v>
                </c:pt>
                <c:pt idx="2849">
                  <c:v>3.7</c:v>
                </c:pt>
                <c:pt idx="2850">
                  <c:v>10.4</c:v>
                </c:pt>
                <c:pt idx="2851">
                  <c:v>7.4</c:v>
                </c:pt>
                <c:pt idx="2852">
                  <c:v>6.1</c:v>
                </c:pt>
                <c:pt idx="2853">
                  <c:v>7.5</c:v>
                </c:pt>
                <c:pt idx="2854">
                  <c:v>9</c:v>
                </c:pt>
                <c:pt idx="2855">
                  <c:v>6.1</c:v>
                </c:pt>
                <c:pt idx="2856">
                  <c:v>8.6</c:v>
                </c:pt>
                <c:pt idx="2857">
                  <c:v>9.5</c:v>
                </c:pt>
                <c:pt idx="2858">
                  <c:v>7.7</c:v>
                </c:pt>
                <c:pt idx="2859">
                  <c:v>7.3</c:v>
                </c:pt>
                <c:pt idx="2860">
                  <c:v>6.9</c:v>
                </c:pt>
                <c:pt idx="2861">
                  <c:v>4.7</c:v>
                </c:pt>
                <c:pt idx="2862">
                  <c:v>7.4</c:v>
                </c:pt>
                <c:pt idx="2863">
                  <c:v>5.7</c:v>
                </c:pt>
                <c:pt idx="2864">
                  <c:v>5.6</c:v>
                </c:pt>
                <c:pt idx="2865">
                  <c:v>5.3</c:v>
                </c:pt>
                <c:pt idx="2866">
                  <c:v>6.9</c:v>
                </c:pt>
                <c:pt idx="2867">
                  <c:v>3</c:v>
                </c:pt>
                <c:pt idx="2868">
                  <c:v>1</c:v>
                </c:pt>
                <c:pt idx="2869">
                  <c:v>5.4</c:v>
                </c:pt>
                <c:pt idx="2870">
                  <c:v>5.9</c:v>
                </c:pt>
                <c:pt idx="2871">
                  <c:v>10.6</c:v>
                </c:pt>
                <c:pt idx="2872">
                  <c:v>6.8</c:v>
                </c:pt>
                <c:pt idx="2873">
                  <c:v>5.6</c:v>
                </c:pt>
                <c:pt idx="2874">
                  <c:v>3.2</c:v>
                </c:pt>
                <c:pt idx="2875">
                  <c:v>1.1000000000000001</c:v>
                </c:pt>
                <c:pt idx="2876">
                  <c:v>8.4</c:v>
                </c:pt>
                <c:pt idx="2877">
                  <c:v>6.2</c:v>
                </c:pt>
                <c:pt idx="2878">
                  <c:v>9.1</c:v>
                </c:pt>
                <c:pt idx="2879">
                  <c:v>7.7</c:v>
                </c:pt>
                <c:pt idx="2880">
                  <c:v>8.8000000000000007</c:v>
                </c:pt>
                <c:pt idx="2881">
                  <c:v>8.9</c:v>
                </c:pt>
                <c:pt idx="2882">
                  <c:v>8.8000000000000007</c:v>
                </c:pt>
                <c:pt idx="2883">
                  <c:v>10.4</c:v>
                </c:pt>
                <c:pt idx="2884">
                  <c:v>6.5</c:v>
                </c:pt>
                <c:pt idx="2885">
                  <c:v>8.3000000000000007</c:v>
                </c:pt>
                <c:pt idx="2886">
                  <c:v>4.5999999999999996</c:v>
                </c:pt>
                <c:pt idx="2887">
                  <c:v>9.1999999999999993</c:v>
                </c:pt>
                <c:pt idx="2888">
                  <c:v>8.6999999999999993</c:v>
                </c:pt>
                <c:pt idx="2889">
                  <c:v>5.3</c:v>
                </c:pt>
                <c:pt idx="2890">
                  <c:v>13.9</c:v>
                </c:pt>
                <c:pt idx="2891">
                  <c:v>8</c:v>
                </c:pt>
                <c:pt idx="2892">
                  <c:v>7.3</c:v>
                </c:pt>
                <c:pt idx="2893">
                  <c:v>10.199999999999999</c:v>
                </c:pt>
                <c:pt idx="2894">
                  <c:v>7.6</c:v>
                </c:pt>
                <c:pt idx="2895">
                  <c:v>7.9</c:v>
                </c:pt>
                <c:pt idx="2896">
                  <c:v>5.4</c:v>
                </c:pt>
                <c:pt idx="2897">
                  <c:v>7.2</c:v>
                </c:pt>
                <c:pt idx="2898">
                  <c:v>5.5</c:v>
                </c:pt>
                <c:pt idx="2899">
                  <c:v>4.0999999999999996</c:v>
                </c:pt>
                <c:pt idx="2900">
                  <c:v>6.6</c:v>
                </c:pt>
                <c:pt idx="2901">
                  <c:v>8.1</c:v>
                </c:pt>
                <c:pt idx="2902">
                  <c:v>9.3000000000000007</c:v>
                </c:pt>
                <c:pt idx="2903">
                  <c:v>7.1</c:v>
                </c:pt>
                <c:pt idx="2904">
                  <c:v>9.9</c:v>
                </c:pt>
                <c:pt idx="2905">
                  <c:v>5.4</c:v>
                </c:pt>
                <c:pt idx="2906">
                  <c:v>9.4</c:v>
                </c:pt>
                <c:pt idx="2907">
                  <c:v>4.5</c:v>
                </c:pt>
                <c:pt idx="2908">
                  <c:v>9.6999999999999993</c:v>
                </c:pt>
                <c:pt idx="2909">
                  <c:v>8.9</c:v>
                </c:pt>
                <c:pt idx="2910">
                  <c:v>7.8</c:v>
                </c:pt>
                <c:pt idx="2911">
                  <c:v>6</c:v>
                </c:pt>
                <c:pt idx="2912">
                  <c:v>8</c:v>
                </c:pt>
                <c:pt idx="2913">
                  <c:v>12.8</c:v>
                </c:pt>
                <c:pt idx="2914">
                  <c:v>3.6</c:v>
                </c:pt>
                <c:pt idx="2915">
                  <c:v>5.0999999999999996</c:v>
                </c:pt>
                <c:pt idx="2916">
                  <c:v>7</c:v>
                </c:pt>
                <c:pt idx="2917">
                  <c:v>7.7</c:v>
                </c:pt>
                <c:pt idx="2918">
                  <c:v>1.1000000000000001</c:v>
                </c:pt>
                <c:pt idx="2919">
                  <c:v>8.6</c:v>
                </c:pt>
                <c:pt idx="2920">
                  <c:v>7</c:v>
                </c:pt>
                <c:pt idx="2921">
                  <c:v>4.5</c:v>
                </c:pt>
                <c:pt idx="2922">
                  <c:v>3.8</c:v>
                </c:pt>
                <c:pt idx="2923">
                  <c:v>9.3000000000000007</c:v>
                </c:pt>
                <c:pt idx="2924">
                  <c:v>7.8</c:v>
                </c:pt>
                <c:pt idx="2925">
                  <c:v>4.3</c:v>
                </c:pt>
                <c:pt idx="2926">
                  <c:v>6.5</c:v>
                </c:pt>
                <c:pt idx="2927">
                  <c:v>4.5</c:v>
                </c:pt>
                <c:pt idx="2928">
                  <c:v>5.2</c:v>
                </c:pt>
                <c:pt idx="2929">
                  <c:v>12.4</c:v>
                </c:pt>
                <c:pt idx="2930">
                  <c:v>3.4</c:v>
                </c:pt>
                <c:pt idx="2931">
                  <c:v>9.4</c:v>
                </c:pt>
                <c:pt idx="2932">
                  <c:v>6.2</c:v>
                </c:pt>
                <c:pt idx="2933">
                  <c:v>7.2</c:v>
                </c:pt>
                <c:pt idx="2934">
                  <c:v>3.7</c:v>
                </c:pt>
                <c:pt idx="2935">
                  <c:v>10.5</c:v>
                </c:pt>
                <c:pt idx="2936">
                  <c:v>8</c:v>
                </c:pt>
                <c:pt idx="2937">
                  <c:v>3.6</c:v>
                </c:pt>
                <c:pt idx="2938">
                  <c:v>5.7</c:v>
                </c:pt>
                <c:pt idx="2939">
                  <c:v>8</c:v>
                </c:pt>
                <c:pt idx="2940">
                  <c:v>4</c:v>
                </c:pt>
                <c:pt idx="2941">
                  <c:v>7.2</c:v>
                </c:pt>
                <c:pt idx="2942">
                  <c:v>11.1</c:v>
                </c:pt>
                <c:pt idx="2943">
                  <c:v>7.3</c:v>
                </c:pt>
                <c:pt idx="2944">
                  <c:v>9.6999999999999993</c:v>
                </c:pt>
                <c:pt idx="2945">
                  <c:v>5.7</c:v>
                </c:pt>
                <c:pt idx="2946">
                  <c:v>7.2</c:v>
                </c:pt>
                <c:pt idx="2947">
                  <c:v>11.3</c:v>
                </c:pt>
                <c:pt idx="2948">
                  <c:v>2</c:v>
                </c:pt>
                <c:pt idx="2949">
                  <c:v>5.8</c:v>
                </c:pt>
                <c:pt idx="2950">
                  <c:v>6</c:v>
                </c:pt>
                <c:pt idx="2951">
                  <c:v>11.7</c:v>
                </c:pt>
                <c:pt idx="2952">
                  <c:v>7.1</c:v>
                </c:pt>
                <c:pt idx="2953">
                  <c:v>7.8</c:v>
                </c:pt>
                <c:pt idx="2954">
                  <c:v>5.8</c:v>
                </c:pt>
                <c:pt idx="2955">
                  <c:v>4.5999999999999996</c:v>
                </c:pt>
                <c:pt idx="2956">
                  <c:v>7.4</c:v>
                </c:pt>
                <c:pt idx="2957">
                  <c:v>6.8</c:v>
                </c:pt>
                <c:pt idx="2958">
                  <c:v>12.6</c:v>
                </c:pt>
                <c:pt idx="2959">
                  <c:v>6.8</c:v>
                </c:pt>
                <c:pt idx="2960">
                  <c:v>9.9</c:v>
                </c:pt>
                <c:pt idx="2961">
                  <c:v>6.5</c:v>
                </c:pt>
                <c:pt idx="2962">
                  <c:v>1</c:v>
                </c:pt>
                <c:pt idx="2963">
                  <c:v>4.4000000000000004</c:v>
                </c:pt>
                <c:pt idx="2964">
                  <c:v>8.5</c:v>
                </c:pt>
                <c:pt idx="2965">
                  <c:v>11.9</c:v>
                </c:pt>
                <c:pt idx="2966">
                  <c:v>9.1</c:v>
                </c:pt>
                <c:pt idx="2967">
                  <c:v>6.1</c:v>
                </c:pt>
                <c:pt idx="2968">
                  <c:v>9.1</c:v>
                </c:pt>
                <c:pt idx="2969">
                  <c:v>4.5</c:v>
                </c:pt>
                <c:pt idx="2970">
                  <c:v>9.1</c:v>
                </c:pt>
                <c:pt idx="2971">
                  <c:v>6</c:v>
                </c:pt>
                <c:pt idx="2972">
                  <c:v>8</c:v>
                </c:pt>
                <c:pt idx="2973">
                  <c:v>1.2</c:v>
                </c:pt>
                <c:pt idx="2974">
                  <c:v>9.6</c:v>
                </c:pt>
                <c:pt idx="2975">
                  <c:v>6.3</c:v>
                </c:pt>
                <c:pt idx="2976">
                  <c:v>4.9000000000000004</c:v>
                </c:pt>
                <c:pt idx="2977">
                  <c:v>6.2</c:v>
                </c:pt>
                <c:pt idx="2978">
                  <c:v>6.2</c:v>
                </c:pt>
                <c:pt idx="2979">
                  <c:v>7.7</c:v>
                </c:pt>
                <c:pt idx="2980">
                  <c:v>6.4</c:v>
                </c:pt>
                <c:pt idx="2981">
                  <c:v>5.8</c:v>
                </c:pt>
                <c:pt idx="2982">
                  <c:v>1.6</c:v>
                </c:pt>
                <c:pt idx="2983">
                  <c:v>10.7</c:v>
                </c:pt>
                <c:pt idx="2984">
                  <c:v>7.5</c:v>
                </c:pt>
                <c:pt idx="2985">
                  <c:v>10.8</c:v>
                </c:pt>
                <c:pt idx="2986">
                  <c:v>14.5</c:v>
                </c:pt>
                <c:pt idx="2987">
                  <c:v>8.6</c:v>
                </c:pt>
                <c:pt idx="2988">
                  <c:v>8.6999999999999993</c:v>
                </c:pt>
                <c:pt idx="2989">
                  <c:v>5.6</c:v>
                </c:pt>
                <c:pt idx="2990">
                  <c:v>4.7</c:v>
                </c:pt>
                <c:pt idx="2991">
                  <c:v>10.3</c:v>
                </c:pt>
                <c:pt idx="2992">
                  <c:v>7.2</c:v>
                </c:pt>
                <c:pt idx="2993">
                  <c:v>5</c:v>
                </c:pt>
                <c:pt idx="2994">
                  <c:v>6.7</c:v>
                </c:pt>
                <c:pt idx="2995">
                  <c:v>6.1</c:v>
                </c:pt>
                <c:pt idx="2996">
                  <c:v>10.5</c:v>
                </c:pt>
                <c:pt idx="2997">
                  <c:v>8.8000000000000007</c:v>
                </c:pt>
                <c:pt idx="2998">
                  <c:v>5</c:v>
                </c:pt>
                <c:pt idx="2999">
                  <c:v>7.4</c:v>
                </c:pt>
                <c:pt idx="3000">
                  <c:v>5.2</c:v>
                </c:pt>
                <c:pt idx="3001">
                  <c:v>3.7</c:v>
                </c:pt>
                <c:pt idx="3002">
                  <c:v>10.8</c:v>
                </c:pt>
                <c:pt idx="3003">
                  <c:v>6.1</c:v>
                </c:pt>
                <c:pt idx="3004">
                  <c:v>4</c:v>
                </c:pt>
                <c:pt idx="3005">
                  <c:v>3.7</c:v>
                </c:pt>
                <c:pt idx="3006">
                  <c:v>8.1999999999999993</c:v>
                </c:pt>
                <c:pt idx="3007">
                  <c:v>10.6</c:v>
                </c:pt>
                <c:pt idx="3008">
                  <c:v>7</c:v>
                </c:pt>
                <c:pt idx="3009">
                  <c:v>8.5</c:v>
                </c:pt>
                <c:pt idx="3010">
                  <c:v>6.6</c:v>
                </c:pt>
                <c:pt idx="3011">
                  <c:v>8.6</c:v>
                </c:pt>
                <c:pt idx="3012">
                  <c:v>7.1</c:v>
                </c:pt>
                <c:pt idx="3013">
                  <c:v>6.3</c:v>
                </c:pt>
                <c:pt idx="3014">
                  <c:v>12.4</c:v>
                </c:pt>
                <c:pt idx="3015">
                  <c:v>6</c:v>
                </c:pt>
                <c:pt idx="3016">
                  <c:v>6.2</c:v>
                </c:pt>
                <c:pt idx="3017">
                  <c:v>9</c:v>
                </c:pt>
                <c:pt idx="3018">
                  <c:v>4.4000000000000004</c:v>
                </c:pt>
                <c:pt idx="3019">
                  <c:v>2.2000000000000002</c:v>
                </c:pt>
                <c:pt idx="3020">
                  <c:v>7</c:v>
                </c:pt>
                <c:pt idx="3021">
                  <c:v>8.9</c:v>
                </c:pt>
                <c:pt idx="3022">
                  <c:v>9.3000000000000007</c:v>
                </c:pt>
                <c:pt idx="3023">
                  <c:v>6.5</c:v>
                </c:pt>
                <c:pt idx="3024">
                  <c:v>6.6</c:v>
                </c:pt>
                <c:pt idx="3025">
                  <c:v>7.4</c:v>
                </c:pt>
                <c:pt idx="3026">
                  <c:v>10.5</c:v>
                </c:pt>
                <c:pt idx="3027">
                  <c:v>7.1</c:v>
                </c:pt>
                <c:pt idx="3028">
                  <c:v>11.8</c:v>
                </c:pt>
                <c:pt idx="3029">
                  <c:v>8.9</c:v>
                </c:pt>
                <c:pt idx="3030">
                  <c:v>6.1</c:v>
                </c:pt>
                <c:pt idx="3031">
                  <c:v>10.1</c:v>
                </c:pt>
                <c:pt idx="3032">
                  <c:v>7.4</c:v>
                </c:pt>
                <c:pt idx="3033">
                  <c:v>7.4</c:v>
                </c:pt>
                <c:pt idx="3034">
                  <c:v>7.8</c:v>
                </c:pt>
                <c:pt idx="3035">
                  <c:v>10.6</c:v>
                </c:pt>
                <c:pt idx="3036">
                  <c:v>9.6</c:v>
                </c:pt>
                <c:pt idx="3037">
                  <c:v>6.6</c:v>
                </c:pt>
                <c:pt idx="3038">
                  <c:v>4.5</c:v>
                </c:pt>
                <c:pt idx="3039">
                  <c:v>13</c:v>
                </c:pt>
                <c:pt idx="3040">
                  <c:v>5.2</c:v>
                </c:pt>
                <c:pt idx="3041">
                  <c:v>7.2</c:v>
                </c:pt>
                <c:pt idx="3042">
                  <c:v>7.3</c:v>
                </c:pt>
                <c:pt idx="3043">
                  <c:v>6</c:v>
                </c:pt>
                <c:pt idx="3044">
                  <c:v>6.5</c:v>
                </c:pt>
                <c:pt idx="3045">
                  <c:v>10.199999999999999</c:v>
                </c:pt>
                <c:pt idx="3046">
                  <c:v>4.0999999999999996</c:v>
                </c:pt>
                <c:pt idx="3047">
                  <c:v>8.6</c:v>
                </c:pt>
                <c:pt idx="3048">
                  <c:v>8.5</c:v>
                </c:pt>
                <c:pt idx="3049">
                  <c:v>5.2</c:v>
                </c:pt>
                <c:pt idx="3050">
                  <c:v>9.3000000000000007</c:v>
                </c:pt>
                <c:pt idx="3051">
                  <c:v>6.6</c:v>
                </c:pt>
                <c:pt idx="3052">
                  <c:v>1.6</c:v>
                </c:pt>
                <c:pt idx="3053">
                  <c:v>5</c:v>
                </c:pt>
                <c:pt idx="3054">
                  <c:v>8</c:v>
                </c:pt>
                <c:pt idx="3055">
                  <c:v>10</c:v>
                </c:pt>
                <c:pt idx="3056">
                  <c:v>11.9</c:v>
                </c:pt>
                <c:pt idx="3057">
                  <c:v>8.6999999999999993</c:v>
                </c:pt>
                <c:pt idx="3058">
                  <c:v>3.4</c:v>
                </c:pt>
                <c:pt idx="3059">
                  <c:v>7.9</c:v>
                </c:pt>
                <c:pt idx="3060">
                  <c:v>8.1</c:v>
                </c:pt>
                <c:pt idx="3061">
                  <c:v>8.3000000000000007</c:v>
                </c:pt>
                <c:pt idx="3062">
                  <c:v>10.7</c:v>
                </c:pt>
                <c:pt idx="3063">
                  <c:v>7.5</c:v>
                </c:pt>
                <c:pt idx="3064">
                  <c:v>7.2</c:v>
                </c:pt>
                <c:pt idx="3065">
                  <c:v>8.3000000000000007</c:v>
                </c:pt>
                <c:pt idx="3066">
                  <c:v>8.5</c:v>
                </c:pt>
                <c:pt idx="3067">
                  <c:v>9</c:v>
                </c:pt>
                <c:pt idx="3068">
                  <c:v>6.6</c:v>
                </c:pt>
                <c:pt idx="3069">
                  <c:v>7.9</c:v>
                </c:pt>
                <c:pt idx="3070">
                  <c:v>6.9</c:v>
                </c:pt>
                <c:pt idx="3071">
                  <c:v>11</c:v>
                </c:pt>
                <c:pt idx="3072">
                  <c:v>8.6999999999999993</c:v>
                </c:pt>
                <c:pt idx="3073">
                  <c:v>10</c:v>
                </c:pt>
                <c:pt idx="3074">
                  <c:v>12.4</c:v>
                </c:pt>
                <c:pt idx="3075">
                  <c:v>6.6</c:v>
                </c:pt>
                <c:pt idx="3076">
                  <c:v>5.9</c:v>
                </c:pt>
                <c:pt idx="3077">
                  <c:v>3.8</c:v>
                </c:pt>
                <c:pt idx="3078">
                  <c:v>1.8</c:v>
                </c:pt>
                <c:pt idx="3079">
                  <c:v>4.7</c:v>
                </c:pt>
                <c:pt idx="3080">
                  <c:v>4.4000000000000004</c:v>
                </c:pt>
                <c:pt idx="3081">
                  <c:v>8.8000000000000007</c:v>
                </c:pt>
                <c:pt idx="3082">
                  <c:v>11.3</c:v>
                </c:pt>
                <c:pt idx="3083">
                  <c:v>7.1</c:v>
                </c:pt>
                <c:pt idx="3084">
                  <c:v>6.9</c:v>
                </c:pt>
                <c:pt idx="3085">
                  <c:v>8.9</c:v>
                </c:pt>
                <c:pt idx="3086">
                  <c:v>5.6</c:v>
                </c:pt>
                <c:pt idx="3087">
                  <c:v>11.3</c:v>
                </c:pt>
                <c:pt idx="3088">
                  <c:v>9.6999999999999993</c:v>
                </c:pt>
                <c:pt idx="3089">
                  <c:v>6.2</c:v>
                </c:pt>
                <c:pt idx="3090">
                  <c:v>4.4000000000000004</c:v>
                </c:pt>
                <c:pt idx="3091">
                  <c:v>8.6</c:v>
                </c:pt>
                <c:pt idx="3092">
                  <c:v>11.4</c:v>
                </c:pt>
                <c:pt idx="3093">
                  <c:v>8.5</c:v>
                </c:pt>
                <c:pt idx="3094">
                  <c:v>8.1999999999999993</c:v>
                </c:pt>
                <c:pt idx="3095">
                  <c:v>5.9</c:v>
                </c:pt>
                <c:pt idx="3096">
                  <c:v>4</c:v>
                </c:pt>
                <c:pt idx="3097">
                  <c:v>8.5</c:v>
                </c:pt>
                <c:pt idx="3098">
                  <c:v>6.2</c:v>
                </c:pt>
                <c:pt idx="3099">
                  <c:v>9.1999999999999993</c:v>
                </c:pt>
                <c:pt idx="3100">
                  <c:v>6.2</c:v>
                </c:pt>
                <c:pt idx="3101">
                  <c:v>4.9000000000000004</c:v>
                </c:pt>
                <c:pt idx="3102">
                  <c:v>1.2</c:v>
                </c:pt>
                <c:pt idx="3103">
                  <c:v>6.7</c:v>
                </c:pt>
                <c:pt idx="3104">
                  <c:v>4.8</c:v>
                </c:pt>
                <c:pt idx="3105">
                  <c:v>7</c:v>
                </c:pt>
                <c:pt idx="3106">
                  <c:v>5.3</c:v>
                </c:pt>
                <c:pt idx="3107">
                  <c:v>8.9</c:v>
                </c:pt>
                <c:pt idx="3108">
                  <c:v>7.1</c:v>
                </c:pt>
                <c:pt idx="3109">
                  <c:v>9.1</c:v>
                </c:pt>
                <c:pt idx="3110">
                  <c:v>3.9</c:v>
                </c:pt>
                <c:pt idx="3111">
                  <c:v>5.2</c:v>
                </c:pt>
                <c:pt idx="3112">
                  <c:v>7.8</c:v>
                </c:pt>
                <c:pt idx="3113">
                  <c:v>6.8</c:v>
                </c:pt>
                <c:pt idx="3114">
                  <c:v>11.4</c:v>
                </c:pt>
                <c:pt idx="3115">
                  <c:v>7.4</c:v>
                </c:pt>
                <c:pt idx="3116">
                  <c:v>4.3</c:v>
                </c:pt>
                <c:pt idx="3117">
                  <c:v>6.1</c:v>
                </c:pt>
                <c:pt idx="3118">
                  <c:v>5.7</c:v>
                </c:pt>
                <c:pt idx="3119">
                  <c:v>12.8</c:v>
                </c:pt>
                <c:pt idx="3120">
                  <c:v>5.2</c:v>
                </c:pt>
                <c:pt idx="3121">
                  <c:v>5.9</c:v>
                </c:pt>
                <c:pt idx="3122">
                  <c:v>6.7</c:v>
                </c:pt>
                <c:pt idx="3123">
                  <c:v>5.6</c:v>
                </c:pt>
                <c:pt idx="3124">
                  <c:v>7.1</c:v>
                </c:pt>
                <c:pt idx="3125">
                  <c:v>6.5</c:v>
                </c:pt>
                <c:pt idx="3126">
                  <c:v>7.3</c:v>
                </c:pt>
                <c:pt idx="3127">
                  <c:v>5.7</c:v>
                </c:pt>
                <c:pt idx="3128">
                  <c:v>11.2</c:v>
                </c:pt>
                <c:pt idx="3129">
                  <c:v>6</c:v>
                </c:pt>
                <c:pt idx="3130">
                  <c:v>6.8</c:v>
                </c:pt>
                <c:pt idx="3131">
                  <c:v>5.0999999999999996</c:v>
                </c:pt>
                <c:pt idx="3132">
                  <c:v>4.4000000000000004</c:v>
                </c:pt>
                <c:pt idx="3133">
                  <c:v>7</c:v>
                </c:pt>
                <c:pt idx="3134">
                  <c:v>6.3</c:v>
                </c:pt>
                <c:pt idx="3135">
                  <c:v>9.5</c:v>
                </c:pt>
                <c:pt idx="3136">
                  <c:v>8.1</c:v>
                </c:pt>
                <c:pt idx="3137">
                  <c:v>6.4</c:v>
                </c:pt>
                <c:pt idx="3138">
                  <c:v>3.9</c:v>
                </c:pt>
                <c:pt idx="3139">
                  <c:v>0.8</c:v>
                </c:pt>
                <c:pt idx="3140">
                  <c:v>6.7</c:v>
                </c:pt>
                <c:pt idx="3141">
                  <c:v>8.5</c:v>
                </c:pt>
                <c:pt idx="3142">
                  <c:v>10.7</c:v>
                </c:pt>
                <c:pt idx="3143">
                  <c:v>6.4</c:v>
                </c:pt>
                <c:pt idx="3144">
                  <c:v>7.9</c:v>
                </c:pt>
                <c:pt idx="3145">
                  <c:v>8.5</c:v>
                </c:pt>
                <c:pt idx="3146">
                  <c:v>11.2</c:v>
                </c:pt>
                <c:pt idx="3147">
                  <c:v>9.1</c:v>
                </c:pt>
                <c:pt idx="3148">
                  <c:v>6.9</c:v>
                </c:pt>
                <c:pt idx="3149">
                  <c:v>9.1999999999999993</c:v>
                </c:pt>
                <c:pt idx="3150">
                  <c:v>12.4</c:v>
                </c:pt>
                <c:pt idx="3151">
                  <c:v>12</c:v>
                </c:pt>
                <c:pt idx="3152">
                  <c:v>3.7</c:v>
                </c:pt>
                <c:pt idx="3153">
                  <c:v>1.6</c:v>
                </c:pt>
                <c:pt idx="3154">
                  <c:v>6.8</c:v>
                </c:pt>
                <c:pt idx="3155">
                  <c:v>9.8000000000000007</c:v>
                </c:pt>
                <c:pt idx="3156">
                  <c:v>8</c:v>
                </c:pt>
                <c:pt idx="3157">
                  <c:v>6</c:v>
                </c:pt>
                <c:pt idx="3158">
                  <c:v>7.4</c:v>
                </c:pt>
                <c:pt idx="3159">
                  <c:v>7.3</c:v>
                </c:pt>
                <c:pt idx="3160">
                  <c:v>8.5</c:v>
                </c:pt>
                <c:pt idx="3161">
                  <c:v>8.4</c:v>
                </c:pt>
                <c:pt idx="3162">
                  <c:v>3.3</c:v>
                </c:pt>
                <c:pt idx="3163">
                  <c:v>3.4</c:v>
                </c:pt>
                <c:pt idx="3164">
                  <c:v>5.9</c:v>
                </c:pt>
                <c:pt idx="3165">
                  <c:v>1.3</c:v>
                </c:pt>
                <c:pt idx="3166">
                  <c:v>10.1</c:v>
                </c:pt>
                <c:pt idx="3167">
                  <c:v>5.8</c:v>
                </c:pt>
                <c:pt idx="3168">
                  <c:v>8.1</c:v>
                </c:pt>
                <c:pt idx="3169">
                  <c:v>13.4</c:v>
                </c:pt>
                <c:pt idx="3170">
                  <c:v>8.8000000000000007</c:v>
                </c:pt>
                <c:pt idx="3171">
                  <c:v>7</c:v>
                </c:pt>
                <c:pt idx="3172">
                  <c:v>5.4</c:v>
                </c:pt>
                <c:pt idx="3173">
                  <c:v>6.9</c:v>
                </c:pt>
                <c:pt idx="3174">
                  <c:v>10.1</c:v>
                </c:pt>
                <c:pt idx="3175">
                  <c:v>6</c:v>
                </c:pt>
                <c:pt idx="3176">
                  <c:v>6.6</c:v>
                </c:pt>
                <c:pt idx="3177">
                  <c:v>5.3</c:v>
                </c:pt>
                <c:pt idx="3178">
                  <c:v>12.9</c:v>
                </c:pt>
                <c:pt idx="3179">
                  <c:v>1.6</c:v>
                </c:pt>
                <c:pt idx="3180">
                  <c:v>9.3000000000000007</c:v>
                </c:pt>
                <c:pt idx="3181">
                  <c:v>10.7</c:v>
                </c:pt>
                <c:pt idx="3182">
                  <c:v>8.5</c:v>
                </c:pt>
                <c:pt idx="3183">
                  <c:v>5.9</c:v>
                </c:pt>
                <c:pt idx="3184">
                  <c:v>3</c:v>
                </c:pt>
                <c:pt idx="3185">
                  <c:v>7.7</c:v>
                </c:pt>
                <c:pt idx="3186">
                  <c:v>9.3000000000000007</c:v>
                </c:pt>
                <c:pt idx="3187">
                  <c:v>9.5</c:v>
                </c:pt>
                <c:pt idx="3188">
                  <c:v>6.4</c:v>
                </c:pt>
                <c:pt idx="3189">
                  <c:v>6.1</c:v>
                </c:pt>
                <c:pt idx="3190">
                  <c:v>7.5</c:v>
                </c:pt>
                <c:pt idx="3191">
                  <c:v>13</c:v>
                </c:pt>
                <c:pt idx="3192">
                  <c:v>11.8</c:v>
                </c:pt>
                <c:pt idx="3193">
                  <c:v>4</c:v>
                </c:pt>
                <c:pt idx="3194">
                  <c:v>11</c:v>
                </c:pt>
                <c:pt idx="3195">
                  <c:v>14.7</c:v>
                </c:pt>
                <c:pt idx="3196">
                  <c:v>8.6</c:v>
                </c:pt>
                <c:pt idx="3197">
                  <c:v>4.9000000000000004</c:v>
                </c:pt>
                <c:pt idx="3198">
                  <c:v>6.7</c:v>
                </c:pt>
                <c:pt idx="3199">
                  <c:v>3.4</c:v>
                </c:pt>
                <c:pt idx="3200">
                  <c:v>6.6</c:v>
                </c:pt>
                <c:pt idx="3201">
                  <c:v>7</c:v>
                </c:pt>
                <c:pt idx="3202">
                  <c:v>9.6</c:v>
                </c:pt>
                <c:pt idx="3203">
                  <c:v>3.8</c:v>
                </c:pt>
                <c:pt idx="3204">
                  <c:v>8.1</c:v>
                </c:pt>
                <c:pt idx="3205">
                  <c:v>4.9000000000000004</c:v>
                </c:pt>
                <c:pt idx="3206">
                  <c:v>5.4</c:v>
                </c:pt>
                <c:pt idx="3207">
                  <c:v>10.6</c:v>
                </c:pt>
                <c:pt idx="3208">
                  <c:v>2</c:v>
                </c:pt>
                <c:pt idx="3209">
                  <c:v>4.2</c:v>
                </c:pt>
                <c:pt idx="3210">
                  <c:v>9.3000000000000007</c:v>
                </c:pt>
                <c:pt idx="3211">
                  <c:v>3.2</c:v>
                </c:pt>
                <c:pt idx="3212">
                  <c:v>8.8000000000000007</c:v>
                </c:pt>
                <c:pt idx="3213">
                  <c:v>5.7</c:v>
                </c:pt>
                <c:pt idx="3214">
                  <c:v>5.7</c:v>
                </c:pt>
                <c:pt idx="3215">
                  <c:v>4.7</c:v>
                </c:pt>
                <c:pt idx="3216">
                  <c:v>5.7</c:v>
                </c:pt>
                <c:pt idx="3217">
                  <c:v>6.7</c:v>
                </c:pt>
                <c:pt idx="3218">
                  <c:v>7.6</c:v>
                </c:pt>
                <c:pt idx="3219">
                  <c:v>6.2</c:v>
                </c:pt>
                <c:pt idx="3220">
                  <c:v>6.9</c:v>
                </c:pt>
                <c:pt idx="3221">
                  <c:v>12.8</c:v>
                </c:pt>
                <c:pt idx="3222">
                  <c:v>6.9</c:v>
                </c:pt>
                <c:pt idx="3223">
                  <c:v>0.6</c:v>
                </c:pt>
                <c:pt idx="3224">
                  <c:v>4.7</c:v>
                </c:pt>
                <c:pt idx="3225">
                  <c:v>9.1999999999999993</c:v>
                </c:pt>
                <c:pt idx="3226">
                  <c:v>6.9</c:v>
                </c:pt>
                <c:pt idx="3227">
                  <c:v>6.7</c:v>
                </c:pt>
                <c:pt idx="3228">
                  <c:v>3.7</c:v>
                </c:pt>
                <c:pt idx="3229">
                  <c:v>5.4</c:v>
                </c:pt>
                <c:pt idx="3230">
                  <c:v>5.2</c:v>
                </c:pt>
                <c:pt idx="3231">
                  <c:v>5</c:v>
                </c:pt>
                <c:pt idx="3232">
                  <c:v>1</c:v>
                </c:pt>
                <c:pt idx="3233">
                  <c:v>2.7</c:v>
                </c:pt>
                <c:pt idx="3234">
                  <c:v>6.7</c:v>
                </c:pt>
                <c:pt idx="3235">
                  <c:v>8.1</c:v>
                </c:pt>
                <c:pt idx="3236">
                  <c:v>9.6</c:v>
                </c:pt>
                <c:pt idx="3237">
                  <c:v>1.4</c:v>
                </c:pt>
                <c:pt idx="3238">
                  <c:v>11</c:v>
                </c:pt>
                <c:pt idx="3239">
                  <c:v>10.3</c:v>
                </c:pt>
                <c:pt idx="3240">
                  <c:v>3.4</c:v>
                </c:pt>
                <c:pt idx="3241">
                  <c:v>6.5</c:v>
                </c:pt>
                <c:pt idx="3242">
                  <c:v>8.4</c:v>
                </c:pt>
                <c:pt idx="3243">
                  <c:v>11.1</c:v>
                </c:pt>
                <c:pt idx="3244">
                  <c:v>4.5999999999999996</c:v>
                </c:pt>
                <c:pt idx="3245">
                  <c:v>9.4</c:v>
                </c:pt>
                <c:pt idx="3246">
                  <c:v>10.3</c:v>
                </c:pt>
                <c:pt idx="3247">
                  <c:v>6.6</c:v>
                </c:pt>
                <c:pt idx="3248">
                  <c:v>7.1</c:v>
                </c:pt>
                <c:pt idx="3249">
                  <c:v>10.5</c:v>
                </c:pt>
                <c:pt idx="3250">
                  <c:v>5.0999999999999996</c:v>
                </c:pt>
                <c:pt idx="3251">
                  <c:v>8.8000000000000007</c:v>
                </c:pt>
                <c:pt idx="3252">
                  <c:v>6.3</c:v>
                </c:pt>
                <c:pt idx="3253">
                  <c:v>7.1</c:v>
                </c:pt>
                <c:pt idx="3254">
                  <c:v>9.8000000000000007</c:v>
                </c:pt>
                <c:pt idx="3255">
                  <c:v>11.1</c:v>
                </c:pt>
                <c:pt idx="3256">
                  <c:v>7.7</c:v>
                </c:pt>
                <c:pt idx="3257">
                  <c:v>16</c:v>
                </c:pt>
                <c:pt idx="3258">
                  <c:v>2.9</c:v>
                </c:pt>
                <c:pt idx="3259">
                  <c:v>5.2</c:v>
                </c:pt>
                <c:pt idx="3260">
                  <c:v>9.1999999999999993</c:v>
                </c:pt>
                <c:pt idx="3261">
                  <c:v>11.4</c:v>
                </c:pt>
                <c:pt idx="3262">
                  <c:v>10.199999999999999</c:v>
                </c:pt>
                <c:pt idx="3263">
                  <c:v>5.9</c:v>
                </c:pt>
                <c:pt idx="3264">
                  <c:v>6.4</c:v>
                </c:pt>
                <c:pt idx="3265">
                  <c:v>6.9</c:v>
                </c:pt>
                <c:pt idx="3266">
                  <c:v>10.1</c:v>
                </c:pt>
                <c:pt idx="3267">
                  <c:v>5.7</c:v>
                </c:pt>
                <c:pt idx="3268">
                  <c:v>7.3</c:v>
                </c:pt>
                <c:pt idx="3269">
                  <c:v>9.6999999999999993</c:v>
                </c:pt>
                <c:pt idx="3270">
                  <c:v>6.9</c:v>
                </c:pt>
                <c:pt idx="3271">
                  <c:v>5.2</c:v>
                </c:pt>
                <c:pt idx="3272">
                  <c:v>12.8</c:v>
                </c:pt>
                <c:pt idx="3273">
                  <c:v>4.8</c:v>
                </c:pt>
                <c:pt idx="3274">
                  <c:v>4.4000000000000004</c:v>
                </c:pt>
                <c:pt idx="3275">
                  <c:v>7.4</c:v>
                </c:pt>
                <c:pt idx="3276">
                  <c:v>3.8</c:v>
                </c:pt>
                <c:pt idx="3277">
                  <c:v>2.8</c:v>
                </c:pt>
                <c:pt idx="3278">
                  <c:v>9.1999999999999993</c:v>
                </c:pt>
                <c:pt idx="3279">
                  <c:v>2.5</c:v>
                </c:pt>
                <c:pt idx="3280">
                  <c:v>5.9</c:v>
                </c:pt>
                <c:pt idx="3281">
                  <c:v>10.5</c:v>
                </c:pt>
                <c:pt idx="3282">
                  <c:v>8.1</c:v>
                </c:pt>
                <c:pt idx="3283">
                  <c:v>6.6</c:v>
                </c:pt>
                <c:pt idx="3284">
                  <c:v>9.6</c:v>
                </c:pt>
                <c:pt idx="3285">
                  <c:v>0.8</c:v>
                </c:pt>
                <c:pt idx="3286">
                  <c:v>6.5</c:v>
                </c:pt>
                <c:pt idx="3287">
                  <c:v>12.1</c:v>
                </c:pt>
                <c:pt idx="3288">
                  <c:v>6.6</c:v>
                </c:pt>
                <c:pt idx="3289">
                  <c:v>5.4</c:v>
                </c:pt>
                <c:pt idx="3290">
                  <c:v>6.2</c:v>
                </c:pt>
                <c:pt idx="3291">
                  <c:v>9.4</c:v>
                </c:pt>
                <c:pt idx="3292">
                  <c:v>8.4</c:v>
                </c:pt>
                <c:pt idx="3293">
                  <c:v>12.4</c:v>
                </c:pt>
                <c:pt idx="3294">
                  <c:v>11.5</c:v>
                </c:pt>
                <c:pt idx="3295">
                  <c:v>9</c:v>
                </c:pt>
                <c:pt idx="3296">
                  <c:v>7.4</c:v>
                </c:pt>
                <c:pt idx="3297">
                  <c:v>11.4</c:v>
                </c:pt>
                <c:pt idx="3298">
                  <c:v>7.7</c:v>
                </c:pt>
                <c:pt idx="3299">
                  <c:v>7.1</c:v>
                </c:pt>
                <c:pt idx="3300">
                  <c:v>7.1</c:v>
                </c:pt>
                <c:pt idx="3301">
                  <c:v>5.7</c:v>
                </c:pt>
                <c:pt idx="3302">
                  <c:v>5.7</c:v>
                </c:pt>
                <c:pt idx="3303">
                  <c:v>9.4</c:v>
                </c:pt>
                <c:pt idx="3304">
                  <c:v>8.1999999999999993</c:v>
                </c:pt>
                <c:pt idx="3305">
                  <c:v>7.1</c:v>
                </c:pt>
                <c:pt idx="3306">
                  <c:v>10.3</c:v>
                </c:pt>
                <c:pt idx="3307">
                  <c:v>6.8</c:v>
                </c:pt>
                <c:pt idx="3308">
                  <c:v>14.3</c:v>
                </c:pt>
                <c:pt idx="3309">
                  <c:v>6.2</c:v>
                </c:pt>
                <c:pt idx="3310">
                  <c:v>5.7</c:v>
                </c:pt>
                <c:pt idx="3311">
                  <c:v>9.6999999999999993</c:v>
                </c:pt>
                <c:pt idx="3312">
                  <c:v>7.6</c:v>
                </c:pt>
                <c:pt idx="3313">
                  <c:v>6.3</c:v>
                </c:pt>
                <c:pt idx="3314">
                  <c:v>14</c:v>
                </c:pt>
                <c:pt idx="3315">
                  <c:v>9.9</c:v>
                </c:pt>
                <c:pt idx="3316">
                  <c:v>8.4</c:v>
                </c:pt>
                <c:pt idx="3317">
                  <c:v>5.0999999999999996</c:v>
                </c:pt>
                <c:pt idx="3318">
                  <c:v>6.2</c:v>
                </c:pt>
                <c:pt idx="3319">
                  <c:v>1.1000000000000001</c:v>
                </c:pt>
                <c:pt idx="3320">
                  <c:v>6.7</c:v>
                </c:pt>
                <c:pt idx="3321">
                  <c:v>8.9</c:v>
                </c:pt>
                <c:pt idx="3322">
                  <c:v>7</c:v>
                </c:pt>
                <c:pt idx="3323">
                  <c:v>5.4</c:v>
                </c:pt>
                <c:pt idx="3324">
                  <c:v>7</c:v>
                </c:pt>
                <c:pt idx="3325">
                  <c:v>7.2</c:v>
                </c:pt>
                <c:pt idx="3326">
                  <c:v>5.3</c:v>
                </c:pt>
                <c:pt idx="3327">
                  <c:v>8.4</c:v>
                </c:pt>
                <c:pt idx="3328">
                  <c:v>11.7</c:v>
                </c:pt>
                <c:pt idx="3329">
                  <c:v>8.3000000000000007</c:v>
                </c:pt>
                <c:pt idx="3330">
                  <c:v>10</c:v>
                </c:pt>
                <c:pt idx="3331">
                  <c:v>5.3</c:v>
                </c:pt>
                <c:pt idx="3332">
                  <c:v>7.2</c:v>
                </c:pt>
                <c:pt idx="3333">
                  <c:v>6.5</c:v>
                </c:pt>
                <c:pt idx="3334">
                  <c:v>8.1999999999999993</c:v>
                </c:pt>
                <c:pt idx="3335">
                  <c:v>7.5</c:v>
                </c:pt>
                <c:pt idx="3336">
                  <c:v>3.4</c:v>
                </c:pt>
                <c:pt idx="3337">
                  <c:v>6.3</c:v>
                </c:pt>
                <c:pt idx="3338">
                  <c:v>4.4000000000000004</c:v>
                </c:pt>
                <c:pt idx="3339">
                  <c:v>5.2</c:v>
                </c:pt>
                <c:pt idx="3340">
                  <c:v>8</c:v>
                </c:pt>
                <c:pt idx="3341">
                  <c:v>11.7</c:v>
                </c:pt>
                <c:pt idx="3342">
                  <c:v>11.3</c:v>
                </c:pt>
                <c:pt idx="3343">
                  <c:v>7.7</c:v>
                </c:pt>
                <c:pt idx="3344">
                  <c:v>11.4</c:v>
                </c:pt>
                <c:pt idx="3345">
                  <c:v>7.5</c:v>
                </c:pt>
                <c:pt idx="3346">
                  <c:v>9.5</c:v>
                </c:pt>
                <c:pt idx="3347">
                  <c:v>6.3</c:v>
                </c:pt>
                <c:pt idx="3348">
                  <c:v>7.6</c:v>
                </c:pt>
                <c:pt idx="3349">
                  <c:v>4</c:v>
                </c:pt>
                <c:pt idx="3350">
                  <c:v>6.9</c:v>
                </c:pt>
                <c:pt idx="3351">
                  <c:v>8.4</c:v>
                </c:pt>
                <c:pt idx="3352">
                  <c:v>10.9</c:v>
                </c:pt>
                <c:pt idx="3353">
                  <c:v>4.4000000000000004</c:v>
                </c:pt>
                <c:pt idx="3354">
                  <c:v>6.9</c:v>
                </c:pt>
                <c:pt idx="3355">
                  <c:v>6.8</c:v>
                </c:pt>
                <c:pt idx="3356">
                  <c:v>11.3</c:v>
                </c:pt>
                <c:pt idx="3357">
                  <c:v>4.5</c:v>
                </c:pt>
                <c:pt idx="3358">
                  <c:v>7.4</c:v>
                </c:pt>
                <c:pt idx="3359">
                  <c:v>8.9</c:v>
                </c:pt>
                <c:pt idx="3360">
                  <c:v>10.5</c:v>
                </c:pt>
                <c:pt idx="3361">
                  <c:v>6.9</c:v>
                </c:pt>
                <c:pt idx="3362">
                  <c:v>5.2</c:v>
                </c:pt>
                <c:pt idx="3363">
                  <c:v>5.0999999999999996</c:v>
                </c:pt>
                <c:pt idx="3364">
                  <c:v>12.5</c:v>
                </c:pt>
                <c:pt idx="3365">
                  <c:v>5.7</c:v>
                </c:pt>
                <c:pt idx="3366">
                  <c:v>8.6999999999999993</c:v>
                </c:pt>
                <c:pt idx="3367">
                  <c:v>4.2</c:v>
                </c:pt>
                <c:pt idx="3368">
                  <c:v>8.1999999999999993</c:v>
                </c:pt>
                <c:pt idx="3369">
                  <c:v>13.3</c:v>
                </c:pt>
                <c:pt idx="3370">
                  <c:v>8.8000000000000007</c:v>
                </c:pt>
                <c:pt idx="3371">
                  <c:v>6.7</c:v>
                </c:pt>
                <c:pt idx="3372">
                  <c:v>5.2</c:v>
                </c:pt>
                <c:pt idx="3373">
                  <c:v>5.9</c:v>
                </c:pt>
                <c:pt idx="3374">
                  <c:v>6.6</c:v>
                </c:pt>
                <c:pt idx="3375">
                  <c:v>11.6</c:v>
                </c:pt>
                <c:pt idx="3376">
                  <c:v>10.9</c:v>
                </c:pt>
                <c:pt idx="3377">
                  <c:v>1.5</c:v>
                </c:pt>
                <c:pt idx="3378">
                  <c:v>9.8000000000000007</c:v>
                </c:pt>
                <c:pt idx="3379">
                  <c:v>8.8000000000000007</c:v>
                </c:pt>
                <c:pt idx="3380">
                  <c:v>9.4</c:v>
                </c:pt>
                <c:pt idx="3381">
                  <c:v>7.2</c:v>
                </c:pt>
                <c:pt idx="3382">
                  <c:v>15.8</c:v>
                </c:pt>
                <c:pt idx="3383">
                  <c:v>10.1</c:v>
                </c:pt>
                <c:pt idx="3384">
                  <c:v>10</c:v>
                </c:pt>
                <c:pt idx="3385">
                  <c:v>10.5</c:v>
                </c:pt>
                <c:pt idx="3386">
                  <c:v>4.5999999999999996</c:v>
                </c:pt>
                <c:pt idx="3387">
                  <c:v>8.5</c:v>
                </c:pt>
                <c:pt idx="3388">
                  <c:v>7.8</c:v>
                </c:pt>
                <c:pt idx="3389">
                  <c:v>5.5</c:v>
                </c:pt>
                <c:pt idx="3390">
                  <c:v>11.4</c:v>
                </c:pt>
                <c:pt idx="3391">
                  <c:v>8</c:v>
                </c:pt>
                <c:pt idx="3392">
                  <c:v>4.5</c:v>
                </c:pt>
                <c:pt idx="3393">
                  <c:v>13.6</c:v>
                </c:pt>
                <c:pt idx="3394">
                  <c:v>7.1</c:v>
                </c:pt>
                <c:pt idx="3395">
                  <c:v>4.4000000000000004</c:v>
                </c:pt>
                <c:pt idx="3396">
                  <c:v>3.2</c:v>
                </c:pt>
                <c:pt idx="3397">
                  <c:v>4.8</c:v>
                </c:pt>
                <c:pt idx="3398">
                  <c:v>12.2</c:v>
                </c:pt>
                <c:pt idx="3399">
                  <c:v>2.2999999999999998</c:v>
                </c:pt>
                <c:pt idx="3400">
                  <c:v>4.9000000000000004</c:v>
                </c:pt>
                <c:pt idx="3401">
                  <c:v>7.2</c:v>
                </c:pt>
                <c:pt idx="3402">
                  <c:v>2.2999999999999998</c:v>
                </c:pt>
                <c:pt idx="3403">
                  <c:v>5.9</c:v>
                </c:pt>
                <c:pt idx="3404">
                  <c:v>6.9</c:v>
                </c:pt>
                <c:pt idx="3405">
                  <c:v>5.2</c:v>
                </c:pt>
                <c:pt idx="3406">
                  <c:v>3.5</c:v>
                </c:pt>
                <c:pt idx="3407">
                  <c:v>4.0999999999999996</c:v>
                </c:pt>
                <c:pt idx="3408">
                  <c:v>6.3</c:v>
                </c:pt>
                <c:pt idx="3409">
                  <c:v>9.8000000000000007</c:v>
                </c:pt>
                <c:pt idx="3410">
                  <c:v>11.8</c:v>
                </c:pt>
                <c:pt idx="3411">
                  <c:v>11.1</c:v>
                </c:pt>
                <c:pt idx="3412">
                  <c:v>10.9</c:v>
                </c:pt>
                <c:pt idx="3413">
                  <c:v>10.9</c:v>
                </c:pt>
                <c:pt idx="3414">
                  <c:v>9.3000000000000007</c:v>
                </c:pt>
                <c:pt idx="3415">
                  <c:v>9.1</c:v>
                </c:pt>
                <c:pt idx="3416">
                  <c:v>9.1</c:v>
                </c:pt>
                <c:pt idx="3417">
                  <c:v>8.9</c:v>
                </c:pt>
                <c:pt idx="3418">
                  <c:v>8.6</c:v>
                </c:pt>
                <c:pt idx="3419">
                  <c:v>8</c:v>
                </c:pt>
                <c:pt idx="3420">
                  <c:v>7.9</c:v>
                </c:pt>
                <c:pt idx="3421">
                  <c:v>7.7</c:v>
                </c:pt>
                <c:pt idx="3422">
                  <c:v>7.7</c:v>
                </c:pt>
                <c:pt idx="3423">
                  <c:v>7.6</c:v>
                </c:pt>
                <c:pt idx="3424">
                  <c:v>7.4</c:v>
                </c:pt>
                <c:pt idx="3425">
                  <c:v>7.2</c:v>
                </c:pt>
                <c:pt idx="3426">
                  <c:v>7</c:v>
                </c:pt>
                <c:pt idx="3427">
                  <c:v>6.9</c:v>
                </c:pt>
                <c:pt idx="3428">
                  <c:v>6.9</c:v>
                </c:pt>
                <c:pt idx="3429">
                  <c:v>6.6</c:v>
                </c:pt>
                <c:pt idx="3430">
                  <c:v>6</c:v>
                </c:pt>
                <c:pt idx="3431">
                  <c:v>4.8</c:v>
                </c:pt>
                <c:pt idx="3432">
                  <c:v>3.5</c:v>
                </c:pt>
                <c:pt idx="3433">
                  <c:v>2.6</c:v>
                </c:pt>
                <c:pt idx="3434">
                  <c:v>1.4</c:v>
                </c:pt>
                <c:pt idx="3435">
                  <c:v>1.2</c:v>
                </c:pt>
                <c:pt idx="3436">
                  <c:v>1</c:v>
                </c:pt>
                <c:pt idx="3437">
                  <c:v>0.1</c:v>
                </c:pt>
                <c:pt idx="3438">
                  <c:v>6.3</c:v>
                </c:pt>
                <c:pt idx="3439">
                  <c:v>5.4</c:v>
                </c:pt>
                <c:pt idx="3440">
                  <c:v>9</c:v>
                </c:pt>
                <c:pt idx="3441">
                  <c:v>4</c:v>
                </c:pt>
                <c:pt idx="3442">
                  <c:v>10.199999999999999</c:v>
                </c:pt>
                <c:pt idx="3443">
                  <c:v>5.3</c:v>
                </c:pt>
                <c:pt idx="3444">
                  <c:v>9.9</c:v>
                </c:pt>
                <c:pt idx="3445">
                  <c:v>9.1999999999999993</c:v>
                </c:pt>
                <c:pt idx="3446">
                  <c:v>6.7</c:v>
                </c:pt>
                <c:pt idx="3447">
                  <c:v>10</c:v>
                </c:pt>
                <c:pt idx="3448">
                  <c:v>5.7</c:v>
                </c:pt>
                <c:pt idx="3449">
                  <c:v>5.0999999999999996</c:v>
                </c:pt>
                <c:pt idx="3450">
                  <c:v>5.6</c:v>
                </c:pt>
                <c:pt idx="3451">
                  <c:v>6.2</c:v>
                </c:pt>
                <c:pt idx="3452">
                  <c:v>8.9</c:v>
                </c:pt>
                <c:pt idx="3453">
                  <c:v>9.5</c:v>
                </c:pt>
                <c:pt idx="3454">
                  <c:v>10.5</c:v>
                </c:pt>
                <c:pt idx="3455">
                  <c:v>6.3</c:v>
                </c:pt>
                <c:pt idx="3456">
                  <c:v>4.3</c:v>
                </c:pt>
                <c:pt idx="3457">
                  <c:v>10.1</c:v>
                </c:pt>
                <c:pt idx="3458">
                  <c:v>11.9</c:v>
                </c:pt>
                <c:pt idx="3459">
                  <c:v>1.6</c:v>
                </c:pt>
                <c:pt idx="3460">
                  <c:v>6.3</c:v>
                </c:pt>
                <c:pt idx="3461">
                  <c:v>8.5</c:v>
                </c:pt>
                <c:pt idx="3462">
                  <c:v>1.6</c:v>
                </c:pt>
                <c:pt idx="3463">
                  <c:v>6</c:v>
                </c:pt>
                <c:pt idx="3464">
                  <c:v>2</c:v>
                </c:pt>
                <c:pt idx="3465">
                  <c:v>7.3</c:v>
                </c:pt>
                <c:pt idx="3466">
                  <c:v>4.2</c:v>
                </c:pt>
                <c:pt idx="3467">
                  <c:v>7.5</c:v>
                </c:pt>
                <c:pt idx="3468">
                  <c:v>6.7</c:v>
                </c:pt>
                <c:pt idx="3469">
                  <c:v>7.1</c:v>
                </c:pt>
                <c:pt idx="3470">
                  <c:v>7.3</c:v>
                </c:pt>
                <c:pt idx="3471">
                  <c:v>1.4</c:v>
                </c:pt>
                <c:pt idx="3472">
                  <c:v>8.4</c:v>
                </c:pt>
                <c:pt idx="3473">
                  <c:v>7.7</c:v>
                </c:pt>
                <c:pt idx="3474">
                  <c:v>1.3</c:v>
                </c:pt>
                <c:pt idx="3475">
                  <c:v>5.6</c:v>
                </c:pt>
                <c:pt idx="3476">
                  <c:v>6.5</c:v>
                </c:pt>
                <c:pt idx="3477">
                  <c:v>10.8</c:v>
                </c:pt>
                <c:pt idx="3478">
                  <c:v>5.6</c:v>
                </c:pt>
                <c:pt idx="3479">
                  <c:v>5.3</c:v>
                </c:pt>
                <c:pt idx="3480">
                  <c:v>8.9</c:v>
                </c:pt>
                <c:pt idx="3481">
                  <c:v>7.3</c:v>
                </c:pt>
                <c:pt idx="3482">
                  <c:v>13.4</c:v>
                </c:pt>
                <c:pt idx="3483">
                  <c:v>5.2</c:v>
                </c:pt>
                <c:pt idx="3484">
                  <c:v>4.5999999999999996</c:v>
                </c:pt>
                <c:pt idx="3485">
                  <c:v>11.9</c:v>
                </c:pt>
                <c:pt idx="3486">
                  <c:v>8.1</c:v>
                </c:pt>
                <c:pt idx="3487">
                  <c:v>6.3</c:v>
                </c:pt>
                <c:pt idx="3488">
                  <c:v>9.1999999999999993</c:v>
                </c:pt>
                <c:pt idx="3489">
                  <c:v>6.2</c:v>
                </c:pt>
                <c:pt idx="3490">
                  <c:v>9</c:v>
                </c:pt>
                <c:pt idx="3491">
                  <c:v>4.9000000000000004</c:v>
                </c:pt>
                <c:pt idx="3492">
                  <c:v>10.9</c:v>
                </c:pt>
                <c:pt idx="3493">
                  <c:v>11.7</c:v>
                </c:pt>
                <c:pt idx="3494">
                  <c:v>4.8</c:v>
                </c:pt>
                <c:pt idx="3495">
                  <c:v>5.2</c:v>
                </c:pt>
                <c:pt idx="3496">
                  <c:v>8.1</c:v>
                </c:pt>
                <c:pt idx="3497">
                  <c:v>9.6</c:v>
                </c:pt>
                <c:pt idx="3498">
                  <c:v>5.8</c:v>
                </c:pt>
                <c:pt idx="3499">
                  <c:v>8.8000000000000007</c:v>
                </c:pt>
                <c:pt idx="3500">
                  <c:v>7.3</c:v>
                </c:pt>
                <c:pt idx="3501">
                  <c:v>5.5</c:v>
                </c:pt>
                <c:pt idx="3502">
                  <c:v>12.1</c:v>
                </c:pt>
                <c:pt idx="3503">
                  <c:v>8.3000000000000007</c:v>
                </c:pt>
                <c:pt idx="3504">
                  <c:v>6.7</c:v>
                </c:pt>
                <c:pt idx="3505">
                  <c:v>8.9</c:v>
                </c:pt>
                <c:pt idx="3506">
                  <c:v>8.5</c:v>
                </c:pt>
                <c:pt idx="3507">
                  <c:v>7.4</c:v>
                </c:pt>
                <c:pt idx="3508">
                  <c:v>3.8</c:v>
                </c:pt>
                <c:pt idx="3509">
                  <c:v>1.4</c:v>
                </c:pt>
                <c:pt idx="3510">
                  <c:v>6.9</c:v>
                </c:pt>
                <c:pt idx="3511">
                  <c:v>9.4</c:v>
                </c:pt>
                <c:pt idx="3512">
                  <c:v>1.5</c:v>
                </c:pt>
                <c:pt idx="3513">
                  <c:v>7.8</c:v>
                </c:pt>
                <c:pt idx="3514">
                  <c:v>8.3000000000000007</c:v>
                </c:pt>
                <c:pt idx="3515">
                  <c:v>5.3</c:v>
                </c:pt>
                <c:pt idx="3516">
                  <c:v>13.7</c:v>
                </c:pt>
                <c:pt idx="3517">
                  <c:v>4.3</c:v>
                </c:pt>
                <c:pt idx="3518">
                  <c:v>7.3</c:v>
                </c:pt>
                <c:pt idx="3519">
                  <c:v>12.2</c:v>
                </c:pt>
                <c:pt idx="3520">
                  <c:v>6.5</c:v>
                </c:pt>
                <c:pt idx="3521">
                  <c:v>12.4</c:v>
                </c:pt>
                <c:pt idx="3522">
                  <c:v>7.1</c:v>
                </c:pt>
                <c:pt idx="3523">
                  <c:v>8.6999999999999993</c:v>
                </c:pt>
                <c:pt idx="3524">
                  <c:v>9.6</c:v>
                </c:pt>
                <c:pt idx="3525">
                  <c:v>5.4</c:v>
                </c:pt>
                <c:pt idx="3526">
                  <c:v>1.3</c:v>
                </c:pt>
                <c:pt idx="3527">
                  <c:v>7.5</c:v>
                </c:pt>
                <c:pt idx="3528">
                  <c:v>7.7</c:v>
                </c:pt>
                <c:pt idx="3529">
                  <c:v>9.9</c:v>
                </c:pt>
                <c:pt idx="3530">
                  <c:v>6.8</c:v>
                </c:pt>
                <c:pt idx="3531">
                  <c:v>1.4</c:v>
                </c:pt>
                <c:pt idx="3532">
                  <c:v>6.7</c:v>
                </c:pt>
                <c:pt idx="3533">
                  <c:v>8.9</c:v>
                </c:pt>
                <c:pt idx="3534">
                  <c:v>4</c:v>
                </c:pt>
                <c:pt idx="3535">
                  <c:v>8</c:v>
                </c:pt>
                <c:pt idx="3536">
                  <c:v>6.7</c:v>
                </c:pt>
                <c:pt idx="3537">
                  <c:v>8.1</c:v>
                </c:pt>
                <c:pt idx="3538">
                  <c:v>6.5</c:v>
                </c:pt>
                <c:pt idx="3539">
                  <c:v>10.4</c:v>
                </c:pt>
                <c:pt idx="3540">
                  <c:v>9.1999999999999993</c:v>
                </c:pt>
                <c:pt idx="3541">
                  <c:v>9.5</c:v>
                </c:pt>
                <c:pt idx="3542">
                  <c:v>3</c:v>
                </c:pt>
                <c:pt idx="3543">
                  <c:v>6.5</c:v>
                </c:pt>
                <c:pt idx="3544">
                  <c:v>6.9</c:v>
                </c:pt>
                <c:pt idx="3545">
                  <c:v>10.4</c:v>
                </c:pt>
                <c:pt idx="3546">
                  <c:v>7</c:v>
                </c:pt>
                <c:pt idx="3547">
                  <c:v>9.5</c:v>
                </c:pt>
                <c:pt idx="3548">
                  <c:v>7.6</c:v>
                </c:pt>
                <c:pt idx="3549">
                  <c:v>5.4</c:v>
                </c:pt>
                <c:pt idx="3550">
                  <c:v>8.4</c:v>
                </c:pt>
                <c:pt idx="3551">
                  <c:v>7.7</c:v>
                </c:pt>
                <c:pt idx="3552">
                  <c:v>7.6</c:v>
                </c:pt>
                <c:pt idx="3553">
                  <c:v>6.6</c:v>
                </c:pt>
                <c:pt idx="3554">
                  <c:v>7.8</c:v>
                </c:pt>
                <c:pt idx="3555">
                  <c:v>4.5</c:v>
                </c:pt>
                <c:pt idx="3556">
                  <c:v>6.7</c:v>
                </c:pt>
                <c:pt idx="3557">
                  <c:v>7.1</c:v>
                </c:pt>
                <c:pt idx="3558">
                  <c:v>6.8</c:v>
                </c:pt>
                <c:pt idx="3559">
                  <c:v>14.6</c:v>
                </c:pt>
                <c:pt idx="3560">
                  <c:v>4.3</c:v>
                </c:pt>
                <c:pt idx="3561">
                  <c:v>6.9</c:v>
                </c:pt>
                <c:pt idx="3562">
                  <c:v>5.4</c:v>
                </c:pt>
                <c:pt idx="3563">
                  <c:v>8.1999999999999993</c:v>
                </c:pt>
                <c:pt idx="3564">
                  <c:v>9</c:v>
                </c:pt>
                <c:pt idx="3565">
                  <c:v>10.1</c:v>
                </c:pt>
                <c:pt idx="3566">
                  <c:v>7.1</c:v>
                </c:pt>
                <c:pt idx="3567">
                  <c:v>4.7</c:v>
                </c:pt>
                <c:pt idx="3568">
                  <c:v>10.3</c:v>
                </c:pt>
                <c:pt idx="3569">
                  <c:v>6.4</c:v>
                </c:pt>
                <c:pt idx="3570">
                  <c:v>5.3</c:v>
                </c:pt>
                <c:pt idx="3571">
                  <c:v>9.6</c:v>
                </c:pt>
                <c:pt idx="3572">
                  <c:v>7.5</c:v>
                </c:pt>
                <c:pt idx="3573">
                  <c:v>8.1</c:v>
                </c:pt>
                <c:pt idx="3574">
                  <c:v>6.6</c:v>
                </c:pt>
                <c:pt idx="3575">
                  <c:v>10.5</c:v>
                </c:pt>
                <c:pt idx="3576">
                  <c:v>8.8000000000000007</c:v>
                </c:pt>
                <c:pt idx="3577">
                  <c:v>8.6999999999999993</c:v>
                </c:pt>
                <c:pt idx="3578">
                  <c:v>7.5</c:v>
                </c:pt>
                <c:pt idx="3579">
                  <c:v>6.6</c:v>
                </c:pt>
                <c:pt idx="3580">
                  <c:v>6</c:v>
                </c:pt>
                <c:pt idx="3581">
                  <c:v>4.5</c:v>
                </c:pt>
                <c:pt idx="3582">
                  <c:v>9.1</c:v>
                </c:pt>
                <c:pt idx="3583">
                  <c:v>6.4</c:v>
                </c:pt>
                <c:pt idx="3584">
                  <c:v>8.3000000000000007</c:v>
                </c:pt>
                <c:pt idx="3585">
                  <c:v>4.9000000000000004</c:v>
                </c:pt>
                <c:pt idx="3586">
                  <c:v>5.2</c:v>
                </c:pt>
                <c:pt idx="3587">
                  <c:v>2.2999999999999998</c:v>
                </c:pt>
                <c:pt idx="3588">
                  <c:v>6.8</c:v>
                </c:pt>
                <c:pt idx="3589">
                  <c:v>14</c:v>
                </c:pt>
                <c:pt idx="3590">
                  <c:v>6.6</c:v>
                </c:pt>
                <c:pt idx="3591">
                  <c:v>5.6</c:v>
                </c:pt>
                <c:pt idx="3592">
                  <c:v>6.9</c:v>
                </c:pt>
                <c:pt idx="3593">
                  <c:v>6.9</c:v>
                </c:pt>
                <c:pt idx="3594">
                  <c:v>9.3000000000000007</c:v>
                </c:pt>
                <c:pt idx="3595">
                  <c:v>5.7</c:v>
                </c:pt>
                <c:pt idx="3596">
                  <c:v>4.8</c:v>
                </c:pt>
                <c:pt idx="3597">
                  <c:v>10.8</c:v>
                </c:pt>
                <c:pt idx="3598">
                  <c:v>8.3000000000000007</c:v>
                </c:pt>
                <c:pt idx="3599">
                  <c:v>5.0999999999999996</c:v>
                </c:pt>
                <c:pt idx="3600">
                  <c:v>6.5</c:v>
                </c:pt>
                <c:pt idx="3601">
                  <c:v>7.5</c:v>
                </c:pt>
                <c:pt idx="3602">
                  <c:v>7.4</c:v>
                </c:pt>
                <c:pt idx="3603">
                  <c:v>9</c:v>
                </c:pt>
                <c:pt idx="3604">
                  <c:v>7.5</c:v>
                </c:pt>
                <c:pt idx="3605">
                  <c:v>7.6</c:v>
                </c:pt>
                <c:pt idx="3606">
                  <c:v>3</c:v>
                </c:pt>
                <c:pt idx="3607">
                  <c:v>8.6</c:v>
                </c:pt>
                <c:pt idx="3608">
                  <c:v>10.5</c:v>
                </c:pt>
                <c:pt idx="3609">
                  <c:v>8.8000000000000007</c:v>
                </c:pt>
                <c:pt idx="3610">
                  <c:v>6</c:v>
                </c:pt>
                <c:pt idx="3611">
                  <c:v>8.5</c:v>
                </c:pt>
                <c:pt idx="3612">
                  <c:v>7.8</c:v>
                </c:pt>
                <c:pt idx="3613">
                  <c:v>7</c:v>
                </c:pt>
                <c:pt idx="3614">
                  <c:v>8.6</c:v>
                </c:pt>
                <c:pt idx="3615">
                  <c:v>8.3000000000000007</c:v>
                </c:pt>
                <c:pt idx="3616">
                  <c:v>5.0999999999999996</c:v>
                </c:pt>
                <c:pt idx="3617">
                  <c:v>11.6</c:v>
                </c:pt>
                <c:pt idx="3618">
                  <c:v>10.3</c:v>
                </c:pt>
                <c:pt idx="3619">
                  <c:v>11.5</c:v>
                </c:pt>
                <c:pt idx="3620">
                  <c:v>9</c:v>
                </c:pt>
                <c:pt idx="3621">
                  <c:v>7</c:v>
                </c:pt>
                <c:pt idx="3622">
                  <c:v>3.9</c:v>
                </c:pt>
                <c:pt idx="3623">
                  <c:v>7.5</c:v>
                </c:pt>
                <c:pt idx="3624">
                  <c:v>6.5</c:v>
                </c:pt>
                <c:pt idx="3625">
                  <c:v>6.6</c:v>
                </c:pt>
                <c:pt idx="3626">
                  <c:v>10.6</c:v>
                </c:pt>
                <c:pt idx="3627">
                  <c:v>11</c:v>
                </c:pt>
                <c:pt idx="3628">
                  <c:v>3.9</c:v>
                </c:pt>
                <c:pt idx="3629">
                  <c:v>10.1</c:v>
                </c:pt>
                <c:pt idx="3630">
                  <c:v>5.0999999999999996</c:v>
                </c:pt>
                <c:pt idx="3631">
                  <c:v>11.2</c:v>
                </c:pt>
                <c:pt idx="3632">
                  <c:v>7.8</c:v>
                </c:pt>
                <c:pt idx="3633">
                  <c:v>10</c:v>
                </c:pt>
                <c:pt idx="3634">
                  <c:v>8.1999999999999993</c:v>
                </c:pt>
                <c:pt idx="3635">
                  <c:v>7.5</c:v>
                </c:pt>
                <c:pt idx="3636">
                  <c:v>1.1000000000000001</c:v>
                </c:pt>
                <c:pt idx="3637">
                  <c:v>10.9</c:v>
                </c:pt>
                <c:pt idx="3638">
                  <c:v>11.8</c:v>
                </c:pt>
                <c:pt idx="3639">
                  <c:v>10.199999999999999</c:v>
                </c:pt>
                <c:pt idx="3640">
                  <c:v>9.6999999999999993</c:v>
                </c:pt>
                <c:pt idx="3641">
                  <c:v>11.9</c:v>
                </c:pt>
                <c:pt idx="3642">
                  <c:v>8.1</c:v>
                </c:pt>
                <c:pt idx="3643">
                  <c:v>6.5</c:v>
                </c:pt>
                <c:pt idx="3644">
                  <c:v>5.2</c:v>
                </c:pt>
                <c:pt idx="3645">
                  <c:v>9.3000000000000007</c:v>
                </c:pt>
                <c:pt idx="3646">
                  <c:v>8.8000000000000007</c:v>
                </c:pt>
                <c:pt idx="3647">
                  <c:v>5</c:v>
                </c:pt>
                <c:pt idx="3648">
                  <c:v>9.1999999999999993</c:v>
                </c:pt>
                <c:pt idx="3649">
                  <c:v>9</c:v>
                </c:pt>
                <c:pt idx="3650">
                  <c:v>7.7</c:v>
                </c:pt>
                <c:pt idx="3651">
                  <c:v>9</c:v>
                </c:pt>
                <c:pt idx="3652">
                  <c:v>5.5</c:v>
                </c:pt>
                <c:pt idx="3653">
                  <c:v>8.5</c:v>
                </c:pt>
                <c:pt idx="3654">
                  <c:v>15.4</c:v>
                </c:pt>
                <c:pt idx="3655">
                  <c:v>3.3</c:v>
                </c:pt>
                <c:pt idx="3656">
                  <c:v>7.1</c:v>
                </c:pt>
                <c:pt idx="3657">
                  <c:v>11.6</c:v>
                </c:pt>
                <c:pt idx="3658">
                  <c:v>6.9</c:v>
                </c:pt>
                <c:pt idx="3659">
                  <c:v>8</c:v>
                </c:pt>
                <c:pt idx="3660">
                  <c:v>6.1</c:v>
                </c:pt>
                <c:pt idx="3661">
                  <c:v>10.5</c:v>
                </c:pt>
                <c:pt idx="3662">
                  <c:v>8.6999999999999993</c:v>
                </c:pt>
                <c:pt idx="3663">
                  <c:v>8.4</c:v>
                </c:pt>
                <c:pt idx="3664">
                  <c:v>0.7</c:v>
                </c:pt>
                <c:pt idx="3665">
                  <c:v>10.4</c:v>
                </c:pt>
                <c:pt idx="3666">
                  <c:v>12.1</c:v>
                </c:pt>
                <c:pt idx="3667">
                  <c:v>3.2</c:v>
                </c:pt>
                <c:pt idx="3668">
                  <c:v>10.9</c:v>
                </c:pt>
                <c:pt idx="3669">
                  <c:v>5.7</c:v>
                </c:pt>
                <c:pt idx="3670">
                  <c:v>3.8</c:v>
                </c:pt>
                <c:pt idx="3671">
                  <c:v>6.7</c:v>
                </c:pt>
                <c:pt idx="3672">
                  <c:v>8.6</c:v>
                </c:pt>
                <c:pt idx="3673">
                  <c:v>11.2</c:v>
                </c:pt>
                <c:pt idx="3674">
                  <c:v>4.0999999999999996</c:v>
                </c:pt>
                <c:pt idx="3675">
                  <c:v>6.3</c:v>
                </c:pt>
                <c:pt idx="3676">
                  <c:v>8.1</c:v>
                </c:pt>
                <c:pt idx="3677">
                  <c:v>7.4</c:v>
                </c:pt>
                <c:pt idx="3678">
                  <c:v>11.2</c:v>
                </c:pt>
                <c:pt idx="3679">
                  <c:v>4.2</c:v>
                </c:pt>
                <c:pt idx="3680">
                  <c:v>8.9</c:v>
                </c:pt>
                <c:pt idx="3681">
                  <c:v>9.1999999999999993</c:v>
                </c:pt>
                <c:pt idx="3682">
                  <c:v>6</c:v>
                </c:pt>
                <c:pt idx="3683">
                  <c:v>8.4</c:v>
                </c:pt>
                <c:pt idx="3684">
                  <c:v>4.4000000000000004</c:v>
                </c:pt>
                <c:pt idx="3685">
                  <c:v>8.6999999999999993</c:v>
                </c:pt>
                <c:pt idx="3686">
                  <c:v>5.2</c:v>
                </c:pt>
                <c:pt idx="3687">
                  <c:v>12.9</c:v>
                </c:pt>
                <c:pt idx="3688">
                  <c:v>10.5</c:v>
                </c:pt>
                <c:pt idx="3689">
                  <c:v>8.4</c:v>
                </c:pt>
                <c:pt idx="3690">
                  <c:v>10.9</c:v>
                </c:pt>
                <c:pt idx="3691">
                  <c:v>12.8</c:v>
                </c:pt>
                <c:pt idx="3692">
                  <c:v>7.3</c:v>
                </c:pt>
                <c:pt idx="3693">
                  <c:v>10.6</c:v>
                </c:pt>
                <c:pt idx="3694">
                  <c:v>6.8</c:v>
                </c:pt>
                <c:pt idx="3695">
                  <c:v>3.1</c:v>
                </c:pt>
                <c:pt idx="3696">
                  <c:v>2</c:v>
                </c:pt>
                <c:pt idx="3697">
                  <c:v>6.6</c:v>
                </c:pt>
                <c:pt idx="3698">
                  <c:v>6.2</c:v>
                </c:pt>
                <c:pt idx="3699">
                  <c:v>11.2</c:v>
                </c:pt>
                <c:pt idx="3700">
                  <c:v>11.3</c:v>
                </c:pt>
                <c:pt idx="3701">
                  <c:v>7.8</c:v>
                </c:pt>
                <c:pt idx="3702">
                  <c:v>5.3</c:v>
                </c:pt>
                <c:pt idx="3703">
                  <c:v>7.9</c:v>
                </c:pt>
                <c:pt idx="3704">
                  <c:v>10.6</c:v>
                </c:pt>
                <c:pt idx="3705">
                  <c:v>8.8000000000000007</c:v>
                </c:pt>
                <c:pt idx="3706">
                  <c:v>8.1</c:v>
                </c:pt>
                <c:pt idx="3707">
                  <c:v>15</c:v>
                </c:pt>
                <c:pt idx="3708">
                  <c:v>6.1</c:v>
                </c:pt>
                <c:pt idx="3709">
                  <c:v>8.5</c:v>
                </c:pt>
                <c:pt idx="3710">
                  <c:v>6.7</c:v>
                </c:pt>
                <c:pt idx="3711">
                  <c:v>11.3</c:v>
                </c:pt>
                <c:pt idx="3712">
                  <c:v>9.6999999999999993</c:v>
                </c:pt>
                <c:pt idx="3713">
                  <c:v>5.8</c:v>
                </c:pt>
                <c:pt idx="3714">
                  <c:v>9.1</c:v>
                </c:pt>
                <c:pt idx="3715">
                  <c:v>8.5</c:v>
                </c:pt>
                <c:pt idx="3716">
                  <c:v>5.7</c:v>
                </c:pt>
                <c:pt idx="3717">
                  <c:v>6.7</c:v>
                </c:pt>
                <c:pt idx="3718">
                  <c:v>15.8</c:v>
                </c:pt>
                <c:pt idx="3719">
                  <c:v>8.3000000000000007</c:v>
                </c:pt>
                <c:pt idx="3720">
                  <c:v>9.3000000000000007</c:v>
                </c:pt>
                <c:pt idx="3721">
                  <c:v>7.1</c:v>
                </c:pt>
                <c:pt idx="3722">
                  <c:v>0</c:v>
                </c:pt>
                <c:pt idx="3723">
                  <c:v>7.4</c:v>
                </c:pt>
                <c:pt idx="3724">
                  <c:v>8</c:v>
                </c:pt>
                <c:pt idx="3725">
                  <c:v>5</c:v>
                </c:pt>
                <c:pt idx="3726">
                  <c:v>3.8</c:v>
                </c:pt>
                <c:pt idx="3727">
                  <c:v>9.3000000000000007</c:v>
                </c:pt>
                <c:pt idx="3728">
                  <c:v>6.7</c:v>
                </c:pt>
                <c:pt idx="3729">
                  <c:v>12.1</c:v>
                </c:pt>
                <c:pt idx="3730">
                  <c:v>10.4</c:v>
                </c:pt>
                <c:pt idx="3731">
                  <c:v>10.3</c:v>
                </c:pt>
                <c:pt idx="3732">
                  <c:v>9</c:v>
                </c:pt>
                <c:pt idx="3733">
                  <c:v>8.4</c:v>
                </c:pt>
                <c:pt idx="3734">
                  <c:v>8.6999999999999993</c:v>
                </c:pt>
                <c:pt idx="3735">
                  <c:v>6.8</c:v>
                </c:pt>
                <c:pt idx="3736">
                  <c:v>6.7</c:v>
                </c:pt>
                <c:pt idx="3737">
                  <c:v>5.5</c:v>
                </c:pt>
                <c:pt idx="3738">
                  <c:v>5.3</c:v>
                </c:pt>
                <c:pt idx="3739">
                  <c:v>4.7</c:v>
                </c:pt>
                <c:pt idx="3740">
                  <c:v>6</c:v>
                </c:pt>
                <c:pt idx="3741">
                  <c:v>9</c:v>
                </c:pt>
                <c:pt idx="3742">
                  <c:v>11.1</c:v>
                </c:pt>
                <c:pt idx="3743">
                  <c:v>13</c:v>
                </c:pt>
                <c:pt idx="3744">
                  <c:v>5.0999999999999996</c:v>
                </c:pt>
                <c:pt idx="3745">
                  <c:v>12</c:v>
                </c:pt>
                <c:pt idx="3746">
                  <c:v>4.8</c:v>
                </c:pt>
                <c:pt idx="3747">
                  <c:v>0.6</c:v>
                </c:pt>
                <c:pt idx="3748">
                  <c:v>11.5</c:v>
                </c:pt>
                <c:pt idx="3749">
                  <c:v>7.1</c:v>
                </c:pt>
                <c:pt idx="3750">
                  <c:v>5.4</c:v>
                </c:pt>
                <c:pt idx="3751">
                  <c:v>3.9</c:v>
                </c:pt>
                <c:pt idx="3752">
                  <c:v>5.2</c:v>
                </c:pt>
                <c:pt idx="3753">
                  <c:v>10.5</c:v>
                </c:pt>
                <c:pt idx="3754">
                  <c:v>9.1</c:v>
                </c:pt>
                <c:pt idx="3755">
                  <c:v>6.8</c:v>
                </c:pt>
                <c:pt idx="3756">
                  <c:v>6.2</c:v>
                </c:pt>
                <c:pt idx="3757">
                  <c:v>3.7</c:v>
                </c:pt>
                <c:pt idx="3758">
                  <c:v>6.8</c:v>
                </c:pt>
                <c:pt idx="3759">
                  <c:v>8.1</c:v>
                </c:pt>
                <c:pt idx="3760">
                  <c:v>12.3</c:v>
                </c:pt>
                <c:pt idx="3761">
                  <c:v>6.4</c:v>
                </c:pt>
                <c:pt idx="3762">
                  <c:v>7.6</c:v>
                </c:pt>
                <c:pt idx="3763">
                  <c:v>7.9</c:v>
                </c:pt>
                <c:pt idx="3764">
                  <c:v>6.2</c:v>
                </c:pt>
                <c:pt idx="3765">
                  <c:v>5.2</c:v>
                </c:pt>
                <c:pt idx="3766">
                  <c:v>10</c:v>
                </c:pt>
                <c:pt idx="3767">
                  <c:v>1.8</c:v>
                </c:pt>
                <c:pt idx="3768">
                  <c:v>4.8</c:v>
                </c:pt>
                <c:pt idx="3769">
                  <c:v>8</c:v>
                </c:pt>
                <c:pt idx="3770">
                  <c:v>7.7</c:v>
                </c:pt>
                <c:pt idx="3771">
                  <c:v>7.8</c:v>
                </c:pt>
                <c:pt idx="3772">
                  <c:v>10.5</c:v>
                </c:pt>
                <c:pt idx="3773">
                  <c:v>6.6</c:v>
                </c:pt>
                <c:pt idx="3774">
                  <c:v>13.2</c:v>
                </c:pt>
                <c:pt idx="3775">
                  <c:v>6.5</c:v>
                </c:pt>
                <c:pt idx="3776">
                  <c:v>11.7</c:v>
                </c:pt>
                <c:pt idx="3777">
                  <c:v>10.5</c:v>
                </c:pt>
                <c:pt idx="3778">
                  <c:v>10.3</c:v>
                </c:pt>
                <c:pt idx="3779">
                  <c:v>10</c:v>
                </c:pt>
                <c:pt idx="3780">
                  <c:v>6.8</c:v>
                </c:pt>
                <c:pt idx="3781">
                  <c:v>5.8</c:v>
                </c:pt>
                <c:pt idx="3782">
                  <c:v>5.0999999999999996</c:v>
                </c:pt>
                <c:pt idx="3783">
                  <c:v>8</c:v>
                </c:pt>
                <c:pt idx="3784">
                  <c:v>12.3</c:v>
                </c:pt>
                <c:pt idx="3785">
                  <c:v>6.5</c:v>
                </c:pt>
                <c:pt idx="3786">
                  <c:v>12.3</c:v>
                </c:pt>
                <c:pt idx="3787">
                  <c:v>9</c:v>
                </c:pt>
                <c:pt idx="3788">
                  <c:v>8</c:v>
                </c:pt>
                <c:pt idx="3789">
                  <c:v>7.8</c:v>
                </c:pt>
                <c:pt idx="3790">
                  <c:v>10.1</c:v>
                </c:pt>
                <c:pt idx="3791">
                  <c:v>12.9</c:v>
                </c:pt>
                <c:pt idx="3792">
                  <c:v>9.9</c:v>
                </c:pt>
                <c:pt idx="3793">
                  <c:v>10.3</c:v>
                </c:pt>
                <c:pt idx="3794">
                  <c:v>6.8</c:v>
                </c:pt>
                <c:pt idx="3795">
                  <c:v>10.7</c:v>
                </c:pt>
                <c:pt idx="3796">
                  <c:v>6.6</c:v>
                </c:pt>
                <c:pt idx="3797">
                  <c:v>11.5</c:v>
                </c:pt>
                <c:pt idx="3798">
                  <c:v>8.5</c:v>
                </c:pt>
                <c:pt idx="3799">
                  <c:v>5.8</c:v>
                </c:pt>
                <c:pt idx="3800">
                  <c:v>11.3</c:v>
                </c:pt>
                <c:pt idx="3801">
                  <c:v>6.5</c:v>
                </c:pt>
                <c:pt idx="3802">
                  <c:v>11.5</c:v>
                </c:pt>
                <c:pt idx="3803">
                  <c:v>12.2</c:v>
                </c:pt>
                <c:pt idx="3804">
                  <c:v>11.2</c:v>
                </c:pt>
                <c:pt idx="3805">
                  <c:v>10.8</c:v>
                </c:pt>
                <c:pt idx="3806">
                  <c:v>9.6999999999999993</c:v>
                </c:pt>
                <c:pt idx="3807">
                  <c:v>6.5</c:v>
                </c:pt>
                <c:pt idx="3808">
                  <c:v>11.4</c:v>
                </c:pt>
                <c:pt idx="3809">
                  <c:v>6.4</c:v>
                </c:pt>
                <c:pt idx="3810">
                  <c:v>15.6</c:v>
                </c:pt>
                <c:pt idx="3811">
                  <c:v>6.8</c:v>
                </c:pt>
                <c:pt idx="3812">
                  <c:v>5.6</c:v>
                </c:pt>
                <c:pt idx="3813">
                  <c:v>6</c:v>
                </c:pt>
                <c:pt idx="3814">
                  <c:v>6.7</c:v>
                </c:pt>
                <c:pt idx="3815">
                  <c:v>9.1</c:v>
                </c:pt>
                <c:pt idx="3816">
                  <c:v>4.5</c:v>
                </c:pt>
                <c:pt idx="3817">
                  <c:v>5.7</c:v>
                </c:pt>
                <c:pt idx="3818">
                  <c:v>6.7</c:v>
                </c:pt>
                <c:pt idx="3819">
                  <c:v>7.6</c:v>
                </c:pt>
                <c:pt idx="3820">
                  <c:v>8.4</c:v>
                </c:pt>
                <c:pt idx="3821">
                  <c:v>4.4000000000000004</c:v>
                </c:pt>
                <c:pt idx="3822">
                  <c:v>10.7</c:v>
                </c:pt>
                <c:pt idx="3823">
                  <c:v>6</c:v>
                </c:pt>
                <c:pt idx="3824">
                  <c:v>5.7</c:v>
                </c:pt>
                <c:pt idx="3825">
                  <c:v>3.1</c:v>
                </c:pt>
                <c:pt idx="3826">
                  <c:v>6.3</c:v>
                </c:pt>
                <c:pt idx="3827">
                  <c:v>7.2</c:v>
                </c:pt>
                <c:pt idx="3828">
                  <c:v>2.9</c:v>
                </c:pt>
                <c:pt idx="3829">
                  <c:v>11.4</c:v>
                </c:pt>
                <c:pt idx="3830">
                  <c:v>10.8</c:v>
                </c:pt>
                <c:pt idx="3831">
                  <c:v>4.8</c:v>
                </c:pt>
                <c:pt idx="3832">
                  <c:v>6.9</c:v>
                </c:pt>
                <c:pt idx="3833">
                  <c:v>8</c:v>
                </c:pt>
                <c:pt idx="3834">
                  <c:v>7</c:v>
                </c:pt>
                <c:pt idx="3835">
                  <c:v>9.4</c:v>
                </c:pt>
                <c:pt idx="3836">
                  <c:v>7.9</c:v>
                </c:pt>
                <c:pt idx="3837">
                  <c:v>7</c:v>
                </c:pt>
                <c:pt idx="3838">
                  <c:v>9.4</c:v>
                </c:pt>
                <c:pt idx="3839">
                  <c:v>5.7</c:v>
                </c:pt>
                <c:pt idx="3840">
                  <c:v>8</c:v>
                </c:pt>
                <c:pt idx="3841">
                  <c:v>2.1</c:v>
                </c:pt>
                <c:pt idx="3842">
                  <c:v>9</c:v>
                </c:pt>
                <c:pt idx="3843">
                  <c:v>7.2</c:v>
                </c:pt>
                <c:pt idx="3844">
                  <c:v>5.9</c:v>
                </c:pt>
                <c:pt idx="3845">
                  <c:v>6.3</c:v>
                </c:pt>
                <c:pt idx="3846">
                  <c:v>11.5</c:v>
                </c:pt>
                <c:pt idx="3847">
                  <c:v>7.5</c:v>
                </c:pt>
                <c:pt idx="3848">
                  <c:v>5.2</c:v>
                </c:pt>
                <c:pt idx="3849">
                  <c:v>11.6</c:v>
                </c:pt>
                <c:pt idx="3850">
                  <c:v>6.4</c:v>
                </c:pt>
                <c:pt idx="3851">
                  <c:v>6.7</c:v>
                </c:pt>
                <c:pt idx="3852">
                  <c:v>5.3</c:v>
                </c:pt>
                <c:pt idx="3853">
                  <c:v>2.9</c:v>
                </c:pt>
                <c:pt idx="3854">
                  <c:v>7.8</c:v>
                </c:pt>
                <c:pt idx="3855">
                  <c:v>5.3</c:v>
                </c:pt>
                <c:pt idx="3856">
                  <c:v>8.6999999999999993</c:v>
                </c:pt>
                <c:pt idx="3857">
                  <c:v>8.6</c:v>
                </c:pt>
                <c:pt idx="3858">
                  <c:v>8.6</c:v>
                </c:pt>
                <c:pt idx="3859">
                  <c:v>8.3000000000000007</c:v>
                </c:pt>
                <c:pt idx="3860">
                  <c:v>7.3</c:v>
                </c:pt>
                <c:pt idx="3861">
                  <c:v>6.6</c:v>
                </c:pt>
                <c:pt idx="3862">
                  <c:v>6</c:v>
                </c:pt>
                <c:pt idx="3863">
                  <c:v>0.8</c:v>
                </c:pt>
                <c:pt idx="3864">
                  <c:v>7.1</c:v>
                </c:pt>
                <c:pt idx="3865">
                  <c:v>0.6</c:v>
                </c:pt>
                <c:pt idx="3866">
                  <c:v>5.0999999999999996</c:v>
                </c:pt>
                <c:pt idx="3867">
                  <c:v>6.5</c:v>
                </c:pt>
                <c:pt idx="3868">
                  <c:v>7.8</c:v>
                </c:pt>
                <c:pt idx="3869">
                  <c:v>11.1</c:v>
                </c:pt>
                <c:pt idx="3870">
                  <c:v>7.1</c:v>
                </c:pt>
                <c:pt idx="3871">
                  <c:v>7.7</c:v>
                </c:pt>
                <c:pt idx="3872">
                  <c:v>13.1</c:v>
                </c:pt>
                <c:pt idx="3873">
                  <c:v>8.4</c:v>
                </c:pt>
                <c:pt idx="3874">
                  <c:v>5</c:v>
                </c:pt>
                <c:pt idx="3875">
                  <c:v>10.4</c:v>
                </c:pt>
                <c:pt idx="3876">
                  <c:v>4.7</c:v>
                </c:pt>
                <c:pt idx="3877">
                  <c:v>10.6</c:v>
                </c:pt>
                <c:pt idx="3878">
                  <c:v>7.5</c:v>
                </c:pt>
                <c:pt idx="3879">
                  <c:v>5.4</c:v>
                </c:pt>
                <c:pt idx="3880">
                  <c:v>10.199999999999999</c:v>
                </c:pt>
                <c:pt idx="3881">
                  <c:v>5.6</c:v>
                </c:pt>
                <c:pt idx="3882">
                  <c:v>8.4</c:v>
                </c:pt>
                <c:pt idx="3883">
                  <c:v>6.9</c:v>
                </c:pt>
                <c:pt idx="3884">
                  <c:v>6.3</c:v>
                </c:pt>
                <c:pt idx="3885">
                  <c:v>13.5</c:v>
                </c:pt>
                <c:pt idx="3886">
                  <c:v>6.7</c:v>
                </c:pt>
                <c:pt idx="3887">
                  <c:v>7</c:v>
                </c:pt>
                <c:pt idx="3888">
                  <c:v>9.1999999999999993</c:v>
                </c:pt>
                <c:pt idx="3889">
                  <c:v>10.6</c:v>
                </c:pt>
                <c:pt idx="3890">
                  <c:v>15</c:v>
                </c:pt>
                <c:pt idx="3891">
                  <c:v>7.1</c:v>
                </c:pt>
                <c:pt idx="3892">
                  <c:v>7.2</c:v>
                </c:pt>
                <c:pt idx="3893">
                  <c:v>10.3</c:v>
                </c:pt>
                <c:pt idx="3894">
                  <c:v>6.8</c:v>
                </c:pt>
                <c:pt idx="3895">
                  <c:v>6.3</c:v>
                </c:pt>
                <c:pt idx="3896">
                  <c:v>2.7</c:v>
                </c:pt>
                <c:pt idx="3897">
                  <c:v>0.8</c:v>
                </c:pt>
                <c:pt idx="3898">
                  <c:v>9.6999999999999993</c:v>
                </c:pt>
                <c:pt idx="3899">
                  <c:v>9.3000000000000007</c:v>
                </c:pt>
                <c:pt idx="3900">
                  <c:v>9.1</c:v>
                </c:pt>
                <c:pt idx="3901">
                  <c:v>8.5</c:v>
                </c:pt>
                <c:pt idx="3902">
                  <c:v>5.3</c:v>
                </c:pt>
                <c:pt idx="3903">
                  <c:v>5.0999999999999996</c:v>
                </c:pt>
                <c:pt idx="3904">
                  <c:v>4.0999999999999996</c:v>
                </c:pt>
                <c:pt idx="3905">
                  <c:v>12</c:v>
                </c:pt>
                <c:pt idx="3906">
                  <c:v>5.9</c:v>
                </c:pt>
                <c:pt idx="3907">
                  <c:v>7.9</c:v>
                </c:pt>
                <c:pt idx="3908">
                  <c:v>3.5</c:v>
                </c:pt>
                <c:pt idx="3909">
                  <c:v>3</c:v>
                </c:pt>
                <c:pt idx="3910">
                  <c:v>9.1</c:v>
                </c:pt>
                <c:pt idx="3911">
                  <c:v>9.5</c:v>
                </c:pt>
                <c:pt idx="3912">
                  <c:v>12.9</c:v>
                </c:pt>
                <c:pt idx="3913">
                  <c:v>7.1</c:v>
                </c:pt>
                <c:pt idx="3914">
                  <c:v>5.3</c:v>
                </c:pt>
                <c:pt idx="3915">
                  <c:v>6.8</c:v>
                </c:pt>
                <c:pt idx="3916">
                  <c:v>8.1</c:v>
                </c:pt>
                <c:pt idx="3917">
                  <c:v>8.6</c:v>
                </c:pt>
                <c:pt idx="3918">
                  <c:v>4.8</c:v>
                </c:pt>
                <c:pt idx="3919">
                  <c:v>6.8</c:v>
                </c:pt>
                <c:pt idx="3920">
                  <c:v>6.1</c:v>
                </c:pt>
                <c:pt idx="3921">
                  <c:v>13.4</c:v>
                </c:pt>
                <c:pt idx="3922">
                  <c:v>5</c:v>
                </c:pt>
                <c:pt idx="3923">
                  <c:v>4.0999999999999996</c:v>
                </c:pt>
                <c:pt idx="3924">
                  <c:v>4.5</c:v>
                </c:pt>
                <c:pt idx="3925">
                  <c:v>5.7</c:v>
                </c:pt>
                <c:pt idx="3926">
                  <c:v>10.9</c:v>
                </c:pt>
                <c:pt idx="3927">
                  <c:v>9.3000000000000007</c:v>
                </c:pt>
                <c:pt idx="3928">
                  <c:v>5.9</c:v>
                </c:pt>
                <c:pt idx="3929">
                  <c:v>9.8000000000000007</c:v>
                </c:pt>
                <c:pt idx="3930">
                  <c:v>10.199999999999999</c:v>
                </c:pt>
                <c:pt idx="3931">
                  <c:v>6.9</c:v>
                </c:pt>
                <c:pt idx="3932">
                  <c:v>7.6</c:v>
                </c:pt>
                <c:pt idx="3933">
                  <c:v>10.199999999999999</c:v>
                </c:pt>
                <c:pt idx="3934">
                  <c:v>8.9</c:v>
                </c:pt>
                <c:pt idx="3935">
                  <c:v>12.4</c:v>
                </c:pt>
                <c:pt idx="3936">
                  <c:v>4.7</c:v>
                </c:pt>
                <c:pt idx="3937">
                  <c:v>12.1</c:v>
                </c:pt>
                <c:pt idx="3938">
                  <c:v>6.2</c:v>
                </c:pt>
                <c:pt idx="3939">
                  <c:v>11</c:v>
                </c:pt>
                <c:pt idx="3940">
                  <c:v>3.5</c:v>
                </c:pt>
                <c:pt idx="3941">
                  <c:v>9.4</c:v>
                </c:pt>
                <c:pt idx="3942">
                  <c:v>8.5</c:v>
                </c:pt>
                <c:pt idx="3943">
                  <c:v>7</c:v>
                </c:pt>
                <c:pt idx="3944">
                  <c:v>5.5</c:v>
                </c:pt>
                <c:pt idx="3945">
                  <c:v>7.5</c:v>
                </c:pt>
                <c:pt idx="3946">
                  <c:v>8.9</c:v>
                </c:pt>
                <c:pt idx="3947">
                  <c:v>7.6</c:v>
                </c:pt>
                <c:pt idx="3948">
                  <c:v>7.4</c:v>
                </c:pt>
                <c:pt idx="3949">
                  <c:v>6.7</c:v>
                </c:pt>
                <c:pt idx="3950">
                  <c:v>3.6</c:v>
                </c:pt>
                <c:pt idx="3951">
                  <c:v>7.6</c:v>
                </c:pt>
                <c:pt idx="3952">
                  <c:v>12.1</c:v>
                </c:pt>
                <c:pt idx="3953">
                  <c:v>9.1</c:v>
                </c:pt>
                <c:pt idx="3954">
                  <c:v>7.8</c:v>
                </c:pt>
                <c:pt idx="3955">
                  <c:v>6.4</c:v>
                </c:pt>
                <c:pt idx="3956">
                  <c:v>9.9</c:v>
                </c:pt>
                <c:pt idx="3957">
                  <c:v>9.3000000000000007</c:v>
                </c:pt>
                <c:pt idx="3958">
                  <c:v>10.8</c:v>
                </c:pt>
                <c:pt idx="3959">
                  <c:v>6.1</c:v>
                </c:pt>
                <c:pt idx="3960">
                  <c:v>10.199999999999999</c:v>
                </c:pt>
                <c:pt idx="3961">
                  <c:v>10.8</c:v>
                </c:pt>
                <c:pt idx="3962">
                  <c:v>12.5</c:v>
                </c:pt>
                <c:pt idx="3963">
                  <c:v>5.4</c:v>
                </c:pt>
                <c:pt idx="3964">
                  <c:v>8.6</c:v>
                </c:pt>
                <c:pt idx="3965">
                  <c:v>7</c:v>
                </c:pt>
                <c:pt idx="3966">
                  <c:v>8.5</c:v>
                </c:pt>
                <c:pt idx="3967">
                  <c:v>14.3</c:v>
                </c:pt>
                <c:pt idx="3968">
                  <c:v>4.5999999999999996</c:v>
                </c:pt>
                <c:pt idx="3969">
                  <c:v>13.4</c:v>
                </c:pt>
                <c:pt idx="3970">
                  <c:v>4.3</c:v>
                </c:pt>
                <c:pt idx="3971">
                  <c:v>9.1</c:v>
                </c:pt>
                <c:pt idx="3972">
                  <c:v>8.6</c:v>
                </c:pt>
                <c:pt idx="3973">
                  <c:v>9</c:v>
                </c:pt>
                <c:pt idx="3974">
                  <c:v>10.4</c:v>
                </c:pt>
                <c:pt idx="3975">
                  <c:v>9.5</c:v>
                </c:pt>
                <c:pt idx="3976">
                  <c:v>7.7</c:v>
                </c:pt>
                <c:pt idx="3977">
                  <c:v>9.4</c:v>
                </c:pt>
                <c:pt idx="3978">
                  <c:v>10.8</c:v>
                </c:pt>
                <c:pt idx="3979">
                  <c:v>8</c:v>
                </c:pt>
                <c:pt idx="3980">
                  <c:v>7.7</c:v>
                </c:pt>
                <c:pt idx="3981">
                  <c:v>7.4</c:v>
                </c:pt>
                <c:pt idx="3982">
                  <c:v>6.3</c:v>
                </c:pt>
                <c:pt idx="3983">
                  <c:v>8.6999999999999993</c:v>
                </c:pt>
                <c:pt idx="3984">
                  <c:v>8.1</c:v>
                </c:pt>
                <c:pt idx="3985">
                  <c:v>5.2</c:v>
                </c:pt>
                <c:pt idx="3986">
                  <c:v>8.6</c:v>
                </c:pt>
                <c:pt idx="3987">
                  <c:v>4.8</c:v>
                </c:pt>
                <c:pt idx="3988">
                  <c:v>10.3</c:v>
                </c:pt>
                <c:pt idx="3989">
                  <c:v>3.8</c:v>
                </c:pt>
                <c:pt idx="3990">
                  <c:v>5.6</c:v>
                </c:pt>
                <c:pt idx="3991">
                  <c:v>7.6</c:v>
                </c:pt>
                <c:pt idx="3992">
                  <c:v>7.4</c:v>
                </c:pt>
                <c:pt idx="3993">
                  <c:v>9</c:v>
                </c:pt>
                <c:pt idx="3994">
                  <c:v>8.8000000000000007</c:v>
                </c:pt>
                <c:pt idx="3995">
                  <c:v>6.5</c:v>
                </c:pt>
                <c:pt idx="3996">
                  <c:v>6.2</c:v>
                </c:pt>
                <c:pt idx="3997">
                  <c:v>8.9</c:v>
                </c:pt>
                <c:pt idx="3998">
                  <c:v>3</c:v>
                </c:pt>
                <c:pt idx="3999">
                  <c:v>3.8</c:v>
                </c:pt>
                <c:pt idx="4000">
                  <c:v>5.8</c:v>
                </c:pt>
                <c:pt idx="4001">
                  <c:v>4.5999999999999996</c:v>
                </c:pt>
                <c:pt idx="4002">
                  <c:v>5.9</c:v>
                </c:pt>
                <c:pt idx="4003">
                  <c:v>11.4</c:v>
                </c:pt>
                <c:pt idx="4004">
                  <c:v>7.4</c:v>
                </c:pt>
                <c:pt idx="4005">
                  <c:v>7.5</c:v>
                </c:pt>
                <c:pt idx="4006">
                  <c:v>9</c:v>
                </c:pt>
                <c:pt idx="4007">
                  <c:v>3.3</c:v>
                </c:pt>
                <c:pt idx="4008">
                  <c:v>9.1</c:v>
                </c:pt>
                <c:pt idx="4009">
                  <c:v>5.7</c:v>
                </c:pt>
                <c:pt idx="4010">
                  <c:v>6.7</c:v>
                </c:pt>
                <c:pt idx="4011">
                  <c:v>13.4</c:v>
                </c:pt>
                <c:pt idx="4012">
                  <c:v>1.9</c:v>
                </c:pt>
                <c:pt idx="4013">
                  <c:v>7.3</c:v>
                </c:pt>
                <c:pt idx="4014">
                  <c:v>4.5</c:v>
                </c:pt>
                <c:pt idx="4015">
                  <c:v>3</c:v>
                </c:pt>
                <c:pt idx="4016">
                  <c:v>6.7</c:v>
                </c:pt>
                <c:pt idx="4017">
                  <c:v>7.9</c:v>
                </c:pt>
                <c:pt idx="4018">
                  <c:v>7.5</c:v>
                </c:pt>
                <c:pt idx="4019">
                  <c:v>7</c:v>
                </c:pt>
                <c:pt idx="4020">
                  <c:v>10.5</c:v>
                </c:pt>
                <c:pt idx="4021">
                  <c:v>7</c:v>
                </c:pt>
                <c:pt idx="4022">
                  <c:v>6.4</c:v>
                </c:pt>
                <c:pt idx="4023">
                  <c:v>1.9</c:v>
                </c:pt>
                <c:pt idx="4024">
                  <c:v>1.3</c:v>
                </c:pt>
                <c:pt idx="4025">
                  <c:v>0</c:v>
                </c:pt>
                <c:pt idx="4026">
                  <c:v>12.6</c:v>
                </c:pt>
                <c:pt idx="4027">
                  <c:v>4.2</c:v>
                </c:pt>
                <c:pt idx="4028">
                  <c:v>5.3</c:v>
                </c:pt>
                <c:pt idx="4029">
                  <c:v>7.2</c:v>
                </c:pt>
                <c:pt idx="4030">
                  <c:v>5.3</c:v>
                </c:pt>
                <c:pt idx="4031">
                  <c:v>3.2</c:v>
                </c:pt>
                <c:pt idx="4032">
                  <c:v>8.4</c:v>
                </c:pt>
                <c:pt idx="4033">
                  <c:v>5.8</c:v>
                </c:pt>
                <c:pt idx="4034">
                  <c:v>5.0999999999999996</c:v>
                </c:pt>
                <c:pt idx="4035">
                  <c:v>6.8</c:v>
                </c:pt>
                <c:pt idx="4036">
                  <c:v>6.3</c:v>
                </c:pt>
                <c:pt idx="4037">
                  <c:v>9.8000000000000007</c:v>
                </c:pt>
                <c:pt idx="4038">
                  <c:v>1.6</c:v>
                </c:pt>
                <c:pt idx="4039">
                  <c:v>5.0999999999999996</c:v>
                </c:pt>
                <c:pt idx="4040">
                  <c:v>6.8</c:v>
                </c:pt>
                <c:pt idx="4041">
                  <c:v>3</c:v>
                </c:pt>
                <c:pt idx="4042">
                  <c:v>11.4</c:v>
                </c:pt>
                <c:pt idx="4043">
                  <c:v>9.9</c:v>
                </c:pt>
                <c:pt idx="4044">
                  <c:v>6.7</c:v>
                </c:pt>
                <c:pt idx="4045">
                  <c:v>5.3</c:v>
                </c:pt>
                <c:pt idx="4046">
                  <c:v>9.8000000000000007</c:v>
                </c:pt>
                <c:pt idx="4047">
                  <c:v>8.1999999999999993</c:v>
                </c:pt>
                <c:pt idx="4048">
                  <c:v>8.8000000000000007</c:v>
                </c:pt>
                <c:pt idx="4049">
                  <c:v>7</c:v>
                </c:pt>
                <c:pt idx="4050">
                  <c:v>8.1999999999999993</c:v>
                </c:pt>
                <c:pt idx="4051">
                  <c:v>4.0999999999999996</c:v>
                </c:pt>
                <c:pt idx="4052">
                  <c:v>9.1</c:v>
                </c:pt>
                <c:pt idx="4053">
                  <c:v>15.3</c:v>
                </c:pt>
                <c:pt idx="4054">
                  <c:v>9.6999999999999993</c:v>
                </c:pt>
                <c:pt idx="4055">
                  <c:v>9.1999999999999993</c:v>
                </c:pt>
                <c:pt idx="4056">
                  <c:v>7.6</c:v>
                </c:pt>
                <c:pt idx="4057">
                  <c:v>7.1</c:v>
                </c:pt>
                <c:pt idx="4058">
                  <c:v>6.5</c:v>
                </c:pt>
                <c:pt idx="4059">
                  <c:v>6.3</c:v>
                </c:pt>
                <c:pt idx="4060">
                  <c:v>8.5</c:v>
                </c:pt>
                <c:pt idx="4061">
                  <c:v>8.3000000000000007</c:v>
                </c:pt>
                <c:pt idx="4062">
                  <c:v>3.9</c:v>
                </c:pt>
                <c:pt idx="4063">
                  <c:v>9.1999999999999993</c:v>
                </c:pt>
                <c:pt idx="4064">
                  <c:v>2.7</c:v>
                </c:pt>
                <c:pt idx="4065">
                  <c:v>10.4</c:v>
                </c:pt>
                <c:pt idx="4066">
                  <c:v>5.7</c:v>
                </c:pt>
                <c:pt idx="4067">
                  <c:v>8.1999999999999993</c:v>
                </c:pt>
                <c:pt idx="4068">
                  <c:v>5.7</c:v>
                </c:pt>
                <c:pt idx="4069">
                  <c:v>3.5</c:v>
                </c:pt>
                <c:pt idx="4070">
                  <c:v>11.3</c:v>
                </c:pt>
                <c:pt idx="4071">
                  <c:v>7</c:v>
                </c:pt>
                <c:pt idx="4072">
                  <c:v>4.4000000000000004</c:v>
                </c:pt>
                <c:pt idx="4073">
                  <c:v>4</c:v>
                </c:pt>
                <c:pt idx="4074">
                  <c:v>11.2</c:v>
                </c:pt>
                <c:pt idx="4075">
                  <c:v>10.199999999999999</c:v>
                </c:pt>
                <c:pt idx="4076">
                  <c:v>7</c:v>
                </c:pt>
                <c:pt idx="4077">
                  <c:v>8.6</c:v>
                </c:pt>
                <c:pt idx="4078">
                  <c:v>4.7</c:v>
                </c:pt>
                <c:pt idx="4079">
                  <c:v>11.8</c:v>
                </c:pt>
                <c:pt idx="4080">
                  <c:v>14</c:v>
                </c:pt>
                <c:pt idx="4081">
                  <c:v>7</c:v>
                </c:pt>
                <c:pt idx="4082">
                  <c:v>8.4</c:v>
                </c:pt>
                <c:pt idx="4083">
                  <c:v>5.8</c:v>
                </c:pt>
                <c:pt idx="4084">
                  <c:v>7.8</c:v>
                </c:pt>
                <c:pt idx="4085">
                  <c:v>9</c:v>
                </c:pt>
                <c:pt idx="4086">
                  <c:v>9.1999999999999993</c:v>
                </c:pt>
                <c:pt idx="4087">
                  <c:v>7.7</c:v>
                </c:pt>
                <c:pt idx="4088">
                  <c:v>1.4</c:v>
                </c:pt>
                <c:pt idx="4089">
                  <c:v>6.8</c:v>
                </c:pt>
                <c:pt idx="4090">
                  <c:v>8</c:v>
                </c:pt>
                <c:pt idx="4091">
                  <c:v>9.5</c:v>
                </c:pt>
                <c:pt idx="4092">
                  <c:v>8.6</c:v>
                </c:pt>
                <c:pt idx="4093">
                  <c:v>8.4</c:v>
                </c:pt>
                <c:pt idx="4094">
                  <c:v>6.3</c:v>
                </c:pt>
                <c:pt idx="4095">
                  <c:v>6.5</c:v>
                </c:pt>
                <c:pt idx="4096">
                  <c:v>9.6</c:v>
                </c:pt>
                <c:pt idx="4097">
                  <c:v>9.1999999999999993</c:v>
                </c:pt>
                <c:pt idx="4098">
                  <c:v>7.7</c:v>
                </c:pt>
                <c:pt idx="4099">
                  <c:v>11.3</c:v>
                </c:pt>
                <c:pt idx="4100">
                  <c:v>5.0999999999999996</c:v>
                </c:pt>
                <c:pt idx="4101">
                  <c:v>7.8</c:v>
                </c:pt>
                <c:pt idx="4102">
                  <c:v>12.8</c:v>
                </c:pt>
                <c:pt idx="4103">
                  <c:v>8.8000000000000007</c:v>
                </c:pt>
                <c:pt idx="4104">
                  <c:v>8.5</c:v>
                </c:pt>
                <c:pt idx="4105">
                  <c:v>7.7</c:v>
                </c:pt>
                <c:pt idx="4106">
                  <c:v>6.4</c:v>
                </c:pt>
                <c:pt idx="4107">
                  <c:v>7.1</c:v>
                </c:pt>
                <c:pt idx="4108">
                  <c:v>6.3</c:v>
                </c:pt>
                <c:pt idx="4109">
                  <c:v>7.1</c:v>
                </c:pt>
                <c:pt idx="4110">
                  <c:v>7.5</c:v>
                </c:pt>
                <c:pt idx="4111">
                  <c:v>3.7</c:v>
                </c:pt>
                <c:pt idx="4112">
                  <c:v>6.1</c:v>
                </c:pt>
                <c:pt idx="4113">
                  <c:v>4.5999999999999996</c:v>
                </c:pt>
                <c:pt idx="4114">
                  <c:v>8.8000000000000007</c:v>
                </c:pt>
                <c:pt idx="4115">
                  <c:v>11.2</c:v>
                </c:pt>
                <c:pt idx="4116">
                  <c:v>7.5</c:v>
                </c:pt>
                <c:pt idx="4117">
                  <c:v>7.3</c:v>
                </c:pt>
                <c:pt idx="4118">
                  <c:v>6.2</c:v>
                </c:pt>
                <c:pt idx="4119">
                  <c:v>6.7</c:v>
                </c:pt>
                <c:pt idx="4120">
                  <c:v>7.3</c:v>
                </c:pt>
                <c:pt idx="4121">
                  <c:v>5.5</c:v>
                </c:pt>
                <c:pt idx="4122">
                  <c:v>7</c:v>
                </c:pt>
                <c:pt idx="4123">
                  <c:v>10.4</c:v>
                </c:pt>
                <c:pt idx="4124">
                  <c:v>9.4</c:v>
                </c:pt>
                <c:pt idx="4125">
                  <c:v>6.6</c:v>
                </c:pt>
                <c:pt idx="4126">
                  <c:v>7.8</c:v>
                </c:pt>
                <c:pt idx="4127">
                  <c:v>8.6</c:v>
                </c:pt>
                <c:pt idx="4128">
                  <c:v>7</c:v>
                </c:pt>
                <c:pt idx="4129">
                  <c:v>11.1</c:v>
                </c:pt>
                <c:pt idx="4130">
                  <c:v>3.5</c:v>
                </c:pt>
                <c:pt idx="4131">
                  <c:v>9.3000000000000007</c:v>
                </c:pt>
                <c:pt idx="4132">
                  <c:v>4.8</c:v>
                </c:pt>
                <c:pt idx="4133">
                  <c:v>7.5</c:v>
                </c:pt>
                <c:pt idx="4134">
                  <c:v>7.8</c:v>
                </c:pt>
                <c:pt idx="4135">
                  <c:v>9.9</c:v>
                </c:pt>
                <c:pt idx="4136">
                  <c:v>6.7</c:v>
                </c:pt>
                <c:pt idx="4137">
                  <c:v>5.6</c:v>
                </c:pt>
                <c:pt idx="4138">
                  <c:v>11</c:v>
                </c:pt>
                <c:pt idx="4139">
                  <c:v>7.4</c:v>
                </c:pt>
                <c:pt idx="4140">
                  <c:v>9.4</c:v>
                </c:pt>
                <c:pt idx="4141">
                  <c:v>6.5</c:v>
                </c:pt>
                <c:pt idx="4142">
                  <c:v>7.5</c:v>
                </c:pt>
                <c:pt idx="4143">
                  <c:v>12.9</c:v>
                </c:pt>
                <c:pt idx="4144">
                  <c:v>7.4</c:v>
                </c:pt>
                <c:pt idx="4145">
                  <c:v>10.4</c:v>
                </c:pt>
                <c:pt idx="4146">
                  <c:v>7</c:v>
                </c:pt>
                <c:pt idx="4147">
                  <c:v>8.4</c:v>
                </c:pt>
                <c:pt idx="4148">
                  <c:v>10.4</c:v>
                </c:pt>
                <c:pt idx="4149">
                  <c:v>5.2</c:v>
                </c:pt>
                <c:pt idx="4150">
                  <c:v>5</c:v>
                </c:pt>
                <c:pt idx="4151">
                  <c:v>7.4</c:v>
                </c:pt>
                <c:pt idx="4152">
                  <c:v>9.5</c:v>
                </c:pt>
                <c:pt idx="4153">
                  <c:v>6.3</c:v>
                </c:pt>
                <c:pt idx="4154">
                  <c:v>13.5</c:v>
                </c:pt>
                <c:pt idx="4155">
                  <c:v>7.3</c:v>
                </c:pt>
                <c:pt idx="4156">
                  <c:v>12.3</c:v>
                </c:pt>
                <c:pt idx="4157">
                  <c:v>3.5</c:v>
                </c:pt>
                <c:pt idx="4158">
                  <c:v>10.9</c:v>
                </c:pt>
                <c:pt idx="4159">
                  <c:v>8.5</c:v>
                </c:pt>
                <c:pt idx="4160">
                  <c:v>3.2</c:v>
                </c:pt>
                <c:pt idx="4161">
                  <c:v>2.2999999999999998</c:v>
                </c:pt>
                <c:pt idx="4162">
                  <c:v>5.7</c:v>
                </c:pt>
                <c:pt idx="4163">
                  <c:v>10.9</c:v>
                </c:pt>
                <c:pt idx="4164">
                  <c:v>7.3</c:v>
                </c:pt>
                <c:pt idx="4165">
                  <c:v>9.1</c:v>
                </c:pt>
                <c:pt idx="4166">
                  <c:v>6.9</c:v>
                </c:pt>
                <c:pt idx="4167">
                  <c:v>6.5</c:v>
                </c:pt>
                <c:pt idx="4168">
                  <c:v>6.5</c:v>
                </c:pt>
                <c:pt idx="4169">
                  <c:v>5.8</c:v>
                </c:pt>
                <c:pt idx="4170">
                  <c:v>6.5</c:v>
                </c:pt>
                <c:pt idx="4171">
                  <c:v>6.7</c:v>
                </c:pt>
                <c:pt idx="4172">
                  <c:v>6.8</c:v>
                </c:pt>
                <c:pt idx="4173">
                  <c:v>4.8</c:v>
                </c:pt>
                <c:pt idx="4174">
                  <c:v>10.8</c:v>
                </c:pt>
                <c:pt idx="4175">
                  <c:v>12.5</c:v>
                </c:pt>
                <c:pt idx="4176">
                  <c:v>8.1999999999999993</c:v>
                </c:pt>
                <c:pt idx="4177">
                  <c:v>5.9</c:v>
                </c:pt>
                <c:pt idx="4178">
                  <c:v>8.3000000000000007</c:v>
                </c:pt>
                <c:pt idx="4179">
                  <c:v>7.1</c:v>
                </c:pt>
                <c:pt idx="4180">
                  <c:v>6.4</c:v>
                </c:pt>
                <c:pt idx="4181">
                  <c:v>13</c:v>
                </c:pt>
                <c:pt idx="4182">
                  <c:v>8.1</c:v>
                </c:pt>
                <c:pt idx="4183">
                  <c:v>4.8</c:v>
                </c:pt>
                <c:pt idx="4184">
                  <c:v>8.5</c:v>
                </c:pt>
                <c:pt idx="4185">
                  <c:v>3.9</c:v>
                </c:pt>
                <c:pt idx="4186">
                  <c:v>5.2</c:v>
                </c:pt>
                <c:pt idx="4187">
                  <c:v>8.6999999999999993</c:v>
                </c:pt>
                <c:pt idx="4188">
                  <c:v>7.6</c:v>
                </c:pt>
                <c:pt idx="4189">
                  <c:v>11.3</c:v>
                </c:pt>
                <c:pt idx="4190">
                  <c:v>7.1</c:v>
                </c:pt>
                <c:pt idx="4191">
                  <c:v>2.6</c:v>
                </c:pt>
                <c:pt idx="4192">
                  <c:v>7.4</c:v>
                </c:pt>
                <c:pt idx="4193">
                  <c:v>4</c:v>
                </c:pt>
                <c:pt idx="4194">
                  <c:v>4.7</c:v>
                </c:pt>
                <c:pt idx="4195">
                  <c:v>3.8</c:v>
                </c:pt>
                <c:pt idx="4196">
                  <c:v>11.4</c:v>
                </c:pt>
                <c:pt idx="4197">
                  <c:v>7.9</c:v>
                </c:pt>
                <c:pt idx="4198">
                  <c:v>8.6999999999999993</c:v>
                </c:pt>
                <c:pt idx="4199">
                  <c:v>9.6</c:v>
                </c:pt>
                <c:pt idx="4200">
                  <c:v>10.3</c:v>
                </c:pt>
                <c:pt idx="4201">
                  <c:v>5.4</c:v>
                </c:pt>
                <c:pt idx="4202">
                  <c:v>10.6</c:v>
                </c:pt>
                <c:pt idx="4203">
                  <c:v>5.5</c:v>
                </c:pt>
                <c:pt idx="4204">
                  <c:v>7.8</c:v>
                </c:pt>
                <c:pt idx="4205">
                  <c:v>10.199999999999999</c:v>
                </c:pt>
                <c:pt idx="4206">
                  <c:v>9.1</c:v>
                </c:pt>
                <c:pt idx="4207">
                  <c:v>7.8</c:v>
                </c:pt>
                <c:pt idx="4208">
                  <c:v>1.8</c:v>
                </c:pt>
                <c:pt idx="4209">
                  <c:v>7.4</c:v>
                </c:pt>
                <c:pt idx="4210">
                  <c:v>7.1</c:v>
                </c:pt>
                <c:pt idx="4211">
                  <c:v>6.3</c:v>
                </c:pt>
                <c:pt idx="4212">
                  <c:v>2.5</c:v>
                </c:pt>
                <c:pt idx="4213">
                  <c:v>3.6</c:v>
                </c:pt>
                <c:pt idx="4214">
                  <c:v>6.5</c:v>
                </c:pt>
                <c:pt idx="4215">
                  <c:v>10.3</c:v>
                </c:pt>
                <c:pt idx="4216">
                  <c:v>8.4</c:v>
                </c:pt>
                <c:pt idx="4217">
                  <c:v>6.3</c:v>
                </c:pt>
                <c:pt idx="4218">
                  <c:v>8</c:v>
                </c:pt>
                <c:pt idx="4219">
                  <c:v>6.5</c:v>
                </c:pt>
                <c:pt idx="4220">
                  <c:v>7</c:v>
                </c:pt>
                <c:pt idx="4221">
                  <c:v>9.4</c:v>
                </c:pt>
                <c:pt idx="4222">
                  <c:v>0.6</c:v>
                </c:pt>
                <c:pt idx="4223">
                  <c:v>6.8</c:v>
                </c:pt>
                <c:pt idx="4224">
                  <c:v>3.4</c:v>
                </c:pt>
                <c:pt idx="4225">
                  <c:v>7.2</c:v>
                </c:pt>
                <c:pt idx="4226">
                  <c:v>11.2</c:v>
                </c:pt>
                <c:pt idx="4227">
                  <c:v>11.2</c:v>
                </c:pt>
                <c:pt idx="4228">
                  <c:v>8.8000000000000007</c:v>
                </c:pt>
                <c:pt idx="4229">
                  <c:v>10.4</c:v>
                </c:pt>
                <c:pt idx="4230">
                  <c:v>6.8</c:v>
                </c:pt>
                <c:pt idx="4231">
                  <c:v>9.6999999999999993</c:v>
                </c:pt>
                <c:pt idx="4232">
                  <c:v>8.5</c:v>
                </c:pt>
                <c:pt idx="4233">
                  <c:v>8.6</c:v>
                </c:pt>
                <c:pt idx="4234">
                  <c:v>6.2</c:v>
                </c:pt>
                <c:pt idx="4235">
                  <c:v>8.8000000000000007</c:v>
                </c:pt>
                <c:pt idx="4236">
                  <c:v>8.5</c:v>
                </c:pt>
                <c:pt idx="4237">
                  <c:v>5.5</c:v>
                </c:pt>
                <c:pt idx="4238">
                  <c:v>11.5</c:v>
                </c:pt>
                <c:pt idx="4239">
                  <c:v>9.6999999999999993</c:v>
                </c:pt>
                <c:pt idx="4240">
                  <c:v>9.6</c:v>
                </c:pt>
                <c:pt idx="4241">
                  <c:v>9.1999999999999993</c:v>
                </c:pt>
                <c:pt idx="4242">
                  <c:v>8</c:v>
                </c:pt>
                <c:pt idx="4243">
                  <c:v>7.5</c:v>
                </c:pt>
                <c:pt idx="4244">
                  <c:v>5.9</c:v>
                </c:pt>
                <c:pt idx="4245">
                  <c:v>0.1</c:v>
                </c:pt>
                <c:pt idx="4246">
                  <c:v>9.9</c:v>
                </c:pt>
                <c:pt idx="4247">
                  <c:v>7.6</c:v>
                </c:pt>
                <c:pt idx="4248">
                  <c:v>5.7</c:v>
                </c:pt>
                <c:pt idx="4249">
                  <c:v>13.4</c:v>
                </c:pt>
                <c:pt idx="4250">
                  <c:v>5.8</c:v>
                </c:pt>
                <c:pt idx="4251">
                  <c:v>6.6</c:v>
                </c:pt>
                <c:pt idx="4252">
                  <c:v>6.3</c:v>
                </c:pt>
                <c:pt idx="4253">
                  <c:v>8.6</c:v>
                </c:pt>
                <c:pt idx="4254">
                  <c:v>6.6</c:v>
                </c:pt>
                <c:pt idx="4255">
                  <c:v>11.1</c:v>
                </c:pt>
                <c:pt idx="4256">
                  <c:v>6.2</c:v>
                </c:pt>
                <c:pt idx="4257">
                  <c:v>8.6</c:v>
                </c:pt>
                <c:pt idx="4258">
                  <c:v>9.6999999999999993</c:v>
                </c:pt>
                <c:pt idx="4259">
                  <c:v>6.7</c:v>
                </c:pt>
                <c:pt idx="4260">
                  <c:v>5.9</c:v>
                </c:pt>
                <c:pt idx="4261">
                  <c:v>6.8</c:v>
                </c:pt>
                <c:pt idx="4262">
                  <c:v>5.6</c:v>
                </c:pt>
                <c:pt idx="4263">
                  <c:v>7.5</c:v>
                </c:pt>
                <c:pt idx="4264">
                  <c:v>6.5</c:v>
                </c:pt>
                <c:pt idx="4265">
                  <c:v>8.6999999999999993</c:v>
                </c:pt>
                <c:pt idx="4266">
                  <c:v>6.8</c:v>
                </c:pt>
                <c:pt idx="4267">
                  <c:v>5</c:v>
                </c:pt>
                <c:pt idx="4268">
                  <c:v>8.1999999999999993</c:v>
                </c:pt>
                <c:pt idx="4269">
                  <c:v>6.1</c:v>
                </c:pt>
                <c:pt idx="4270">
                  <c:v>7</c:v>
                </c:pt>
                <c:pt idx="4271">
                  <c:v>7.6</c:v>
                </c:pt>
                <c:pt idx="4272">
                  <c:v>7.6</c:v>
                </c:pt>
                <c:pt idx="4273">
                  <c:v>5.5</c:v>
                </c:pt>
                <c:pt idx="4274">
                  <c:v>6.8</c:v>
                </c:pt>
                <c:pt idx="4275">
                  <c:v>11</c:v>
                </c:pt>
                <c:pt idx="4276">
                  <c:v>5</c:v>
                </c:pt>
                <c:pt idx="4277">
                  <c:v>6.1</c:v>
                </c:pt>
                <c:pt idx="4278">
                  <c:v>11.3</c:v>
                </c:pt>
                <c:pt idx="4279">
                  <c:v>7.2</c:v>
                </c:pt>
                <c:pt idx="4280">
                  <c:v>5.2</c:v>
                </c:pt>
                <c:pt idx="4281">
                  <c:v>5.6</c:v>
                </c:pt>
                <c:pt idx="4282">
                  <c:v>8.4</c:v>
                </c:pt>
                <c:pt idx="4283">
                  <c:v>8</c:v>
                </c:pt>
                <c:pt idx="4284">
                  <c:v>7.5</c:v>
                </c:pt>
                <c:pt idx="4285">
                  <c:v>7.2</c:v>
                </c:pt>
                <c:pt idx="4286">
                  <c:v>5.8</c:v>
                </c:pt>
                <c:pt idx="4287">
                  <c:v>4.5</c:v>
                </c:pt>
                <c:pt idx="4288">
                  <c:v>8.6</c:v>
                </c:pt>
                <c:pt idx="4289">
                  <c:v>5.5</c:v>
                </c:pt>
                <c:pt idx="4290">
                  <c:v>12.8</c:v>
                </c:pt>
                <c:pt idx="4291">
                  <c:v>8.9</c:v>
                </c:pt>
                <c:pt idx="4292">
                  <c:v>9.1999999999999993</c:v>
                </c:pt>
                <c:pt idx="4293">
                  <c:v>8.8000000000000007</c:v>
                </c:pt>
                <c:pt idx="4294">
                  <c:v>7.7</c:v>
                </c:pt>
                <c:pt idx="4295">
                  <c:v>7.9</c:v>
                </c:pt>
                <c:pt idx="4296">
                  <c:v>10</c:v>
                </c:pt>
                <c:pt idx="4297">
                  <c:v>9.5</c:v>
                </c:pt>
                <c:pt idx="4298">
                  <c:v>5.9</c:v>
                </c:pt>
                <c:pt idx="4299">
                  <c:v>6.4</c:v>
                </c:pt>
                <c:pt idx="4300">
                  <c:v>0.2</c:v>
                </c:pt>
                <c:pt idx="4301">
                  <c:v>2.6</c:v>
                </c:pt>
                <c:pt idx="4302">
                  <c:v>8.5</c:v>
                </c:pt>
                <c:pt idx="4303">
                  <c:v>10.7</c:v>
                </c:pt>
                <c:pt idx="4304">
                  <c:v>8.3000000000000007</c:v>
                </c:pt>
                <c:pt idx="4305">
                  <c:v>9</c:v>
                </c:pt>
                <c:pt idx="4306">
                  <c:v>13</c:v>
                </c:pt>
                <c:pt idx="4307">
                  <c:v>12.7</c:v>
                </c:pt>
                <c:pt idx="4308">
                  <c:v>7.9</c:v>
                </c:pt>
                <c:pt idx="4309">
                  <c:v>12.7</c:v>
                </c:pt>
                <c:pt idx="4310">
                  <c:v>5.9</c:v>
                </c:pt>
                <c:pt idx="4311">
                  <c:v>1.4</c:v>
                </c:pt>
                <c:pt idx="4312">
                  <c:v>8.1999999999999993</c:v>
                </c:pt>
                <c:pt idx="4313">
                  <c:v>4.5999999999999996</c:v>
                </c:pt>
                <c:pt idx="4314">
                  <c:v>2.1</c:v>
                </c:pt>
                <c:pt idx="4315">
                  <c:v>6.7</c:v>
                </c:pt>
                <c:pt idx="4316">
                  <c:v>12.4</c:v>
                </c:pt>
                <c:pt idx="4317">
                  <c:v>9.4</c:v>
                </c:pt>
                <c:pt idx="4318">
                  <c:v>9</c:v>
                </c:pt>
                <c:pt idx="4319">
                  <c:v>3.8</c:v>
                </c:pt>
                <c:pt idx="4320">
                  <c:v>1.6</c:v>
                </c:pt>
                <c:pt idx="4321">
                  <c:v>8.5</c:v>
                </c:pt>
                <c:pt idx="4322">
                  <c:v>7.9</c:v>
                </c:pt>
                <c:pt idx="4323">
                  <c:v>6.5</c:v>
                </c:pt>
                <c:pt idx="4324">
                  <c:v>13</c:v>
                </c:pt>
                <c:pt idx="4325">
                  <c:v>6.1</c:v>
                </c:pt>
                <c:pt idx="4326">
                  <c:v>6.1</c:v>
                </c:pt>
                <c:pt idx="4327">
                  <c:v>5.9</c:v>
                </c:pt>
                <c:pt idx="4328">
                  <c:v>6.9</c:v>
                </c:pt>
                <c:pt idx="4329">
                  <c:v>9.1</c:v>
                </c:pt>
                <c:pt idx="4330">
                  <c:v>9.3000000000000007</c:v>
                </c:pt>
                <c:pt idx="4331">
                  <c:v>12.3</c:v>
                </c:pt>
                <c:pt idx="4332">
                  <c:v>8.8000000000000007</c:v>
                </c:pt>
                <c:pt idx="4333">
                  <c:v>6.1</c:v>
                </c:pt>
                <c:pt idx="4334">
                  <c:v>9.1</c:v>
                </c:pt>
                <c:pt idx="4335">
                  <c:v>6.5</c:v>
                </c:pt>
                <c:pt idx="4336">
                  <c:v>5.5</c:v>
                </c:pt>
                <c:pt idx="4337">
                  <c:v>6.6</c:v>
                </c:pt>
                <c:pt idx="4338">
                  <c:v>11.7</c:v>
                </c:pt>
                <c:pt idx="4339">
                  <c:v>8.5</c:v>
                </c:pt>
                <c:pt idx="4340">
                  <c:v>5.9</c:v>
                </c:pt>
                <c:pt idx="4341">
                  <c:v>3.4</c:v>
                </c:pt>
                <c:pt idx="4342">
                  <c:v>7.4</c:v>
                </c:pt>
                <c:pt idx="4343">
                  <c:v>9.4</c:v>
                </c:pt>
                <c:pt idx="4344">
                  <c:v>9.1999999999999993</c:v>
                </c:pt>
                <c:pt idx="4345">
                  <c:v>9</c:v>
                </c:pt>
                <c:pt idx="4346">
                  <c:v>7.5</c:v>
                </c:pt>
                <c:pt idx="4347">
                  <c:v>7.3</c:v>
                </c:pt>
                <c:pt idx="4348">
                  <c:v>10.199999999999999</c:v>
                </c:pt>
                <c:pt idx="4349">
                  <c:v>1.3</c:v>
                </c:pt>
                <c:pt idx="4350">
                  <c:v>4.0999999999999996</c:v>
                </c:pt>
                <c:pt idx="4351">
                  <c:v>5.5</c:v>
                </c:pt>
                <c:pt idx="4352">
                  <c:v>7.1</c:v>
                </c:pt>
                <c:pt idx="4353">
                  <c:v>3.8</c:v>
                </c:pt>
                <c:pt idx="4354">
                  <c:v>7.5</c:v>
                </c:pt>
                <c:pt idx="4355">
                  <c:v>6.5</c:v>
                </c:pt>
                <c:pt idx="4356">
                  <c:v>3.9</c:v>
                </c:pt>
                <c:pt idx="4357">
                  <c:v>9.1999999999999993</c:v>
                </c:pt>
                <c:pt idx="4358">
                  <c:v>11.1</c:v>
                </c:pt>
                <c:pt idx="4359">
                  <c:v>5</c:v>
                </c:pt>
                <c:pt idx="4360">
                  <c:v>7.7</c:v>
                </c:pt>
                <c:pt idx="4361">
                  <c:v>11.3</c:v>
                </c:pt>
                <c:pt idx="4362">
                  <c:v>11.3</c:v>
                </c:pt>
                <c:pt idx="4363">
                  <c:v>6.3</c:v>
                </c:pt>
                <c:pt idx="4364">
                  <c:v>9</c:v>
                </c:pt>
                <c:pt idx="4365">
                  <c:v>5</c:v>
                </c:pt>
                <c:pt idx="4366">
                  <c:v>11.9</c:v>
                </c:pt>
                <c:pt idx="4367">
                  <c:v>9.3000000000000007</c:v>
                </c:pt>
                <c:pt idx="4368">
                  <c:v>5.2</c:v>
                </c:pt>
                <c:pt idx="4369">
                  <c:v>9.4</c:v>
                </c:pt>
                <c:pt idx="4370">
                  <c:v>7.1</c:v>
                </c:pt>
                <c:pt idx="4371">
                  <c:v>4</c:v>
                </c:pt>
                <c:pt idx="4372">
                  <c:v>3.9</c:v>
                </c:pt>
                <c:pt idx="4373">
                  <c:v>6.3</c:v>
                </c:pt>
                <c:pt idx="4374">
                  <c:v>12.8</c:v>
                </c:pt>
                <c:pt idx="4375">
                  <c:v>7.5</c:v>
                </c:pt>
                <c:pt idx="4376">
                  <c:v>6.5</c:v>
                </c:pt>
                <c:pt idx="4377">
                  <c:v>6.3</c:v>
                </c:pt>
                <c:pt idx="4378">
                  <c:v>8</c:v>
                </c:pt>
                <c:pt idx="4379">
                  <c:v>8.4</c:v>
                </c:pt>
                <c:pt idx="4380">
                  <c:v>5.6</c:v>
                </c:pt>
                <c:pt idx="4381">
                  <c:v>8.4</c:v>
                </c:pt>
                <c:pt idx="4382">
                  <c:v>9.1</c:v>
                </c:pt>
                <c:pt idx="4383">
                  <c:v>4.3</c:v>
                </c:pt>
                <c:pt idx="4384">
                  <c:v>7.5</c:v>
                </c:pt>
                <c:pt idx="4385">
                  <c:v>6.8</c:v>
                </c:pt>
                <c:pt idx="4386">
                  <c:v>5.5</c:v>
                </c:pt>
                <c:pt idx="4387">
                  <c:v>10.8</c:v>
                </c:pt>
                <c:pt idx="4388">
                  <c:v>7.4</c:v>
                </c:pt>
                <c:pt idx="4389">
                  <c:v>6.6</c:v>
                </c:pt>
                <c:pt idx="4390">
                  <c:v>5.3</c:v>
                </c:pt>
                <c:pt idx="4391">
                  <c:v>12.6</c:v>
                </c:pt>
                <c:pt idx="4392">
                  <c:v>7</c:v>
                </c:pt>
                <c:pt idx="4393">
                  <c:v>5.9</c:v>
                </c:pt>
                <c:pt idx="4394">
                  <c:v>5.5</c:v>
                </c:pt>
                <c:pt idx="4395">
                  <c:v>5</c:v>
                </c:pt>
                <c:pt idx="4396">
                  <c:v>10.7</c:v>
                </c:pt>
                <c:pt idx="4397">
                  <c:v>7</c:v>
                </c:pt>
                <c:pt idx="4398">
                  <c:v>3.5</c:v>
                </c:pt>
                <c:pt idx="4399">
                  <c:v>7.1</c:v>
                </c:pt>
                <c:pt idx="4400">
                  <c:v>0</c:v>
                </c:pt>
                <c:pt idx="4401">
                  <c:v>10.7</c:v>
                </c:pt>
                <c:pt idx="4402">
                  <c:v>5.7</c:v>
                </c:pt>
                <c:pt idx="4403">
                  <c:v>7.4</c:v>
                </c:pt>
                <c:pt idx="4404">
                  <c:v>7.1</c:v>
                </c:pt>
                <c:pt idx="4405">
                  <c:v>4.9000000000000004</c:v>
                </c:pt>
                <c:pt idx="4406">
                  <c:v>6.1</c:v>
                </c:pt>
                <c:pt idx="4407">
                  <c:v>5.7</c:v>
                </c:pt>
                <c:pt idx="4408">
                  <c:v>7.5</c:v>
                </c:pt>
                <c:pt idx="4409">
                  <c:v>11</c:v>
                </c:pt>
                <c:pt idx="4410">
                  <c:v>11</c:v>
                </c:pt>
                <c:pt idx="4411">
                  <c:v>10.7</c:v>
                </c:pt>
                <c:pt idx="4412">
                  <c:v>6</c:v>
                </c:pt>
                <c:pt idx="4413">
                  <c:v>5.5</c:v>
                </c:pt>
                <c:pt idx="4414">
                  <c:v>10</c:v>
                </c:pt>
                <c:pt idx="4415">
                  <c:v>5.6</c:v>
                </c:pt>
                <c:pt idx="4416">
                  <c:v>5.7</c:v>
                </c:pt>
                <c:pt idx="4417">
                  <c:v>7.2</c:v>
                </c:pt>
                <c:pt idx="4418">
                  <c:v>8.4</c:v>
                </c:pt>
                <c:pt idx="4419">
                  <c:v>10.4</c:v>
                </c:pt>
                <c:pt idx="4420">
                  <c:v>6.4</c:v>
                </c:pt>
                <c:pt idx="4421">
                  <c:v>13.6</c:v>
                </c:pt>
                <c:pt idx="4422">
                  <c:v>6.3</c:v>
                </c:pt>
                <c:pt idx="4423">
                  <c:v>9.4</c:v>
                </c:pt>
                <c:pt idx="4424">
                  <c:v>15.6</c:v>
                </c:pt>
                <c:pt idx="4425">
                  <c:v>9.8000000000000007</c:v>
                </c:pt>
                <c:pt idx="4426">
                  <c:v>10.5</c:v>
                </c:pt>
                <c:pt idx="4427">
                  <c:v>4.8</c:v>
                </c:pt>
                <c:pt idx="4428">
                  <c:v>8.9</c:v>
                </c:pt>
                <c:pt idx="4429">
                  <c:v>9.5</c:v>
                </c:pt>
                <c:pt idx="4430">
                  <c:v>7.1</c:v>
                </c:pt>
                <c:pt idx="4431">
                  <c:v>0.9</c:v>
                </c:pt>
                <c:pt idx="4432">
                  <c:v>9.8000000000000007</c:v>
                </c:pt>
                <c:pt idx="4433">
                  <c:v>7.6</c:v>
                </c:pt>
                <c:pt idx="4434">
                  <c:v>10.4</c:v>
                </c:pt>
                <c:pt idx="4435">
                  <c:v>10.3</c:v>
                </c:pt>
                <c:pt idx="4436">
                  <c:v>11.5</c:v>
                </c:pt>
                <c:pt idx="4437">
                  <c:v>6.6</c:v>
                </c:pt>
                <c:pt idx="4438">
                  <c:v>3</c:v>
                </c:pt>
                <c:pt idx="4439">
                  <c:v>5</c:v>
                </c:pt>
                <c:pt idx="4440">
                  <c:v>7.9</c:v>
                </c:pt>
                <c:pt idx="4441">
                  <c:v>9.6999999999999993</c:v>
                </c:pt>
                <c:pt idx="4442">
                  <c:v>8.3000000000000007</c:v>
                </c:pt>
                <c:pt idx="4443">
                  <c:v>9.3000000000000007</c:v>
                </c:pt>
                <c:pt idx="4444">
                  <c:v>8.4</c:v>
                </c:pt>
                <c:pt idx="4445">
                  <c:v>10.6</c:v>
                </c:pt>
                <c:pt idx="4446">
                  <c:v>10.1</c:v>
                </c:pt>
                <c:pt idx="4447">
                  <c:v>4.3</c:v>
                </c:pt>
                <c:pt idx="4448">
                  <c:v>4</c:v>
                </c:pt>
                <c:pt idx="4449">
                  <c:v>8.6999999999999993</c:v>
                </c:pt>
                <c:pt idx="4450">
                  <c:v>7</c:v>
                </c:pt>
                <c:pt idx="4451">
                  <c:v>9.4</c:v>
                </c:pt>
                <c:pt idx="4452">
                  <c:v>5.5</c:v>
                </c:pt>
                <c:pt idx="4453">
                  <c:v>4.5</c:v>
                </c:pt>
                <c:pt idx="4454">
                  <c:v>11.8</c:v>
                </c:pt>
                <c:pt idx="4455">
                  <c:v>6.6</c:v>
                </c:pt>
                <c:pt idx="4456">
                  <c:v>15.3</c:v>
                </c:pt>
                <c:pt idx="4457">
                  <c:v>11.8</c:v>
                </c:pt>
                <c:pt idx="4458">
                  <c:v>6.9</c:v>
                </c:pt>
                <c:pt idx="4459">
                  <c:v>7.1</c:v>
                </c:pt>
                <c:pt idx="4460">
                  <c:v>10.5</c:v>
                </c:pt>
                <c:pt idx="4461">
                  <c:v>7</c:v>
                </c:pt>
                <c:pt idx="4462">
                  <c:v>7.3</c:v>
                </c:pt>
                <c:pt idx="4463">
                  <c:v>9.6</c:v>
                </c:pt>
                <c:pt idx="4464">
                  <c:v>6.2</c:v>
                </c:pt>
                <c:pt idx="4465">
                  <c:v>3.8</c:v>
                </c:pt>
                <c:pt idx="4466">
                  <c:v>5.8</c:v>
                </c:pt>
                <c:pt idx="4467">
                  <c:v>7.7</c:v>
                </c:pt>
                <c:pt idx="4468">
                  <c:v>5.7</c:v>
                </c:pt>
                <c:pt idx="4469">
                  <c:v>8.8000000000000007</c:v>
                </c:pt>
                <c:pt idx="4470">
                  <c:v>7.6</c:v>
                </c:pt>
                <c:pt idx="4471">
                  <c:v>5.8</c:v>
                </c:pt>
                <c:pt idx="4472">
                  <c:v>8.9</c:v>
                </c:pt>
                <c:pt idx="4473">
                  <c:v>10.9</c:v>
                </c:pt>
                <c:pt idx="4474">
                  <c:v>7.2</c:v>
                </c:pt>
                <c:pt idx="4475">
                  <c:v>6.6</c:v>
                </c:pt>
                <c:pt idx="4476">
                  <c:v>9.4</c:v>
                </c:pt>
                <c:pt idx="4477">
                  <c:v>6.7</c:v>
                </c:pt>
                <c:pt idx="4478">
                  <c:v>12.8</c:v>
                </c:pt>
                <c:pt idx="4479">
                  <c:v>7.4</c:v>
                </c:pt>
                <c:pt idx="4480">
                  <c:v>8</c:v>
                </c:pt>
                <c:pt idx="4481">
                  <c:v>5.9</c:v>
                </c:pt>
                <c:pt idx="4482">
                  <c:v>11.5</c:v>
                </c:pt>
                <c:pt idx="4483">
                  <c:v>0.6</c:v>
                </c:pt>
                <c:pt idx="4484">
                  <c:v>8.5</c:v>
                </c:pt>
                <c:pt idx="4485">
                  <c:v>12.5</c:v>
                </c:pt>
                <c:pt idx="4486">
                  <c:v>8.4</c:v>
                </c:pt>
                <c:pt idx="4487">
                  <c:v>6.9</c:v>
                </c:pt>
                <c:pt idx="4488">
                  <c:v>6.6</c:v>
                </c:pt>
                <c:pt idx="4489">
                  <c:v>5</c:v>
                </c:pt>
                <c:pt idx="4490">
                  <c:v>6.6</c:v>
                </c:pt>
                <c:pt idx="4491">
                  <c:v>8.5</c:v>
                </c:pt>
                <c:pt idx="4492">
                  <c:v>8.5</c:v>
                </c:pt>
                <c:pt idx="4493">
                  <c:v>9.5</c:v>
                </c:pt>
                <c:pt idx="4494">
                  <c:v>6.9</c:v>
                </c:pt>
                <c:pt idx="4495">
                  <c:v>10</c:v>
                </c:pt>
                <c:pt idx="4496">
                  <c:v>9.1</c:v>
                </c:pt>
                <c:pt idx="4497">
                  <c:v>8.9</c:v>
                </c:pt>
                <c:pt idx="4498">
                  <c:v>7.8</c:v>
                </c:pt>
                <c:pt idx="4499">
                  <c:v>0</c:v>
                </c:pt>
                <c:pt idx="4500">
                  <c:v>7</c:v>
                </c:pt>
                <c:pt idx="4501">
                  <c:v>11.3</c:v>
                </c:pt>
                <c:pt idx="4502">
                  <c:v>8.9</c:v>
                </c:pt>
                <c:pt idx="4503">
                  <c:v>9.6999999999999993</c:v>
                </c:pt>
                <c:pt idx="4504">
                  <c:v>7.8</c:v>
                </c:pt>
                <c:pt idx="4505">
                  <c:v>1.5</c:v>
                </c:pt>
                <c:pt idx="4506">
                  <c:v>8.5</c:v>
                </c:pt>
                <c:pt idx="4507">
                  <c:v>6.2</c:v>
                </c:pt>
                <c:pt idx="4508">
                  <c:v>7.6</c:v>
                </c:pt>
                <c:pt idx="4509">
                  <c:v>6.1</c:v>
                </c:pt>
                <c:pt idx="4510">
                  <c:v>11.4</c:v>
                </c:pt>
                <c:pt idx="4511">
                  <c:v>8</c:v>
                </c:pt>
                <c:pt idx="4512">
                  <c:v>5.3</c:v>
                </c:pt>
                <c:pt idx="4513">
                  <c:v>2.4</c:v>
                </c:pt>
                <c:pt idx="4514">
                  <c:v>8.3000000000000007</c:v>
                </c:pt>
                <c:pt idx="4515">
                  <c:v>5</c:v>
                </c:pt>
                <c:pt idx="4516">
                  <c:v>9</c:v>
                </c:pt>
                <c:pt idx="4517">
                  <c:v>7.6</c:v>
                </c:pt>
                <c:pt idx="4518">
                  <c:v>4.8</c:v>
                </c:pt>
                <c:pt idx="4519">
                  <c:v>8</c:v>
                </c:pt>
                <c:pt idx="4520">
                  <c:v>6</c:v>
                </c:pt>
                <c:pt idx="4521">
                  <c:v>8.1999999999999993</c:v>
                </c:pt>
                <c:pt idx="4522">
                  <c:v>7.1</c:v>
                </c:pt>
                <c:pt idx="4523">
                  <c:v>5.2</c:v>
                </c:pt>
                <c:pt idx="4524">
                  <c:v>9.1999999999999993</c:v>
                </c:pt>
                <c:pt idx="4525">
                  <c:v>13.8</c:v>
                </c:pt>
                <c:pt idx="4526">
                  <c:v>6</c:v>
                </c:pt>
                <c:pt idx="4527">
                  <c:v>10.1</c:v>
                </c:pt>
                <c:pt idx="4528">
                  <c:v>13.5</c:v>
                </c:pt>
                <c:pt idx="4529">
                  <c:v>6.3</c:v>
                </c:pt>
                <c:pt idx="4530">
                  <c:v>5.3</c:v>
                </c:pt>
                <c:pt idx="4531">
                  <c:v>5.2</c:v>
                </c:pt>
                <c:pt idx="4532">
                  <c:v>7.5</c:v>
                </c:pt>
                <c:pt idx="4533">
                  <c:v>14.2</c:v>
                </c:pt>
                <c:pt idx="4534">
                  <c:v>11.1</c:v>
                </c:pt>
                <c:pt idx="4535">
                  <c:v>7.4</c:v>
                </c:pt>
                <c:pt idx="4536">
                  <c:v>2</c:v>
                </c:pt>
                <c:pt idx="4537">
                  <c:v>9.6999999999999993</c:v>
                </c:pt>
                <c:pt idx="4538">
                  <c:v>1.9</c:v>
                </c:pt>
                <c:pt idx="4539">
                  <c:v>12.3</c:v>
                </c:pt>
                <c:pt idx="4540">
                  <c:v>2.2999999999999998</c:v>
                </c:pt>
                <c:pt idx="4541">
                  <c:v>8</c:v>
                </c:pt>
                <c:pt idx="4542">
                  <c:v>8.6999999999999993</c:v>
                </c:pt>
                <c:pt idx="4543">
                  <c:v>12.2</c:v>
                </c:pt>
                <c:pt idx="4544">
                  <c:v>15.4</c:v>
                </c:pt>
                <c:pt idx="4545">
                  <c:v>9.8000000000000007</c:v>
                </c:pt>
                <c:pt idx="4546">
                  <c:v>8.6999999999999993</c:v>
                </c:pt>
                <c:pt idx="4547">
                  <c:v>5.3</c:v>
                </c:pt>
                <c:pt idx="4548">
                  <c:v>7.9</c:v>
                </c:pt>
                <c:pt idx="4549">
                  <c:v>6</c:v>
                </c:pt>
                <c:pt idx="4550">
                  <c:v>9.1999999999999993</c:v>
                </c:pt>
                <c:pt idx="4551">
                  <c:v>11.5</c:v>
                </c:pt>
                <c:pt idx="4552">
                  <c:v>6.5</c:v>
                </c:pt>
                <c:pt idx="4553">
                  <c:v>7.1</c:v>
                </c:pt>
                <c:pt idx="4554">
                  <c:v>7</c:v>
                </c:pt>
                <c:pt idx="4555">
                  <c:v>4.5999999999999996</c:v>
                </c:pt>
                <c:pt idx="4556">
                  <c:v>6.6</c:v>
                </c:pt>
                <c:pt idx="4557">
                  <c:v>7.1</c:v>
                </c:pt>
                <c:pt idx="4558">
                  <c:v>5.9</c:v>
                </c:pt>
                <c:pt idx="4559">
                  <c:v>5.4</c:v>
                </c:pt>
                <c:pt idx="4560">
                  <c:v>6.7</c:v>
                </c:pt>
                <c:pt idx="4561">
                  <c:v>8.8000000000000007</c:v>
                </c:pt>
                <c:pt idx="4562">
                  <c:v>7.9</c:v>
                </c:pt>
                <c:pt idx="4563">
                  <c:v>4.2</c:v>
                </c:pt>
                <c:pt idx="4564">
                  <c:v>9.4</c:v>
                </c:pt>
                <c:pt idx="4565">
                  <c:v>4.8</c:v>
                </c:pt>
                <c:pt idx="4566">
                  <c:v>4.2</c:v>
                </c:pt>
                <c:pt idx="4567">
                  <c:v>3.7</c:v>
                </c:pt>
                <c:pt idx="4568">
                  <c:v>5.3</c:v>
                </c:pt>
                <c:pt idx="4569">
                  <c:v>2.1</c:v>
                </c:pt>
                <c:pt idx="4570">
                  <c:v>11.2</c:v>
                </c:pt>
                <c:pt idx="4571">
                  <c:v>8.4</c:v>
                </c:pt>
                <c:pt idx="4572">
                  <c:v>6.5</c:v>
                </c:pt>
                <c:pt idx="4573">
                  <c:v>8.1</c:v>
                </c:pt>
                <c:pt idx="4574">
                  <c:v>11</c:v>
                </c:pt>
                <c:pt idx="4575">
                  <c:v>1.6</c:v>
                </c:pt>
                <c:pt idx="4576">
                  <c:v>7.8</c:v>
                </c:pt>
                <c:pt idx="4577">
                  <c:v>8.6</c:v>
                </c:pt>
                <c:pt idx="4578">
                  <c:v>7.1</c:v>
                </c:pt>
                <c:pt idx="4579">
                  <c:v>15</c:v>
                </c:pt>
                <c:pt idx="4580">
                  <c:v>11.8</c:v>
                </c:pt>
                <c:pt idx="4581">
                  <c:v>10.8</c:v>
                </c:pt>
                <c:pt idx="4582">
                  <c:v>10</c:v>
                </c:pt>
                <c:pt idx="4583">
                  <c:v>9.4</c:v>
                </c:pt>
                <c:pt idx="4584">
                  <c:v>8.6</c:v>
                </c:pt>
                <c:pt idx="4585">
                  <c:v>8.5</c:v>
                </c:pt>
                <c:pt idx="4586">
                  <c:v>8</c:v>
                </c:pt>
                <c:pt idx="4587">
                  <c:v>7.7</c:v>
                </c:pt>
                <c:pt idx="4588">
                  <c:v>7.2</c:v>
                </c:pt>
                <c:pt idx="4589">
                  <c:v>6.6</c:v>
                </c:pt>
                <c:pt idx="4590">
                  <c:v>6.3</c:v>
                </c:pt>
                <c:pt idx="4591">
                  <c:v>5.4</c:v>
                </c:pt>
                <c:pt idx="4592">
                  <c:v>5.0999999999999996</c:v>
                </c:pt>
                <c:pt idx="4593">
                  <c:v>4.8</c:v>
                </c:pt>
                <c:pt idx="4594">
                  <c:v>10.3</c:v>
                </c:pt>
                <c:pt idx="4595">
                  <c:v>7.6</c:v>
                </c:pt>
                <c:pt idx="4596">
                  <c:v>6.9</c:v>
                </c:pt>
                <c:pt idx="4597">
                  <c:v>4.7</c:v>
                </c:pt>
                <c:pt idx="4598">
                  <c:v>5.7</c:v>
                </c:pt>
                <c:pt idx="4599">
                  <c:v>6.6</c:v>
                </c:pt>
                <c:pt idx="4600">
                  <c:v>7.7</c:v>
                </c:pt>
                <c:pt idx="4601">
                  <c:v>9.4</c:v>
                </c:pt>
                <c:pt idx="4602">
                  <c:v>7.2</c:v>
                </c:pt>
                <c:pt idx="4603">
                  <c:v>9.5</c:v>
                </c:pt>
                <c:pt idx="4604">
                  <c:v>11.2</c:v>
                </c:pt>
                <c:pt idx="4605">
                  <c:v>11</c:v>
                </c:pt>
                <c:pt idx="4606">
                  <c:v>7.8</c:v>
                </c:pt>
                <c:pt idx="4607">
                  <c:v>5.5</c:v>
                </c:pt>
                <c:pt idx="4608">
                  <c:v>9.1</c:v>
                </c:pt>
                <c:pt idx="4609">
                  <c:v>10.4</c:v>
                </c:pt>
                <c:pt idx="4610">
                  <c:v>13.1</c:v>
                </c:pt>
                <c:pt idx="4611">
                  <c:v>6.7</c:v>
                </c:pt>
                <c:pt idx="4612">
                  <c:v>12.5</c:v>
                </c:pt>
                <c:pt idx="4613">
                  <c:v>4.0999999999999996</c:v>
                </c:pt>
                <c:pt idx="4614">
                  <c:v>9</c:v>
                </c:pt>
                <c:pt idx="4615">
                  <c:v>12</c:v>
                </c:pt>
                <c:pt idx="4616">
                  <c:v>6.9</c:v>
                </c:pt>
                <c:pt idx="4617">
                  <c:v>9.1999999999999993</c:v>
                </c:pt>
                <c:pt idx="4618">
                  <c:v>1.6</c:v>
                </c:pt>
                <c:pt idx="4619">
                  <c:v>7.9</c:v>
                </c:pt>
                <c:pt idx="4620">
                  <c:v>6.3</c:v>
                </c:pt>
                <c:pt idx="4621">
                  <c:v>8.3000000000000007</c:v>
                </c:pt>
                <c:pt idx="4622">
                  <c:v>10.8</c:v>
                </c:pt>
                <c:pt idx="4623">
                  <c:v>6</c:v>
                </c:pt>
                <c:pt idx="4624">
                  <c:v>5.9</c:v>
                </c:pt>
                <c:pt idx="4625">
                  <c:v>7.5</c:v>
                </c:pt>
                <c:pt idx="4626">
                  <c:v>6.3</c:v>
                </c:pt>
                <c:pt idx="4627">
                  <c:v>5.9</c:v>
                </c:pt>
                <c:pt idx="4628">
                  <c:v>7.1</c:v>
                </c:pt>
                <c:pt idx="4629">
                  <c:v>5.3</c:v>
                </c:pt>
                <c:pt idx="4630">
                  <c:v>6.7</c:v>
                </c:pt>
                <c:pt idx="4631">
                  <c:v>11.5</c:v>
                </c:pt>
                <c:pt idx="4632">
                  <c:v>6</c:v>
                </c:pt>
                <c:pt idx="4633">
                  <c:v>12.9</c:v>
                </c:pt>
                <c:pt idx="4634">
                  <c:v>9.6999999999999993</c:v>
                </c:pt>
                <c:pt idx="4635">
                  <c:v>11.3</c:v>
                </c:pt>
                <c:pt idx="4636">
                  <c:v>7.8</c:v>
                </c:pt>
                <c:pt idx="4637">
                  <c:v>3.3</c:v>
                </c:pt>
                <c:pt idx="4638">
                  <c:v>7.1</c:v>
                </c:pt>
                <c:pt idx="4639">
                  <c:v>5.3</c:v>
                </c:pt>
                <c:pt idx="4640">
                  <c:v>6.7</c:v>
                </c:pt>
                <c:pt idx="4641">
                  <c:v>9.3000000000000007</c:v>
                </c:pt>
                <c:pt idx="4642">
                  <c:v>12.5</c:v>
                </c:pt>
                <c:pt idx="4643">
                  <c:v>10.7</c:v>
                </c:pt>
                <c:pt idx="4644">
                  <c:v>8.1999999999999993</c:v>
                </c:pt>
                <c:pt idx="4645">
                  <c:v>11.6</c:v>
                </c:pt>
                <c:pt idx="4646">
                  <c:v>9.3000000000000007</c:v>
                </c:pt>
                <c:pt idx="4647">
                  <c:v>10.1</c:v>
                </c:pt>
                <c:pt idx="4648">
                  <c:v>9.9</c:v>
                </c:pt>
                <c:pt idx="4649">
                  <c:v>6.6</c:v>
                </c:pt>
                <c:pt idx="4650">
                  <c:v>11.4</c:v>
                </c:pt>
                <c:pt idx="4651">
                  <c:v>6.1</c:v>
                </c:pt>
                <c:pt idx="4652">
                  <c:v>12.9</c:v>
                </c:pt>
                <c:pt idx="4653">
                  <c:v>8.8000000000000007</c:v>
                </c:pt>
                <c:pt idx="4654">
                  <c:v>8.4</c:v>
                </c:pt>
                <c:pt idx="4655">
                  <c:v>7.9</c:v>
                </c:pt>
                <c:pt idx="4656">
                  <c:v>10</c:v>
                </c:pt>
                <c:pt idx="4657">
                  <c:v>6.7</c:v>
                </c:pt>
                <c:pt idx="4658">
                  <c:v>8.8000000000000007</c:v>
                </c:pt>
                <c:pt idx="4659">
                  <c:v>10.3</c:v>
                </c:pt>
                <c:pt idx="4660">
                  <c:v>10.3</c:v>
                </c:pt>
                <c:pt idx="4661">
                  <c:v>9.6999999999999993</c:v>
                </c:pt>
                <c:pt idx="4662">
                  <c:v>8.1999999999999993</c:v>
                </c:pt>
                <c:pt idx="4663">
                  <c:v>6.7</c:v>
                </c:pt>
                <c:pt idx="4664">
                  <c:v>7.5</c:v>
                </c:pt>
                <c:pt idx="4665">
                  <c:v>8</c:v>
                </c:pt>
                <c:pt idx="4666">
                  <c:v>10.199999999999999</c:v>
                </c:pt>
                <c:pt idx="4667">
                  <c:v>5.7</c:v>
                </c:pt>
                <c:pt idx="4668">
                  <c:v>6.9</c:v>
                </c:pt>
                <c:pt idx="4669">
                  <c:v>8.9</c:v>
                </c:pt>
                <c:pt idx="4670">
                  <c:v>7.2</c:v>
                </c:pt>
                <c:pt idx="4671">
                  <c:v>7.8</c:v>
                </c:pt>
                <c:pt idx="4672">
                  <c:v>12.6</c:v>
                </c:pt>
                <c:pt idx="4673">
                  <c:v>6.8</c:v>
                </c:pt>
                <c:pt idx="4674">
                  <c:v>5.4</c:v>
                </c:pt>
                <c:pt idx="4675">
                  <c:v>6.9</c:v>
                </c:pt>
                <c:pt idx="4676">
                  <c:v>11.4</c:v>
                </c:pt>
                <c:pt idx="4677">
                  <c:v>7.5</c:v>
                </c:pt>
                <c:pt idx="4678">
                  <c:v>11.1</c:v>
                </c:pt>
                <c:pt idx="4679">
                  <c:v>7.7</c:v>
                </c:pt>
                <c:pt idx="4680">
                  <c:v>6.3</c:v>
                </c:pt>
                <c:pt idx="4681">
                  <c:v>4</c:v>
                </c:pt>
                <c:pt idx="4682">
                  <c:v>6.4</c:v>
                </c:pt>
                <c:pt idx="4683">
                  <c:v>9.6999999999999993</c:v>
                </c:pt>
                <c:pt idx="4684">
                  <c:v>8.6999999999999993</c:v>
                </c:pt>
                <c:pt idx="4685">
                  <c:v>5.4</c:v>
                </c:pt>
                <c:pt idx="4686">
                  <c:v>7.5</c:v>
                </c:pt>
                <c:pt idx="4687">
                  <c:v>9.9</c:v>
                </c:pt>
                <c:pt idx="4688">
                  <c:v>7.8</c:v>
                </c:pt>
                <c:pt idx="4689">
                  <c:v>5.3</c:v>
                </c:pt>
                <c:pt idx="4690">
                  <c:v>9.4</c:v>
                </c:pt>
                <c:pt idx="4691">
                  <c:v>11.9</c:v>
                </c:pt>
                <c:pt idx="4692">
                  <c:v>14.1</c:v>
                </c:pt>
                <c:pt idx="4693">
                  <c:v>7.4</c:v>
                </c:pt>
                <c:pt idx="4694">
                  <c:v>10.7</c:v>
                </c:pt>
                <c:pt idx="4695">
                  <c:v>7.5</c:v>
                </c:pt>
                <c:pt idx="4696">
                  <c:v>3.3</c:v>
                </c:pt>
                <c:pt idx="4697">
                  <c:v>9.6999999999999993</c:v>
                </c:pt>
                <c:pt idx="4698">
                  <c:v>10.1</c:v>
                </c:pt>
                <c:pt idx="4699">
                  <c:v>6.1</c:v>
                </c:pt>
                <c:pt idx="4700">
                  <c:v>5.9</c:v>
                </c:pt>
                <c:pt idx="4701">
                  <c:v>10.7</c:v>
                </c:pt>
                <c:pt idx="4702">
                  <c:v>9</c:v>
                </c:pt>
                <c:pt idx="4703">
                  <c:v>6.2</c:v>
                </c:pt>
                <c:pt idx="4704">
                  <c:v>12</c:v>
                </c:pt>
                <c:pt idx="4705">
                  <c:v>7.3</c:v>
                </c:pt>
                <c:pt idx="4706">
                  <c:v>7.9</c:v>
                </c:pt>
                <c:pt idx="4707">
                  <c:v>10.5</c:v>
                </c:pt>
                <c:pt idx="4708">
                  <c:v>7.3</c:v>
                </c:pt>
                <c:pt idx="4709">
                  <c:v>6.4</c:v>
                </c:pt>
                <c:pt idx="4710">
                  <c:v>11.7</c:v>
                </c:pt>
                <c:pt idx="4711">
                  <c:v>8.5</c:v>
                </c:pt>
                <c:pt idx="4712">
                  <c:v>1.1000000000000001</c:v>
                </c:pt>
                <c:pt idx="4713">
                  <c:v>8.4</c:v>
                </c:pt>
                <c:pt idx="4714">
                  <c:v>7</c:v>
                </c:pt>
                <c:pt idx="4715">
                  <c:v>8.3000000000000007</c:v>
                </c:pt>
                <c:pt idx="4716">
                  <c:v>7.7</c:v>
                </c:pt>
                <c:pt idx="4717">
                  <c:v>8.3000000000000007</c:v>
                </c:pt>
                <c:pt idx="4718">
                  <c:v>8.1</c:v>
                </c:pt>
                <c:pt idx="4719">
                  <c:v>9.1999999999999993</c:v>
                </c:pt>
                <c:pt idx="4720">
                  <c:v>3.4</c:v>
                </c:pt>
                <c:pt idx="4721">
                  <c:v>12.2</c:v>
                </c:pt>
                <c:pt idx="4722">
                  <c:v>9.1</c:v>
                </c:pt>
                <c:pt idx="4723">
                  <c:v>8.1999999999999993</c:v>
                </c:pt>
                <c:pt idx="4724">
                  <c:v>7.9</c:v>
                </c:pt>
                <c:pt idx="4725">
                  <c:v>4</c:v>
                </c:pt>
                <c:pt idx="4726">
                  <c:v>7.1</c:v>
                </c:pt>
                <c:pt idx="4727">
                  <c:v>9.1</c:v>
                </c:pt>
                <c:pt idx="4728">
                  <c:v>7.4</c:v>
                </c:pt>
                <c:pt idx="4729">
                  <c:v>0.6</c:v>
                </c:pt>
                <c:pt idx="4730">
                  <c:v>5.5</c:v>
                </c:pt>
                <c:pt idx="4731">
                  <c:v>5.5</c:v>
                </c:pt>
                <c:pt idx="4732">
                  <c:v>3</c:v>
                </c:pt>
                <c:pt idx="4733">
                  <c:v>8.1999999999999993</c:v>
                </c:pt>
                <c:pt idx="4734">
                  <c:v>0.9</c:v>
                </c:pt>
                <c:pt idx="4735">
                  <c:v>7.8</c:v>
                </c:pt>
                <c:pt idx="4736">
                  <c:v>5.6</c:v>
                </c:pt>
                <c:pt idx="4737">
                  <c:v>6.5</c:v>
                </c:pt>
                <c:pt idx="4738">
                  <c:v>5.5</c:v>
                </c:pt>
                <c:pt idx="4739">
                  <c:v>7.1</c:v>
                </c:pt>
                <c:pt idx="4740">
                  <c:v>12.2</c:v>
                </c:pt>
                <c:pt idx="4741">
                  <c:v>1.6</c:v>
                </c:pt>
                <c:pt idx="4742">
                  <c:v>6.2</c:v>
                </c:pt>
                <c:pt idx="4743">
                  <c:v>12</c:v>
                </c:pt>
                <c:pt idx="4744">
                  <c:v>9.8000000000000007</c:v>
                </c:pt>
                <c:pt idx="4745">
                  <c:v>7.1</c:v>
                </c:pt>
                <c:pt idx="4746">
                  <c:v>3.6</c:v>
                </c:pt>
                <c:pt idx="4747">
                  <c:v>8.8000000000000007</c:v>
                </c:pt>
                <c:pt idx="4748">
                  <c:v>0.5</c:v>
                </c:pt>
                <c:pt idx="4749">
                  <c:v>7</c:v>
                </c:pt>
                <c:pt idx="4750">
                  <c:v>7.5</c:v>
                </c:pt>
                <c:pt idx="4751">
                  <c:v>6.8</c:v>
                </c:pt>
                <c:pt idx="4752">
                  <c:v>7.2</c:v>
                </c:pt>
                <c:pt idx="4753">
                  <c:v>11.8</c:v>
                </c:pt>
                <c:pt idx="4754">
                  <c:v>5.2</c:v>
                </c:pt>
                <c:pt idx="4755">
                  <c:v>8.1</c:v>
                </c:pt>
                <c:pt idx="4756">
                  <c:v>7.1</c:v>
                </c:pt>
                <c:pt idx="4757">
                  <c:v>7.7</c:v>
                </c:pt>
                <c:pt idx="4758">
                  <c:v>8.6999999999999993</c:v>
                </c:pt>
                <c:pt idx="4759">
                  <c:v>9</c:v>
                </c:pt>
                <c:pt idx="4760">
                  <c:v>8</c:v>
                </c:pt>
                <c:pt idx="4761">
                  <c:v>2.8</c:v>
                </c:pt>
                <c:pt idx="4762">
                  <c:v>6.9</c:v>
                </c:pt>
                <c:pt idx="4763">
                  <c:v>8</c:v>
                </c:pt>
                <c:pt idx="4764">
                  <c:v>5.5</c:v>
                </c:pt>
                <c:pt idx="4765">
                  <c:v>5.3</c:v>
                </c:pt>
                <c:pt idx="4766">
                  <c:v>10.9</c:v>
                </c:pt>
                <c:pt idx="4767">
                  <c:v>11</c:v>
                </c:pt>
                <c:pt idx="4768">
                  <c:v>7.7</c:v>
                </c:pt>
                <c:pt idx="4769">
                  <c:v>7.2</c:v>
                </c:pt>
                <c:pt idx="4770">
                  <c:v>7</c:v>
                </c:pt>
                <c:pt idx="4771">
                  <c:v>6.3</c:v>
                </c:pt>
                <c:pt idx="4772">
                  <c:v>5.5</c:v>
                </c:pt>
                <c:pt idx="4773">
                  <c:v>7.1</c:v>
                </c:pt>
                <c:pt idx="4774">
                  <c:v>6.2</c:v>
                </c:pt>
                <c:pt idx="4775">
                  <c:v>12.5</c:v>
                </c:pt>
                <c:pt idx="4776">
                  <c:v>2.1</c:v>
                </c:pt>
                <c:pt idx="4777">
                  <c:v>9.3000000000000007</c:v>
                </c:pt>
                <c:pt idx="4778">
                  <c:v>10.199999999999999</c:v>
                </c:pt>
                <c:pt idx="4779">
                  <c:v>5.4</c:v>
                </c:pt>
                <c:pt idx="4780">
                  <c:v>4.7</c:v>
                </c:pt>
                <c:pt idx="4781">
                  <c:v>7</c:v>
                </c:pt>
                <c:pt idx="4782">
                  <c:v>13.3</c:v>
                </c:pt>
                <c:pt idx="4783">
                  <c:v>5.6</c:v>
                </c:pt>
                <c:pt idx="4784">
                  <c:v>9</c:v>
                </c:pt>
                <c:pt idx="4785">
                  <c:v>7.6</c:v>
                </c:pt>
                <c:pt idx="4786">
                  <c:v>7.5</c:v>
                </c:pt>
                <c:pt idx="4787">
                  <c:v>3.9</c:v>
                </c:pt>
                <c:pt idx="4788">
                  <c:v>9</c:v>
                </c:pt>
                <c:pt idx="4789">
                  <c:v>5</c:v>
                </c:pt>
                <c:pt idx="4790">
                  <c:v>10.8</c:v>
                </c:pt>
                <c:pt idx="4791">
                  <c:v>7.4</c:v>
                </c:pt>
                <c:pt idx="4792">
                  <c:v>8.6999999999999993</c:v>
                </c:pt>
                <c:pt idx="4793">
                  <c:v>6.8</c:v>
                </c:pt>
                <c:pt idx="4794">
                  <c:v>6.5</c:v>
                </c:pt>
                <c:pt idx="4795">
                  <c:v>8.6999999999999993</c:v>
                </c:pt>
                <c:pt idx="4796">
                  <c:v>6.5</c:v>
                </c:pt>
                <c:pt idx="4797">
                  <c:v>9</c:v>
                </c:pt>
                <c:pt idx="4798">
                  <c:v>9.6999999999999993</c:v>
                </c:pt>
                <c:pt idx="4799">
                  <c:v>8.8000000000000007</c:v>
                </c:pt>
                <c:pt idx="4800">
                  <c:v>4.3</c:v>
                </c:pt>
                <c:pt idx="4801">
                  <c:v>8</c:v>
                </c:pt>
                <c:pt idx="4802">
                  <c:v>5.4</c:v>
                </c:pt>
                <c:pt idx="4803">
                  <c:v>7.4</c:v>
                </c:pt>
                <c:pt idx="4804">
                  <c:v>4.9000000000000004</c:v>
                </c:pt>
                <c:pt idx="4805">
                  <c:v>7.3</c:v>
                </c:pt>
                <c:pt idx="4806">
                  <c:v>7</c:v>
                </c:pt>
                <c:pt idx="4807">
                  <c:v>7.5</c:v>
                </c:pt>
                <c:pt idx="4808">
                  <c:v>9.1999999999999993</c:v>
                </c:pt>
                <c:pt idx="4809">
                  <c:v>4.9000000000000004</c:v>
                </c:pt>
                <c:pt idx="4810">
                  <c:v>3.7</c:v>
                </c:pt>
                <c:pt idx="4811">
                  <c:v>7.5</c:v>
                </c:pt>
                <c:pt idx="4812">
                  <c:v>5.3</c:v>
                </c:pt>
                <c:pt idx="4813">
                  <c:v>7.9</c:v>
                </c:pt>
                <c:pt idx="4814">
                  <c:v>6.6</c:v>
                </c:pt>
                <c:pt idx="4815">
                  <c:v>5.9</c:v>
                </c:pt>
                <c:pt idx="4816">
                  <c:v>7.8</c:v>
                </c:pt>
                <c:pt idx="4817">
                  <c:v>8.1</c:v>
                </c:pt>
                <c:pt idx="4818">
                  <c:v>7.5</c:v>
                </c:pt>
                <c:pt idx="4819">
                  <c:v>10.8</c:v>
                </c:pt>
                <c:pt idx="4820">
                  <c:v>8.1999999999999993</c:v>
                </c:pt>
                <c:pt idx="4821">
                  <c:v>7.4</c:v>
                </c:pt>
                <c:pt idx="4822">
                  <c:v>8.3000000000000007</c:v>
                </c:pt>
                <c:pt idx="4823">
                  <c:v>8.6</c:v>
                </c:pt>
                <c:pt idx="4824">
                  <c:v>10.6</c:v>
                </c:pt>
                <c:pt idx="4825">
                  <c:v>13.3</c:v>
                </c:pt>
                <c:pt idx="4826">
                  <c:v>14.2</c:v>
                </c:pt>
                <c:pt idx="4827">
                  <c:v>12.9</c:v>
                </c:pt>
                <c:pt idx="4828">
                  <c:v>8.4</c:v>
                </c:pt>
                <c:pt idx="4829">
                  <c:v>7.9</c:v>
                </c:pt>
                <c:pt idx="4830">
                  <c:v>6.8</c:v>
                </c:pt>
                <c:pt idx="4831">
                  <c:v>5.8</c:v>
                </c:pt>
                <c:pt idx="4832">
                  <c:v>7.9</c:v>
                </c:pt>
                <c:pt idx="4833">
                  <c:v>10.199999999999999</c:v>
                </c:pt>
                <c:pt idx="4834">
                  <c:v>2.1</c:v>
                </c:pt>
                <c:pt idx="4835">
                  <c:v>8.9</c:v>
                </c:pt>
                <c:pt idx="4836">
                  <c:v>5.0999999999999996</c:v>
                </c:pt>
                <c:pt idx="4837">
                  <c:v>9</c:v>
                </c:pt>
                <c:pt idx="4838">
                  <c:v>6.1</c:v>
                </c:pt>
                <c:pt idx="4839">
                  <c:v>7.9</c:v>
                </c:pt>
                <c:pt idx="4840">
                  <c:v>7.2</c:v>
                </c:pt>
                <c:pt idx="4841">
                  <c:v>0.5</c:v>
                </c:pt>
                <c:pt idx="4842">
                  <c:v>9.3000000000000007</c:v>
                </c:pt>
                <c:pt idx="4843">
                  <c:v>9</c:v>
                </c:pt>
                <c:pt idx="4844">
                  <c:v>4.7</c:v>
                </c:pt>
                <c:pt idx="4845">
                  <c:v>9.5</c:v>
                </c:pt>
                <c:pt idx="4846">
                  <c:v>12.7</c:v>
                </c:pt>
                <c:pt idx="4847">
                  <c:v>7.9</c:v>
                </c:pt>
                <c:pt idx="4848">
                  <c:v>9</c:v>
                </c:pt>
                <c:pt idx="4849">
                  <c:v>6.4</c:v>
                </c:pt>
                <c:pt idx="4850">
                  <c:v>6.3</c:v>
                </c:pt>
                <c:pt idx="4851">
                  <c:v>8.1</c:v>
                </c:pt>
                <c:pt idx="4852">
                  <c:v>8.9</c:v>
                </c:pt>
                <c:pt idx="4853">
                  <c:v>5.3</c:v>
                </c:pt>
                <c:pt idx="4854">
                  <c:v>12.8</c:v>
                </c:pt>
                <c:pt idx="4855">
                  <c:v>11.1</c:v>
                </c:pt>
                <c:pt idx="4856">
                  <c:v>7.1</c:v>
                </c:pt>
                <c:pt idx="4857">
                  <c:v>7</c:v>
                </c:pt>
                <c:pt idx="4858">
                  <c:v>10.1</c:v>
                </c:pt>
                <c:pt idx="4859">
                  <c:v>9.6999999999999993</c:v>
                </c:pt>
                <c:pt idx="4860">
                  <c:v>3.9</c:v>
                </c:pt>
                <c:pt idx="4861">
                  <c:v>5.7</c:v>
                </c:pt>
                <c:pt idx="4862">
                  <c:v>15</c:v>
                </c:pt>
                <c:pt idx="4863">
                  <c:v>15.7</c:v>
                </c:pt>
                <c:pt idx="4864">
                  <c:v>9.1</c:v>
                </c:pt>
                <c:pt idx="4865">
                  <c:v>5.4</c:v>
                </c:pt>
                <c:pt idx="4866">
                  <c:v>5.0999999999999996</c:v>
                </c:pt>
                <c:pt idx="4867">
                  <c:v>7.1</c:v>
                </c:pt>
                <c:pt idx="4868">
                  <c:v>5.6</c:v>
                </c:pt>
                <c:pt idx="4869">
                  <c:v>5.7</c:v>
                </c:pt>
                <c:pt idx="4870">
                  <c:v>8.4</c:v>
                </c:pt>
                <c:pt idx="4871">
                  <c:v>10.7</c:v>
                </c:pt>
                <c:pt idx="4872">
                  <c:v>8</c:v>
                </c:pt>
                <c:pt idx="4873">
                  <c:v>5.9</c:v>
                </c:pt>
                <c:pt idx="4874">
                  <c:v>4.3</c:v>
                </c:pt>
                <c:pt idx="4875">
                  <c:v>5.8</c:v>
                </c:pt>
                <c:pt idx="4876">
                  <c:v>9.1999999999999993</c:v>
                </c:pt>
                <c:pt idx="4877">
                  <c:v>8.3000000000000007</c:v>
                </c:pt>
                <c:pt idx="4878">
                  <c:v>11.6</c:v>
                </c:pt>
                <c:pt idx="4879">
                  <c:v>10.4</c:v>
                </c:pt>
                <c:pt idx="4880">
                  <c:v>5.9</c:v>
                </c:pt>
                <c:pt idx="4881">
                  <c:v>4.4000000000000004</c:v>
                </c:pt>
                <c:pt idx="4882">
                  <c:v>3.6</c:v>
                </c:pt>
                <c:pt idx="4883">
                  <c:v>5.9</c:v>
                </c:pt>
                <c:pt idx="4884">
                  <c:v>8.1</c:v>
                </c:pt>
                <c:pt idx="4885">
                  <c:v>4.9000000000000004</c:v>
                </c:pt>
                <c:pt idx="4886">
                  <c:v>10</c:v>
                </c:pt>
                <c:pt idx="4887">
                  <c:v>12.5</c:v>
                </c:pt>
                <c:pt idx="4888">
                  <c:v>8.9</c:v>
                </c:pt>
                <c:pt idx="4889">
                  <c:v>7.7</c:v>
                </c:pt>
                <c:pt idx="4890">
                  <c:v>8.1</c:v>
                </c:pt>
                <c:pt idx="4891">
                  <c:v>9.9</c:v>
                </c:pt>
                <c:pt idx="4892">
                  <c:v>7.4</c:v>
                </c:pt>
                <c:pt idx="4893">
                  <c:v>10.6</c:v>
                </c:pt>
                <c:pt idx="4894">
                  <c:v>7.6</c:v>
                </c:pt>
                <c:pt idx="4895">
                  <c:v>14.8</c:v>
                </c:pt>
                <c:pt idx="4896">
                  <c:v>11.3</c:v>
                </c:pt>
                <c:pt idx="4897">
                  <c:v>10.1</c:v>
                </c:pt>
                <c:pt idx="4898">
                  <c:v>9.9</c:v>
                </c:pt>
                <c:pt idx="4899">
                  <c:v>8.5</c:v>
                </c:pt>
                <c:pt idx="4900">
                  <c:v>6.3</c:v>
                </c:pt>
                <c:pt idx="4901">
                  <c:v>4.9000000000000004</c:v>
                </c:pt>
                <c:pt idx="4902">
                  <c:v>0</c:v>
                </c:pt>
                <c:pt idx="4903">
                  <c:v>8.1</c:v>
                </c:pt>
                <c:pt idx="4904">
                  <c:v>10.6</c:v>
                </c:pt>
                <c:pt idx="4905">
                  <c:v>1.3</c:v>
                </c:pt>
                <c:pt idx="4906">
                  <c:v>10.3</c:v>
                </c:pt>
                <c:pt idx="4907">
                  <c:v>11.4</c:v>
                </c:pt>
                <c:pt idx="4908">
                  <c:v>3.6</c:v>
                </c:pt>
                <c:pt idx="4909">
                  <c:v>5.7</c:v>
                </c:pt>
                <c:pt idx="4910">
                  <c:v>7.3</c:v>
                </c:pt>
                <c:pt idx="4911">
                  <c:v>8</c:v>
                </c:pt>
                <c:pt idx="4912">
                  <c:v>9.1999999999999993</c:v>
                </c:pt>
                <c:pt idx="4913">
                  <c:v>13.6</c:v>
                </c:pt>
                <c:pt idx="4914">
                  <c:v>3</c:v>
                </c:pt>
                <c:pt idx="4915">
                  <c:v>6.3</c:v>
                </c:pt>
                <c:pt idx="4916">
                  <c:v>7.2</c:v>
                </c:pt>
                <c:pt idx="4917">
                  <c:v>9.9</c:v>
                </c:pt>
                <c:pt idx="4918">
                  <c:v>1.3</c:v>
                </c:pt>
                <c:pt idx="4919">
                  <c:v>6.9</c:v>
                </c:pt>
                <c:pt idx="4920">
                  <c:v>7</c:v>
                </c:pt>
                <c:pt idx="4921">
                  <c:v>10</c:v>
                </c:pt>
                <c:pt idx="4922">
                  <c:v>1.7</c:v>
                </c:pt>
                <c:pt idx="4923">
                  <c:v>7.8</c:v>
                </c:pt>
                <c:pt idx="4924">
                  <c:v>6.2</c:v>
                </c:pt>
                <c:pt idx="4925">
                  <c:v>5.0999999999999996</c:v>
                </c:pt>
                <c:pt idx="4926">
                  <c:v>7.4</c:v>
                </c:pt>
                <c:pt idx="4927">
                  <c:v>9.1</c:v>
                </c:pt>
                <c:pt idx="4928">
                  <c:v>4.8</c:v>
                </c:pt>
                <c:pt idx="4929">
                  <c:v>9.8000000000000007</c:v>
                </c:pt>
                <c:pt idx="4930">
                  <c:v>6.3</c:v>
                </c:pt>
                <c:pt idx="4931">
                  <c:v>8.6</c:v>
                </c:pt>
                <c:pt idx="4932">
                  <c:v>9.1999999999999993</c:v>
                </c:pt>
                <c:pt idx="4933">
                  <c:v>8.1999999999999993</c:v>
                </c:pt>
                <c:pt idx="4934">
                  <c:v>7.2</c:v>
                </c:pt>
                <c:pt idx="4935">
                  <c:v>7</c:v>
                </c:pt>
                <c:pt idx="4936">
                  <c:v>7.8</c:v>
                </c:pt>
                <c:pt idx="4937">
                  <c:v>3</c:v>
                </c:pt>
                <c:pt idx="4938">
                  <c:v>0.6</c:v>
                </c:pt>
                <c:pt idx="4939">
                  <c:v>12.3</c:v>
                </c:pt>
                <c:pt idx="4940">
                  <c:v>17.100000000000001</c:v>
                </c:pt>
                <c:pt idx="4941">
                  <c:v>13.3</c:v>
                </c:pt>
                <c:pt idx="4942">
                  <c:v>5.7</c:v>
                </c:pt>
                <c:pt idx="4943">
                  <c:v>11.1</c:v>
                </c:pt>
                <c:pt idx="4944">
                  <c:v>9.1999999999999993</c:v>
                </c:pt>
                <c:pt idx="4945">
                  <c:v>9.5</c:v>
                </c:pt>
                <c:pt idx="4946">
                  <c:v>9.6</c:v>
                </c:pt>
                <c:pt idx="4947">
                  <c:v>3</c:v>
                </c:pt>
                <c:pt idx="4948">
                  <c:v>0.3</c:v>
                </c:pt>
                <c:pt idx="4949">
                  <c:v>7.2</c:v>
                </c:pt>
                <c:pt idx="4950">
                  <c:v>8.1</c:v>
                </c:pt>
                <c:pt idx="4951">
                  <c:v>1.2</c:v>
                </c:pt>
                <c:pt idx="4952">
                  <c:v>0.4</c:v>
                </c:pt>
                <c:pt idx="4953">
                  <c:v>10.4</c:v>
                </c:pt>
                <c:pt idx="4954">
                  <c:v>14.2</c:v>
                </c:pt>
                <c:pt idx="4955">
                  <c:v>12.8</c:v>
                </c:pt>
                <c:pt idx="4956">
                  <c:v>4.2</c:v>
                </c:pt>
                <c:pt idx="4957">
                  <c:v>7.7</c:v>
                </c:pt>
                <c:pt idx="4958">
                  <c:v>9.1</c:v>
                </c:pt>
                <c:pt idx="4959">
                  <c:v>7.7</c:v>
                </c:pt>
                <c:pt idx="4960">
                  <c:v>10.9</c:v>
                </c:pt>
                <c:pt idx="4961">
                  <c:v>14.4</c:v>
                </c:pt>
                <c:pt idx="4962">
                  <c:v>7.3</c:v>
                </c:pt>
                <c:pt idx="4963">
                  <c:v>5.6</c:v>
                </c:pt>
                <c:pt idx="4964">
                  <c:v>4.8</c:v>
                </c:pt>
                <c:pt idx="4965">
                  <c:v>3.7</c:v>
                </c:pt>
                <c:pt idx="4966">
                  <c:v>11.7</c:v>
                </c:pt>
                <c:pt idx="4967">
                  <c:v>5.8</c:v>
                </c:pt>
                <c:pt idx="4968">
                  <c:v>7.2</c:v>
                </c:pt>
                <c:pt idx="4969">
                  <c:v>4.7</c:v>
                </c:pt>
                <c:pt idx="4970">
                  <c:v>8.3000000000000007</c:v>
                </c:pt>
                <c:pt idx="4971">
                  <c:v>10.5</c:v>
                </c:pt>
                <c:pt idx="4972">
                  <c:v>9.9</c:v>
                </c:pt>
                <c:pt idx="4973">
                  <c:v>5.4</c:v>
                </c:pt>
                <c:pt idx="4974">
                  <c:v>8</c:v>
                </c:pt>
                <c:pt idx="4975">
                  <c:v>5.4</c:v>
                </c:pt>
                <c:pt idx="4976">
                  <c:v>3.3</c:v>
                </c:pt>
                <c:pt idx="4977">
                  <c:v>6.4</c:v>
                </c:pt>
                <c:pt idx="4978">
                  <c:v>1.4</c:v>
                </c:pt>
                <c:pt idx="4979">
                  <c:v>9</c:v>
                </c:pt>
                <c:pt idx="4980">
                  <c:v>10.9</c:v>
                </c:pt>
                <c:pt idx="4981">
                  <c:v>12.2</c:v>
                </c:pt>
                <c:pt idx="4982">
                  <c:v>4.7</c:v>
                </c:pt>
                <c:pt idx="4983">
                  <c:v>9.1</c:v>
                </c:pt>
                <c:pt idx="4984">
                  <c:v>8.6999999999999993</c:v>
                </c:pt>
                <c:pt idx="4985">
                  <c:v>8.1999999999999993</c:v>
                </c:pt>
                <c:pt idx="4986">
                  <c:v>6.2</c:v>
                </c:pt>
                <c:pt idx="4987">
                  <c:v>7.8</c:v>
                </c:pt>
                <c:pt idx="4988">
                  <c:v>7.9</c:v>
                </c:pt>
                <c:pt idx="4989">
                  <c:v>6</c:v>
                </c:pt>
                <c:pt idx="4990">
                  <c:v>0</c:v>
                </c:pt>
                <c:pt idx="4991">
                  <c:v>10.7</c:v>
                </c:pt>
                <c:pt idx="4992">
                  <c:v>6.3</c:v>
                </c:pt>
                <c:pt idx="4993">
                  <c:v>6</c:v>
                </c:pt>
                <c:pt idx="4994">
                  <c:v>6.8</c:v>
                </c:pt>
                <c:pt idx="4995">
                  <c:v>5.9</c:v>
                </c:pt>
                <c:pt idx="4996">
                  <c:v>6.2</c:v>
                </c:pt>
                <c:pt idx="4997">
                  <c:v>9.1999999999999993</c:v>
                </c:pt>
                <c:pt idx="4998">
                  <c:v>6.7</c:v>
                </c:pt>
                <c:pt idx="4999">
                  <c:v>8.5</c:v>
                </c:pt>
                <c:pt idx="5000">
                  <c:v>5.6</c:v>
                </c:pt>
                <c:pt idx="5001">
                  <c:v>5.7</c:v>
                </c:pt>
                <c:pt idx="5002">
                  <c:v>11.9</c:v>
                </c:pt>
                <c:pt idx="5003">
                  <c:v>6.8</c:v>
                </c:pt>
                <c:pt idx="5004">
                  <c:v>5.0999999999999996</c:v>
                </c:pt>
                <c:pt idx="5005">
                  <c:v>8.6999999999999993</c:v>
                </c:pt>
                <c:pt idx="5006">
                  <c:v>6.7</c:v>
                </c:pt>
                <c:pt idx="5007">
                  <c:v>8.4</c:v>
                </c:pt>
                <c:pt idx="5008">
                  <c:v>5.8</c:v>
                </c:pt>
                <c:pt idx="5009">
                  <c:v>11.8</c:v>
                </c:pt>
                <c:pt idx="5010">
                  <c:v>6.5</c:v>
                </c:pt>
                <c:pt idx="5011">
                  <c:v>11.8</c:v>
                </c:pt>
                <c:pt idx="5012">
                  <c:v>8.3000000000000007</c:v>
                </c:pt>
                <c:pt idx="5013">
                  <c:v>5.2</c:v>
                </c:pt>
                <c:pt idx="5014">
                  <c:v>5.5</c:v>
                </c:pt>
                <c:pt idx="5015">
                  <c:v>8.5</c:v>
                </c:pt>
                <c:pt idx="5016">
                  <c:v>8.1999999999999993</c:v>
                </c:pt>
                <c:pt idx="5017">
                  <c:v>8.4</c:v>
                </c:pt>
                <c:pt idx="5018">
                  <c:v>7.1</c:v>
                </c:pt>
                <c:pt idx="5019">
                  <c:v>3.2</c:v>
                </c:pt>
                <c:pt idx="5020">
                  <c:v>10.7</c:v>
                </c:pt>
                <c:pt idx="5021">
                  <c:v>9.9</c:v>
                </c:pt>
                <c:pt idx="5022">
                  <c:v>9.5</c:v>
                </c:pt>
                <c:pt idx="5023">
                  <c:v>6</c:v>
                </c:pt>
                <c:pt idx="5024">
                  <c:v>5.5</c:v>
                </c:pt>
                <c:pt idx="5025">
                  <c:v>11.5</c:v>
                </c:pt>
                <c:pt idx="5026">
                  <c:v>4.8</c:v>
                </c:pt>
                <c:pt idx="5027">
                  <c:v>8.5</c:v>
                </c:pt>
                <c:pt idx="5028">
                  <c:v>2.9</c:v>
                </c:pt>
                <c:pt idx="5029">
                  <c:v>8.4</c:v>
                </c:pt>
                <c:pt idx="5030">
                  <c:v>5.8</c:v>
                </c:pt>
                <c:pt idx="5031">
                  <c:v>7.1</c:v>
                </c:pt>
                <c:pt idx="5032">
                  <c:v>6.5</c:v>
                </c:pt>
                <c:pt idx="5033">
                  <c:v>6.7</c:v>
                </c:pt>
                <c:pt idx="5034">
                  <c:v>7.3</c:v>
                </c:pt>
                <c:pt idx="5035">
                  <c:v>2.9</c:v>
                </c:pt>
                <c:pt idx="5036">
                  <c:v>5.2</c:v>
                </c:pt>
                <c:pt idx="5037">
                  <c:v>10</c:v>
                </c:pt>
                <c:pt idx="5038">
                  <c:v>8.1</c:v>
                </c:pt>
                <c:pt idx="5039">
                  <c:v>8.9</c:v>
                </c:pt>
                <c:pt idx="5040">
                  <c:v>6.5</c:v>
                </c:pt>
                <c:pt idx="5041">
                  <c:v>5.8</c:v>
                </c:pt>
                <c:pt idx="5042">
                  <c:v>14.3</c:v>
                </c:pt>
                <c:pt idx="5043">
                  <c:v>10</c:v>
                </c:pt>
                <c:pt idx="5044">
                  <c:v>4.3</c:v>
                </c:pt>
                <c:pt idx="5045">
                  <c:v>7.8</c:v>
                </c:pt>
                <c:pt idx="5046">
                  <c:v>2.1</c:v>
                </c:pt>
                <c:pt idx="5047">
                  <c:v>1.7</c:v>
                </c:pt>
                <c:pt idx="5048">
                  <c:v>6.7</c:v>
                </c:pt>
                <c:pt idx="5049">
                  <c:v>6</c:v>
                </c:pt>
                <c:pt idx="5050">
                  <c:v>12.7</c:v>
                </c:pt>
                <c:pt idx="5051">
                  <c:v>11.1</c:v>
                </c:pt>
                <c:pt idx="5052">
                  <c:v>6.5</c:v>
                </c:pt>
                <c:pt idx="5053">
                  <c:v>6.8</c:v>
                </c:pt>
                <c:pt idx="5054">
                  <c:v>7.9</c:v>
                </c:pt>
                <c:pt idx="5055">
                  <c:v>10.1</c:v>
                </c:pt>
                <c:pt idx="5056">
                  <c:v>6.7</c:v>
                </c:pt>
                <c:pt idx="5057">
                  <c:v>7.6</c:v>
                </c:pt>
                <c:pt idx="5058">
                  <c:v>13.3</c:v>
                </c:pt>
                <c:pt idx="5059">
                  <c:v>10</c:v>
                </c:pt>
                <c:pt idx="5060">
                  <c:v>8.6999999999999993</c:v>
                </c:pt>
                <c:pt idx="5061">
                  <c:v>13</c:v>
                </c:pt>
                <c:pt idx="5062">
                  <c:v>4.4000000000000004</c:v>
                </c:pt>
                <c:pt idx="5063">
                  <c:v>10.4</c:v>
                </c:pt>
                <c:pt idx="5064">
                  <c:v>5.6</c:v>
                </c:pt>
                <c:pt idx="5065">
                  <c:v>11.7</c:v>
                </c:pt>
                <c:pt idx="5066">
                  <c:v>9.6</c:v>
                </c:pt>
                <c:pt idx="5067">
                  <c:v>6.9</c:v>
                </c:pt>
                <c:pt idx="5068">
                  <c:v>11.7</c:v>
                </c:pt>
                <c:pt idx="5069">
                  <c:v>5</c:v>
                </c:pt>
                <c:pt idx="5070">
                  <c:v>6.2</c:v>
                </c:pt>
                <c:pt idx="5071">
                  <c:v>8.4</c:v>
                </c:pt>
                <c:pt idx="5072">
                  <c:v>4.9000000000000004</c:v>
                </c:pt>
                <c:pt idx="5073">
                  <c:v>0.7</c:v>
                </c:pt>
                <c:pt idx="5074">
                  <c:v>7.3</c:v>
                </c:pt>
                <c:pt idx="5075">
                  <c:v>5.6</c:v>
                </c:pt>
                <c:pt idx="5076">
                  <c:v>3.8</c:v>
                </c:pt>
                <c:pt idx="5077">
                  <c:v>8.5</c:v>
                </c:pt>
                <c:pt idx="5078">
                  <c:v>7.9</c:v>
                </c:pt>
                <c:pt idx="5079">
                  <c:v>5.2</c:v>
                </c:pt>
                <c:pt idx="5080">
                  <c:v>6.7</c:v>
                </c:pt>
                <c:pt idx="5081">
                  <c:v>7.1</c:v>
                </c:pt>
                <c:pt idx="5082">
                  <c:v>4.7</c:v>
                </c:pt>
                <c:pt idx="5083">
                  <c:v>9.3000000000000007</c:v>
                </c:pt>
                <c:pt idx="5084">
                  <c:v>4.0999999999999996</c:v>
                </c:pt>
                <c:pt idx="5085">
                  <c:v>10.7</c:v>
                </c:pt>
                <c:pt idx="5086">
                  <c:v>9.1</c:v>
                </c:pt>
                <c:pt idx="5087">
                  <c:v>4.5999999999999996</c:v>
                </c:pt>
                <c:pt idx="5088">
                  <c:v>7.8</c:v>
                </c:pt>
                <c:pt idx="5089">
                  <c:v>8.3000000000000007</c:v>
                </c:pt>
                <c:pt idx="5090">
                  <c:v>9.1999999999999993</c:v>
                </c:pt>
                <c:pt idx="5091">
                  <c:v>12.9</c:v>
                </c:pt>
                <c:pt idx="5092">
                  <c:v>6.4</c:v>
                </c:pt>
                <c:pt idx="5093">
                  <c:v>7.8</c:v>
                </c:pt>
                <c:pt idx="5094">
                  <c:v>12.9</c:v>
                </c:pt>
                <c:pt idx="5095">
                  <c:v>8.3000000000000007</c:v>
                </c:pt>
                <c:pt idx="5096">
                  <c:v>6.8</c:v>
                </c:pt>
                <c:pt idx="5097">
                  <c:v>6</c:v>
                </c:pt>
                <c:pt idx="5098">
                  <c:v>7.6</c:v>
                </c:pt>
                <c:pt idx="5099">
                  <c:v>4.5</c:v>
                </c:pt>
                <c:pt idx="5100">
                  <c:v>12.1</c:v>
                </c:pt>
                <c:pt idx="5101">
                  <c:v>12.2</c:v>
                </c:pt>
                <c:pt idx="5102">
                  <c:v>4.5</c:v>
                </c:pt>
                <c:pt idx="5103">
                  <c:v>4.8</c:v>
                </c:pt>
                <c:pt idx="5104">
                  <c:v>9.8000000000000007</c:v>
                </c:pt>
                <c:pt idx="5105">
                  <c:v>14.1</c:v>
                </c:pt>
                <c:pt idx="5106">
                  <c:v>8.5</c:v>
                </c:pt>
                <c:pt idx="5107">
                  <c:v>9.1</c:v>
                </c:pt>
                <c:pt idx="5108">
                  <c:v>10</c:v>
                </c:pt>
                <c:pt idx="5109">
                  <c:v>10.1</c:v>
                </c:pt>
                <c:pt idx="5110">
                  <c:v>6.1</c:v>
                </c:pt>
                <c:pt idx="5111">
                  <c:v>17.7</c:v>
                </c:pt>
                <c:pt idx="5112">
                  <c:v>9.4</c:v>
                </c:pt>
                <c:pt idx="5113">
                  <c:v>6.7</c:v>
                </c:pt>
                <c:pt idx="5114">
                  <c:v>7.7</c:v>
                </c:pt>
                <c:pt idx="5115">
                  <c:v>5.6</c:v>
                </c:pt>
                <c:pt idx="5116">
                  <c:v>9.9</c:v>
                </c:pt>
                <c:pt idx="5117">
                  <c:v>6.1</c:v>
                </c:pt>
                <c:pt idx="5118">
                  <c:v>13.7</c:v>
                </c:pt>
                <c:pt idx="5119">
                  <c:v>9</c:v>
                </c:pt>
                <c:pt idx="5120">
                  <c:v>14.5</c:v>
                </c:pt>
                <c:pt idx="5121">
                  <c:v>9.1999999999999993</c:v>
                </c:pt>
                <c:pt idx="5122">
                  <c:v>6.5</c:v>
                </c:pt>
                <c:pt idx="5123">
                  <c:v>5.4</c:v>
                </c:pt>
                <c:pt idx="5124">
                  <c:v>4.0999999999999996</c:v>
                </c:pt>
                <c:pt idx="5125">
                  <c:v>9</c:v>
                </c:pt>
                <c:pt idx="5126">
                  <c:v>3.8</c:v>
                </c:pt>
                <c:pt idx="5127">
                  <c:v>15.3</c:v>
                </c:pt>
                <c:pt idx="5128">
                  <c:v>9.1999999999999993</c:v>
                </c:pt>
                <c:pt idx="5129">
                  <c:v>6.3</c:v>
                </c:pt>
                <c:pt idx="5130">
                  <c:v>10.6</c:v>
                </c:pt>
                <c:pt idx="5131">
                  <c:v>8.6</c:v>
                </c:pt>
                <c:pt idx="5132">
                  <c:v>6.1</c:v>
                </c:pt>
                <c:pt idx="5133">
                  <c:v>8.6999999999999993</c:v>
                </c:pt>
                <c:pt idx="5134">
                  <c:v>6.8</c:v>
                </c:pt>
                <c:pt idx="5135">
                  <c:v>4.7</c:v>
                </c:pt>
                <c:pt idx="5136">
                  <c:v>10</c:v>
                </c:pt>
                <c:pt idx="5137">
                  <c:v>5.2</c:v>
                </c:pt>
                <c:pt idx="5138">
                  <c:v>3.7</c:v>
                </c:pt>
                <c:pt idx="5139">
                  <c:v>2</c:v>
                </c:pt>
                <c:pt idx="5140">
                  <c:v>12.4</c:v>
                </c:pt>
                <c:pt idx="5141">
                  <c:v>11</c:v>
                </c:pt>
                <c:pt idx="5142">
                  <c:v>7.9</c:v>
                </c:pt>
                <c:pt idx="5143">
                  <c:v>6.1</c:v>
                </c:pt>
                <c:pt idx="5144">
                  <c:v>5.5</c:v>
                </c:pt>
                <c:pt idx="5145">
                  <c:v>10.7</c:v>
                </c:pt>
                <c:pt idx="5146">
                  <c:v>11.5</c:v>
                </c:pt>
                <c:pt idx="5147">
                  <c:v>10</c:v>
                </c:pt>
                <c:pt idx="5148">
                  <c:v>4.4000000000000004</c:v>
                </c:pt>
                <c:pt idx="5149">
                  <c:v>6.7</c:v>
                </c:pt>
                <c:pt idx="5150">
                  <c:v>7.2</c:v>
                </c:pt>
                <c:pt idx="5151">
                  <c:v>7.8</c:v>
                </c:pt>
                <c:pt idx="5152">
                  <c:v>11.9</c:v>
                </c:pt>
                <c:pt idx="5153">
                  <c:v>4.5999999999999996</c:v>
                </c:pt>
                <c:pt idx="5154">
                  <c:v>5.6</c:v>
                </c:pt>
                <c:pt idx="5155">
                  <c:v>12.6</c:v>
                </c:pt>
                <c:pt idx="5156">
                  <c:v>12.5</c:v>
                </c:pt>
                <c:pt idx="5157">
                  <c:v>9.9</c:v>
                </c:pt>
                <c:pt idx="5158">
                  <c:v>6.3</c:v>
                </c:pt>
                <c:pt idx="5159">
                  <c:v>1.1000000000000001</c:v>
                </c:pt>
                <c:pt idx="5160">
                  <c:v>7.1</c:v>
                </c:pt>
                <c:pt idx="5161">
                  <c:v>6.7</c:v>
                </c:pt>
                <c:pt idx="5162">
                  <c:v>8.1</c:v>
                </c:pt>
                <c:pt idx="5163">
                  <c:v>5.7</c:v>
                </c:pt>
                <c:pt idx="5164">
                  <c:v>6.3</c:v>
                </c:pt>
                <c:pt idx="5165">
                  <c:v>13.6</c:v>
                </c:pt>
                <c:pt idx="5166">
                  <c:v>7.7</c:v>
                </c:pt>
                <c:pt idx="5167">
                  <c:v>7.3</c:v>
                </c:pt>
                <c:pt idx="5168">
                  <c:v>6.7</c:v>
                </c:pt>
                <c:pt idx="5169">
                  <c:v>6.2</c:v>
                </c:pt>
                <c:pt idx="5170">
                  <c:v>2.8</c:v>
                </c:pt>
                <c:pt idx="5171">
                  <c:v>9.9</c:v>
                </c:pt>
                <c:pt idx="5172">
                  <c:v>5.9</c:v>
                </c:pt>
                <c:pt idx="5173">
                  <c:v>5.7</c:v>
                </c:pt>
                <c:pt idx="5174">
                  <c:v>8.3000000000000007</c:v>
                </c:pt>
                <c:pt idx="5175">
                  <c:v>7.8</c:v>
                </c:pt>
                <c:pt idx="5176">
                  <c:v>6.4</c:v>
                </c:pt>
                <c:pt idx="5177">
                  <c:v>10.1</c:v>
                </c:pt>
                <c:pt idx="5178">
                  <c:v>9</c:v>
                </c:pt>
                <c:pt idx="5179">
                  <c:v>8</c:v>
                </c:pt>
                <c:pt idx="5180">
                  <c:v>7.7</c:v>
                </c:pt>
                <c:pt idx="5181">
                  <c:v>9.5</c:v>
                </c:pt>
                <c:pt idx="5182">
                  <c:v>6.4</c:v>
                </c:pt>
                <c:pt idx="5183">
                  <c:v>8.5</c:v>
                </c:pt>
                <c:pt idx="5184">
                  <c:v>5.3</c:v>
                </c:pt>
                <c:pt idx="5185">
                  <c:v>10</c:v>
                </c:pt>
                <c:pt idx="5186">
                  <c:v>8.9</c:v>
                </c:pt>
                <c:pt idx="5187">
                  <c:v>6</c:v>
                </c:pt>
                <c:pt idx="5188">
                  <c:v>5.5</c:v>
                </c:pt>
                <c:pt idx="5189">
                  <c:v>4</c:v>
                </c:pt>
                <c:pt idx="5190">
                  <c:v>7.9</c:v>
                </c:pt>
                <c:pt idx="5191">
                  <c:v>7.3</c:v>
                </c:pt>
                <c:pt idx="5192">
                  <c:v>7.4</c:v>
                </c:pt>
                <c:pt idx="5193">
                  <c:v>10.199999999999999</c:v>
                </c:pt>
                <c:pt idx="5194">
                  <c:v>7.6</c:v>
                </c:pt>
                <c:pt idx="5195">
                  <c:v>7.7</c:v>
                </c:pt>
                <c:pt idx="5196">
                  <c:v>0.8</c:v>
                </c:pt>
                <c:pt idx="5197">
                  <c:v>8.9</c:v>
                </c:pt>
                <c:pt idx="5198">
                  <c:v>8.6</c:v>
                </c:pt>
                <c:pt idx="5199">
                  <c:v>6.2</c:v>
                </c:pt>
                <c:pt idx="5200">
                  <c:v>9.9</c:v>
                </c:pt>
                <c:pt idx="5201">
                  <c:v>6</c:v>
                </c:pt>
                <c:pt idx="5202">
                  <c:v>4.7</c:v>
                </c:pt>
                <c:pt idx="5203">
                  <c:v>10.3</c:v>
                </c:pt>
                <c:pt idx="5204">
                  <c:v>9.4</c:v>
                </c:pt>
                <c:pt idx="5205">
                  <c:v>10.5</c:v>
                </c:pt>
                <c:pt idx="5206">
                  <c:v>9.5</c:v>
                </c:pt>
                <c:pt idx="5207">
                  <c:v>11</c:v>
                </c:pt>
                <c:pt idx="5208">
                  <c:v>9.6999999999999993</c:v>
                </c:pt>
                <c:pt idx="5209">
                  <c:v>6.8</c:v>
                </c:pt>
                <c:pt idx="5210">
                  <c:v>5.5</c:v>
                </c:pt>
                <c:pt idx="5211">
                  <c:v>3.9</c:v>
                </c:pt>
                <c:pt idx="5212">
                  <c:v>9.3000000000000007</c:v>
                </c:pt>
                <c:pt idx="5213">
                  <c:v>8.5</c:v>
                </c:pt>
                <c:pt idx="5214">
                  <c:v>6.7</c:v>
                </c:pt>
                <c:pt idx="5215">
                  <c:v>7.4</c:v>
                </c:pt>
                <c:pt idx="5216">
                  <c:v>6.6</c:v>
                </c:pt>
                <c:pt idx="5217">
                  <c:v>6.4</c:v>
                </c:pt>
                <c:pt idx="5218">
                  <c:v>2.1</c:v>
                </c:pt>
                <c:pt idx="5219">
                  <c:v>12.4</c:v>
                </c:pt>
                <c:pt idx="5220">
                  <c:v>7.1</c:v>
                </c:pt>
                <c:pt idx="5221">
                  <c:v>10.1</c:v>
                </c:pt>
                <c:pt idx="5222">
                  <c:v>8.5</c:v>
                </c:pt>
                <c:pt idx="5223">
                  <c:v>7.9</c:v>
                </c:pt>
                <c:pt idx="5224">
                  <c:v>6</c:v>
                </c:pt>
                <c:pt idx="5225">
                  <c:v>8.8000000000000007</c:v>
                </c:pt>
                <c:pt idx="5226">
                  <c:v>7</c:v>
                </c:pt>
                <c:pt idx="5227">
                  <c:v>8.1999999999999993</c:v>
                </c:pt>
                <c:pt idx="5228">
                  <c:v>6.2</c:v>
                </c:pt>
                <c:pt idx="5229">
                  <c:v>7.9</c:v>
                </c:pt>
                <c:pt idx="5230">
                  <c:v>13.2</c:v>
                </c:pt>
                <c:pt idx="5231">
                  <c:v>10.6</c:v>
                </c:pt>
                <c:pt idx="5232">
                  <c:v>5.3</c:v>
                </c:pt>
                <c:pt idx="5233">
                  <c:v>6.8</c:v>
                </c:pt>
                <c:pt idx="5234">
                  <c:v>7.7</c:v>
                </c:pt>
                <c:pt idx="5235">
                  <c:v>11</c:v>
                </c:pt>
                <c:pt idx="5236">
                  <c:v>10.9</c:v>
                </c:pt>
                <c:pt idx="5237">
                  <c:v>3.5</c:v>
                </c:pt>
                <c:pt idx="5238">
                  <c:v>6.7</c:v>
                </c:pt>
                <c:pt idx="5239">
                  <c:v>11.2</c:v>
                </c:pt>
                <c:pt idx="5240">
                  <c:v>14.3</c:v>
                </c:pt>
                <c:pt idx="5241">
                  <c:v>5.5</c:v>
                </c:pt>
                <c:pt idx="5242">
                  <c:v>7.2</c:v>
                </c:pt>
                <c:pt idx="5243">
                  <c:v>6.5</c:v>
                </c:pt>
                <c:pt idx="5244">
                  <c:v>7.6</c:v>
                </c:pt>
                <c:pt idx="5245">
                  <c:v>10.3</c:v>
                </c:pt>
                <c:pt idx="5246">
                  <c:v>7.4</c:v>
                </c:pt>
                <c:pt idx="5247">
                  <c:v>6.4</c:v>
                </c:pt>
                <c:pt idx="5248">
                  <c:v>6</c:v>
                </c:pt>
                <c:pt idx="5249">
                  <c:v>9.8000000000000007</c:v>
                </c:pt>
                <c:pt idx="5250">
                  <c:v>9</c:v>
                </c:pt>
                <c:pt idx="5251">
                  <c:v>8.1999999999999993</c:v>
                </c:pt>
                <c:pt idx="5252">
                  <c:v>9.9</c:v>
                </c:pt>
                <c:pt idx="5253">
                  <c:v>6.8</c:v>
                </c:pt>
                <c:pt idx="5254">
                  <c:v>6</c:v>
                </c:pt>
                <c:pt idx="5255">
                  <c:v>5.9</c:v>
                </c:pt>
                <c:pt idx="5256">
                  <c:v>7.9</c:v>
                </c:pt>
                <c:pt idx="5257">
                  <c:v>2.7</c:v>
                </c:pt>
                <c:pt idx="5258">
                  <c:v>4.3</c:v>
                </c:pt>
                <c:pt idx="5259">
                  <c:v>6.2</c:v>
                </c:pt>
                <c:pt idx="5260">
                  <c:v>1.4</c:v>
                </c:pt>
                <c:pt idx="5261">
                  <c:v>6.2</c:v>
                </c:pt>
                <c:pt idx="5262">
                  <c:v>3.7</c:v>
                </c:pt>
                <c:pt idx="5263">
                  <c:v>9</c:v>
                </c:pt>
                <c:pt idx="5264">
                  <c:v>9.6</c:v>
                </c:pt>
                <c:pt idx="5265">
                  <c:v>12.6</c:v>
                </c:pt>
                <c:pt idx="5266">
                  <c:v>9.6</c:v>
                </c:pt>
                <c:pt idx="5267">
                  <c:v>10.199999999999999</c:v>
                </c:pt>
                <c:pt idx="5268">
                  <c:v>8.1999999999999993</c:v>
                </c:pt>
                <c:pt idx="5269">
                  <c:v>7.4</c:v>
                </c:pt>
                <c:pt idx="5270">
                  <c:v>7</c:v>
                </c:pt>
                <c:pt idx="5271">
                  <c:v>5.8</c:v>
                </c:pt>
                <c:pt idx="5272">
                  <c:v>5.8</c:v>
                </c:pt>
                <c:pt idx="5273">
                  <c:v>7.6</c:v>
                </c:pt>
                <c:pt idx="5274">
                  <c:v>7.3</c:v>
                </c:pt>
                <c:pt idx="5275">
                  <c:v>6.7</c:v>
                </c:pt>
                <c:pt idx="5276">
                  <c:v>9.4</c:v>
                </c:pt>
                <c:pt idx="5277">
                  <c:v>1.6</c:v>
                </c:pt>
                <c:pt idx="5278">
                  <c:v>5.9</c:v>
                </c:pt>
                <c:pt idx="5279">
                  <c:v>7.7</c:v>
                </c:pt>
                <c:pt idx="5280">
                  <c:v>6.7</c:v>
                </c:pt>
                <c:pt idx="5281">
                  <c:v>9.1999999999999993</c:v>
                </c:pt>
                <c:pt idx="5282">
                  <c:v>5.0999999999999996</c:v>
                </c:pt>
                <c:pt idx="5283">
                  <c:v>9.8000000000000007</c:v>
                </c:pt>
                <c:pt idx="5284">
                  <c:v>11.6</c:v>
                </c:pt>
                <c:pt idx="5285">
                  <c:v>9.1</c:v>
                </c:pt>
                <c:pt idx="5286">
                  <c:v>5</c:v>
                </c:pt>
                <c:pt idx="5287">
                  <c:v>6.7</c:v>
                </c:pt>
                <c:pt idx="5288">
                  <c:v>7.8</c:v>
                </c:pt>
                <c:pt idx="5289">
                  <c:v>9.4</c:v>
                </c:pt>
                <c:pt idx="5290">
                  <c:v>6.9</c:v>
                </c:pt>
                <c:pt idx="5291">
                  <c:v>9.8000000000000007</c:v>
                </c:pt>
                <c:pt idx="5292">
                  <c:v>5.8</c:v>
                </c:pt>
                <c:pt idx="5293">
                  <c:v>10.9</c:v>
                </c:pt>
                <c:pt idx="5294">
                  <c:v>9.4</c:v>
                </c:pt>
                <c:pt idx="5295">
                  <c:v>8</c:v>
                </c:pt>
                <c:pt idx="5296">
                  <c:v>5.4</c:v>
                </c:pt>
                <c:pt idx="5297">
                  <c:v>5.8</c:v>
                </c:pt>
                <c:pt idx="5298">
                  <c:v>9.6999999999999993</c:v>
                </c:pt>
                <c:pt idx="5299">
                  <c:v>8.1999999999999993</c:v>
                </c:pt>
                <c:pt idx="5300">
                  <c:v>7.1</c:v>
                </c:pt>
                <c:pt idx="5301">
                  <c:v>6.7</c:v>
                </c:pt>
                <c:pt idx="5302">
                  <c:v>10.3</c:v>
                </c:pt>
                <c:pt idx="5303">
                  <c:v>9.1</c:v>
                </c:pt>
                <c:pt idx="5304">
                  <c:v>8.4</c:v>
                </c:pt>
                <c:pt idx="5305">
                  <c:v>4.5</c:v>
                </c:pt>
                <c:pt idx="5306">
                  <c:v>7.8</c:v>
                </c:pt>
                <c:pt idx="5307">
                  <c:v>7.6</c:v>
                </c:pt>
                <c:pt idx="5308">
                  <c:v>9.9</c:v>
                </c:pt>
                <c:pt idx="5309">
                  <c:v>6.1</c:v>
                </c:pt>
                <c:pt idx="5310">
                  <c:v>5.9</c:v>
                </c:pt>
                <c:pt idx="5311">
                  <c:v>9.9</c:v>
                </c:pt>
                <c:pt idx="5312">
                  <c:v>15.3</c:v>
                </c:pt>
                <c:pt idx="5313">
                  <c:v>7.7</c:v>
                </c:pt>
                <c:pt idx="5314">
                  <c:v>6.6</c:v>
                </c:pt>
                <c:pt idx="5315">
                  <c:v>7.4</c:v>
                </c:pt>
                <c:pt idx="5316">
                  <c:v>4</c:v>
                </c:pt>
                <c:pt idx="5317">
                  <c:v>8.3000000000000007</c:v>
                </c:pt>
                <c:pt idx="5318">
                  <c:v>4.4000000000000004</c:v>
                </c:pt>
                <c:pt idx="5319">
                  <c:v>5.2</c:v>
                </c:pt>
                <c:pt idx="5320">
                  <c:v>1.7</c:v>
                </c:pt>
                <c:pt idx="5321">
                  <c:v>6.5</c:v>
                </c:pt>
                <c:pt idx="5322">
                  <c:v>11.3</c:v>
                </c:pt>
                <c:pt idx="5323">
                  <c:v>9.5</c:v>
                </c:pt>
                <c:pt idx="5324">
                  <c:v>6.9</c:v>
                </c:pt>
                <c:pt idx="5325">
                  <c:v>10</c:v>
                </c:pt>
                <c:pt idx="5326">
                  <c:v>7.1</c:v>
                </c:pt>
                <c:pt idx="5327">
                  <c:v>10.8</c:v>
                </c:pt>
                <c:pt idx="5328">
                  <c:v>5.3</c:v>
                </c:pt>
                <c:pt idx="5329">
                  <c:v>7.6</c:v>
                </c:pt>
                <c:pt idx="5330">
                  <c:v>6.3</c:v>
                </c:pt>
                <c:pt idx="5331">
                  <c:v>0.6</c:v>
                </c:pt>
                <c:pt idx="5332">
                  <c:v>12.4</c:v>
                </c:pt>
                <c:pt idx="5333">
                  <c:v>6.4</c:v>
                </c:pt>
                <c:pt idx="5334">
                  <c:v>10.5</c:v>
                </c:pt>
                <c:pt idx="5335">
                  <c:v>6.6</c:v>
                </c:pt>
                <c:pt idx="5336">
                  <c:v>10.1</c:v>
                </c:pt>
                <c:pt idx="5337">
                  <c:v>9.1</c:v>
                </c:pt>
                <c:pt idx="5338">
                  <c:v>10.199999999999999</c:v>
                </c:pt>
                <c:pt idx="5339">
                  <c:v>6.2</c:v>
                </c:pt>
                <c:pt idx="5340">
                  <c:v>4.7</c:v>
                </c:pt>
                <c:pt idx="5341">
                  <c:v>8.4</c:v>
                </c:pt>
                <c:pt idx="5342">
                  <c:v>6.6</c:v>
                </c:pt>
                <c:pt idx="5343">
                  <c:v>12.1</c:v>
                </c:pt>
                <c:pt idx="5344">
                  <c:v>6</c:v>
                </c:pt>
                <c:pt idx="5345">
                  <c:v>7.1</c:v>
                </c:pt>
                <c:pt idx="5346">
                  <c:v>9</c:v>
                </c:pt>
                <c:pt idx="5347">
                  <c:v>4.8</c:v>
                </c:pt>
                <c:pt idx="5348">
                  <c:v>5.5</c:v>
                </c:pt>
                <c:pt idx="5349">
                  <c:v>6.8</c:v>
                </c:pt>
                <c:pt idx="5350">
                  <c:v>6.7</c:v>
                </c:pt>
                <c:pt idx="5351">
                  <c:v>7.5</c:v>
                </c:pt>
                <c:pt idx="5352">
                  <c:v>6.5</c:v>
                </c:pt>
                <c:pt idx="5353">
                  <c:v>1</c:v>
                </c:pt>
                <c:pt idx="5354">
                  <c:v>8.5</c:v>
                </c:pt>
                <c:pt idx="5355">
                  <c:v>9.8000000000000007</c:v>
                </c:pt>
                <c:pt idx="5356">
                  <c:v>7.1</c:v>
                </c:pt>
                <c:pt idx="5357">
                  <c:v>10.8</c:v>
                </c:pt>
                <c:pt idx="5358">
                  <c:v>4.2</c:v>
                </c:pt>
                <c:pt idx="5359">
                  <c:v>7</c:v>
                </c:pt>
                <c:pt idx="5360">
                  <c:v>11.1</c:v>
                </c:pt>
                <c:pt idx="5361">
                  <c:v>8.4</c:v>
                </c:pt>
                <c:pt idx="5362">
                  <c:v>5</c:v>
                </c:pt>
                <c:pt idx="5363">
                  <c:v>3</c:v>
                </c:pt>
                <c:pt idx="5364">
                  <c:v>8.1</c:v>
                </c:pt>
                <c:pt idx="5365">
                  <c:v>5.6</c:v>
                </c:pt>
                <c:pt idx="5366">
                  <c:v>5</c:v>
                </c:pt>
                <c:pt idx="5367">
                  <c:v>6.2</c:v>
                </c:pt>
                <c:pt idx="5368">
                  <c:v>8.3000000000000007</c:v>
                </c:pt>
                <c:pt idx="5369">
                  <c:v>7.7</c:v>
                </c:pt>
                <c:pt idx="5370">
                  <c:v>7</c:v>
                </c:pt>
                <c:pt idx="5371">
                  <c:v>5.4</c:v>
                </c:pt>
                <c:pt idx="5372">
                  <c:v>7.8</c:v>
                </c:pt>
                <c:pt idx="5373">
                  <c:v>6.4</c:v>
                </c:pt>
                <c:pt idx="5374">
                  <c:v>7.7</c:v>
                </c:pt>
                <c:pt idx="5375">
                  <c:v>4.5</c:v>
                </c:pt>
                <c:pt idx="5376">
                  <c:v>5.7</c:v>
                </c:pt>
                <c:pt idx="5377">
                  <c:v>5.5</c:v>
                </c:pt>
                <c:pt idx="5378">
                  <c:v>13.9</c:v>
                </c:pt>
                <c:pt idx="5379">
                  <c:v>6.9</c:v>
                </c:pt>
                <c:pt idx="5380">
                  <c:v>14</c:v>
                </c:pt>
                <c:pt idx="5381">
                  <c:v>7.7</c:v>
                </c:pt>
                <c:pt idx="5382">
                  <c:v>4.0999999999999996</c:v>
                </c:pt>
                <c:pt idx="5383">
                  <c:v>3.2</c:v>
                </c:pt>
                <c:pt idx="5384">
                  <c:v>5</c:v>
                </c:pt>
                <c:pt idx="5385">
                  <c:v>7.8</c:v>
                </c:pt>
                <c:pt idx="5386">
                  <c:v>6.4</c:v>
                </c:pt>
                <c:pt idx="5387">
                  <c:v>9.8000000000000007</c:v>
                </c:pt>
                <c:pt idx="5388">
                  <c:v>8.6999999999999993</c:v>
                </c:pt>
                <c:pt idx="5389">
                  <c:v>6.4</c:v>
                </c:pt>
                <c:pt idx="5390">
                  <c:v>8.1999999999999993</c:v>
                </c:pt>
                <c:pt idx="5391">
                  <c:v>10.3</c:v>
                </c:pt>
                <c:pt idx="5392">
                  <c:v>5.8</c:v>
                </c:pt>
                <c:pt idx="5393">
                  <c:v>8.6999999999999993</c:v>
                </c:pt>
                <c:pt idx="5394">
                  <c:v>16.399999999999999</c:v>
                </c:pt>
                <c:pt idx="5395">
                  <c:v>4.7</c:v>
                </c:pt>
                <c:pt idx="5396">
                  <c:v>7.2</c:v>
                </c:pt>
                <c:pt idx="5397">
                  <c:v>5.8</c:v>
                </c:pt>
                <c:pt idx="5398">
                  <c:v>10.7</c:v>
                </c:pt>
                <c:pt idx="5399">
                  <c:v>5.2</c:v>
                </c:pt>
                <c:pt idx="5400">
                  <c:v>8.6</c:v>
                </c:pt>
                <c:pt idx="5401">
                  <c:v>10</c:v>
                </c:pt>
                <c:pt idx="5402">
                  <c:v>8.6999999999999993</c:v>
                </c:pt>
                <c:pt idx="5403">
                  <c:v>11.4</c:v>
                </c:pt>
                <c:pt idx="5404">
                  <c:v>8.6</c:v>
                </c:pt>
                <c:pt idx="5405">
                  <c:v>4.3</c:v>
                </c:pt>
                <c:pt idx="5406">
                  <c:v>11.8</c:v>
                </c:pt>
                <c:pt idx="5407">
                  <c:v>2</c:v>
                </c:pt>
                <c:pt idx="5408">
                  <c:v>4.7</c:v>
                </c:pt>
                <c:pt idx="5409">
                  <c:v>6.9</c:v>
                </c:pt>
                <c:pt idx="5410">
                  <c:v>8.4</c:v>
                </c:pt>
                <c:pt idx="5411">
                  <c:v>7.7</c:v>
                </c:pt>
                <c:pt idx="5412">
                  <c:v>10.8</c:v>
                </c:pt>
                <c:pt idx="5413">
                  <c:v>4.9000000000000004</c:v>
                </c:pt>
                <c:pt idx="5414">
                  <c:v>6.8</c:v>
                </c:pt>
                <c:pt idx="5415">
                  <c:v>11.1</c:v>
                </c:pt>
                <c:pt idx="5416">
                  <c:v>1.6</c:v>
                </c:pt>
                <c:pt idx="5417">
                  <c:v>6.9</c:v>
                </c:pt>
                <c:pt idx="5418">
                  <c:v>9.8000000000000007</c:v>
                </c:pt>
                <c:pt idx="5419">
                  <c:v>8.8000000000000007</c:v>
                </c:pt>
                <c:pt idx="5420">
                  <c:v>7.4</c:v>
                </c:pt>
                <c:pt idx="5421">
                  <c:v>1.5</c:v>
                </c:pt>
                <c:pt idx="5422">
                  <c:v>1.5</c:v>
                </c:pt>
                <c:pt idx="5423">
                  <c:v>7.1</c:v>
                </c:pt>
                <c:pt idx="5424">
                  <c:v>8.6999999999999993</c:v>
                </c:pt>
                <c:pt idx="5425">
                  <c:v>9.3000000000000007</c:v>
                </c:pt>
                <c:pt idx="5426">
                  <c:v>7.4</c:v>
                </c:pt>
                <c:pt idx="5427">
                  <c:v>6.2</c:v>
                </c:pt>
                <c:pt idx="5428">
                  <c:v>14.6</c:v>
                </c:pt>
                <c:pt idx="5429">
                  <c:v>12</c:v>
                </c:pt>
                <c:pt idx="5430">
                  <c:v>11.8</c:v>
                </c:pt>
                <c:pt idx="5431">
                  <c:v>11.8</c:v>
                </c:pt>
                <c:pt idx="5432">
                  <c:v>9.8000000000000007</c:v>
                </c:pt>
                <c:pt idx="5433">
                  <c:v>9.8000000000000007</c:v>
                </c:pt>
                <c:pt idx="5434">
                  <c:v>9.4</c:v>
                </c:pt>
                <c:pt idx="5435">
                  <c:v>9.1</c:v>
                </c:pt>
                <c:pt idx="5436">
                  <c:v>9.1</c:v>
                </c:pt>
                <c:pt idx="5437">
                  <c:v>8.8000000000000007</c:v>
                </c:pt>
                <c:pt idx="5438">
                  <c:v>8.4</c:v>
                </c:pt>
                <c:pt idx="5439">
                  <c:v>8.1</c:v>
                </c:pt>
                <c:pt idx="5440">
                  <c:v>8</c:v>
                </c:pt>
                <c:pt idx="5441">
                  <c:v>7.8</c:v>
                </c:pt>
                <c:pt idx="5442">
                  <c:v>7.7</c:v>
                </c:pt>
                <c:pt idx="5443">
                  <c:v>7.4</c:v>
                </c:pt>
                <c:pt idx="5444">
                  <c:v>7.1</c:v>
                </c:pt>
                <c:pt idx="5445">
                  <c:v>6.9</c:v>
                </c:pt>
                <c:pt idx="5446">
                  <c:v>6.8</c:v>
                </c:pt>
                <c:pt idx="5447">
                  <c:v>5.2</c:v>
                </c:pt>
                <c:pt idx="5448">
                  <c:v>5</c:v>
                </c:pt>
                <c:pt idx="5449">
                  <c:v>4.9000000000000004</c:v>
                </c:pt>
                <c:pt idx="5450">
                  <c:v>4.4000000000000004</c:v>
                </c:pt>
                <c:pt idx="5451">
                  <c:v>4</c:v>
                </c:pt>
                <c:pt idx="5452">
                  <c:v>3</c:v>
                </c:pt>
                <c:pt idx="5453">
                  <c:v>7</c:v>
                </c:pt>
                <c:pt idx="5454">
                  <c:v>9.1999999999999993</c:v>
                </c:pt>
                <c:pt idx="5455">
                  <c:v>7.1</c:v>
                </c:pt>
                <c:pt idx="5456">
                  <c:v>5.2</c:v>
                </c:pt>
                <c:pt idx="5457">
                  <c:v>12.3</c:v>
                </c:pt>
                <c:pt idx="5458">
                  <c:v>9.1</c:v>
                </c:pt>
                <c:pt idx="5459">
                  <c:v>6.1</c:v>
                </c:pt>
                <c:pt idx="5460">
                  <c:v>10.7</c:v>
                </c:pt>
                <c:pt idx="5461">
                  <c:v>10.3</c:v>
                </c:pt>
                <c:pt idx="5462">
                  <c:v>10.4</c:v>
                </c:pt>
                <c:pt idx="5463">
                  <c:v>9.1999999999999993</c:v>
                </c:pt>
                <c:pt idx="5464">
                  <c:v>5.4</c:v>
                </c:pt>
                <c:pt idx="5465">
                  <c:v>9.8000000000000007</c:v>
                </c:pt>
                <c:pt idx="5466">
                  <c:v>9.6999999999999993</c:v>
                </c:pt>
                <c:pt idx="5467">
                  <c:v>8.3000000000000007</c:v>
                </c:pt>
                <c:pt idx="5468">
                  <c:v>11.3</c:v>
                </c:pt>
                <c:pt idx="5469">
                  <c:v>7.5</c:v>
                </c:pt>
                <c:pt idx="5470">
                  <c:v>8</c:v>
                </c:pt>
                <c:pt idx="5471">
                  <c:v>6.3</c:v>
                </c:pt>
                <c:pt idx="5472">
                  <c:v>12.7</c:v>
                </c:pt>
                <c:pt idx="5473">
                  <c:v>8.4</c:v>
                </c:pt>
                <c:pt idx="5474">
                  <c:v>6.7</c:v>
                </c:pt>
                <c:pt idx="5475">
                  <c:v>3.8</c:v>
                </c:pt>
                <c:pt idx="5476">
                  <c:v>0.6</c:v>
                </c:pt>
                <c:pt idx="5477">
                  <c:v>10.7</c:v>
                </c:pt>
                <c:pt idx="5478">
                  <c:v>4.5</c:v>
                </c:pt>
                <c:pt idx="5479">
                  <c:v>4.3</c:v>
                </c:pt>
                <c:pt idx="5480">
                  <c:v>3.8</c:v>
                </c:pt>
                <c:pt idx="5481">
                  <c:v>7.6</c:v>
                </c:pt>
                <c:pt idx="5482">
                  <c:v>8.4</c:v>
                </c:pt>
                <c:pt idx="5483">
                  <c:v>8.3000000000000007</c:v>
                </c:pt>
                <c:pt idx="5484">
                  <c:v>6.6</c:v>
                </c:pt>
                <c:pt idx="5485">
                  <c:v>8.6999999999999993</c:v>
                </c:pt>
                <c:pt idx="5486">
                  <c:v>10.6</c:v>
                </c:pt>
                <c:pt idx="5487">
                  <c:v>0.8</c:v>
                </c:pt>
                <c:pt idx="5488">
                  <c:v>7.1</c:v>
                </c:pt>
                <c:pt idx="5489">
                  <c:v>10</c:v>
                </c:pt>
                <c:pt idx="5490">
                  <c:v>12.2</c:v>
                </c:pt>
                <c:pt idx="5491">
                  <c:v>5.8</c:v>
                </c:pt>
                <c:pt idx="5492">
                  <c:v>12.5</c:v>
                </c:pt>
                <c:pt idx="5493">
                  <c:v>6.2</c:v>
                </c:pt>
                <c:pt idx="5494">
                  <c:v>2.9</c:v>
                </c:pt>
                <c:pt idx="5495">
                  <c:v>14.1</c:v>
                </c:pt>
                <c:pt idx="5496">
                  <c:v>6.5</c:v>
                </c:pt>
                <c:pt idx="5497">
                  <c:v>9.5</c:v>
                </c:pt>
                <c:pt idx="5498">
                  <c:v>7.7</c:v>
                </c:pt>
                <c:pt idx="5499">
                  <c:v>5.0999999999999996</c:v>
                </c:pt>
                <c:pt idx="5500">
                  <c:v>9.1</c:v>
                </c:pt>
                <c:pt idx="5501">
                  <c:v>7.7</c:v>
                </c:pt>
                <c:pt idx="5502">
                  <c:v>9.1999999999999993</c:v>
                </c:pt>
                <c:pt idx="5503">
                  <c:v>8.6</c:v>
                </c:pt>
                <c:pt idx="5504">
                  <c:v>9.6999999999999993</c:v>
                </c:pt>
                <c:pt idx="5505">
                  <c:v>10.1</c:v>
                </c:pt>
                <c:pt idx="5506">
                  <c:v>8.3000000000000007</c:v>
                </c:pt>
                <c:pt idx="5507">
                  <c:v>7.4</c:v>
                </c:pt>
                <c:pt idx="5508">
                  <c:v>17.3</c:v>
                </c:pt>
                <c:pt idx="5509">
                  <c:v>9.4</c:v>
                </c:pt>
                <c:pt idx="5510">
                  <c:v>9.6</c:v>
                </c:pt>
                <c:pt idx="5511">
                  <c:v>6.5</c:v>
                </c:pt>
                <c:pt idx="5512">
                  <c:v>8.6999999999999993</c:v>
                </c:pt>
                <c:pt idx="5513">
                  <c:v>8.1999999999999993</c:v>
                </c:pt>
                <c:pt idx="5514">
                  <c:v>8.8000000000000007</c:v>
                </c:pt>
                <c:pt idx="5515">
                  <c:v>11</c:v>
                </c:pt>
                <c:pt idx="5516">
                  <c:v>10.8</c:v>
                </c:pt>
                <c:pt idx="5517">
                  <c:v>5.0999999999999996</c:v>
                </c:pt>
                <c:pt idx="5518">
                  <c:v>6.8</c:v>
                </c:pt>
                <c:pt idx="5519">
                  <c:v>4.5</c:v>
                </c:pt>
                <c:pt idx="5520">
                  <c:v>11.2</c:v>
                </c:pt>
                <c:pt idx="5521">
                  <c:v>8</c:v>
                </c:pt>
                <c:pt idx="5522">
                  <c:v>6.5</c:v>
                </c:pt>
                <c:pt idx="5523">
                  <c:v>6.8</c:v>
                </c:pt>
                <c:pt idx="5524">
                  <c:v>0.1</c:v>
                </c:pt>
                <c:pt idx="5525">
                  <c:v>7.5</c:v>
                </c:pt>
                <c:pt idx="5526">
                  <c:v>7.5</c:v>
                </c:pt>
                <c:pt idx="5527">
                  <c:v>7.5</c:v>
                </c:pt>
                <c:pt idx="5528">
                  <c:v>4</c:v>
                </c:pt>
                <c:pt idx="5529">
                  <c:v>7.9</c:v>
                </c:pt>
                <c:pt idx="5530">
                  <c:v>5.4</c:v>
                </c:pt>
                <c:pt idx="5531">
                  <c:v>11.4</c:v>
                </c:pt>
                <c:pt idx="5532">
                  <c:v>11.8</c:v>
                </c:pt>
                <c:pt idx="5533">
                  <c:v>10</c:v>
                </c:pt>
                <c:pt idx="5534">
                  <c:v>6.7</c:v>
                </c:pt>
                <c:pt idx="5535">
                  <c:v>4.5999999999999996</c:v>
                </c:pt>
                <c:pt idx="5536">
                  <c:v>1.6</c:v>
                </c:pt>
                <c:pt idx="5537">
                  <c:v>9.6999999999999993</c:v>
                </c:pt>
                <c:pt idx="5538">
                  <c:v>5.7</c:v>
                </c:pt>
                <c:pt idx="5539">
                  <c:v>6.5</c:v>
                </c:pt>
                <c:pt idx="5540">
                  <c:v>6</c:v>
                </c:pt>
                <c:pt idx="5541">
                  <c:v>6.6</c:v>
                </c:pt>
                <c:pt idx="5542">
                  <c:v>5.6</c:v>
                </c:pt>
                <c:pt idx="5543">
                  <c:v>8.6999999999999993</c:v>
                </c:pt>
                <c:pt idx="5544">
                  <c:v>14</c:v>
                </c:pt>
                <c:pt idx="5545">
                  <c:v>5.7</c:v>
                </c:pt>
                <c:pt idx="5546">
                  <c:v>10.9</c:v>
                </c:pt>
                <c:pt idx="5547">
                  <c:v>5.6</c:v>
                </c:pt>
                <c:pt idx="5548">
                  <c:v>9.1999999999999993</c:v>
                </c:pt>
                <c:pt idx="5549">
                  <c:v>10.8</c:v>
                </c:pt>
                <c:pt idx="5550">
                  <c:v>12.4</c:v>
                </c:pt>
                <c:pt idx="5551">
                  <c:v>9.1</c:v>
                </c:pt>
                <c:pt idx="5552">
                  <c:v>10.7</c:v>
                </c:pt>
                <c:pt idx="5553">
                  <c:v>5.5</c:v>
                </c:pt>
                <c:pt idx="5554">
                  <c:v>4.2</c:v>
                </c:pt>
                <c:pt idx="5555">
                  <c:v>3.4</c:v>
                </c:pt>
                <c:pt idx="5556">
                  <c:v>6.9</c:v>
                </c:pt>
                <c:pt idx="5557">
                  <c:v>5.4</c:v>
                </c:pt>
                <c:pt idx="5558">
                  <c:v>8.3000000000000007</c:v>
                </c:pt>
                <c:pt idx="5559">
                  <c:v>6.1</c:v>
                </c:pt>
                <c:pt idx="5560">
                  <c:v>6.3</c:v>
                </c:pt>
                <c:pt idx="5561">
                  <c:v>4</c:v>
                </c:pt>
                <c:pt idx="5562">
                  <c:v>12.4</c:v>
                </c:pt>
                <c:pt idx="5563">
                  <c:v>8.9</c:v>
                </c:pt>
                <c:pt idx="5564">
                  <c:v>7.3</c:v>
                </c:pt>
                <c:pt idx="5565">
                  <c:v>4</c:v>
                </c:pt>
                <c:pt idx="5566">
                  <c:v>7.7</c:v>
                </c:pt>
                <c:pt idx="5567">
                  <c:v>6.1</c:v>
                </c:pt>
                <c:pt idx="5568">
                  <c:v>10.199999999999999</c:v>
                </c:pt>
                <c:pt idx="5569">
                  <c:v>4.9000000000000004</c:v>
                </c:pt>
                <c:pt idx="5570">
                  <c:v>8.4</c:v>
                </c:pt>
                <c:pt idx="5571">
                  <c:v>4.4000000000000004</c:v>
                </c:pt>
                <c:pt idx="5572">
                  <c:v>3.7</c:v>
                </c:pt>
                <c:pt idx="5573">
                  <c:v>4.9000000000000004</c:v>
                </c:pt>
                <c:pt idx="5574">
                  <c:v>7.3</c:v>
                </c:pt>
                <c:pt idx="5575">
                  <c:v>4.5999999999999996</c:v>
                </c:pt>
                <c:pt idx="5576">
                  <c:v>8.3000000000000007</c:v>
                </c:pt>
                <c:pt idx="5577">
                  <c:v>9</c:v>
                </c:pt>
                <c:pt idx="5578">
                  <c:v>8.6</c:v>
                </c:pt>
                <c:pt idx="5579">
                  <c:v>9.6</c:v>
                </c:pt>
                <c:pt idx="5580">
                  <c:v>6.3</c:v>
                </c:pt>
                <c:pt idx="5581">
                  <c:v>11.7</c:v>
                </c:pt>
                <c:pt idx="5582">
                  <c:v>10.9</c:v>
                </c:pt>
                <c:pt idx="5583">
                  <c:v>10.4</c:v>
                </c:pt>
                <c:pt idx="5584">
                  <c:v>6.8</c:v>
                </c:pt>
                <c:pt idx="5585">
                  <c:v>10.6</c:v>
                </c:pt>
                <c:pt idx="5586">
                  <c:v>10.6</c:v>
                </c:pt>
                <c:pt idx="5587">
                  <c:v>8.3000000000000007</c:v>
                </c:pt>
                <c:pt idx="5588">
                  <c:v>8.1999999999999993</c:v>
                </c:pt>
                <c:pt idx="5589">
                  <c:v>6.3</c:v>
                </c:pt>
                <c:pt idx="5590">
                  <c:v>7.9</c:v>
                </c:pt>
                <c:pt idx="5591">
                  <c:v>9</c:v>
                </c:pt>
                <c:pt idx="5592">
                  <c:v>9.9</c:v>
                </c:pt>
                <c:pt idx="5593">
                  <c:v>7.6</c:v>
                </c:pt>
                <c:pt idx="5594">
                  <c:v>11</c:v>
                </c:pt>
                <c:pt idx="5595">
                  <c:v>10.3</c:v>
                </c:pt>
                <c:pt idx="5596">
                  <c:v>1.7</c:v>
                </c:pt>
                <c:pt idx="5597">
                  <c:v>10.6</c:v>
                </c:pt>
                <c:pt idx="5598">
                  <c:v>8.6999999999999993</c:v>
                </c:pt>
                <c:pt idx="5599">
                  <c:v>8.4</c:v>
                </c:pt>
                <c:pt idx="5600">
                  <c:v>6.8</c:v>
                </c:pt>
                <c:pt idx="5601">
                  <c:v>5.8</c:v>
                </c:pt>
                <c:pt idx="5602">
                  <c:v>4.5999999999999996</c:v>
                </c:pt>
                <c:pt idx="5603">
                  <c:v>6</c:v>
                </c:pt>
                <c:pt idx="5604">
                  <c:v>13.8</c:v>
                </c:pt>
                <c:pt idx="5605">
                  <c:v>12.4</c:v>
                </c:pt>
                <c:pt idx="5606">
                  <c:v>9.3000000000000007</c:v>
                </c:pt>
                <c:pt idx="5607">
                  <c:v>6.4</c:v>
                </c:pt>
                <c:pt idx="5608">
                  <c:v>12.5</c:v>
                </c:pt>
                <c:pt idx="5609">
                  <c:v>7.8</c:v>
                </c:pt>
                <c:pt idx="5610">
                  <c:v>7.5</c:v>
                </c:pt>
                <c:pt idx="5611">
                  <c:v>8.8000000000000007</c:v>
                </c:pt>
                <c:pt idx="5612">
                  <c:v>9.9</c:v>
                </c:pt>
                <c:pt idx="5613">
                  <c:v>8</c:v>
                </c:pt>
                <c:pt idx="5614">
                  <c:v>10.9</c:v>
                </c:pt>
                <c:pt idx="5615">
                  <c:v>4.5999999999999996</c:v>
                </c:pt>
                <c:pt idx="5616">
                  <c:v>5.4</c:v>
                </c:pt>
                <c:pt idx="5617">
                  <c:v>4.7</c:v>
                </c:pt>
                <c:pt idx="5618">
                  <c:v>8.6999999999999993</c:v>
                </c:pt>
                <c:pt idx="5619">
                  <c:v>11</c:v>
                </c:pt>
                <c:pt idx="5620">
                  <c:v>6.7</c:v>
                </c:pt>
                <c:pt idx="5621">
                  <c:v>11.5</c:v>
                </c:pt>
                <c:pt idx="5622">
                  <c:v>3.6</c:v>
                </c:pt>
                <c:pt idx="5623">
                  <c:v>8.6</c:v>
                </c:pt>
                <c:pt idx="5624">
                  <c:v>7.5</c:v>
                </c:pt>
                <c:pt idx="5625">
                  <c:v>4.5</c:v>
                </c:pt>
                <c:pt idx="5626">
                  <c:v>5.3</c:v>
                </c:pt>
                <c:pt idx="5627">
                  <c:v>13</c:v>
                </c:pt>
                <c:pt idx="5628">
                  <c:v>9.6999999999999993</c:v>
                </c:pt>
                <c:pt idx="5629">
                  <c:v>11.6</c:v>
                </c:pt>
                <c:pt idx="5630">
                  <c:v>7.6</c:v>
                </c:pt>
                <c:pt idx="5631">
                  <c:v>5.2</c:v>
                </c:pt>
                <c:pt idx="5632">
                  <c:v>9.1</c:v>
                </c:pt>
                <c:pt idx="5633">
                  <c:v>6.6</c:v>
                </c:pt>
                <c:pt idx="5634">
                  <c:v>6.6</c:v>
                </c:pt>
                <c:pt idx="5635">
                  <c:v>5</c:v>
                </c:pt>
                <c:pt idx="5636">
                  <c:v>8.4</c:v>
                </c:pt>
                <c:pt idx="5637">
                  <c:v>8.1</c:v>
                </c:pt>
                <c:pt idx="5638">
                  <c:v>7.3</c:v>
                </c:pt>
                <c:pt idx="5639">
                  <c:v>9.6999999999999993</c:v>
                </c:pt>
                <c:pt idx="5640">
                  <c:v>7.1</c:v>
                </c:pt>
                <c:pt idx="5641">
                  <c:v>7.3</c:v>
                </c:pt>
                <c:pt idx="5642">
                  <c:v>14.2</c:v>
                </c:pt>
                <c:pt idx="5643">
                  <c:v>6</c:v>
                </c:pt>
                <c:pt idx="5644">
                  <c:v>5</c:v>
                </c:pt>
                <c:pt idx="5645">
                  <c:v>11.1</c:v>
                </c:pt>
                <c:pt idx="5646">
                  <c:v>4.7</c:v>
                </c:pt>
                <c:pt idx="5647">
                  <c:v>7.3</c:v>
                </c:pt>
                <c:pt idx="5648">
                  <c:v>8.5</c:v>
                </c:pt>
                <c:pt idx="5649">
                  <c:v>8.8000000000000007</c:v>
                </c:pt>
                <c:pt idx="5650">
                  <c:v>10</c:v>
                </c:pt>
                <c:pt idx="5651">
                  <c:v>12.8</c:v>
                </c:pt>
                <c:pt idx="5652">
                  <c:v>6.4</c:v>
                </c:pt>
                <c:pt idx="5653">
                  <c:v>8.6</c:v>
                </c:pt>
                <c:pt idx="5654">
                  <c:v>15.2</c:v>
                </c:pt>
                <c:pt idx="5655">
                  <c:v>8.1999999999999993</c:v>
                </c:pt>
                <c:pt idx="5656">
                  <c:v>6.8</c:v>
                </c:pt>
                <c:pt idx="5657">
                  <c:v>8.9</c:v>
                </c:pt>
                <c:pt idx="5658">
                  <c:v>6.9</c:v>
                </c:pt>
                <c:pt idx="5659">
                  <c:v>6.2</c:v>
                </c:pt>
                <c:pt idx="5660">
                  <c:v>6</c:v>
                </c:pt>
                <c:pt idx="5661">
                  <c:v>5.8</c:v>
                </c:pt>
                <c:pt idx="5662">
                  <c:v>10.199999999999999</c:v>
                </c:pt>
                <c:pt idx="5663">
                  <c:v>9.6</c:v>
                </c:pt>
                <c:pt idx="5664">
                  <c:v>16.8</c:v>
                </c:pt>
                <c:pt idx="5665">
                  <c:v>7.1</c:v>
                </c:pt>
                <c:pt idx="5666">
                  <c:v>10.4</c:v>
                </c:pt>
                <c:pt idx="5667">
                  <c:v>5.0999999999999996</c:v>
                </c:pt>
                <c:pt idx="5668">
                  <c:v>12.4</c:v>
                </c:pt>
                <c:pt idx="5669">
                  <c:v>5.5</c:v>
                </c:pt>
                <c:pt idx="5670">
                  <c:v>10.9</c:v>
                </c:pt>
                <c:pt idx="5671">
                  <c:v>8.1999999999999993</c:v>
                </c:pt>
                <c:pt idx="5672">
                  <c:v>4.4000000000000004</c:v>
                </c:pt>
                <c:pt idx="5673">
                  <c:v>3.8</c:v>
                </c:pt>
                <c:pt idx="5674">
                  <c:v>10.5</c:v>
                </c:pt>
                <c:pt idx="5675">
                  <c:v>7.3</c:v>
                </c:pt>
                <c:pt idx="5676">
                  <c:v>4.4000000000000004</c:v>
                </c:pt>
                <c:pt idx="5677">
                  <c:v>6.6</c:v>
                </c:pt>
                <c:pt idx="5678">
                  <c:v>12.1</c:v>
                </c:pt>
                <c:pt idx="5679">
                  <c:v>9.4</c:v>
                </c:pt>
                <c:pt idx="5680">
                  <c:v>8.6999999999999993</c:v>
                </c:pt>
                <c:pt idx="5681">
                  <c:v>8.5</c:v>
                </c:pt>
                <c:pt idx="5682">
                  <c:v>11.7</c:v>
                </c:pt>
                <c:pt idx="5683">
                  <c:v>9.1</c:v>
                </c:pt>
                <c:pt idx="5684">
                  <c:v>6.5</c:v>
                </c:pt>
                <c:pt idx="5685">
                  <c:v>0.4</c:v>
                </c:pt>
                <c:pt idx="5686">
                  <c:v>1.8</c:v>
                </c:pt>
                <c:pt idx="5687">
                  <c:v>10.1</c:v>
                </c:pt>
                <c:pt idx="5688">
                  <c:v>6.6</c:v>
                </c:pt>
                <c:pt idx="5689">
                  <c:v>6.4</c:v>
                </c:pt>
                <c:pt idx="5690">
                  <c:v>9.8000000000000007</c:v>
                </c:pt>
                <c:pt idx="5691">
                  <c:v>9.1</c:v>
                </c:pt>
                <c:pt idx="5692">
                  <c:v>9.8000000000000007</c:v>
                </c:pt>
                <c:pt idx="5693">
                  <c:v>12</c:v>
                </c:pt>
                <c:pt idx="5694">
                  <c:v>10.1</c:v>
                </c:pt>
                <c:pt idx="5695">
                  <c:v>5.6</c:v>
                </c:pt>
                <c:pt idx="5696">
                  <c:v>5.4</c:v>
                </c:pt>
                <c:pt idx="5697">
                  <c:v>4.2</c:v>
                </c:pt>
                <c:pt idx="5698">
                  <c:v>4.4000000000000004</c:v>
                </c:pt>
                <c:pt idx="5699">
                  <c:v>10.8</c:v>
                </c:pt>
                <c:pt idx="5700">
                  <c:v>9.8000000000000007</c:v>
                </c:pt>
                <c:pt idx="5701">
                  <c:v>7.4</c:v>
                </c:pt>
                <c:pt idx="5702">
                  <c:v>5.3</c:v>
                </c:pt>
                <c:pt idx="5703">
                  <c:v>8.4</c:v>
                </c:pt>
                <c:pt idx="5704">
                  <c:v>4.2</c:v>
                </c:pt>
                <c:pt idx="5705">
                  <c:v>15.5</c:v>
                </c:pt>
                <c:pt idx="5706">
                  <c:v>6.3</c:v>
                </c:pt>
                <c:pt idx="5707">
                  <c:v>6</c:v>
                </c:pt>
                <c:pt idx="5708">
                  <c:v>2.6</c:v>
                </c:pt>
                <c:pt idx="5709">
                  <c:v>12.1</c:v>
                </c:pt>
                <c:pt idx="5710">
                  <c:v>7.4</c:v>
                </c:pt>
                <c:pt idx="5711">
                  <c:v>1.2</c:v>
                </c:pt>
                <c:pt idx="5712">
                  <c:v>9.6</c:v>
                </c:pt>
                <c:pt idx="5713">
                  <c:v>2.9</c:v>
                </c:pt>
                <c:pt idx="5714">
                  <c:v>9.5</c:v>
                </c:pt>
                <c:pt idx="5715">
                  <c:v>9.3000000000000007</c:v>
                </c:pt>
                <c:pt idx="5716">
                  <c:v>8.5</c:v>
                </c:pt>
                <c:pt idx="5717">
                  <c:v>7.1</c:v>
                </c:pt>
                <c:pt idx="5718">
                  <c:v>6.4</c:v>
                </c:pt>
                <c:pt idx="5719">
                  <c:v>10.5</c:v>
                </c:pt>
                <c:pt idx="5720">
                  <c:v>7.1</c:v>
                </c:pt>
                <c:pt idx="5721">
                  <c:v>9.1</c:v>
                </c:pt>
                <c:pt idx="5722">
                  <c:v>6.9</c:v>
                </c:pt>
                <c:pt idx="5723">
                  <c:v>2.5</c:v>
                </c:pt>
                <c:pt idx="5724">
                  <c:v>11.6</c:v>
                </c:pt>
                <c:pt idx="5725">
                  <c:v>5.0999999999999996</c:v>
                </c:pt>
                <c:pt idx="5726">
                  <c:v>7.5</c:v>
                </c:pt>
                <c:pt idx="5727">
                  <c:v>5.7</c:v>
                </c:pt>
                <c:pt idx="5728">
                  <c:v>10.7</c:v>
                </c:pt>
                <c:pt idx="5729">
                  <c:v>10.3</c:v>
                </c:pt>
                <c:pt idx="5730">
                  <c:v>8.1</c:v>
                </c:pt>
                <c:pt idx="5731">
                  <c:v>11.5</c:v>
                </c:pt>
                <c:pt idx="5732">
                  <c:v>8.1</c:v>
                </c:pt>
                <c:pt idx="5733">
                  <c:v>13.1</c:v>
                </c:pt>
                <c:pt idx="5734">
                  <c:v>9.5</c:v>
                </c:pt>
                <c:pt idx="5735">
                  <c:v>4.5</c:v>
                </c:pt>
                <c:pt idx="5736">
                  <c:v>9.9</c:v>
                </c:pt>
                <c:pt idx="5737">
                  <c:v>11.8</c:v>
                </c:pt>
                <c:pt idx="5738">
                  <c:v>9.1999999999999993</c:v>
                </c:pt>
                <c:pt idx="5739">
                  <c:v>3.8</c:v>
                </c:pt>
                <c:pt idx="5740">
                  <c:v>7</c:v>
                </c:pt>
                <c:pt idx="5741">
                  <c:v>4.3</c:v>
                </c:pt>
                <c:pt idx="5742">
                  <c:v>2.5</c:v>
                </c:pt>
                <c:pt idx="5743">
                  <c:v>10.3</c:v>
                </c:pt>
                <c:pt idx="5744">
                  <c:v>10</c:v>
                </c:pt>
                <c:pt idx="5745">
                  <c:v>7.4</c:v>
                </c:pt>
                <c:pt idx="5746">
                  <c:v>4.4000000000000004</c:v>
                </c:pt>
                <c:pt idx="5747">
                  <c:v>10.6</c:v>
                </c:pt>
                <c:pt idx="5748">
                  <c:v>0.8</c:v>
                </c:pt>
                <c:pt idx="5749">
                  <c:v>11.1</c:v>
                </c:pt>
                <c:pt idx="5750">
                  <c:v>4.8</c:v>
                </c:pt>
                <c:pt idx="5751">
                  <c:v>9.9</c:v>
                </c:pt>
                <c:pt idx="5752">
                  <c:v>5.0999999999999996</c:v>
                </c:pt>
                <c:pt idx="5753">
                  <c:v>6</c:v>
                </c:pt>
                <c:pt idx="5754">
                  <c:v>11.6</c:v>
                </c:pt>
                <c:pt idx="5755">
                  <c:v>8.6</c:v>
                </c:pt>
                <c:pt idx="5756">
                  <c:v>12.1</c:v>
                </c:pt>
                <c:pt idx="5757">
                  <c:v>9.9</c:v>
                </c:pt>
                <c:pt idx="5758">
                  <c:v>8</c:v>
                </c:pt>
                <c:pt idx="5759">
                  <c:v>8.8000000000000007</c:v>
                </c:pt>
                <c:pt idx="5760">
                  <c:v>6.8</c:v>
                </c:pt>
                <c:pt idx="5761">
                  <c:v>1.5</c:v>
                </c:pt>
                <c:pt idx="5762">
                  <c:v>7.9</c:v>
                </c:pt>
                <c:pt idx="5763">
                  <c:v>8.8000000000000007</c:v>
                </c:pt>
                <c:pt idx="5764">
                  <c:v>6</c:v>
                </c:pt>
                <c:pt idx="5765">
                  <c:v>0.1</c:v>
                </c:pt>
                <c:pt idx="5766">
                  <c:v>4.9000000000000004</c:v>
                </c:pt>
                <c:pt idx="5767">
                  <c:v>5.5</c:v>
                </c:pt>
                <c:pt idx="5768">
                  <c:v>11.1</c:v>
                </c:pt>
                <c:pt idx="5769">
                  <c:v>10.3</c:v>
                </c:pt>
                <c:pt idx="5770">
                  <c:v>5.7</c:v>
                </c:pt>
                <c:pt idx="5771">
                  <c:v>12.3</c:v>
                </c:pt>
                <c:pt idx="5772">
                  <c:v>7.3</c:v>
                </c:pt>
                <c:pt idx="5773">
                  <c:v>6.5</c:v>
                </c:pt>
                <c:pt idx="5774">
                  <c:v>6.3</c:v>
                </c:pt>
                <c:pt idx="5775">
                  <c:v>4.0999999999999996</c:v>
                </c:pt>
                <c:pt idx="5776">
                  <c:v>9.6999999999999993</c:v>
                </c:pt>
                <c:pt idx="5777">
                  <c:v>7.4</c:v>
                </c:pt>
                <c:pt idx="5778">
                  <c:v>10.9</c:v>
                </c:pt>
                <c:pt idx="5779">
                  <c:v>7.4</c:v>
                </c:pt>
                <c:pt idx="5780">
                  <c:v>9.8000000000000007</c:v>
                </c:pt>
                <c:pt idx="5781">
                  <c:v>0.9</c:v>
                </c:pt>
                <c:pt idx="5782">
                  <c:v>8.6</c:v>
                </c:pt>
                <c:pt idx="5783">
                  <c:v>6.9</c:v>
                </c:pt>
                <c:pt idx="5784">
                  <c:v>8.8000000000000007</c:v>
                </c:pt>
                <c:pt idx="5785">
                  <c:v>11.4</c:v>
                </c:pt>
                <c:pt idx="5786">
                  <c:v>10</c:v>
                </c:pt>
                <c:pt idx="5787">
                  <c:v>9.6999999999999993</c:v>
                </c:pt>
                <c:pt idx="5788">
                  <c:v>6.4</c:v>
                </c:pt>
                <c:pt idx="5789">
                  <c:v>3.1</c:v>
                </c:pt>
                <c:pt idx="5790">
                  <c:v>5.6</c:v>
                </c:pt>
                <c:pt idx="5791">
                  <c:v>6.7</c:v>
                </c:pt>
                <c:pt idx="5792">
                  <c:v>9.4</c:v>
                </c:pt>
                <c:pt idx="5793">
                  <c:v>7.3</c:v>
                </c:pt>
                <c:pt idx="5794">
                  <c:v>10.9</c:v>
                </c:pt>
                <c:pt idx="5795">
                  <c:v>5.7</c:v>
                </c:pt>
                <c:pt idx="5796">
                  <c:v>9.9</c:v>
                </c:pt>
                <c:pt idx="5797">
                  <c:v>5.7</c:v>
                </c:pt>
                <c:pt idx="5798">
                  <c:v>7.7</c:v>
                </c:pt>
                <c:pt idx="5799">
                  <c:v>12.2</c:v>
                </c:pt>
                <c:pt idx="5800">
                  <c:v>12.8</c:v>
                </c:pt>
                <c:pt idx="5801">
                  <c:v>7.6</c:v>
                </c:pt>
                <c:pt idx="5802">
                  <c:v>6.2</c:v>
                </c:pt>
                <c:pt idx="5803">
                  <c:v>6.1</c:v>
                </c:pt>
                <c:pt idx="5804">
                  <c:v>11.9</c:v>
                </c:pt>
                <c:pt idx="5805">
                  <c:v>7.5</c:v>
                </c:pt>
                <c:pt idx="5806">
                  <c:v>1.4</c:v>
                </c:pt>
                <c:pt idx="5807">
                  <c:v>5.6</c:v>
                </c:pt>
                <c:pt idx="5808">
                  <c:v>7.9</c:v>
                </c:pt>
                <c:pt idx="5809">
                  <c:v>11.4</c:v>
                </c:pt>
                <c:pt idx="5810">
                  <c:v>11.5</c:v>
                </c:pt>
                <c:pt idx="5811">
                  <c:v>2.7</c:v>
                </c:pt>
                <c:pt idx="5812">
                  <c:v>13.3</c:v>
                </c:pt>
                <c:pt idx="5813">
                  <c:v>5.3</c:v>
                </c:pt>
                <c:pt idx="5814">
                  <c:v>6.6</c:v>
                </c:pt>
                <c:pt idx="5815">
                  <c:v>7.2</c:v>
                </c:pt>
                <c:pt idx="5816">
                  <c:v>7.7</c:v>
                </c:pt>
                <c:pt idx="5817">
                  <c:v>6.8</c:v>
                </c:pt>
                <c:pt idx="5818">
                  <c:v>8.5</c:v>
                </c:pt>
                <c:pt idx="5819">
                  <c:v>12.5</c:v>
                </c:pt>
                <c:pt idx="5820">
                  <c:v>6.8</c:v>
                </c:pt>
                <c:pt idx="5821">
                  <c:v>2.6</c:v>
                </c:pt>
                <c:pt idx="5822">
                  <c:v>7.6</c:v>
                </c:pt>
                <c:pt idx="5823">
                  <c:v>9.1</c:v>
                </c:pt>
                <c:pt idx="5824">
                  <c:v>6.6</c:v>
                </c:pt>
                <c:pt idx="5825">
                  <c:v>7.3</c:v>
                </c:pt>
                <c:pt idx="5826">
                  <c:v>5.7</c:v>
                </c:pt>
                <c:pt idx="5827">
                  <c:v>11.6</c:v>
                </c:pt>
                <c:pt idx="5828">
                  <c:v>8.1</c:v>
                </c:pt>
                <c:pt idx="5829">
                  <c:v>7.5</c:v>
                </c:pt>
                <c:pt idx="5830">
                  <c:v>9.1</c:v>
                </c:pt>
                <c:pt idx="5831">
                  <c:v>11.5</c:v>
                </c:pt>
                <c:pt idx="5832">
                  <c:v>10.8</c:v>
                </c:pt>
                <c:pt idx="5833">
                  <c:v>6.4</c:v>
                </c:pt>
                <c:pt idx="5834">
                  <c:v>6.8</c:v>
                </c:pt>
                <c:pt idx="5835">
                  <c:v>8.6</c:v>
                </c:pt>
                <c:pt idx="5836">
                  <c:v>8.4</c:v>
                </c:pt>
                <c:pt idx="5837">
                  <c:v>6.9</c:v>
                </c:pt>
                <c:pt idx="5838">
                  <c:v>0.8</c:v>
                </c:pt>
                <c:pt idx="5839">
                  <c:v>12.7</c:v>
                </c:pt>
                <c:pt idx="5840">
                  <c:v>2.2000000000000002</c:v>
                </c:pt>
                <c:pt idx="5841">
                  <c:v>5.5</c:v>
                </c:pt>
                <c:pt idx="5842">
                  <c:v>7.7</c:v>
                </c:pt>
                <c:pt idx="5843">
                  <c:v>6.9</c:v>
                </c:pt>
                <c:pt idx="5844">
                  <c:v>5.4</c:v>
                </c:pt>
                <c:pt idx="5845">
                  <c:v>11.1</c:v>
                </c:pt>
                <c:pt idx="5846">
                  <c:v>7.3</c:v>
                </c:pt>
                <c:pt idx="5847">
                  <c:v>8.5</c:v>
                </c:pt>
                <c:pt idx="5848">
                  <c:v>4.5999999999999996</c:v>
                </c:pt>
                <c:pt idx="5849">
                  <c:v>1.6</c:v>
                </c:pt>
                <c:pt idx="5850">
                  <c:v>8.6999999999999993</c:v>
                </c:pt>
                <c:pt idx="5851">
                  <c:v>5.5</c:v>
                </c:pt>
                <c:pt idx="5852">
                  <c:v>8.6</c:v>
                </c:pt>
                <c:pt idx="5853">
                  <c:v>6.5</c:v>
                </c:pt>
                <c:pt idx="5854">
                  <c:v>6.5</c:v>
                </c:pt>
                <c:pt idx="5855">
                  <c:v>6.5</c:v>
                </c:pt>
                <c:pt idx="5856">
                  <c:v>9.3000000000000007</c:v>
                </c:pt>
                <c:pt idx="5857">
                  <c:v>10.9</c:v>
                </c:pt>
                <c:pt idx="5858">
                  <c:v>8.9</c:v>
                </c:pt>
                <c:pt idx="5859">
                  <c:v>10</c:v>
                </c:pt>
                <c:pt idx="5860">
                  <c:v>7.1</c:v>
                </c:pt>
                <c:pt idx="5861">
                  <c:v>7.9</c:v>
                </c:pt>
                <c:pt idx="5862">
                  <c:v>12.3</c:v>
                </c:pt>
                <c:pt idx="5863">
                  <c:v>7</c:v>
                </c:pt>
                <c:pt idx="5864">
                  <c:v>8.5</c:v>
                </c:pt>
                <c:pt idx="5865">
                  <c:v>3.9</c:v>
                </c:pt>
                <c:pt idx="5866">
                  <c:v>6.6</c:v>
                </c:pt>
                <c:pt idx="5867">
                  <c:v>6.9</c:v>
                </c:pt>
                <c:pt idx="5868">
                  <c:v>6.3</c:v>
                </c:pt>
                <c:pt idx="5869">
                  <c:v>12.2</c:v>
                </c:pt>
                <c:pt idx="5870">
                  <c:v>11.6</c:v>
                </c:pt>
                <c:pt idx="5871">
                  <c:v>10.1</c:v>
                </c:pt>
                <c:pt idx="5872">
                  <c:v>9.8000000000000007</c:v>
                </c:pt>
                <c:pt idx="5873">
                  <c:v>8.9</c:v>
                </c:pt>
                <c:pt idx="5874">
                  <c:v>6.9</c:v>
                </c:pt>
                <c:pt idx="5875">
                  <c:v>6.3</c:v>
                </c:pt>
                <c:pt idx="5876">
                  <c:v>6.7</c:v>
                </c:pt>
                <c:pt idx="5877">
                  <c:v>12.6</c:v>
                </c:pt>
                <c:pt idx="5878">
                  <c:v>8.4</c:v>
                </c:pt>
                <c:pt idx="5879">
                  <c:v>6.3</c:v>
                </c:pt>
                <c:pt idx="5880">
                  <c:v>9.1999999999999993</c:v>
                </c:pt>
                <c:pt idx="5881">
                  <c:v>6.7</c:v>
                </c:pt>
                <c:pt idx="5882">
                  <c:v>8.9</c:v>
                </c:pt>
                <c:pt idx="5883">
                  <c:v>9.1999999999999993</c:v>
                </c:pt>
                <c:pt idx="5884">
                  <c:v>6</c:v>
                </c:pt>
                <c:pt idx="5885">
                  <c:v>11.1</c:v>
                </c:pt>
                <c:pt idx="5886">
                  <c:v>7.3</c:v>
                </c:pt>
                <c:pt idx="5887">
                  <c:v>9.6</c:v>
                </c:pt>
                <c:pt idx="5888">
                  <c:v>7.1</c:v>
                </c:pt>
                <c:pt idx="5889">
                  <c:v>9.1</c:v>
                </c:pt>
                <c:pt idx="5890">
                  <c:v>6.8</c:v>
                </c:pt>
                <c:pt idx="5891">
                  <c:v>11.5</c:v>
                </c:pt>
                <c:pt idx="5892">
                  <c:v>12.3</c:v>
                </c:pt>
                <c:pt idx="5893">
                  <c:v>7.3</c:v>
                </c:pt>
                <c:pt idx="5894">
                  <c:v>9.9</c:v>
                </c:pt>
                <c:pt idx="5895">
                  <c:v>7.3</c:v>
                </c:pt>
                <c:pt idx="5896">
                  <c:v>7.7</c:v>
                </c:pt>
                <c:pt idx="5897">
                  <c:v>10.1</c:v>
                </c:pt>
                <c:pt idx="5898">
                  <c:v>7.8</c:v>
                </c:pt>
                <c:pt idx="5899">
                  <c:v>8.3000000000000007</c:v>
                </c:pt>
                <c:pt idx="5900">
                  <c:v>4.8</c:v>
                </c:pt>
                <c:pt idx="5901">
                  <c:v>11</c:v>
                </c:pt>
                <c:pt idx="5902">
                  <c:v>10.9</c:v>
                </c:pt>
                <c:pt idx="5903">
                  <c:v>7.7</c:v>
                </c:pt>
                <c:pt idx="5904">
                  <c:v>11</c:v>
                </c:pt>
                <c:pt idx="5905">
                  <c:v>11</c:v>
                </c:pt>
                <c:pt idx="5906">
                  <c:v>4.3</c:v>
                </c:pt>
                <c:pt idx="5907">
                  <c:v>8.4</c:v>
                </c:pt>
                <c:pt idx="5908">
                  <c:v>6</c:v>
                </c:pt>
                <c:pt idx="5909">
                  <c:v>4.8</c:v>
                </c:pt>
                <c:pt idx="5910">
                  <c:v>7.1</c:v>
                </c:pt>
                <c:pt idx="5911">
                  <c:v>14.2</c:v>
                </c:pt>
                <c:pt idx="5912">
                  <c:v>8.8000000000000007</c:v>
                </c:pt>
                <c:pt idx="5913">
                  <c:v>14.3</c:v>
                </c:pt>
                <c:pt idx="5914">
                  <c:v>7.7</c:v>
                </c:pt>
                <c:pt idx="5915">
                  <c:v>7.7</c:v>
                </c:pt>
                <c:pt idx="5916">
                  <c:v>6.3</c:v>
                </c:pt>
                <c:pt idx="5917">
                  <c:v>6.5</c:v>
                </c:pt>
                <c:pt idx="5918">
                  <c:v>6.1</c:v>
                </c:pt>
                <c:pt idx="5919">
                  <c:v>6.8</c:v>
                </c:pt>
                <c:pt idx="5920">
                  <c:v>7.6</c:v>
                </c:pt>
                <c:pt idx="5921">
                  <c:v>8.1999999999999993</c:v>
                </c:pt>
                <c:pt idx="5922">
                  <c:v>9.1</c:v>
                </c:pt>
                <c:pt idx="5923">
                  <c:v>4.4000000000000004</c:v>
                </c:pt>
                <c:pt idx="5924">
                  <c:v>6.2</c:v>
                </c:pt>
                <c:pt idx="5925">
                  <c:v>7.9</c:v>
                </c:pt>
                <c:pt idx="5926">
                  <c:v>7.9</c:v>
                </c:pt>
                <c:pt idx="5927">
                  <c:v>10.8</c:v>
                </c:pt>
                <c:pt idx="5928">
                  <c:v>8.4</c:v>
                </c:pt>
                <c:pt idx="5929">
                  <c:v>1.4</c:v>
                </c:pt>
                <c:pt idx="5930">
                  <c:v>8.5</c:v>
                </c:pt>
                <c:pt idx="5931">
                  <c:v>5.5</c:v>
                </c:pt>
                <c:pt idx="5932">
                  <c:v>7.5</c:v>
                </c:pt>
                <c:pt idx="5933">
                  <c:v>7.6</c:v>
                </c:pt>
                <c:pt idx="5934">
                  <c:v>8.1</c:v>
                </c:pt>
                <c:pt idx="5935">
                  <c:v>7.6</c:v>
                </c:pt>
                <c:pt idx="5936">
                  <c:v>4.5999999999999996</c:v>
                </c:pt>
                <c:pt idx="5937">
                  <c:v>8.9</c:v>
                </c:pt>
                <c:pt idx="5938">
                  <c:v>0.7</c:v>
                </c:pt>
                <c:pt idx="5939">
                  <c:v>9</c:v>
                </c:pt>
                <c:pt idx="5940">
                  <c:v>10.199999999999999</c:v>
                </c:pt>
                <c:pt idx="5941">
                  <c:v>3.8</c:v>
                </c:pt>
                <c:pt idx="5942">
                  <c:v>6.1</c:v>
                </c:pt>
                <c:pt idx="5943">
                  <c:v>2.4</c:v>
                </c:pt>
                <c:pt idx="5944">
                  <c:v>7.7</c:v>
                </c:pt>
                <c:pt idx="5945">
                  <c:v>7.8</c:v>
                </c:pt>
                <c:pt idx="5946">
                  <c:v>10.7</c:v>
                </c:pt>
                <c:pt idx="5947">
                  <c:v>9.3000000000000007</c:v>
                </c:pt>
                <c:pt idx="5948">
                  <c:v>7.3</c:v>
                </c:pt>
                <c:pt idx="5949">
                  <c:v>11.8</c:v>
                </c:pt>
                <c:pt idx="5950">
                  <c:v>16.8</c:v>
                </c:pt>
                <c:pt idx="5951">
                  <c:v>10.8</c:v>
                </c:pt>
                <c:pt idx="5952">
                  <c:v>11.4</c:v>
                </c:pt>
                <c:pt idx="5953">
                  <c:v>2.6</c:v>
                </c:pt>
                <c:pt idx="5954">
                  <c:v>8.6999999999999993</c:v>
                </c:pt>
                <c:pt idx="5955">
                  <c:v>10.9</c:v>
                </c:pt>
                <c:pt idx="5956">
                  <c:v>9.4</c:v>
                </c:pt>
                <c:pt idx="5957">
                  <c:v>6.1</c:v>
                </c:pt>
                <c:pt idx="5958">
                  <c:v>7.6</c:v>
                </c:pt>
                <c:pt idx="5959">
                  <c:v>10.6</c:v>
                </c:pt>
                <c:pt idx="5960">
                  <c:v>5.4</c:v>
                </c:pt>
                <c:pt idx="5961">
                  <c:v>8.8000000000000007</c:v>
                </c:pt>
                <c:pt idx="5962">
                  <c:v>7.7</c:v>
                </c:pt>
                <c:pt idx="5963">
                  <c:v>7.4</c:v>
                </c:pt>
                <c:pt idx="5964">
                  <c:v>3.2</c:v>
                </c:pt>
                <c:pt idx="5965">
                  <c:v>9.9</c:v>
                </c:pt>
                <c:pt idx="5966">
                  <c:v>9</c:v>
                </c:pt>
                <c:pt idx="5967">
                  <c:v>8.6999999999999993</c:v>
                </c:pt>
                <c:pt idx="5968">
                  <c:v>6.2</c:v>
                </c:pt>
                <c:pt idx="5969">
                  <c:v>9.1999999999999993</c:v>
                </c:pt>
                <c:pt idx="5970">
                  <c:v>7.5</c:v>
                </c:pt>
                <c:pt idx="5971">
                  <c:v>4.0999999999999996</c:v>
                </c:pt>
                <c:pt idx="5972">
                  <c:v>7.7</c:v>
                </c:pt>
                <c:pt idx="5973">
                  <c:v>6.5</c:v>
                </c:pt>
                <c:pt idx="5974">
                  <c:v>11.9</c:v>
                </c:pt>
                <c:pt idx="5975">
                  <c:v>3.3</c:v>
                </c:pt>
                <c:pt idx="5976">
                  <c:v>7.9</c:v>
                </c:pt>
                <c:pt idx="5977">
                  <c:v>0.2</c:v>
                </c:pt>
                <c:pt idx="5978">
                  <c:v>9.3000000000000007</c:v>
                </c:pt>
                <c:pt idx="5979">
                  <c:v>8.1999999999999993</c:v>
                </c:pt>
                <c:pt idx="5980">
                  <c:v>8.3000000000000007</c:v>
                </c:pt>
                <c:pt idx="5981">
                  <c:v>8.4</c:v>
                </c:pt>
                <c:pt idx="5982">
                  <c:v>7.9</c:v>
                </c:pt>
                <c:pt idx="5983">
                  <c:v>9.4</c:v>
                </c:pt>
                <c:pt idx="5984">
                  <c:v>2.2999999999999998</c:v>
                </c:pt>
                <c:pt idx="5985">
                  <c:v>0</c:v>
                </c:pt>
                <c:pt idx="5986">
                  <c:v>8.6</c:v>
                </c:pt>
                <c:pt idx="5987">
                  <c:v>5.8</c:v>
                </c:pt>
                <c:pt idx="5988">
                  <c:v>9.5</c:v>
                </c:pt>
                <c:pt idx="5989">
                  <c:v>9.1</c:v>
                </c:pt>
                <c:pt idx="5990">
                  <c:v>10</c:v>
                </c:pt>
                <c:pt idx="5991">
                  <c:v>9.4</c:v>
                </c:pt>
                <c:pt idx="5992">
                  <c:v>5.5</c:v>
                </c:pt>
                <c:pt idx="5993">
                  <c:v>2.2000000000000002</c:v>
                </c:pt>
                <c:pt idx="5994">
                  <c:v>6.7</c:v>
                </c:pt>
                <c:pt idx="5995">
                  <c:v>6.7</c:v>
                </c:pt>
                <c:pt idx="5996">
                  <c:v>5.5</c:v>
                </c:pt>
                <c:pt idx="5997">
                  <c:v>6.2</c:v>
                </c:pt>
                <c:pt idx="5998">
                  <c:v>6.1</c:v>
                </c:pt>
                <c:pt idx="5999">
                  <c:v>9.1</c:v>
                </c:pt>
                <c:pt idx="6000">
                  <c:v>12.6</c:v>
                </c:pt>
                <c:pt idx="6001">
                  <c:v>12</c:v>
                </c:pt>
                <c:pt idx="6002">
                  <c:v>5.4</c:v>
                </c:pt>
                <c:pt idx="6003">
                  <c:v>3.2</c:v>
                </c:pt>
                <c:pt idx="6004">
                  <c:v>8</c:v>
                </c:pt>
                <c:pt idx="6005">
                  <c:v>4.3</c:v>
                </c:pt>
                <c:pt idx="6006">
                  <c:v>6.8</c:v>
                </c:pt>
                <c:pt idx="6007">
                  <c:v>7.2</c:v>
                </c:pt>
                <c:pt idx="6008">
                  <c:v>10.1</c:v>
                </c:pt>
                <c:pt idx="6009">
                  <c:v>4.4000000000000004</c:v>
                </c:pt>
                <c:pt idx="6010">
                  <c:v>9.3000000000000007</c:v>
                </c:pt>
                <c:pt idx="6011">
                  <c:v>4.4000000000000004</c:v>
                </c:pt>
                <c:pt idx="6012">
                  <c:v>9.8000000000000007</c:v>
                </c:pt>
                <c:pt idx="6013">
                  <c:v>11.6</c:v>
                </c:pt>
                <c:pt idx="6014">
                  <c:v>8.3000000000000007</c:v>
                </c:pt>
                <c:pt idx="6015">
                  <c:v>1</c:v>
                </c:pt>
                <c:pt idx="6016">
                  <c:v>13</c:v>
                </c:pt>
                <c:pt idx="6017">
                  <c:v>8</c:v>
                </c:pt>
                <c:pt idx="6018">
                  <c:v>11.7</c:v>
                </c:pt>
                <c:pt idx="6019">
                  <c:v>5.8</c:v>
                </c:pt>
                <c:pt idx="6020">
                  <c:v>8.8000000000000007</c:v>
                </c:pt>
                <c:pt idx="6021">
                  <c:v>13.7</c:v>
                </c:pt>
                <c:pt idx="6022">
                  <c:v>8.9</c:v>
                </c:pt>
                <c:pt idx="6023">
                  <c:v>5</c:v>
                </c:pt>
                <c:pt idx="6024">
                  <c:v>11.1</c:v>
                </c:pt>
                <c:pt idx="6025">
                  <c:v>6.6</c:v>
                </c:pt>
                <c:pt idx="6026">
                  <c:v>11.8</c:v>
                </c:pt>
                <c:pt idx="6027">
                  <c:v>10.5</c:v>
                </c:pt>
                <c:pt idx="6028">
                  <c:v>7.2</c:v>
                </c:pt>
                <c:pt idx="6029">
                  <c:v>10.4</c:v>
                </c:pt>
                <c:pt idx="6030">
                  <c:v>10.5</c:v>
                </c:pt>
                <c:pt idx="6031">
                  <c:v>6</c:v>
                </c:pt>
                <c:pt idx="6032">
                  <c:v>3.3</c:v>
                </c:pt>
                <c:pt idx="6033">
                  <c:v>6.4</c:v>
                </c:pt>
                <c:pt idx="6034">
                  <c:v>8.4</c:v>
                </c:pt>
                <c:pt idx="6035">
                  <c:v>4.3</c:v>
                </c:pt>
                <c:pt idx="6036">
                  <c:v>13.4</c:v>
                </c:pt>
                <c:pt idx="6037">
                  <c:v>12.1</c:v>
                </c:pt>
                <c:pt idx="6038">
                  <c:v>9.8000000000000007</c:v>
                </c:pt>
                <c:pt idx="6039">
                  <c:v>8.5</c:v>
                </c:pt>
                <c:pt idx="6040">
                  <c:v>6.6</c:v>
                </c:pt>
                <c:pt idx="6041">
                  <c:v>5.9</c:v>
                </c:pt>
                <c:pt idx="6042">
                  <c:v>5.9</c:v>
                </c:pt>
                <c:pt idx="6043">
                  <c:v>5.8</c:v>
                </c:pt>
                <c:pt idx="6044">
                  <c:v>5.8</c:v>
                </c:pt>
                <c:pt idx="6045">
                  <c:v>5.6</c:v>
                </c:pt>
                <c:pt idx="6046">
                  <c:v>5.0999999999999996</c:v>
                </c:pt>
                <c:pt idx="6047">
                  <c:v>1.7</c:v>
                </c:pt>
                <c:pt idx="6048">
                  <c:v>0.1</c:v>
                </c:pt>
                <c:pt idx="6049">
                  <c:v>1.5</c:v>
                </c:pt>
                <c:pt idx="6050">
                  <c:v>8.3000000000000007</c:v>
                </c:pt>
                <c:pt idx="6051">
                  <c:v>8.5</c:v>
                </c:pt>
                <c:pt idx="6052">
                  <c:v>6.6</c:v>
                </c:pt>
                <c:pt idx="6053">
                  <c:v>6.2</c:v>
                </c:pt>
                <c:pt idx="6054">
                  <c:v>11</c:v>
                </c:pt>
                <c:pt idx="6055">
                  <c:v>10.6</c:v>
                </c:pt>
                <c:pt idx="6056">
                  <c:v>9.1999999999999993</c:v>
                </c:pt>
                <c:pt idx="6057">
                  <c:v>14.2</c:v>
                </c:pt>
                <c:pt idx="6058">
                  <c:v>4.2</c:v>
                </c:pt>
                <c:pt idx="6059">
                  <c:v>10.4</c:v>
                </c:pt>
                <c:pt idx="6060">
                  <c:v>3.9</c:v>
                </c:pt>
                <c:pt idx="6061">
                  <c:v>7.9</c:v>
                </c:pt>
                <c:pt idx="6062">
                  <c:v>4.9000000000000004</c:v>
                </c:pt>
                <c:pt idx="6063">
                  <c:v>13.8</c:v>
                </c:pt>
                <c:pt idx="6064">
                  <c:v>9.6</c:v>
                </c:pt>
                <c:pt idx="6065">
                  <c:v>6.1</c:v>
                </c:pt>
                <c:pt idx="6066">
                  <c:v>9</c:v>
                </c:pt>
                <c:pt idx="6067">
                  <c:v>7.4</c:v>
                </c:pt>
                <c:pt idx="6068">
                  <c:v>7.6</c:v>
                </c:pt>
                <c:pt idx="6069">
                  <c:v>6.9</c:v>
                </c:pt>
                <c:pt idx="6070">
                  <c:v>7.4</c:v>
                </c:pt>
                <c:pt idx="6071">
                  <c:v>4.8</c:v>
                </c:pt>
                <c:pt idx="6072">
                  <c:v>11.7</c:v>
                </c:pt>
                <c:pt idx="6073">
                  <c:v>3.9</c:v>
                </c:pt>
                <c:pt idx="6074">
                  <c:v>8.9</c:v>
                </c:pt>
                <c:pt idx="6075">
                  <c:v>6.4</c:v>
                </c:pt>
                <c:pt idx="6076">
                  <c:v>8.1</c:v>
                </c:pt>
                <c:pt idx="6077">
                  <c:v>9.8000000000000007</c:v>
                </c:pt>
                <c:pt idx="6078">
                  <c:v>10.9</c:v>
                </c:pt>
                <c:pt idx="6079">
                  <c:v>6</c:v>
                </c:pt>
                <c:pt idx="6080">
                  <c:v>12.2</c:v>
                </c:pt>
                <c:pt idx="6081">
                  <c:v>1.3</c:v>
                </c:pt>
                <c:pt idx="6082">
                  <c:v>9</c:v>
                </c:pt>
                <c:pt idx="6083">
                  <c:v>11.4</c:v>
                </c:pt>
                <c:pt idx="6084">
                  <c:v>6.9</c:v>
                </c:pt>
                <c:pt idx="6085">
                  <c:v>6.4</c:v>
                </c:pt>
                <c:pt idx="6086">
                  <c:v>2.6</c:v>
                </c:pt>
                <c:pt idx="6087">
                  <c:v>10.9</c:v>
                </c:pt>
                <c:pt idx="6088">
                  <c:v>12.8</c:v>
                </c:pt>
                <c:pt idx="6089">
                  <c:v>8.9</c:v>
                </c:pt>
                <c:pt idx="6090">
                  <c:v>4.3</c:v>
                </c:pt>
                <c:pt idx="6091">
                  <c:v>6.2</c:v>
                </c:pt>
                <c:pt idx="6092">
                  <c:v>7.4</c:v>
                </c:pt>
                <c:pt idx="6093">
                  <c:v>9</c:v>
                </c:pt>
                <c:pt idx="6094">
                  <c:v>6.4</c:v>
                </c:pt>
                <c:pt idx="6095">
                  <c:v>5.4</c:v>
                </c:pt>
                <c:pt idx="6096">
                  <c:v>9.3000000000000007</c:v>
                </c:pt>
                <c:pt idx="6097">
                  <c:v>3.3</c:v>
                </c:pt>
                <c:pt idx="6098">
                  <c:v>13.9</c:v>
                </c:pt>
                <c:pt idx="6099">
                  <c:v>6.6</c:v>
                </c:pt>
                <c:pt idx="6100">
                  <c:v>10.4</c:v>
                </c:pt>
                <c:pt idx="6101">
                  <c:v>1.6</c:v>
                </c:pt>
                <c:pt idx="6102">
                  <c:v>8.6999999999999993</c:v>
                </c:pt>
                <c:pt idx="6103">
                  <c:v>7.7</c:v>
                </c:pt>
                <c:pt idx="6104">
                  <c:v>10.199999999999999</c:v>
                </c:pt>
                <c:pt idx="6105">
                  <c:v>4.9000000000000004</c:v>
                </c:pt>
                <c:pt idx="6106">
                  <c:v>11.1</c:v>
                </c:pt>
                <c:pt idx="6107">
                  <c:v>8.1</c:v>
                </c:pt>
                <c:pt idx="6108">
                  <c:v>6.5</c:v>
                </c:pt>
                <c:pt idx="6109">
                  <c:v>13.5</c:v>
                </c:pt>
                <c:pt idx="6110">
                  <c:v>17.100000000000001</c:v>
                </c:pt>
                <c:pt idx="6111">
                  <c:v>8.5</c:v>
                </c:pt>
                <c:pt idx="6112">
                  <c:v>4.5999999999999996</c:v>
                </c:pt>
                <c:pt idx="6113">
                  <c:v>6.8</c:v>
                </c:pt>
                <c:pt idx="6114">
                  <c:v>7.6</c:v>
                </c:pt>
                <c:pt idx="6115">
                  <c:v>8.5</c:v>
                </c:pt>
                <c:pt idx="6116">
                  <c:v>7.6</c:v>
                </c:pt>
                <c:pt idx="6117">
                  <c:v>12</c:v>
                </c:pt>
                <c:pt idx="6118">
                  <c:v>8.6</c:v>
                </c:pt>
                <c:pt idx="6119">
                  <c:v>7</c:v>
                </c:pt>
                <c:pt idx="6120">
                  <c:v>10.6</c:v>
                </c:pt>
                <c:pt idx="6121">
                  <c:v>10.6</c:v>
                </c:pt>
                <c:pt idx="6122">
                  <c:v>9.9</c:v>
                </c:pt>
                <c:pt idx="6123">
                  <c:v>6.2</c:v>
                </c:pt>
                <c:pt idx="6124">
                  <c:v>16.2</c:v>
                </c:pt>
                <c:pt idx="6125">
                  <c:v>9</c:v>
                </c:pt>
                <c:pt idx="6126">
                  <c:v>5.4</c:v>
                </c:pt>
                <c:pt idx="6127">
                  <c:v>14.8</c:v>
                </c:pt>
                <c:pt idx="6128">
                  <c:v>1.6</c:v>
                </c:pt>
                <c:pt idx="6129">
                  <c:v>8.1999999999999993</c:v>
                </c:pt>
                <c:pt idx="6130">
                  <c:v>6.2</c:v>
                </c:pt>
                <c:pt idx="6131">
                  <c:v>4.5</c:v>
                </c:pt>
                <c:pt idx="6132">
                  <c:v>7.6</c:v>
                </c:pt>
                <c:pt idx="6133">
                  <c:v>12.7</c:v>
                </c:pt>
                <c:pt idx="6134">
                  <c:v>6.3</c:v>
                </c:pt>
                <c:pt idx="6135">
                  <c:v>6.3</c:v>
                </c:pt>
                <c:pt idx="6136">
                  <c:v>12.5</c:v>
                </c:pt>
                <c:pt idx="6137">
                  <c:v>11.5</c:v>
                </c:pt>
                <c:pt idx="6138">
                  <c:v>6.2</c:v>
                </c:pt>
                <c:pt idx="6139">
                  <c:v>5.5</c:v>
                </c:pt>
                <c:pt idx="6140">
                  <c:v>7.7</c:v>
                </c:pt>
                <c:pt idx="6141">
                  <c:v>7.3</c:v>
                </c:pt>
                <c:pt idx="6142">
                  <c:v>8.6999999999999993</c:v>
                </c:pt>
                <c:pt idx="6143">
                  <c:v>11.7</c:v>
                </c:pt>
                <c:pt idx="6144">
                  <c:v>15.2</c:v>
                </c:pt>
                <c:pt idx="6145">
                  <c:v>8.4</c:v>
                </c:pt>
                <c:pt idx="6146">
                  <c:v>8.1999999999999993</c:v>
                </c:pt>
                <c:pt idx="6147">
                  <c:v>4.5999999999999996</c:v>
                </c:pt>
                <c:pt idx="6148">
                  <c:v>4.0999999999999996</c:v>
                </c:pt>
                <c:pt idx="6149">
                  <c:v>5</c:v>
                </c:pt>
                <c:pt idx="6150">
                  <c:v>7.3</c:v>
                </c:pt>
                <c:pt idx="6151">
                  <c:v>4.7</c:v>
                </c:pt>
                <c:pt idx="6152">
                  <c:v>3.4</c:v>
                </c:pt>
                <c:pt idx="6153">
                  <c:v>4.8</c:v>
                </c:pt>
                <c:pt idx="6154">
                  <c:v>6.1</c:v>
                </c:pt>
                <c:pt idx="6155">
                  <c:v>9.4</c:v>
                </c:pt>
                <c:pt idx="6156">
                  <c:v>8.9</c:v>
                </c:pt>
                <c:pt idx="6157">
                  <c:v>11.6</c:v>
                </c:pt>
                <c:pt idx="6158">
                  <c:v>5.4</c:v>
                </c:pt>
                <c:pt idx="6159">
                  <c:v>6</c:v>
                </c:pt>
                <c:pt idx="6160">
                  <c:v>1.5</c:v>
                </c:pt>
                <c:pt idx="6161">
                  <c:v>9.6</c:v>
                </c:pt>
                <c:pt idx="6162">
                  <c:v>11.5</c:v>
                </c:pt>
                <c:pt idx="6163">
                  <c:v>8.8000000000000007</c:v>
                </c:pt>
                <c:pt idx="6164">
                  <c:v>7.6</c:v>
                </c:pt>
                <c:pt idx="6165">
                  <c:v>5.5</c:v>
                </c:pt>
                <c:pt idx="6166">
                  <c:v>15.4</c:v>
                </c:pt>
                <c:pt idx="6167">
                  <c:v>6.8</c:v>
                </c:pt>
                <c:pt idx="6168">
                  <c:v>8.8000000000000007</c:v>
                </c:pt>
                <c:pt idx="6169">
                  <c:v>9</c:v>
                </c:pt>
                <c:pt idx="6170">
                  <c:v>10.8</c:v>
                </c:pt>
                <c:pt idx="6171">
                  <c:v>10.3</c:v>
                </c:pt>
                <c:pt idx="6172">
                  <c:v>9.8000000000000007</c:v>
                </c:pt>
                <c:pt idx="6173">
                  <c:v>12.2</c:v>
                </c:pt>
                <c:pt idx="6174">
                  <c:v>6.7</c:v>
                </c:pt>
                <c:pt idx="6175">
                  <c:v>7.6</c:v>
                </c:pt>
                <c:pt idx="6176">
                  <c:v>8.9</c:v>
                </c:pt>
                <c:pt idx="6177">
                  <c:v>10.5</c:v>
                </c:pt>
                <c:pt idx="6178">
                  <c:v>9.6999999999999993</c:v>
                </c:pt>
                <c:pt idx="6179">
                  <c:v>8.5</c:v>
                </c:pt>
                <c:pt idx="6180">
                  <c:v>7.7</c:v>
                </c:pt>
                <c:pt idx="6181">
                  <c:v>6.3</c:v>
                </c:pt>
                <c:pt idx="6182">
                  <c:v>4.5</c:v>
                </c:pt>
                <c:pt idx="6183">
                  <c:v>7.4</c:v>
                </c:pt>
                <c:pt idx="6184">
                  <c:v>4.3</c:v>
                </c:pt>
                <c:pt idx="6185">
                  <c:v>7.8</c:v>
                </c:pt>
                <c:pt idx="6186">
                  <c:v>4.7</c:v>
                </c:pt>
                <c:pt idx="6187">
                  <c:v>8.8000000000000007</c:v>
                </c:pt>
                <c:pt idx="6188">
                  <c:v>10.7</c:v>
                </c:pt>
                <c:pt idx="6189">
                  <c:v>7.1</c:v>
                </c:pt>
                <c:pt idx="6190">
                  <c:v>13.1</c:v>
                </c:pt>
                <c:pt idx="6191">
                  <c:v>8.9</c:v>
                </c:pt>
                <c:pt idx="6192">
                  <c:v>6</c:v>
                </c:pt>
                <c:pt idx="6193">
                  <c:v>5.7</c:v>
                </c:pt>
                <c:pt idx="6194">
                  <c:v>5</c:v>
                </c:pt>
                <c:pt idx="6195">
                  <c:v>9.1999999999999993</c:v>
                </c:pt>
                <c:pt idx="6196">
                  <c:v>1.5</c:v>
                </c:pt>
                <c:pt idx="6197">
                  <c:v>9.3000000000000007</c:v>
                </c:pt>
                <c:pt idx="6198">
                  <c:v>9.1999999999999993</c:v>
                </c:pt>
                <c:pt idx="6199">
                  <c:v>7.5</c:v>
                </c:pt>
                <c:pt idx="6200">
                  <c:v>13.6</c:v>
                </c:pt>
                <c:pt idx="6201">
                  <c:v>6</c:v>
                </c:pt>
                <c:pt idx="6202">
                  <c:v>5.6</c:v>
                </c:pt>
                <c:pt idx="6203">
                  <c:v>6.5</c:v>
                </c:pt>
                <c:pt idx="6204">
                  <c:v>7.6</c:v>
                </c:pt>
                <c:pt idx="6205">
                  <c:v>9</c:v>
                </c:pt>
                <c:pt idx="6206">
                  <c:v>6.3</c:v>
                </c:pt>
                <c:pt idx="6207">
                  <c:v>5.0999999999999996</c:v>
                </c:pt>
                <c:pt idx="6208">
                  <c:v>4.5999999999999996</c:v>
                </c:pt>
                <c:pt idx="6209">
                  <c:v>6.8</c:v>
                </c:pt>
                <c:pt idx="6210">
                  <c:v>9.6999999999999993</c:v>
                </c:pt>
                <c:pt idx="6211">
                  <c:v>1.8</c:v>
                </c:pt>
                <c:pt idx="6212">
                  <c:v>5.6</c:v>
                </c:pt>
                <c:pt idx="6213">
                  <c:v>5.4</c:v>
                </c:pt>
                <c:pt idx="6214">
                  <c:v>7.5</c:v>
                </c:pt>
                <c:pt idx="6215">
                  <c:v>4.9000000000000004</c:v>
                </c:pt>
                <c:pt idx="6216">
                  <c:v>2.6</c:v>
                </c:pt>
                <c:pt idx="6217">
                  <c:v>7.4</c:v>
                </c:pt>
                <c:pt idx="6218">
                  <c:v>10.8</c:v>
                </c:pt>
                <c:pt idx="6219">
                  <c:v>6.3</c:v>
                </c:pt>
                <c:pt idx="6220">
                  <c:v>5.9</c:v>
                </c:pt>
                <c:pt idx="6221">
                  <c:v>1.5</c:v>
                </c:pt>
                <c:pt idx="6222">
                  <c:v>8.4</c:v>
                </c:pt>
                <c:pt idx="6223">
                  <c:v>8.5</c:v>
                </c:pt>
                <c:pt idx="6224">
                  <c:v>10.199999999999999</c:v>
                </c:pt>
                <c:pt idx="6225">
                  <c:v>8.3000000000000007</c:v>
                </c:pt>
                <c:pt idx="6226">
                  <c:v>10.9</c:v>
                </c:pt>
                <c:pt idx="6227">
                  <c:v>12</c:v>
                </c:pt>
                <c:pt idx="6228">
                  <c:v>2.1</c:v>
                </c:pt>
                <c:pt idx="6229">
                  <c:v>0.9</c:v>
                </c:pt>
                <c:pt idx="6230">
                  <c:v>10.199999999999999</c:v>
                </c:pt>
                <c:pt idx="6231">
                  <c:v>7.5</c:v>
                </c:pt>
                <c:pt idx="6232">
                  <c:v>6.5</c:v>
                </c:pt>
                <c:pt idx="6233">
                  <c:v>5.5</c:v>
                </c:pt>
                <c:pt idx="6234">
                  <c:v>6.4</c:v>
                </c:pt>
                <c:pt idx="6235">
                  <c:v>2.7</c:v>
                </c:pt>
                <c:pt idx="6236">
                  <c:v>5.0999999999999996</c:v>
                </c:pt>
                <c:pt idx="6237">
                  <c:v>2.2999999999999998</c:v>
                </c:pt>
                <c:pt idx="6238">
                  <c:v>10.8</c:v>
                </c:pt>
                <c:pt idx="6239">
                  <c:v>6.2</c:v>
                </c:pt>
                <c:pt idx="6240">
                  <c:v>11.6</c:v>
                </c:pt>
                <c:pt idx="6241">
                  <c:v>6.2</c:v>
                </c:pt>
                <c:pt idx="6242">
                  <c:v>1.5</c:v>
                </c:pt>
                <c:pt idx="6243">
                  <c:v>10.199999999999999</c:v>
                </c:pt>
                <c:pt idx="6244">
                  <c:v>9.5</c:v>
                </c:pt>
                <c:pt idx="6245">
                  <c:v>0.4</c:v>
                </c:pt>
                <c:pt idx="6246">
                  <c:v>11.4</c:v>
                </c:pt>
                <c:pt idx="6247">
                  <c:v>10.4</c:v>
                </c:pt>
                <c:pt idx="6248">
                  <c:v>1.3</c:v>
                </c:pt>
                <c:pt idx="6249">
                  <c:v>9.1999999999999993</c:v>
                </c:pt>
                <c:pt idx="6250">
                  <c:v>5.4</c:v>
                </c:pt>
                <c:pt idx="6251">
                  <c:v>5.2</c:v>
                </c:pt>
                <c:pt idx="6252">
                  <c:v>10.9</c:v>
                </c:pt>
                <c:pt idx="6253">
                  <c:v>13.2</c:v>
                </c:pt>
                <c:pt idx="6254">
                  <c:v>10.199999999999999</c:v>
                </c:pt>
                <c:pt idx="6255">
                  <c:v>6.7</c:v>
                </c:pt>
                <c:pt idx="6256">
                  <c:v>7.5</c:v>
                </c:pt>
                <c:pt idx="6257">
                  <c:v>10.199999999999999</c:v>
                </c:pt>
                <c:pt idx="6258">
                  <c:v>8.6</c:v>
                </c:pt>
                <c:pt idx="6259">
                  <c:v>11.6</c:v>
                </c:pt>
                <c:pt idx="6260">
                  <c:v>11.9</c:v>
                </c:pt>
                <c:pt idx="6261">
                  <c:v>12.3</c:v>
                </c:pt>
                <c:pt idx="6262">
                  <c:v>7.6</c:v>
                </c:pt>
                <c:pt idx="6263">
                  <c:v>13.3</c:v>
                </c:pt>
                <c:pt idx="6264">
                  <c:v>8.1</c:v>
                </c:pt>
                <c:pt idx="6265">
                  <c:v>7.5</c:v>
                </c:pt>
                <c:pt idx="6266">
                  <c:v>5.0999999999999996</c:v>
                </c:pt>
                <c:pt idx="6267">
                  <c:v>9.8000000000000007</c:v>
                </c:pt>
                <c:pt idx="6268">
                  <c:v>11.2</c:v>
                </c:pt>
                <c:pt idx="6269">
                  <c:v>11.1</c:v>
                </c:pt>
                <c:pt idx="6270">
                  <c:v>10.6</c:v>
                </c:pt>
                <c:pt idx="6271">
                  <c:v>7.9</c:v>
                </c:pt>
                <c:pt idx="6272">
                  <c:v>4.4000000000000004</c:v>
                </c:pt>
                <c:pt idx="6273">
                  <c:v>4</c:v>
                </c:pt>
                <c:pt idx="6274">
                  <c:v>2</c:v>
                </c:pt>
                <c:pt idx="6275">
                  <c:v>7</c:v>
                </c:pt>
                <c:pt idx="6276">
                  <c:v>7.3</c:v>
                </c:pt>
                <c:pt idx="6277">
                  <c:v>8.8000000000000007</c:v>
                </c:pt>
                <c:pt idx="6278">
                  <c:v>11</c:v>
                </c:pt>
                <c:pt idx="6279">
                  <c:v>6.7</c:v>
                </c:pt>
                <c:pt idx="6280">
                  <c:v>6.1</c:v>
                </c:pt>
                <c:pt idx="6281">
                  <c:v>5.0999999999999996</c:v>
                </c:pt>
                <c:pt idx="6282">
                  <c:v>9.5</c:v>
                </c:pt>
                <c:pt idx="6283">
                  <c:v>6.1</c:v>
                </c:pt>
                <c:pt idx="6284">
                  <c:v>7.1</c:v>
                </c:pt>
                <c:pt idx="6285">
                  <c:v>8.8000000000000007</c:v>
                </c:pt>
                <c:pt idx="6286">
                  <c:v>18.3</c:v>
                </c:pt>
                <c:pt idx="6287">
                  <c:v>9.3000000000000007</c:v>
                </c:pt>
                <c:pt idx="6288">
                  <c:v>3.8</c:v>
                </c:pt>
                <c:pt idx="6289">
                  <c:v>8.4</c:v>
                </c:pt>
                <c:pt idx="6290">
                  <c:v>7.7</c:v>
                </c:pt>
                <c:pt idx="6291">
                  <c:v>6.8</c:v>
                </c:pt>
                <c:pt idx="6292">
                  <c:v>7.6</c:v>
                </c:pt>
                <c:pt idx="6293">
                  <c:v>8.4</c:v>
                </c:pt>
                <c:pt idx="6294">
                  <c:v>5.9</c:v>
                </c:pt>
                <c:pt idx="6295">
                  <c:v>7.1</c:v>
                </c:pt>
                <c:pt idx="6296">
                  <c:v>8.6</c:v>
                </c:pt>
                <c:pt idx="6297">
                  <c:v>6.3</c:v>
                </c:pt>
                <c:pt idx="6298">
                  <c:v>6.2</c:v>
                </c:pt>
                <c:pt idx="6299">
                  <c:v>11.7</c:v>
                </c:pt>
                <c:pt idx="6300">
                  <c:v>8.3000000000000007</c:v>
                </c:pt>
                <c:pt idx="6301">
                  <c:v>2.2000000000000002</c:v>
                </c:pt>
                <c:pt idx="6302">
                  <c:v>2.6</c:v>
                </c:pt>
                <c:pt idx="6303">
                  <c:v>11.1</c:v>
                </c:pt>
                <c:pt idx="6304">
                  <c:v>8</c:v>
                </c:pt>
                <c:pt idx="6305">
                  <c:v>11</c:v>
                </c:pt>
                <c:pt idx="6306">
                  <c:v>7.3</c:v>
                </c:pt>
                <c:pt idx="6307">
                  <c:v>10.199999999999999</c:v>
                </c:pt>
                <c:pt idx="6308">
                  <c:v>8</c:v>
                </c:pt>
                <c:pt idx="6309">
                  <c:v>7.9</c:v>
                </c:pt>
                <c:pt idx="6310">
                  <c:v>6.4</c:v>
                </c:pt>
                <c:pt idx="6311">
                  <c:v>6.2</c:v>
                </c:pt>
                <c:pt idx="6312">
                  <c:v>8.3000000000000007</c:v>
                </c:pt>
                <c:pt idx="6313">
                  <c:v>6</c:v>
                </c:pt>
                <c:pt idx="6314">
                  <c:v>13</c:v>
                </c:pt>
                <c:pt idx="6315">
                  <c:v>8.1999999999999993</c:v>
                </c:pt>
                <c:pt idx="6316">
                  <c:v>8.1</c:v>
                </c:pt>
                <c:pt idx="6317">
                  <c:v>6.4</c:v>
                </c:pt>
                <c:pt idx="6318">
                  <c:v>2.6</c:v>
                </c:pt>
                <c:pt idx="6319">
                  <c:v>8.4</c:v>
                </c:pt>
                <c:pt idx="6320">
                  <c:v>10.3</c:v>
                </c:pt>
                <c:pt idx="6321">
                  <c:v>12.7</c:v>
                </c:pt>
                <c:pt idx="6322">
                  <c:v>6.6</c:v>
                </c:pt>
                <c:pt idx="6323">
                  <c:v>7.2</c:v>
                </c:pt>
                <c:pt idx="6324">
                  <c:v>10.8</c:v>
                </c:pt>
                <c:pt idx="6325">
                  <c:v>10.6</c:v>
                </c:pt>
                <c:pt idx="6326">
                  <c:v>8.5</c:v>
                </c:pt>
                <c:pt idx="6327">
                  <c:v>6.7</c:v>
                </c:pt>
                <c:pt idx="6328">
                  <c:v>8.8000000000000007</c:v>
                </c:pt>
                <c:pt idx="6329">
                  <c:v>6.4</c:v>
                </c:pt>
                <c:pt idx="6330">
                  <c:v>6.2</c:v>
                </c:pt>
                <c:pt idx="6331">
                  <c:v>1.9</c:v>
                </c:pt>
                <c:pt idx="6332">
                  <c:v>4.2</c:v>
                </c:pt>
                <c:pt idx="6333">
                  <c:v>7.6</c:v>
                </c:pt>
                <c:pt idx="6334">
                  <c:v>5.0999999999999996</c:v>
                </c:pt>
                <c:pt idx="6335">
                  <c:v>0.3</c:v>
                </c:pt>
                <c:pt idx="6336">
                  <c:v>6.9</c:v>
                </c:pt>
                <c:pt idx="6337">
                  <c:v>7.1</c:v>
                </c:pt>
                <c:pt idx="6338">
                  <c:v>9.1</c:v>
                </c:pt>
                <c:pt idx="6339">
                  <c:v>9.9</c:v>
                </c:pt>
                <c:pt idx="6340">
                  <c:v>10.8</c:v>
                </c:pt>
                <c:pt idx="6341">
                  <c:v>9.4</c:v>
                </c:pt>
                <c:pt idx="6342">
                  <c:v>7.8</c:v>
                </c:pt>
                <c:pt idx="6343">
                  <c:v>7.6</c:v>
                </c:pt>
                <c:pt idx="6344">
                  <c:v>6.5</c:v>
                </c:pt>
                <c:pt idx="6345">
                  <c:v>9.3000000000000007</c:v>
                </c:pt>
                <c:pt idx="6346">
                  <c:v>9</c:v>
                </c:pt>
                <c:pt idx="6347">
                  <c:v>7.7</c:v>
                </c:pt>
                <c:pt idx="6348">
                  <c:v>4.8</c:v>
                </c:pt>
                <c:pt idx="6349">
                  <c:v>3.7</c:v>
                </c:pt>
                <c:pt idx="6350">
                  <c:v>7.1</c:v>
                </c:pt>
                <c:pt idx="6351">
                  <c:v>6.4</c:v>
                </c:pt>
                <c:pt idx="6352">
                  <c:v>9.3000000000000007</c:v>
                </c:pt>
                <c:pt idx="6353">
                  <c:v>5.5</c:v>
                </c:pt>
                <c:pt idx="6354">
                  <c:v>9.9</c:v>
                </c:pt>
                <c:pt idx="6355">
                  <c:v>10.6</c:v>
                </c:pt>
                <c:pt idx="6356">
                  <c:v>8.1</c:v>
                </c:pt>
                <c:pt idx="6357">
                  <c:v>9.3000000000000007</c:v>
                </c:pt>
                <c:pt idx="6358">
                  <c:v>4.0999999999999996</c:v>
                </c:pt>
                <c:pt idx="6359">
                  <c:v>11.1</c:v>
                </c:pt>
                <c:pt idx="6360">
                  <c:v>9.8000000000000007</c:v>
                </c:pt>
                <c:pt idx="6361">
                  <c:v>9.1</c:v>
                </c:pt>
                <c:pt idx="6362">
                  <c:v>4.9000000000000004</c:v>
                </c:pt>
                <c:pt idx="6363">
                  <c:v>6.9</c:v>
                </c:pt>
                <c:pt idx="6364">
                  <c:v>10.6</c:v>
                </c:pt>
                <c:pt idx="6365">
                  <c:v>10.5</c:v>
                </c:pt>
                <c:pt idx="6366">
                  <c:v>8.8000000000000007</c:v>
                </c:pt>
                <c:pt idx="6367">
                  <c:v>6.2</c:v>
                </c:pt>
                <c:pt idx="6368">
                  <c:v>4.5</c:v>
                </c:pt>
                <c:pt idx="6369">
                  <c:v>5.8</c:v>
                </c:pt>
                <c:pt idx="6370">
                  <c:v>6.1</c:v>
                </c:pt>
                <c:pt idx="6371">
                  <c:v>7.7</c:v>
                </c:pt>
                <c:pt idx="6372">
                  <c:v>5.6</c:v>
                </c:pt>
                <c:pt idx="6373">
                  <c:v>7.7</c:v>
                </c:pt>
                <c:pt idx="6374">
                  <c:v>7.1</c:v>
                </c:pt>
                <c:pt idx="6375">
                  <c:v>11.6</c:v>
                </c:pt>
                <c:pt idx="6376">
                  <c:v>6.5</c:v>
                </c:pt>
                <c:pt idx="6377">
                  <c:v>4</c:v>
                </c:pt>
                <c:pt idx="6378">
                  <c:v>6.4</c:v>
                </c:pt>
                <c:pt idx="6379">
                  <c:v>5.6</c:v>
                </c:pt>
                <c:pt idx="6380">
                  <c:v>5.6</c:v>
                </c:pt>
                <c:pt idx="6381">
                  <c:v>8.3000000000000007</c:v>
                </c:pt>
                <c:pt idx="6382">
                  <c:v>10.199999999999999</c:v>
                </c:pt>
                <c:pt idx="6383">
                  <c:v>8.3000000000000007</c:v>
                </c:pt>
                <c:pt idx="6384">
                  <c:v>7.9</c:v>
                </c:pt>
                <c:pt idx="6385">
                  <c:v>6.1</c:v>
                </c:pt>
                <c:pt idx="6386">
                  <c:v>7.3</c:v>
                </c:pt>
                <c:pt idx="6387">
                  <c:v>10.5</c:v>
                </c:pt>
                <c:pt idx="6388">
                  <c:v>8.6999999999999993</c:v>
                </c:pt>
                <c:pt idx="6389">
                  <c:v>7.4</c:v>
                </c:pt>
                <c:pt idx="6390">
                  <c:v>4.5</c:v>
                </c:pt>
                <c:pt idx="6391">
                  <c:v>7.2</c:v>
                </c:pt>
                <c:pt idx="6392">
                  <c:v>8</c:v>
                </c:pt>
                <c:pt idx="6393">
                  <c:v>4.5</c:v>
                </c:pt>
                <c:pt idx="6394">
                  <c:v>7.1</c:v>
                </c:pt>
                <c:pt idx="6395">
                  <c:v>7.8</c:v>
                </c:pt>
                <c:pt idx="6396">
                  <c:v>10.9</c:v>
                </c:pt>
                <c:pt idx="6397">
                  <c:v>9</c:v>
                </c:pt>
                <c:pt idx="6398">
                  <c:v>4.2</c:v>
                </c:pt>
                <c:pt idx="6399">
                  <c:v>9.8000000000000007</c:v>
                </c:pt>
                <c:pt idx="6400">
                  <c:v>6.3</c:v>
                </c:pt>
                <c:pt idx="6401">
                  <c:v>7.7</c:v>
                </c:pt>
                <c:pt idx="6402">
                  <c:v>12.3</c:v>
                </c:pt>
                <c:pt idx="6403">
                  <c:v>7.3</c:v>
                </c:pt>
                <c:pt idx="6404">
                  <c:v>6.7</c:v>
                </c:pt>
                <c:pt idx="6405">
                  <c:v>2.6</c:v>
                </c:pt>
                <c:pt idx="6406">
                  <c:v>10.8</c:v>
                </c:pt>
                <c:pt idx="6407">
                  <c:v>4.8</c:v>
                </c:pt>
                <c:pt idx="6408">
                  <c:v>16.7</c:v>
                </c:pt>
                <c:pt idx="6409">
                  <c:v>8.6999999999999993</c:v>
                </c:pt>
                <c:pt idx="6410">
                  <c:v>2.1</c:v>
                </c:pt>
                <c:pt idx="6411">
                  <c:v>9.5</c:v>
                </c:pt>
                <c:pt idx="6412">
                  <c:v>11.3</c:v>
                </c:pt>
                <c:pt idx="6413">
                  <c:v>7.2</c:v>
                </c:pt>
                <c:pt idx="6414">
                  <c:v>7.7</c:v>
                </c:pt>
                <c:pt idx="6415">
                  <c:v>9.5</c:v>
                </c:pt>
                <c:pt idx="6416">
                  <c:v>7.2</c:v>
                </c:pt>
                <c:pt idx="6417">
                  <c:v>7.4</c:v>
                </c:pt>
                <c:pt idx="6418">
                  <c:v>10.199999999999999</c:v>
                </c:pt>
                <c:pt idx="6419">
                  <c:v>6.5</c:v>
                </c:pt>
                <c:pt idx="6420">
                  <c:v>8</c:v>
                </c:pt>
                <c:pt idx="6421">
                  <c:v>7.5</c:v>
                </c:pt>
                <c:pt idx="6422">
                  <c:v>5.8</c:v>
                </c:pt>
                <c:pt idx="6423">
                  <c:v>7.6</c:v>
                </c:pt>
                <c:pt idx="6424">
                  <c:v>10.9</c:v>
                </c:pt>
                <c:pt idx="6425">
                  <c:v>6.7</c:v>
                </c:pt>
                <c:pt idx="6426">
                  <c:v>0.7</c:v>
                </c:pt>
                <c:pt idx="6427">
                  <c:v>6</c:v>
                </c:pt>
                <c:pt idx="6428">
                  <c:v>6.3</c:v>
                </c:pt>
                <c:pt idx="6429">
                  <c:v>10.8</c:v>
                </c:pt>
                <c:pt idx="6430">
                  <c:v>9.1</c:v>
                </c:pt>
                <c:pt idx="6431">
                  <c:v>8.1</c:v>
                </c:pt>
                <c:pt idx="6432">
                  <c:v>9.6</c:v>
                </c:pt>
                <c:pt idx="6433">
                  <c:v>6.2</c:v>
                </c:pt>
                <c:pt idx="6434">
                  <c:v>9.4</c:v>
                </c:pt>
                <c:pt idx="6435">
                  <c:v>5.9</c:v>
                </c:pt>
                <c:pt idx="6436">
                  <c:v>8.3000000000000007</c:v>
                </c:pt>
                <c:pt idx="6437">
                  <c:v>11.4</c:v>
                </c:pt>
                <c:pt idx="6438">
                  <c:v>7.3</c:v>
                </c:pt>
                <c:pt idx="6439">
                  <c:v>6.5</c:v>
                </c:pt>
                <c:pt idx="6440">
                  <c:v>9.8000000000000007</c:v>
                </c:pt>
                <c:pt idx="6441">
                  <c:v>1.3</c:v>
                </c:pt>
                <c:pt idx="6442">
                  <c:v>6.5</c:v>
                </c:pt>
                <c:pt idx="6443">
                  <c:v>10.1</c:v>
                </c:pt>
                <c:pt idx="6444">
                  <c:v>9.4</c:v>
                </c:pt>
                <c:pt idx="6445">
                  <c:v>8.6</c:v>
                </c:pt>
                <c:pt idx="6446">
                  <c:v>7.6</c:v>
                </c:pt>
                <c:pt idx="6447">
                  <c:v>12.1</c:v>
                </c:pt>
                <c:pt idx="6448">
                  <c:v>12</c:v>
                </c:pt>
                <c:pt idx="6449">
                  <c:v>11.8</c:v>
                </c:pt>
                <c:pt idx="6450">
                  <c:v>11</c:v>
                </c:pt>
                <c:pt idx="6451">
                  <c:v>10.6</c:v>
                </c:pt>
                <c:pt idx="6452">
                  <c:v>10.5</c:v>
                </c:pt>
                <c:pt idx="6453">
                  <c:v>8.9</c:v>
                </c:pt>
                <c:pt idx="6454">
                  <c:v>8.8000000000000007</c:v>
                </c:pt>
                <c:pt idx="6455">
                  <c:v>8.1</c:v>
                </c:pt>
                <c:pt idx="6456">
                  <c:v>7.6</c:v>
                </c:pt>
                <c:pt idx="6457">
                  <c:v>7.4</c:v>
                </c:pt>
                <c:pt idx="6458">
                  <c:v>7.3</c:v>
                </c:pt>
                <c:pt idx="6459">
                  <c:v>6.3</c:v>
                </c:pt>
                <c:pt idx="6460">
                  <c:v>6.3</c:v>
                </c:pt>
                <c:pt idx="6461">
                  <c:v>6</c:v>
                </c:pt>
                <c:pt idx="6462">
                  <c:v>1.5</c:v>
                </c:pt>
                <c:pt idx="6463">
                  <c:v>5.6</c:v>
                </c:pt>
                <c:pt idx="6464">
                  <c:v>7.7</c:v>
                </c:pt>
                <c:pt idx="6465">
                  <c:v>7.1</c:v>
                </c:pt>
                <c:pt idx="6466">
                  <c:v>5.5</c:v>
                </c:pt>
                <c:pt idx="6467">
                  <c:v>1.5</c:v>
                </c:pt>
                <c:pt idx="6468">
                  <c:v>10.8</c:v>
                </c:pt>
                <c:pt idx="6469">
                  <c:v>6.3</c:v>
                </c:pt>
                <c:pt idx="6470">
                  <c:v>12.1</c:v>
                </c:pt>
                <c:pt idx="6471">
                  <c:v>4.4000000000000004</c:v>
                </c:pt>
                <c:pt idx="6472">
                  <c:v>9.3000000000000007</c:v>
                </c:pt>
                <c:pt idx="6473">
                  <c:v>8.1</c:v>
                </c:pt>
                <c:pt idx="6474">
                  <c:v>0.4</c:v>
                </c:pt>
                <c:pt idx="6475">
                  <c:v>7.8</c:v>
                </c:pt>
                <c:pt idx="6476">
                  <c:v>6.9</c:v>
                </c:pt>
                <c:pt idx="6477">
                  <c:v>8.6</c:v>
                </c:pt>
                <c:pt idx="6478">
                  <c:v>11.2</c:v>
                </c:pt>
                <c:pt idx="6479">
                  <c:v>11.5</c:v>
                </c:pt>
                <c:pt idx="6480">
                  <c:v>6.6</c:v>
                </c:pt>
                <c:pt idx="6481">
                  <c:v>8.6</c:v>
                </c:pt>
                <c:pt idx="6482">
                  <c:v>9.6</c:v>
                </c:pt>
                <c:pt idx="6483">
                  <c:v>7.8</c:v>
                </c:pt>
                <c:pt idx="6484">
                  <c:v>9.5</c:v>
                </c:pt>
                <c:pt idx="6485">
                  <c:v>7.3</c:v>
                </c:pt>
                <c:pt idx="6486">
                  <c:v>8.6</c:v>
                </c:pt>
                <c:pt idx="6487">
                  <c:v>13.5</c:v>
                </c:pt>
                <c:pt idx="6488">
                  <c:v>8.4</c:v>
                </c:pt>
                <c:pt idx="6489">
                  <c:v>7.6</c:v>
                </c:pt>
                <c:pt idx="6490">
                  <c:v>8</c:v>
                </c:pt>
                <c:pt idx="6491">
                  <c:v>3.7</c:v>
                </c:pt>
                <c:pt idx="6492">
                  <c:v>11.2</c:v>
                </c:pt>
                <c:pt idx="6493">
                  <c:v>6.9</c:v>
                </c:pt>
                <c:pt idx="6494">
                  <c:v>5.7</c:v>
                </c:pt>
                <c:pt idx="6495">
                  <c:v>13.3</c:v>
                </c:pt>
                <c:pt idx="6496">
                  <c:v>7.1</c:v>
                </c:pt>
                <c:pt idx="6497">
                  <c:v>1.8</c:v>
                </c:pt>
                <c:pt idx="6498">
                  <c:v>9.6999999999999993</c:v>
                </c:pt>
                <c:pt idx="6499">
                  <c:v>6.4</c:v>
                </c:pt>
                <c:pt idx="6500">
                  <c:v>7.1</c:v>
                </c:pt>
                <c:pt idx="6501">
                  <c:v>3.8</c:v>
                </c:pt>
                <c:pt idx="6502">
                  <c:v>9.4</c:v>
                </c:pt>
                <c:pt idx="6503">
                  <c:v>0.6</c:v>
                </c:pt>
                <c:pt idx="6504">
                  <c:v>8</c:v>
                </c:pt>
                <c:pt idx="6505">
                  <c:v>7.5</c:v>
                </c:pt>
                <c:pt idx="6506">
                  <c:v>10.5</c:v>
                </c:pt>
                <c:pt idx="6507">
                  <c:v>8.4</c:v>
                </c:pt>
                <c:pt idx="6508">
                  <c:v>9</c:v>
                </c:pt>
                <c:pt idx="6509">
                  <c:v>7</c:v>
                </c:pt>
                <c:pt idx="6510">
                  <c:v>6.5</c:v>
                </c:pt>
                <c:pt idx="6511">
                  <c:v>6.5</c:v>
                </c:pt>
                <c:pt idx="6512">
                  <c:v>8.1999999999999993</c:v>
                </c:pt>
                <c:pt idx="6513">
                  <c:v>9.1</c:v>
                </c:pt>
                <c:pt idx="6514">
                  <c:v>11.7</c:v>
                </c:pt>
                <c:pt idx="6515">
                  <c:v>9</c:v>
                </c:pt>
                <c:pt idx="6516">
                  <c:v>6.7</c:v>
                </c:pt>
                <c:pt idx="6517">
                  <c:v>3.7</c:v>
                </c:pt>
                <c:pt idx="6518">
                  <c:v>7.5</c:v>
                </c:pt>
                <c:pt idx="6519">
                  <c:v>9.1</c:v>
                </c:pt>
                <c:pt idx="6520">
                  <c:v>3.5</c:v>
                </c:pt>
                <c:pt idx="6521">
                  <c:v>9.6</c:v>
                </c:pt>
                <c:pt idx="6522">
                  <c:v>6.9</c:v>
                </c:pt>
                <c:pt idx="6523">
                  <c:v>5.0999999999999996</c:v>
                </c:pt>
                <c:pt idx="6524">
                  <c:v>11.1</c:v>
                </c:pt>
                <c:pt idx="6525">
                  <c:v>7.9</c:v>
                </c:pt>
                <c:pt idx="6526">
                  <c:v>6.9</c:v>
                </c:pt>
                <c:pt idx="6527">
                  <c:v>5.6</c:v>
                </c:pt>
                <c:pt idx="6528">
                  <c:v>15</c:v>
                </c:pt>
                <c:pt idx="6529">
                  <c:v>11.1</c:v>
                </c:pt>
                <c:pt idx="6530">
                  <c:v>8.9</c:v>
                </c:pt>
                <c:pt idx="6531">
                  <c:v>7.6</c:v>
                </c:pt>
                <c:pt idx="6532">
                  <c:v>7.2</c:v>
                </c:pt>
                <c:pt idx="6533">
                  <c:v>6.5</c:v>
                </c:pt>
                <c:pt idx="6534">
                  <c:v>4.8</c:v>
                </c:pt>
                <c:pt idx="6535">
                  <c:v>8.1999999999999993</c:v>
                </c:pt>
                <c:pt idx="6536">
                  <c:v>5.9</c:v>
                </c:pt>
                <c:pt idx="6537">
                  <c:v>7.7</c:v>
                </c:pt>
                <c:pt idx="6538">
                  <c:v>7.3</c:v>
                </c:pt>
                <c:pt idx="6539">
                  <c:v>4</c:v>
                </c:pt>
                <c:pt idx="6540">
                  <c:v>2.9</c:v>
                </c:pt>
                <c:pt idx="6541">
                  <c:v>6</c:v>
                </c:pt>
                <c:pt idx="6542">
                  <c:v>6.1</c:v>
                </c:pt>
                <c:pt idx="6543">
                  <c:v>7.9</c:v>
                </c:pt>
                <c:pt idx="6544">
                  <c:v>6.2</c:v>
                </c:pt>
                <c:pt idx="6545">
                  <c:v>6.7</c:v>
                </c:pt>
                <c:pt idx="6546">
                  <c:v>10.9</c:v>
                </c:pt>
                <c:pt idx="6547">
                  <c:v>7.5</c:v>
                </c:pt>
                <c:pt idx="6548">
                  <c:v>6.2</c:v>
                </c:pt>
                <c:pt idx="6549">
                  <c:v>6.5</c:v>
                </c:pt>
                <c:pt idx="6550">
                  <c:v>9.5</c:v>
                </c:pt>
                <c:pt idx="6551">
                  <c:v>9.9</c:v>
                </c:pt>
                <c:pt idx="6552">
                  <c:v>6</c:v>
                </c:pt>
                <c:pt idx="6553">
                  <c:v>10.6</c:v>
                </c:pt>
                <c:pt idx="6554">
                  <c:v>8.5</c:v>
                </c:pt>
                <c:pt idx="6555">
                  <c:v>7.5</c:v>
                </c:pt>
                <c:pt idx="6556">
                  <c:v>6.8</c:v>
                </c:pt>
                <c:pt idx="6557">
                  <c:v>4.8</c:v>
                </c:pt>
                <c:pt idx="6558">
                  <c:v>7.5</c:v>
                </c:pt>
                <c:pt idx="6559">
                  <c:v>7.7</c:v>
                </c:pt>
                <c:pt idx="6560">
                  <c:v>7.4</c:v>
                </c:pt>
                <c:pt idx="6561">
                  <c:v>13.6</c:v>
                </c:pt>
                <c:pt idx="6562">
                  <c:v>9.1</c:v>
                </c:pt>
                <c:pt idx="6563">
                  <c:v>8.9</c:v>
                </c:pt>
                <c:pt idx="6564">
                  <c:v>8</c:v>
                </c:pt>
                <c:pt idx="6565">
                  <c:v>6.8</c:v>
                </c:pt>
                <c:pt idx="6566">
                  <c:v>10.3</c:v>
                </c:pt>
                <c:pt idx="6567">
                  <c:v>5.8</c:v>
                </c:pt>
                <c:pt idx="6568">
                  <c:v>10.1</c:v>
                </c:pt>
                <c:pt idx="6569">
                  <c:v>9</c:v>
                </c:pt>
                <c:pt idx="6570">
                  <c:v>4.9000000000000004</c:v>
                </c:pt>
                <c:pt idx="6571">
                  <c:v>6.1</c:v>
                </c:pt>
                <c:pt idx="6572">
                  <c:v>7.5</c:v>
                </c:pt>
                <c:pt idx="6573">
                  <c:v>6.3</c:v>
                </c:pt>
                <c:pt idx="6574">
                  <c:v>11.4</c:v>
                </c:pt>
                <c:pt idx="6575">
                  <c:v>8.6</c:v>
                </c:pt>
                <c:pt idx="6576">
                  <c:v>5.8</c:v>
                </c:pt>
                <c:pt idx="6577">
                  <c:v>5.7</c:v>
                </c:pt>
                <c:pt idx="6578">
                  <c:v>8</c:v>
                </c:pt>
                <c:pt idx="6579">
                  <c:v>7.8</c:v>
                </c:pt>
                <c:pt idx="6580">
                  <c:v>10.199999999999999</c:v>
                </c:pt>
                <c:pt idx="6581">
                  <c:v>11.9</c:v>
                </c:pt>
                <c:pt idx="6582">
                  <c:v>7.7</c:v>
                </c:pt>
                <c:pt idx="6583">
                  <c:v>10.3</c:v>
                </c:pt>
                <c:pt idx="6584">
                  <c:v>5.8</c:v>
                </c:pt>
                <c:pt idx="6585">
                  <c:v>5.7</c:v>
                </c:pt>
                <c:pt idx="6586">
                  <c:v>10.3</c:v>
                </c:pt>
                <c:pt idx="6587">
                  <c:v>4.8</c:v>
                </c:pt>
                <c:pt idx="6588">
                  <c:v>12.6</c:v>
                </c:pt>
                <c:pt idx="6589">
                  <c:v>13.8</c:v>
                </c:pt>
                <c:pt idx="6590">
                  <c:v>7.8</c:v>
                </c:pt>
                <c:pt idx="6591">
                  <c:v>4.8</c:v>
                </c:pt>
                <c:pt idx="6592">
                  <c:v>7.3</c:v>
                </c:pt>
                <c:pt idx="6593">
                  <c:v>9.6999999999999993</c:v>
                </c:pt>
                <c:pt idx="6594">
                  <c:v>10.5</c:v>
                </c:pt>
                <c:pt idx="6595">
                  <c:v>6.9</c:v>
                </c:pt>
                <c:pt idx="6596">
                  <c:v>7.4</c:v>
                </c:pt>
                <c:pt idx="6597">
                  <c:v>8.8000000000000007</c:v>
                </c:pt>
                <c:pt idx="6598">
                  <c:v>10.6</c:v>
                </c:pt>
                <c:pt idx="6599">
                  <c:v>7.2</c:v>
                </c:pt>
                <c:pt idx="6600">
                  <c:v>10.9</c:v>
                </c:pt>
                <c:pt idx="6601">
                  <c:v>9.8000000000000007</c:v>
                </c:pt>
                <c:pt idx="6602">
                  <c:v>8.1</c:v>
                </c:pt>
                <c:pt idx="6603">
                  <c:v>7.5</c:v>
                </c:pt>
                <c:pt idx="6604">
                  <c:v>6.1</c:v>
                </c:pt>
                <c:pt idx="6605">
                  <c:v>1.7</c:v>
                </c:pt>
                <c:pt idx="6606">
                  <c:v>11.6</c:v>
                </c:pt>
                <c:pt idx="6607">
                  <c:v>8.1</c:v>
                </c:pt>
                <c:pt idx="6608">
                  <c:v>9.1999999999999993</c:v>
                </c:pt>
                <c:pt idx="6609">
                  <c:v>9.4</c:v>
                </c:pt>
                <c:pt idx="6610">
                  <c:v>9.1</c:v>
                </c:pt>
                <c:pt idx="6611">
                  <c:v>13.2</c:v>
                </c:pt>
                <c:pt idx="6612">
                  <c:v>6.3</c:v>
                </c:pt>
                <c:pt idx="6613">
                  <c:v>1.5</c:v>
                </c:pt>
                <c:pt idx="6614">
                  <c:v>11.3</c:v>
                </c:pt>
                <c:pt idx="6615">
                  <c:v>9</c:v>
                </c:pt>
                <c:pt idx="6616">
                  <c:v>4.4000000000000004</c:v>
                </c:pt>
                <c:pt idx="6617">
                  <c:v>7.1</c:v>
                </c:pt>
                <c:pt idx="6618">
                  <c:v>8.1999999999999993</c:v>
                </c:pt>
                <c:pt idx="6619">
                  <c:v>4.5999999999999996</c:v>
                </c:pt>
                <c:pt idx="6620">
                  <c:v>3.9</c:v>
                </c:pt>
                <c:pt idx="6621">
                  <c:v>10.4</c:v>
                </c:pt>
                <c:pt idx="6622">
                  <c:v>7.4</c:v>
                </c:pt>
                <c:pt idx="6623">
                  <c:v>8.1999999999999993</c:v>
                </c:pt>
                <c:pt idx="6624">
                  <c:v>9.4</c:v>
                </c:pt>
                <c:pt idx="6625">
                  <c:v>15.6</c:v>
                </c:pt>
                <c:pt idx="6626">
                  <c:v>13.7</c:v>
                </c:pt>
                <c:pt idx="6627">
                  <c:v>10.1</c:v>
                </c:pt>
                <c:pt idx="6628">
                  <c:v>8.8000000000000007</c:v>
                </c:pt>
                <c:pt idx="6629">
                  <c:v>3.3</c:v>
                </c:pt>
                <c:pt idx="6630">
                  <c:v>11.2</c:v>
                </c:pt>
                <c:pt idx="6631">
                  <c:v>7.8</c:v>
                </c:pt>
                <c:pt idx="6632">
                  <c:v>4.5999999999999996</c:v>
                </c:pt>
                <c:pt idx="6633">
                  <c:v>1.2</c:v>
                </c:pt>
                <c:pt idx="6634">
                  <c:v>9.1</c:v>
                </c:pt>
                <c:pt idx="6635">
                  <c:v>8.9</c:v>
                </c:pt>
                <c:pt idx="6636">
                  <c:v>10.7</c:v>
                </c:pt>
                <c:pt idx="6637">
                  <c:v>6.3</c:v>
                </c:pt>
                <c:pt idx="6638">
                  <c:v>10.4</c:v>
                </c:pt>
                <c:pt idx="6639">
                  <c:v>7</c:v>
                </c:pt>
                <c:pt idx="6640">
                  <c:v>8.9</c:v>
                </c:pt>
                <c:pt idx="6641">
                  <c:v>10.7</c:v>
                </c:pt>
                <c:pt idx="6642">
                  <c:v>6.4</c:v>
                </c:pt>
                <c:pt idx="6643">
                  <c:v>9.1999999999999993</c:v>
                </c:pt>
                <c:pt idx="6644">
                  <c:v>4</c:v>
                </c:pt>
                <c:pt idx="6645">
                  <c:v>6.4</c:v>
                </c:pt>
                <c:pt idx="6646">
                  <c:v>5.5</c:v>
                </c:pt>
                <c:pt idx="6647">
                  <c:v>7</c:v>
                </c:pt>
                <c:pt idx="6648">
                  <c:v>11.9</c:v>
                </c:pt>
                <c:pt idx="6649">
                  <c:v>3.5</c:v>
                </c:pt>
                <c:pt idx="6650">
                  <c:v>5.6</c:v>
                </c:pt>
                <c:pt idx="6651">
                  <c:v>6.8</c:v>
                </c:pt>
                <c:pt idx="6652">
                  <c:v>7.5</c:v>
                </c:pt>
                <c:pt idx="6653">
                  <c:v>5.9</c:v>
                </c:pt>
                <c:pt idx="6654">
                  <c:v>5.8</c:v>
                </c:pt>
                <c:pt idx="6655">
                  <c:v>6.6</c:v>
                </c:pt>
                <c:pt idx="6656">
                  <c:v>8.6999999999999993</c:v>
                </c:pt>
                <c:pt idx="6657">
                  <c:v>9.6</c:v>
                </c:pt>
                <c:pt idx="6658">
                  <c:v>6.9</c:v>
                </c:pt>
                <c:pt idx="6659">
                  <c:v>7.7</c:v>
                </c:pt>
                <c:pt idx="6660">
                  <c:v>6.1</c:v>
                </c:pt>
                <c:pt idx="6661">
                  <c:v>6.2</c:v>
                </c:pt>
                <c:pt idx="6662">
                  <c:v>7.2</c:v>
                </c:pt>
                <c:pt idx="6663">
                  <c:v>6.5</c:v>
                </c:pt>
                <c:pt idx="6664">
                  <c:v>7.1</c:v>
                </c:pt>
                <c:pt idx="6665">
                  <c:v>11.8</c:v>
                </c:pt>
                <c:pt idx="6666">
                  <c:v>10.1</c:v>
                </c:pt>
                <c:pt idx="6667">
                  <c:v>5.3</c:v>
                </c:pt>
                <c:pt idx="6668">
                  <c:v>8.6</c:v>
                </c:pt>
                <c:pt idx="6669">
                  <c:v>11.1</c:v>
                </c:pt>
                <c:pt idx="6670">
                  <c:v>6.9</c:v>
                </c:pt>
                <c:pt idx="6671">
                  <c:v>10.9</c:v>
                </c:pt>
                <c:pt idx="6672">
                  <c:v>7.6</c:v>
                </c:pt>
                <c:pt idx="6673">
                  <c:v>16.2</c:v>
                </c:pt>
                <c:pt idx="6674">
                  <c:v>8.8000000000000007</c:v>
                </c:pt>
                <c:pt idx="6675">
                  <c:v>2</c:v>
                </c:pt>
                <c:pt idx="6676">
                  <c:v>7.9</c:v>
                </c:pt>
                <c:pt idx="6677">
                  <c:v>9.9</c:v>
                </c:pt>
                <c:pt idx="6678">
                  <c:v>9.8000000000000007</c:v>
                </c:pt>
                <c:pt idx="6679">
                  <c:v>10.1</c:v>
                </c:pt>
                <c:pt idx="6680">
                  <c:v>7.9</c:v>
                </c:pt>
                <c:pt idx="6681">
                  <c:v>1.7</c:v>
                </c:pt>
                <c:pt idx="6682">
                  <c:v>7.2</c:v>
                </c:pt>
                <c:pt idx="6683">
                  <c:v>4</c:v>
                </c:pt>
                <c:pt idx="6684">
                  <c:v>9.9</c:v>
                </c:pt>
                <c:pt idx="6685">
                  <c:v>8</c:v>
                </c:pt>
                <c:pt idx="6686">
                  <c:v>4.9000000000000004</c:v>
                </c:pt>
                <c:pt idx="6687">
                  <c:v>8.1999999999999993</c:v>
                </c:pt>
                <c:pt idx="6688">
                  <c:v>5.6</c:v>
                </c:pt>
                <c:pt idx="6689">
                  <c:v>3.9</c:v>
                </c:pt>
                <c:pt idx="6690">
                  <c:v>9.1999999999999993</c:v>
                </c:pt>
                <c:pt idx="6691">
                  <c:v>5.8</c:v>
                </c:pt>
                <c:pt idx="6692">
                  <c:v>6.6</c:v>
                </c:pt>
                <c:pt idx="6693">
                  <c:v>7.6</c:v>
                </c:pt>
                <c:pt idx="6694">
                  <c:v>7.6</c:v>
                </c:pt>
                <c:pt idx="6695">
                  <c:v>8.8000000000000007</c:v>
                </c:pt>
                <c:pt idx="6696">
                  <c:v>7.3</c:v>
                </c:pt>
                <c:pt idx="6697">
                  <c:v>7.5</c:v>
                </c:pt>
                <c:pt idx="6698">
                  <c:v>7.7</c:v>
                </c:pt>
                <c:pt idx="6699">
                  <c:v>11.3</c:v>
                </c:pt>
                <c:pt idx="6700">
                  <c:v>10</c:v>
                </c:pt>
                <c:pt idx="6701">
                  <c:v>8.6999999999999993</c:v>
                </c:pt>
                <c:pt idx="6702">
                  <c:v>8</c:v>
                </c:pt>
                <c:pt idx="6703">
                  <c:v>6</c:v>
                </c:pt>
                <c:pt idx="6704">
                  <c:v>4.3</c:v>
                </c:pt>
                <c:pt idx="6705">
                  <c:v>9.3000000000000007</c:v>
                </c:pt>
                <c:pt idx="6706">
                  <c:v>12.4</c:v>
                </c:pt>
                <c:pt idx="6707">
                  <c:v>7.1</c:v>
                </c:pt>
                <c:pt idx="6708">
                  <c:v>5.8</c:v>
                </c:pt>
                <c:pt idx="6709">
                  <c:v>12</c:v>
                </c:pt>
                <c:pt idx="6710">
                  <c:v>7.7</c:v>
                </c:pt>
                <c:pt idx="6711">
                  <c:v>4.3</c:v>
                </c:pt>
                <c:pt idx="6712">
                  <c:v>4.0999999999999996</c:v>
                </c:pt>
                <c:pt idx="6713">
                  <c:v>2.4</c:v>
                </c:pt>
                <c:pt idx="6714">
                  <c:v>6.4</c:v>
                </c:pt>
                <c:pt idx="6715">
                  <c:v>10.5</c:v>
                </c:pt>
                <c:pt idx="6716">
                  <c:v>2.2000000000000002</c:v>
                </c:pt>
                <c:pt idx="6717">
                  <c:v>5.6</c:v>
                </c:pt>
                <c:pt idx="6718">
                  <c:v>11.4</c:v>
                </c:pt>
                <c:pt idx="6719">
                  <c:v>4.2</c:v>
                </c:pt>
                <c:pt idx="6720">
                  <c:v>8.4</c:v>
                </c:pt>
                <c:pt idx="6721">
                  <c:v>8.1</c:v>
                </c:pt>
                <c:pt idx="6722">
                  <c:v>10.1</c:v>
                </c:pt>
                <c:pt idx="6723">
                  <c:v>8.6999999999999993</c:v>
                </c:pt>
                <c:pt idx="6724">
                  <c:v>7.2</c:v>
                </c:pt>
                <c:pt idx="6725">
                  <c:v>11.4</c:v>
                </c:pt>
                <c:pt idx="6726">
                  <c:v>5.5</c:v>
                </c:pt>
                <c:pt idx="6727">
                  <c:v>14.2</c:v>
                </c:pt>
                <c:pt idx="6728">
                  <c:v>11.3</c:v>
                </c:pt>
                <c:pt idx="6729">
                  <c:v>7.8</c:v>
                </c:pt>
                <c:pt idx="6730">
                  <c:v>5.7</c:v>
                </c:pt>
                <c:pt idx="6731">
                  <c:v>8.1999999999999993</c:v>
                </c:pt>
                <c:pt idx="6732">
                  <c:v>5.2</c:v>
                </c:pt>
                <c:pt idx="6733">
                  <c:v>10.5</c:v>
                </c:pt>
                <c:pt idx="6734">
                  <c:v>13.1</c:v>
                </c:pt>
                <c:pt idx="6735">
                  <c:v>6.4</c:v>
                </c:pt>
                <c:pt idx="6736">
                  <c:v>7.6</c:v>
                </c:pt>
                <c:pt idx="6737">
                  <c:v>10.4</c:v>
                </c:pt>
                <c:pt idx="6738">
                  <c:v>9.4</c:v>
                </c:pt>
                <c:pt idx="6739">
                  <c:v>6.7</c:v>
                </c:pt>
                <c:pt idx="6740">
                  <c:v>7.9</c:v>
                </c:pt>
                <c:pt idx="6741">
                  <c:v>1.6</c:v>
                </c:pt>
                <c:pt idx="6742">
                  <c:v>14.5</c:v>
                </c:pt>
                <c:pt idx="6743">
                  <c:v>6.4</c:v>
                </c:pt>
                <c:pt idx="6744">
                  <c:v>3.7</c:v>
                </c:pt>
                <c:pt idx="6745">
                  <c:v>5.5</c:v>
                </c:pt>
                <c:pt idx="6746">
                  <c:v>12.8</c:v>
                </c:pt>
                <c:pt idx="6747">
                  <c:v>7.2</c:v>
                </c:pt>
                <c:pt idx="6748">
                  <c:v>7.6</c:v>
                </c:pt>
                <c:pt idx="6749">
                  <c:v>14.4</c:v>
                </c:pt>
                <c:pt idx="6750">
                  <c:v>9.9</c:v>
                </c:pt>
                <c:pt idx="6751">
                  <c:v>9.4</c:v>
                </c:pt>
                <c:pt idx="6752">
                  <c:v>8.8000000000000007</c:v>
                </c:pt>
                <c:pt idx="6753">
                  <c:v>7.3</c:v>
                </c:pt>
                <c:pt idx="6754">
                  <c:v>6.8</c:v>
                </c:pt>
                <c:pt idx="6755">
                  <c:v>5.7</c:v>
                </c:pt>
                <c:pt idx="6756">
                  <c:v>5.6</c:v>
                </c:pt>
                <c:pt idx="6757">
                  <c:v>4.2</c:v>
                </c:pt>
                <c:pt idx="6758">
                  <c:v>3.3</c:v>
                </c:pt>
                <c:pt idx="6759">
                  <c:v>3.2</c:v>
                </c:pt>
                <c:pt idx="6760">
                  <c:v>9.6</c:v>
                </c:pt>
                <c:pt idx="6761">
                  <c:v>3.5</c:v>
                </c:pt>
                <c:pt idx="6762">
                  <c:v>9.9</c:v>
                </c:pt>
                <c:pt idx="6763">
                  <c:v>8.1999999999999993</c:v>
                </c:pt>
                <c:pt idx="6764">
                  <c:v>8.8000000000000007</c:v>
                </c:pt>
                <c:pt idx="6765">
                  <c:v>12</c:v>
                </c:pt>
                <c:pt idx="6766">
                  <c:v>4.7</c:v>
                </c:pt>
                <c:pt idx="6767">
                  <c:v>5.7</c:v>
                </c:pt>
                <c:pt idx="6768">
                  <c:v>3.5</c:v>
                </c:pt>
                <c:pt idx="6769">
                  <c:v>14.8</c:v>
                </c:pt>
                <c:pt idx="6770">
                  <c:v>8.6</c:v>
                </c:pt>
                <c:pt idx="6771">
                  <c:v>9</c:v>
                </c:pt>
                <c:pt idx="6772">
                  <c:v>6.7</c:v>
                </c:pt>
                <c:pt idx="6773">
                  <c:v>8.1999999999999993</c:v>
                </c:pt>
                <c:pt idx="6774">
                  <c:v>10.5</c:v>
                </c:pt>
                <c:pt idx="6775">
                  <c:v>10.199999999999999</c:v>
                </c:pt>
                <c:pt idx="6776">
                  <c:v>7.4</c:v>
                </c:pt>
                <c:pt idx="6777">
                  <c:v>7.3</c:v>
                </c:pt>
                <c:pt idx="6778">
                  <c:v>10.3</c:v>
                </c:pt>
                <c:pt idx="6779">
                  <c:v>9.1999999999999993</c:v>
                </c:pt>
                <c:pt idx="6780">
                  <c:v>16.600000000000001</c:v>
                </c:pt>
                <c:pt idx="6781">
                  <c:v>7.2</c:v>
                </c:pt>
                <c:pt idx="6782">
                  <c:v>7.7</c:v>
                </c:pt>
                <c:pt idx="6783">
                  <c:v>7.6</c:v>
                </c:pt>
                <c:pt idx="6784">
                  <c:v>9.5</c:v>
                </c:pt>
                <c:pt idx="6785">
                  <c:v>6.4</c:v>
                </c:pt>
                <c:pt idx="6786">
                  <c:v>6.4</c:v>
                </c:pt>
                <c:pt idx="6787">
                  <c:v>6.4</c:v>
                </c:pt>
                <c:pt idx="6788">
                  <c:v>8.1</c:v>
                </c:pt>
                <c:pt idx="6789">
                  <c:v>15.1</c:v>
                </c:pt>
                <c:pt idx="6790">
                  <c:v>11.9</c:v>
                </c:pt>
                <c:pt idx="6791">
                  <c:v>8.3000000000000007</c:v>
                </c:pt>
                <c:pt idx="6792">
                  <c:v>8.3000000000000007</c:v>
                </c:pt>
                <c:pt idx="6793">
                  <c:v>4.8</c:v>
                </c:pt>
                <c:pt idx="6794">
                  <c:v>2.2000000000000002</c:v>
                </c:pt>
                <c:pt idx="6795">
                  <c:v>12.5</c:v>
                </c:pt>
                <c:pt idx="6796">
                  <c:v>9.1999999999999993</c:v>
                </c:pt>
                <c:pt idx="6797">
                  <c:v>9.1</c:v>
                </c:pt>
                <c:pt idx="6798">
                  <c:v>8.5</c:v>
                </c:pt>
                <c:pt idx="6799">
                  <c:v>2</c:v>
                </c:pt>
                <c:pt idx="6800">
                  <c:v>7.3</c:v>
                </c:pt>
                <c:pt idx="6801">
                  <c:v>8.1</c:v>
                </c:pt>
                <c:pt idx="6802">
                  <c:v>9.1</c:v>
                </c:pt>
                <c:pt idx="6803">
                  <c:v>9</c:v>
                </c:pt>
                <c:pt idx="6804">
                  <c:v>3.8</c:v>
                </c:pt>
                <c:pt idx="6805">
                  <c:v>13.2</c:v>
                </c:pt>
                <c:pt idx="6806">
                  <c:v>9</c:v>
                </c:pt>
                <c:pt idx="6807">
                  <c:v>13.4</c:v>
                </c:pt>
                <c:pt idx="6808">
                  <c:v>9.5</c:v>
                </c:pt>
                <c:pt idx="6809">
                  <c:v>6.4</c:v>
                </c:pt>
                <c:pt idx="6810">
                  <c:v>8.9</c:v>
                </c:pt>
                <c:pt idx="6811">
                  <c:v>6.8</c:v>
                </c:pt>
                <c:pt idx="6812">
                  <c:v>11.9</c:v>
                </c:pt>
                <c:pt idx="6813">
                  <c:v>11.5</c:v>
                </c:pt>
                <c:pt idx="6814">
                  <c:v>6.5</c:v>
                </c:pt>
                <c:pt idx="6815">
                  <c:v>5</c:v>
                </c:pt>
                <c:pt idx="6816">
                  <c:v>10.1</c:v>
                </c:pt>
                <c:pt idx="6817">
                  <c:v>9.9</c:v>
                </c:pt>
                <c:pt idx="6818">
                  <c:v>7.7</c:v>
                </c:pt>
                <c:pt idx="6819">
                  <c:v>4.2</c:v>
                </c:pt>
                <c:pt idx="6820">
                  <c:v>4.5</c:v>
                </c:pt>
                <c:pt idx="6821">
                  <c:v>5.8</c:v>
                </c:pt>
                <c:pt idx="6822">
                  <c:v>10.8</c:v>
                </c:pt>
                <c:pt idx="6823">
                  <c:v>4.9000000000000004</c:v>
                </c:pt>
                <c:pt idx="6824">
                  <c:v>10.1</c:v>
                </c:pt>
                <c:pt idx="6825">
                  <c:v>9.6</c:v>
                </c:pt>
                <c:pt idx="6826">
                  <c:v>8.6</c:v>
                </c:pt>
                <c:pt idx="6827">
                  <c:v>6.2</c:v>
                </c:pt>
                <c:pt idx="6828">
                  <c:v>10.3</c:v>
                </c:pt>
                <c:pt idx="6829">
                  <c:v>5.3</c:v>
                </c:pt>
                <c:pt idx="6830">
                  <c:v>11.5</c:v>
                </c:pt>
                <c:pt idx="6831">
                  <c:v>3.7</c:v>
                </c:pt>
                <c:pt idx="6832">
                  <c:v>10.8</c:v>
                </c:pt>
                <c:pt idx="6833">
                  <c:v>4.5999999999999996</c:v>
                </c:pt>
                <c:pt idx="6834">
                  <c:v>8.6999999999999993</c:v>
                </c:pt>
                <c:pt idx="6835">
                  <c:v>6.2</c:v>
                </c:pt>
                <c:pt idx="6836">
                  <c:v>4.9000000000000004</c:v>
                </c:pt>
                <c:pt idx="6837">
                  <c:v>8.6</c:v>
                </c:pt>
                <c:pt idx="6838">
                  <c:v>8.3000000000000007</c:v>
                </c:pt>
                <c:pt idx="6839">
                  <c:v>6.5</c:v>
                </c:pt>
                <c:pt idx="6840">
                  <c:v>3.9</c:v>
                </c:pt>
                <c:pt idx="6841">
                  <c:v>11.8</c:v>
                </c:pt>
                <c:pt idx="6842">
                  <c:v>11.2</c:v>
                </c:pt>
                <c:pt idx="6843">
                  <c:v>9.9</c:v>
                </c:pt>
                <c:pt idx="6844">
                  <c:v>5</c:v>
                </c:pt>
                <c:pt idx="6845">
                  <c:v>9.9</c:v>
                </c:pt>
                <c:pt idx="6846">
                  <c:v>8.4</c:v>
                </c:pt>
                <c:pt idx="6847">
                  <c:v>0.4</c:v>
                </c:pt>
                <c:pt idx="6848">
                  <c:v>7.4</c:v>
                </c:pt>
                <c:pt idx="6849">
                  <c:v>7.1</c:v>
                </c:pt>
                <c:pt idx="6850">
                  <c:v>9.8000000000000007</c:v>
                </c:pt>
                <c:pt idx="6851">
                  <c:v>7.2</c:v>
                </c:pt>
                <c:pt idx="6852">
                  <c:v>6.7</c:v>
                </c:pt>
                <c:pt idx="6853">
                  <c:v>5</c:v>
                </c:pt>
                <c:pt idx="6854">
                  <c:v>7.3</c:v>
                </c:pt>
                <c:pt idx="6855">
                  <c:v>7.8</c:v>
                </c:pt>
                <c:pt idx="6856">
                  <c:v>1.2</c:v>
                </c:pt>
                <c:pt idx="6857">
                  <c:v>7.4</c:v>
                </c:pt>
                <c:pt idx="6858">
                  <c:v>5</c:v>
                </c:pt>
                <c:pt idx="6859">
                  <c:v>7.9</c:v>
                </c:pt>
                <c:pt idx="6860">
                  <c:v>8.9</c:v>
                </c:pt>
                <c:pt idx="6861">
                  <c:v>5.8</c:v>
                </c:pt>
                <c:pt idx="6862">
                  <c:v>11.4</c:v>
                </c:pt>
                <c:pt idx="6863">
                  <c:v>7.4</c:v>
                </c:pt>
                <c:pt idx="6864">
                  <c:v>7.5</c:v>
                </c:pt>
                <c:pt idx="6865">
                  <c:v>7.3</c:v>
                </c:pt>
                <c:pt idx="6866">
                  <c:v>4.3</c:v>
                </c:pt>
                <c:pt idx="6867">
                  <c:v>6</c:v>
                </c:pt>
                <c:pt idx="6868">
                  <c:v>3.7</c:v>
                </c:pt>
                <c:pt idx="6869">
                  <c:v>7.9</c:v>
                </c:pt>
                <c:pt idx="6870">
                  <c:v>6.7</c:v>
                </c:pt>
                <c:pt idx="6871">
                  <c:v>7.1</c:v>
                </c:pt>
                <c:pt idx="6872">
                  <c:v>6.9</c:v>
                </c:pt>
                <c:pt idx="6873">
                  <c:v>4.3</c:v>
                </c:pt>
                <c:pt idx="6874">
                  <c:v>6.4</c:v>
                </c:pt>
                <c:pt idx="6875">
                  <c:v>8.3000000000000007</c:v>
                </c:pt>
                <c:pt idx="6876">
                  <c:v>7.5</c:v>
                </c:pt>
                <c:pt idx="6877">
                  <c:v>7.9</c:v>
                </c:pt>
                <c:pt idx="6878">
                  <c:v>8</c:v>
                </c:pt>
                <c:pt idx="6879">
                  <c:v>5.5</c:v>
                </c:pt>
                <c:pt idx="6880">
                  <c:v>6.7</c:v>
                </c:pt>
                <c:pt idx="6881">
                  <c:v>9.1999999999999993</c:v>
                </c:pt>
                <c:pt idx="6882">
                  <c:v>9.1999999999999993</c:v>
                </c:pt>
                <c:pt idx="6883">
                  <c:v>6.5</c:v>
                </c:pt>
                <c:pt idx="6884">
                  <c:v>8.3000000000000007</c:v>
                </c:pt>
                <c:pt idx="6885">
                  <c:v>5.9</c:v>
                </c:pt>
                <c:pt idx="6886">
                  <c:v>9.6</c:v>
                </c:pt>
                <c:pt idx="6887">
                  <c:v>5.9</c:v>
                </c:pt>
                <c:pt idx="6888">
                  <c:v>10.8</c:v>
                </c:pt>
                <c:pt idx="6889">
                  <c:v>5.6</c:v>
                </c:pt>
                <c:pt idx="6890">
                  <c:v>5.6</c:v>
                </c:pt>
                <c:pt idx="6891">
                  <c:v>8</c:v>
                </c:pt>
                <c:pt idx="6892">
                  <c:v>8.1999999999999993</c:v>
                </c:pt>
                <c:pt idx="6893">
                  <c:v>6.5</c:v>
                </c:pt>
                <c:pt idx="6894">
                  <c:v>6.1</c:v>
                </c:pt>
                <c:pt idx="6895">
                  <c:v>5.6</c:v>
                </c:pt>
                <c:pt idx="6896">
                  <c:v>6.6</c:v>
                </c:pt>
                <c:pt idx="6897">
                  <c:v>10.5</c:v>
                </c:pt>
                <c:pt idx="6898">
                  <c:v>11.3</c:v>
                </c:pt>
                <c:pt idx="6899">
                  <c:v>9.5</c:v>
                </c:pt>
                <c:pt idx="6900">
                  <c:v>8.9</c:v>
                </c:pt>
                <c:pt idx="6901">
                  <c:v>6.7</c:v>
                </c:pt>
                <c:pt idx="6902">
                  <c:v>6.3</c:v>
                </c:pt>
                <c:pt idx="6903">
                  <c:v>10.8</c:v>
                </c:pt>
                <c:pt idx="6904">
                  <c:v>7.2</c:v>
                </c:pt>
                <c:pt idx="6905">
                  <c:v>1.2</c:v>
                </c:pt>
                <c:pt idx="6906">
                  <c:v>9</c:v>
                </c:pt>
                <c:pt idx="6907">
                  <c:v>7</c:v>
                </c:pt>
                <c:pt idx="6908">
                  <c:v>8.3000000000000007</c:v>
                </c:pt>
                <c:pt idx="6909">
                  <c:v>9.4</c:v>
                </c:pt>
                <c:pt idx="6910">
                  <c:v>10.9</c:v>
                </c:pt>
                <c:pt idx="6911">
                  <c:v>9.6999999999999993</c:v>
                </c:pt>
                <c:pt idx="6912">
                  <c:v>6.3</c:v>
                </c:pt>
                <c:pt idx="6913">
                  <c:v>10.7</c:v>
                </c:pt>
                <c:pt idx="6914">
                  <c:v>8.1</c:v>
                </c:pt>
                <c:pt idx="6915">
                  <c:v>8.6</c:v>
                </c:pt>
                <c:pt idx="6916">
                  <c:v>5.6</c:v>
                </c:pt>
                <c:pt idx="6917">
                  <c:v>8.6</c:v>
                </c:pt>
                <c:pt idx="6918">
                  <c:v>8.1999999999999993</c:v>
                </c:pt>
                <c:pt idx="6919">
                  <c:v>6.5</c:v>
                </c:pt>
                <c:pt idx="6920">
                  <c:v>6.9</c:v>
                </c:pt>
                <c:pt idx="6921">
                  <c:v>8.6999999999999993</c:v>
                </c:pt>
                <c:pt idx="6922">
                  <c:v>7.6</c:v>
                </c:pt>
                <c:pt idx="6923">
                  <c:v>4.9000000000000004</c:v>
                </c:pt>
                <c:pt idx="6924">
                  <c:v>10.5</c:v>
                </c:pt>
                <c:pt idx="6925">
                  <c:v>5.8</c:v>
                </c:pt>
                <c:pt idx="6926">
                  <c:v>3.5</c:v>
                </c:pt>
                <c:pt idx="6927">
                  <c:v>5.8</c:v>
                </c:pt>
                <c:pt idx="6928">
                  <c:v>11.9</c:v>
                </c:pt>
                <c:pt idx="6929">
                  <c:v>9.1</c:v>
                </c:pt>
                <c:pt idx="6930">
                  <c:v>8.6999999999999993</c:v>
                </c:pt>
                <c:pt idx="6931">
                  <c:v>5.9</c:v>
                </c:pt>
                <c:pt idx="6932">
                  <c:v>8.8000000000000007</c:v>
                </c:pt>
                <c:pt idx="6933">
                  <c:v>8.5</c:v>
                </c:pt>
                <c:pt idx="6934">
                  <c:v>5.5</c:v>
                </c:pt>
                <c:pt idx="6935">
                  <c:v>7.4</c:v>
                </c:pt>
                <c:pt idx="6936">
                  <c:v>4.3</c:v>
                </c:pt>
                <c:pt idx="6937">
                  <c:v>1.8</c:v>
                </c:pt>
                <c:pt idx="6938">
                  <c:v>2.2000000000000002</c:v>
                </c:pt>
                <c:pt idx="6939">
                  <c:v>5.6</c:v>
                </c:pt>
                <c:pt idx="6940">
                  <c:v>12.2</c:v>
                </c:pt>
                <c:pt idx="6941">
                  <c:v>8.6999999999999993</c:v>
                </c:pt>
                <c:pt idx="6942">
                  <c:v>7.9</c:v>
                </c:pt>
                <c:pt idx="6943">
                  <c:v>7.7</c:v>
                </c:pt>
                <c:pt idx="6944">
                  <c:v>6.6</c:v>
                </c:pt>
                <c:pt idx="6945">
                  <c:v>4.5</c:v>
                </c:pt>
                <c:pt idx="6946">
                  <c:v>11</c:v>
                </c:pt>
                <c:pt idx="6947">
                  <c:v>7.8</c:v>
                </c:pt>
                <c:pt idx="6948">
                  <c:v>8.1</c:v>
                </c:pt>
                <c:pt idx="6949">
                  <c:v>8.6</c:v>
                </c:pt>
                <c:pt idx="6950">
                  <c:v>1.7</c:v>
                </c:pt>
                <c:pt idx="6951">
                  <c:v>3.8</c:v>
                </c:pt>
                <c:pt idx="6952">
                  <c:v>10.8</c:v>
                </c:pt>
                <c:pt idx="6953">
                  <c:v>12</c:v>
                </c:pt>
                <c:pt idx="6954">
                  <c:v>6.5</c:v>
                </c:pt>
                <c:pt idx="6955">
                  <c:v>7.5</c:v>
                </c:pt>
                <c:pt idx="6956">
                  <c:v>9.9</c:v>
                </c:pt>
                <c:pt idx="6957">
                  <c:v>4.8</c:v>
                </c:pt>
                <c:pt idx="6958">
                  <c:v>3.9</c:v>
                </c:pt>
                <c:pt idx="6959">
                  <c:v>7.2</c:v>
                </c:pt>
                <c:pt idx="6960">
                  <c:v>6.7</c:v>
                </c:pt>
                <c:pt idx="6961">
                  <c:v>2.6</c:v>
                </c:pt>
                <c:pt idx="6962">
                  <c:v>8.3000000000000007</c:v>
                </c:pt>
                <c:pt idx="6963">
                  <c:v>9.1999999999999993</c:v>
                </c:pt>
                <c:pt idx="6964">
                  <c:v>6.9</c:v>
                </c:pt>
                <c:pt idx="6965">
                  <c:v>1.7</c:v>
                </c:pt>
                <c:pt idx="6966">
                  <c:v>7.7</c:v>
                </c:pt>
                <c:pt idx="6967">
                  <c:v>9.8000000000000007</c:v>
                </c:pt>
                <c:pt idx="6968">
                  <c:v>9.1</c:v>
                </c:pt>
                <c:pt idx="6969">
                  <c:v>8.4</c:v>
                </c:pt>
                <c:pt idx="6970">
                  <c:v>10</c:v>
                </c:pt>
                <c:pt idx="6971">
                  <c:v>5.0999999999999996</c:v>
                </c:pt>
                <c:pt idx="6972">
                  <c:v>5.5</c:v>
                </c:pt>
                <c:pt idx="6973">
                  <c:v>8.5</c:v>
                </c:pt>
                <c:pt idx="6974">
                  <c:v>7.3</c:v>
                </c:pt>
                <c:pt idx="6975">
                  <c:v>9.6999999999999993</c:v>
                </c:pt>
                <c:pt idx="6976">
                  <c:v>8.5</c:v>
                </c:pt>
                <c:pt idx="6977">
                  <c:v>6.4</c:v>
                </c:pt>
                <c:pt idx="6978">
                  <c:v>10.8</c:v>
                </c:pt>
                <c:pt idx="6979">
                  <c:v>11</c:v>
                </c:pt>
                <c:pt idx="6980">
                  <c:v>7.2</c:v>
                </c:pt>
                <c:pt idx="6981">
                  <c:v>1.4</c:v>
                </c:pt>
                <c:pt idx="6982">
                  <c:v>4.8</c:v>
                </c:pt>
                <c:pt idx="6983">
                  <c:v>5.8</c:v>
                </c:pt>
                <c:pt idx="6984">
                  <c:v>7.1</c:v>
                </c:pt>
                <c:pt idx="6985">
                  <c:v>4.5999999999999996</c:v>
                </c:pt>
                <c:pt idx="6986">
                  <c:v>12.6</c:v>
                </c:pt>
                <c:pt idx="6987">
                  <c:v>1.8</c:v>
                </c:pt>
                <c:pt idx="6988">
                  <c:v>7.6</c:v>
                </c:pt>
                <c:pt idx="6989">
                  <c:v>9.1999999999999993</c:v>
                </c:pt>
                <c:pt idx="6990">
                  <c:v>13.4</c:v>
                </c:pt>
                <c:pt idx="6991">
                  <c:v>9.6999999999999993</c:v>
                </c:pt>
                <c:pt idx="6992">
                  <c:v>7.9</c:v>
                </c:pt>
                <c:pt idx="6993">
                  <c:v>8.4</c:v>
                </c:pt>
                <c:pt idx="6994">
                  <c:v>0.7</c:v>
                </c:pt>
                <c:pt idx="6995">
                  <c:v>7.1</c:v>
                </c:pt>
                <c:pt idx="6996">
                  <c:v>9.6999999999999993</c:v>
                </c:pt>
                <c:pt idx="6997">
                  <c:v>6.9</c:v>
                </c:pt>
                <c:pt idx="6998">
                  <c:v>10.4</c:v>
                </c:pt>
                <c:pt idx="6999">
                  <c:v>4.5999999999999996</c:v>
                </c:pt>
                <c:pt idx="7000">
                  <c:v>9.6999999999999993</c:v>
                </c:pt>
                <c:pt idx="7001">
                  <c:v>12.9</c:v>
                </c:pt>
                <c:pt idx="7002">
                  <c:v>7.5</c:v>
                </c:pt>
                <c:pt idx="7003">
                  <c:v>6.3</c:v>
                </c:pt>
                <c:pt idx="7004">
                  <c:v>5.7</c:v>
                </c:pt>
                <c:pt idx="7005">
                  <c:v>11.2</c:v>
                </c:pt>
                <c:pt idx="7006">
                  <c:v>10</c:v>
                </c:pt>
                <c:pt idx="7007">
                  <c:v>8.8000000000000007</c:v>
                </c:pt>
                <c:pt idx="7008">
                  <c:v>6.3</c:v>
                </c:pt>
                <c:pt idx="7009">
                  <c:v>6.2</c:v>
                </c:pt>
                <c:pt idx="7010">
                  <c:v>7.1</c:v>
                </c:pt>
                <c:pt idx="7011">
                  <c:v>11</c:v>
                </c:pt>
                <c:pt idx="7012">
                  <c:v>9.3000000000000007</c:v>
                </c:pt>
                <c:pt idx="7013">
                  <c:v>10</c:v>
                </c:pt>
                <c:pt idx="7014">
                  <c:v>9.6</c:v>
                </c:pt>
                <c:pt idx="7015">
                  <c:v>4</c:v>
                </c:pt>
                <c:pt idx="7016">
                  <c:v>10.4</c:v>
                </c:pt>
                <c:pt idx="7017">
                  <c:v>9.1999999999999993</c:v>
                </c:pt>
                <c:pt idx="7018">
                  <c:v>9.6999999999999993</c:v>
                </c:pt>
                <c:pt idx="7019">
                  <c:v>1.9</c:v>
                </c:pt>
                <c:pt idx="7020">
                  <c:v>8.5</c:v>
                </c:pt>
                <c:pt idx="7021">
                  <c:v>9.1999999999999993</c:v>
                </c:pt>
                <c:pt idx="7022">
                  <c:v>6.7</c:v>
                </c:pt>
                <c:pt idx="7023">
                  <c:v>6.7</c:v>
                </c:pt>
                <c:pt idx="7024">
                  <c:v>10</c:v>
                </c:pt>
                <c:pt idx="7025">
                  <c:v>8.1</c:v>
                </c:pt>
                <c:pt idx="7026">
                  <c:v>8.1999999999999993</c:v>
                </c:pt>
                <c:pt idx="7027">
                  <c:v>1.3</c:v>
                </c:pt>
                <c:pt idx="7028">
                  <c:v>9.1</c:v>
                </c:pt>
                <c:pt idx="7029">
                  <c:v>2.9</c:v>
                </c:pt>
                <c:pt idx="7030">
                  <c:v>9.1999999999999993</c:v>
                </c:pt>
                <c:pt idx="7031">
                  <c:v>8.5</c:v>
                </c:pt>
                <c:pt idx="7032">
                  <c:v>7.7</c:v>
                </c:pt>
                <c:pt idx="7033">
                  <c:v>10.199999999999999</c:v>
                </c:pt>
                <c:pt idx="7034">
                  <c:v>6.9</c:v>
                </c:pt>
                <c:pt idx="7035">
                  <c:v>7.3</c:v>
                </c:pt>
                <c:pt idx="7036">
                  <c:v>7.9</c:v>
                </c:pt>
                <c:pt idx="7037">
                  <c:v>9.9</c:v>
                </c:pt>
                <c:pt idx="7038">
                  <c:v>8.1999999999999993</c:v>
                </c:pt>
                <c:pt idx="7039">
                  <c:v>8</c:v>
                </c:pt>
                <c:pt idx="7040">
                  <c:v>5.8</c:v>
                </c:pt>
                <c:pt idx="7041">
                  <c:v>5.7</c:v>
                </c:pt>
                <c:pt idx="7042">
                  <c:v>5.5</c:v>
                </c:pt>
                <c:pt idx="7043">
                  <c:v>2.9</c:v>
                </c:pt>
                <c:pt idx="7044">
                  <c:v>1.3</c:v>
                </c:pt>
                <c:pt idx="7045">
                  <c:v>10</c:v>
                </c:pt>
                <c:pt idx="7046">
                  <c:v>7.6</c:v>
                </c:pt>
                <c:pt idx="7047">
                  <c:v>7.1</c:v>
                </c:pt>
                <c:pt idx="7048">
                  <c:v>9.9</c:v>
                </c:pt>
                <c:pt idx="7049">
                  <c:v>3.8</c:v>
                </c:pt>
                <c:pt idx="7050">
                  <c:v>6.9</c:v>
                </c:pt>
                <c:pt idx="7051">
                  <c:v>11.6</c:v>
                </c:pt>
                <c:pt idx="7052">
                  <c:v>7.7</c:v>
                </c:pt>
                <c:pt idx="7053">
                  <c:v>7.2</c:v>
                </c:pt>
                <c:pt idx="7054">
                  <c:v>10.3</c:v>
                </c:pt>
                <c:pt idx="7055">
                  <c:v>7.7</c:v>
                </c:pt>
                <c:pt idx="7056">
                  <c:v>7.1</c:v>
                </c:pt>
                <c:pt idx="7057">
                  <c:v>9.1999999999999993</c:v>
                </c:pt>
                <c:pt idx="7058">
                  <c:v>1.2</c:v>
                </c:pt>
                <c:pt idx="7059">
                  <c:v>13.6</c:v>
                </c:pt>
                <c:pt idx="7060">
                  <c:v>4.2</c:v>
                </c:pt>
                <c:pt idx="7061">
                  <c:v>13.8</c:v>
                </c:pt>
                <c:pt idx="7062">
                  <c:v>5.2</c:v>
                </c:pt>
                <c:pt idx="7063">
                  <c:v>1.6</c:v>
                </c:pt>
                <c:pt idx="7064">
                  <c:v>4.3</c:v>
                </c:pt>
                <c:pt idx="7065">
                  <c:v>12.6</c:v>
                </c:pt>
                <c:pt idx="7066">
                  <c:v>5</c:v>
                </c:pt>
                <c:pt idx="7067">
                  <c:v>7.5</c:v>
                </c:pt>
                <c:pt idx="7068">
                  <c:v>4.8</c:v>
                </c:pt>
                <c:pt idx="7069">
                  <c:v>6.7</c:v>
                </c:pt>
                <c:pt idx="7070">
                  <c:v>7.4</c:v>
                </c:pt>
                <c:pt idx="7071">
                  <c:v>3.6</c:v>
                </c:pt>
                <c:pt idx="7072">
                  <c:v>9.6</c:v>
                </c:pt>
                <c:pt idx="7073">
                  <c:v>1</c:v>
                </c:pt>
                <c:pt idx="7074">
                  <c:v>6.8</c:v>
                </c:pt>
                <c:pt idx="7075">
                  <c:v>11.2</c:v>
                </c:pt>
                <c:pt idx="7076">
                  <c:v>2.8</c:v>
                </c:pt>
                <c:pt idx="7077">
                  <c:v>5.9</c:v>
                </c:pt>
                <c:pt idx="7078">
                  <c:v>11.3</c:v>
                </c:pt>
                <c:pt idx="7079">
                  <c:v>10.6</c:v>
                </c:pt>
                <c:pt idx="7080">
                  <c:v>3</c:v>
                </c:pt>
                <c:pt idx="7081">
                  <c:v>7.9</c:v>
                </c:pt>
                <c:pt idx="7082">
                  <c:v>1.1000000000000001</c:v>
                </c:pt>
                <c:pt idx="7083">
                  <c:v>3.7</c:v>
                </c:pt>
                <c:pt idx="7084">
                  <c:v>8.3000000000000007</c:v>
                </c:pt>
                <c:pt idx="7085">
                  <c:v>10.6</c:v>
                </c:pt>
                <c:pt idx="7086">
                  <c:v>11.1</c:v>
                </c:pt>
                <c:pt idx="7087">
                  <c:v>8.1</c:v>
                </c:pt>
                <c:pt idx="7088">
                  <c:v>6.5</c:v>
                </c:pt>
                <c:pt idx="7089">
                  <c:v>4.2</c:v>
                </c:pt>
                <c:pt idx="7090">
                  <c:v>4.7</c:v>
                </c:pt>
                <c:pt idx="7091">
                  <c:v>6.4</c:v>
                </c:pt>
                <c:pt idx="7092">
                  <c:v>9.9</c:v>
                </c:pt>
                <c:pt idx="7093">
                  <c:v>5.9</c:v>
                </c:pt>
                <c:pt idx="7094">
                  <c:v>9.1999999999999993</c:v>
                </c:pt>
                <c:pt idx="7095">
                  <c:v>6.3</c:v>
                </c:pt>
                <c:pt idx="7096">
                  <c:v>8.1999999999999993</c:v>
                </c:pt>
                <c:pt idx="7097">
                  <c:v>6.7</c:v>
                </c:pt>
                <c:pt idx="7098">
                  <c:v>7.9</c:v>
                </c:pt>
                <c:pt idx="7099">
                  <c:v>9.4</c:v>
                </c:pt>
                <c:pt idx="7100">
                  <c:v>5.8</c:v>
                </c:pt>
                <c:pt idx="7101">
                  <c:v>13.1</c:v>
                </c:pt>
                <c:pt idx="7102">
                  <c:v>5.9</c:v>
                </c:pt>
                <c:pt idx="7103">
                  <c:v>11.1</c:v>
                </c:pt>
                <c:pt idx="7104">
                  <c:v>6.1</c:v>
                </c:pt>
                <c:pt idx="7105">
                  <c:v>7.1</c:v>
                </c:pt>
                <c:pt idx="7106">
                  <c:v>4.0999999999999996</c:v>
                </c:pt>
                <c:pt idx="7107">
                  <c:v>9.4</c:v>
                </c:pt>
                <c:pt idx="7108">
                  <c:v>6.6</c:v>
                </c:pt>
                <c:pt idx="7109">
                  <c:v>1</c:v>
                </c:pt>
                <c:pt idx="7110">
                  <c:v>7.6</c:v>
                </c:pt>
                <c:pt idx="7111">
                  <c:v>8.5</c:v>
                </c:pt>
                <c:pt idx="7112">
                  <c:v>7.4</c:v>
                </c:pt>
                <c:pt idx="7113">
                  <c:v>1.1000000000000001</c:v>
                </c:pt>
                <c:pt idx="7114">
                  <c:v>10</c:v>
                </c:pt>
                <c:pt idx="7115">
                  <c:v>12.1</c:v>
                </c:pt>
                <c:pt idx="7116">
                  <c:v>11.6</c:v>
                </c:pt>
                <c:pt idx="7117">
                  <c:v>7.4</c:v>
                </c:pt>
                <c:pt idx="7118">
                  <c:v>6.6</c:v>
                </c:pt>
                <c:pt idx="7119">
                  <c:v>10.5</c:v>
                </c:pt>
                <c:pt idx="7120">
                  <c:v>10.5</c:v>
                </c:pt>
                <c:pt idx="7121">
                  <c:v>9.9</c:v>
                </c:pt>
                <c:pt idx="7122">
                  <c:v>7.2</c:v>
                </c:pt>
                <c:pt idx="7123">
                  <c:v>3</c:v>
                </c:pt>
                <c:pt idx="7124">
                  <c:v>8</c:v>
                </c:pt>
                <c:pt idx="7125">
                  <c:v>5.6</c:v>
                </c:pt>
                <c:pt idx="7126">
                  <c:v>4.8</c:v>
                </c:pt>
                <c:pt idx="7127">
                  <c:v>7</c:v>
                </c:pt>
                <c:pt idx="7128">
                  <c:v>10.5</c:v>
                </c:pt>
                <c:pt idx="7129">
                  <c:v>7.1</c:v>
                </c:pt>
                <c:pt idx="7130">
                  <c:v>5.6</c:v>
                </c:pt>
                <c:pt idx="7131">
                  <c:v>8.6</c:v>
                </c:pt>
                <c:pt idx="7132">
                  <c:v>8.1</c:v>
                </c:pt>
                <c:pt idx="7133">
                  <c:v>6</c:v>
                </c:pt>
                <c:pt idx="7134">
                  <c:v>1.5</c:v>
                </c:pt>
                <c:pt idx="7135">
                  <c:v>9.6999999999999993</c:v>
                </c:pt>
                <c:pt idx="7136">
                  <c:v>0</c:v>
                </c:pt>
                <c:pt idx="7137">
                  <c:v>9</c:v>
                </c:pt>
                <c:pt idx="7138">
                  <c:v>8.1999999999999993</c:v>
                </c:pt>
                <c:pt idx="7139">
                  <c:v>6.3</c:v>
                </c:pt>
                <c:pt idx="7140">
                  <c:v>13.5</c:v>
                </c:pt>
                <c:pt idx="7141">
                  <c:v>7.4</c:v>
                </c:pt>
                <c:pt idx="7142">
                  <c:v>7.5</c:v>
                </c:pt>
                <c:pt idx="7143">
                  <c:v>11.5</c:v>
                </c:pt>
                <c:pt idx="7144">
                  <c:v>11.2</c:v>
                </c:pt>
                <c:pt idx="7145">
                  <c:v>7.5</c:v>
                </c:pt>
                <c:pt idx="7146">
                  <c:v>7.3</c:v>
                </c:pt>
                <c:pt idx="7147">
                  <c:v>6.6</c:v>
                </c:pt>
                <c:pt idx="7148">
                  <c:v>9.6</c:v>
                </c:pt>
                <c:pt idx="7149">
                  <c:v>6.1</c:v>
                </c:pt>
                <c:pt idx="7150">
                  <c:v>5.5</c:v>
                </c:pt>
                <c:pt idx="7151">
                  <c:v>6.7</c:v>
                </c:pt>
                <c:pt idx="7152">
                  <c:v>4.4000000000000004</c:v>
                </c:pt>
                <c:pt idx="7153">
                  <c:v>9.5</c:v>
                </c:pt>
                <c:pt idx="7154">
                  <c:v>9.3000000000000007</c:v>
                </c:pt>
                <c:pt idx="7155">
                  <c:v>9.1</c:v>
                </c:pt>
                <c:pt idx="7156">
                  <c:v>10.8</c:v>
                </c:pt>
                <c:pt idx="7157">
                  <c:v>13.6</c:v>
                </c:pt>
                <c:pt idx="7158">
                  <c:v>14</c:v>
                </c:pt>
                <c:pt idx="7159">
                  <c:v>6.9</c:v>
                </c:pt>
                <c:pt idx="7160">
                  <c:v>5.7</c:v>
                </c:pt>
                <c:pt idx="7161">
                  <c:v>1.6</c:v>
                </c:pt>
                <c:pt idx="7162">
                  <c:v>6.1</c:v>
                </c:pt>
                <c:pt idx="7163">
                  <c:v>9.6999999999999993</c:v>
                </c:pt>
                <c:pt idx="7164">
                  <c:v>7.9</c:v>
                </c:pt>
                <c:pt idx="7165">
                  <c:v>7.4</c:v>
                </c:pt>
                <c:pt idx="7166">
                  <c:v>6.3</c:v>
                </c:pt>
                <c:pt idx="7167">
                  <c:v>14.8</c:v>
                </c:pt>
                <c:pt idx="7168">
                  <c:v>9.1999999999999993</c:v>
                </c:pt>
                <c:pt idx="7169">
                  <c:v>10.8</c:v>
                </c:pt>
                <c:pt idx="7170">
                  <c:v>11.9</c:v>
                </c:pt>
                <c:pt idx="7171">
                  <c:v>6.8</c:v>
                </c:pt>
                <c:pt idx="7172">
                  <c:v>6.6</c:v>
                </c:pt>
                <c:pt idx="7173">
                  <c:v>8.8000000000000007</c:v>
                </c:pt>
                <c:pt idx="7174">
                  <c:v>8.5</c:v>
                </c:pt>
                <c:pt idx="7175">
                  <c:v>4.5</c:v>
                </c:pt>
                <c:pt idx="7176">
                  <c:v>6.3</c:v>
                </c:pt>
                <c:pt idx="7177">
                  <c:v>5.4</c:v>
                </c:pt>
                <c:pt idx="7178">
                  <c:v>8.9</c:v>
                </c:pt>
                <c:pt idx="7179">
                  <c:v>9.8000000000000007</c:v>
                </c:pt>
                <c:pt idx="7180">
                  <c:v>7.1</c:v>
                </c:pt>
                <c:pt idx="7181">
                  <c:v>11.8</c:v>
                </c:pt>
                <c:pt idx="7182">
                  <c:v>8.5</c:v>
                </c:pt>
                <c:pt idx="7183">
                  <c:v>7.4</c:v>
                </c:pt>
                <c:pt idx="7184">
                  <c:v>13.5</c:v>
                </c:pt>
                <c:pt idx="7185">
                  <c:v>6.1</c:v>
                </c:pt>
                <c:pt idx="7186">
                  <c:v>9.1</c:v>
                </c:pt>
                <c:pt idx="7187">
                  <c:v>7</c:v>
                </c:pt>
                <c:pt idx="7188">
                  <c:v>14.5</c:v>
                </c:pt>
                <c:pt idx="7189">
                  <c:v>14.3</c:v>
                </c:pt>
                <c:pt idx="7190">
                  <c:v>11.8</c:v>
                </c:pt>
                <c:pt idx="7191">
                  <c:v>8.8000000000000007</c:v>
                </c:pt>
                <c:pt idx="7192">
                  <c:v>8.1</c:v>
                </c:pt>
                <c:pt idx="7193">
                  <c:v>7.3</c:v>
                </c:pt>
                <c:pt idx="7194">
                  <c:v>6.8</c:v>
                </c:pt>
                <c:pt idx="7195">
                  <c:v>5.6</c:v>
                </c:pt>
                <c:pt idx="7196">
                  <c:v>5.4</c:v>
                </c:pt>
                <c:pt idx="7197">
                  <c:v>2.4</c:v>
                </c:pt>
                <c:pt idx="7198">
                  <c:v>0</c:v>
                </c:pt>
                <c:pt idx="7199">
                  <c:v>6</c:v>
                </c:pt>
                <c:pt idx="7200">
                  <c:v>5.6</c:v>
                </c:pt>
                <c:pt idx="7201">
                  <c:v>1.2</c:v>
                </c:pt>
                <c:pt idx="7202">
                  <c:v>6.8</c:v>
                </c:pt>
                <c:pt idx="7203">
                  <c:v>11.2</c:v>
                </c:pt>
                <c:pt idx="7204">
                  <c:v>9.5</c:v>
                </c:pt>
                <c:pt idx="7205">
                  <c:v>7.5</c:v>
                </c:pt>
                <c:pt idx="7206">
                  <c:v>6.1</c:v>
                </c:pt>
                <c:pt idx="7207">
                  <c:v>11.3</c:v>
                </c:pt>
                <c:pt idx="7208">
                  <c:v>4</c:v>
                </c:pt>
                <c:pt idx="7209">
                  <c:v>7.9</c:v>
                </c:pt>
                <c:pt idx="7210">
                  <c:v>8.8000000000000007</c:v>
                </c:pt>
                <c:pt idx="7211">
                  <c:v>9.1999999999999993</c:v>
                </c:pt>
                <c:pt idx="7212">
                  <c:v>6.9</c:v>
                </c:pt>
                <c:pt idx="7213">
                  <c:v>11.1</c:v>
                </c:pt>
                <c:pt idx="7214">
                  <c:v>11</c:v>
                </c:pt>
                <c:pt idx="7215">
                  <c:v>5</c:v>
                </c:pt>
                <c:pt idx="7216">
                  <c:v>8</c:v>
                </c:pt>
                <c:pt idx="7217">
                  <c:v>5.5</c:v>
                </c:pt>
                <c:pt idx="7218">
                  <c:v>3.9</c:v>
                </c:pt>
                <c:pt idx="7219">
                  <c:v>2.8</c:v>
                </c:pt>
                <c:pt idx="7220">
                  <c:v>6.2</c:v>
                </c:pt>
                <c:pt idx="7221">
                  <c:v>4.0999999999999996</c:v>
                </c:pt>
                <c:pt idx="7222">
                  <c:v>12.5</c:v>
                </c:pt>
                <c:pt idx="7223">
                  <c:v>12.3</c:v>
                </c:pt>
                <c:pt idx="7224">
                  <c:v>4.5999999999999996</c:v>
                </c:pt>
                <c:pt idx="7225">
                  <c:v>10</c:v>
                </c:pt>
                <c:pt idx="7226">
                  <c:v>5.6</c:v>
                </c:pt>
                <c:pt idx="7227">
                  <c:v>5.4</c:v>
                </c:pt>
                <c:pt idx="7228">
                  <c:v>10.8</c:v>
                </c:pt>
                <c:pt idx="7229">
                  <c:v>9</c:v>
                </c:pt>
                <c:pt idx="7230">
                  <c:v>6.5</c:v>
                </c:pt>
                <c:pt idx="7231">
                  <c:v>7.7</c:v>
                </c:pt>
                <c:pt idx="7232">
                  <c:v>11.5</c:v>
                </c:pt>
                <c:pt idx="7233">
                  <c:v>7.4</c:v>
                </c:pt>
                <c:pt idx="7234">
                  <c:v>7</c:v>
                </c:pt>
                <c:pt idx="7235">
                  <c:v>13.7</c:v>
                </c:pt>
                <c:pt idx="7236">
                  <c:v>9.5</c:v>
                </c:pt>
                <c:pt idx="7237">
                  <c:v>5.0999999999999996</c:v>
                </c:pt>
                <c:pt idx="7238">
                  <c:v>16.7</c:v>
                </c:pt>
                <c:pt idx="7239">
                  <c:v>7.8</c:v>
                </c:pt>
                <c:pt idx="7240">
                  <c:v>7.4</c:v>
                </c:pt>
                <c:pt idx="7241">
                  <c:v>11.7</c:v>
                </c:pt>
                <c:pt idx="7242">
                  <c:v>5.5</c:v>
                </c:pt>
                <c:pt idx="7243">
                  <c:v>5.9</c:v>
                </c:pt>
                <c:pt idx="7244">
                  <c:v>2.6</c:v>
                </c:pt>
                <c:pt idx="7245">
                  <c:v>5.6</c:v>
                </c:pt>
                <c:pt idx="7246">
                  <c:v>10</c:v>
                </c:pt>
                <c:pt idx="7247">
                  <c:v>3.3</c:v>
                </c:pt>
                <c:pt idx="7248">
                  <c:v>11.5</c:v>
                </c:pt>
                <c:pt idx="7249">
                  <c:v>0.3</c:v>
                </c:pt>
                <c:pt idx="7250">
                  <c:v>7.9</c:v>
                </c:pt>
                <c:pt idx="7251">
                  <c:v>11.6</c:v>
                </c:pt>
                <c:pt idx="7252">
                  <c:v>10.5</c:v>
                </c:pt>
                <c:pt idx="7253">
                  <c:v>12.3</c:v>
                </c:pt>
                <c:pt idx="7254">
                  <c:v>9.9</c:v>
                </c:pt>
                <c:pt idx="7255">
                  <c:v>8.6</c:v>
                </c:pt>
                <c:pt idx="7256">
                  <c:v>7.7</c:v>
                </c:pt>
                <c:pt idx="7257">
                  <c:v>7.4</c:v>
                </c:pt>
                <c:pt idx="7258">
                  <c:v>5.3</c:v>
                </c:pt>
                <c:pt idx="7259">
                  <c:v>3.5</c:v>
                </c:pt>
                <c:pt idx="7260">
                  <c:v>6.4</c:v>
                </c:pt>
                <c:pt idx="7261">
                  <c:v>13.5</c:v>
                </c:pt>
                <c:pt idx="7262">
                  <c:v>4.5</c:v>
                </c:pt>
                <c:pt idx="7263">
                  <c:v>7.9</c:v>
                </c:pt>
                <c:pt idx="7264">
                  <c:v>11.7</c:v>
                </c:pt>
                <c:pt idx="7265">
                  <c:v>13.3</c:v>
                </c:pt>
                <c:pt idx="7266">
                  <c:v>7.7</c:v>
                </c:pt>
                <c:pt idx="7267">
                  <c:v>4.4000000000000004</c:v>
                </c:pt>
                <c:pt idx="7268">
                  <c:v>13.6</c:v>
                </c:pt>
                <c:pt idx="7269">
                  <c:v>1.5</c:v>
                </c:pt>
                <c:pt idx="7270">
                  <c:v>9.5</c:v>
                </c:pt>
                <c:pt idx="7271">
                  <c:v>6.5</c:v>
                </c:pt>
                <c:pt idx="7272">
                  <c:v>10.7</c:v>
                </c:pt>
                <c:pt idx="7273">
                  <c:v>12.5</c:v>
                </c:pt>
                <c:pt idx="7274">
                  <c:v>5.3</c:v>
                </c:pt>
                <c:pt idx="7275">
                  <c:v>9.9</c:v>
                </c:pt>
                <c:pt idx="7276">
                  <c:v>4.9000000000000004</c:v>
                </c:pt>
                <c:pt idx="7277">
                  <c:v>5.2</c:v>
                </c:pt>
                <c:pt idx="7278">
                  <c:v>1.5</c:v>
                </c:pt>
                <c:pt idx="7279">
                  <c:v>9.1</c:v>
                </c:pt>
                <c:pt idx="7280">
                  <c:v>2.1</c:v>
                </c:pt>
                <c:pt idx="7281">
                  <c:v>7.5</c:v>
                </c:pt>
                <c:pt idx="7282">
                  <c:v>1.6</c:v>
                </c:pt>
                <c:pt idx="7283">
                  <c:v>9.3000000000000007</c:v>
                </c:pt>
                <c:pt idx="7284">
                  <c:v>8.6999999999999993</c:v>
                </c:pt>
                <c:pt idx="7285">
                  <c:v>7.3</c:v>
                </c:pt>
                <c:pt idx="7286">
                  <c:v>4.8</c:v>
                </c:pt>
                <c:pt idx="7287">
                  <c:v>2.7</c:v>
                </c:pt>
                <c:pt idx="7288">
                  <c:v>6.8</c:v>
                </c:pt>
                <c:pt idx="7289">
                  <c:v>9.6999999999999993</c:v>
                </c:pt>
                <c:pt idx="7290">
                  <c:v>7.4</c:v>
                </c:pt>
                <c:pt idx="7291">
                  <c:v>7.7</c:v>
                </c:pt>
                <c:pt idx="7292">
                  <c:v>7.7</c:v>
                </c:pt>
                <c:pt idx="7293">
                  <c:v>10.3</c:v>
                </c:pt>
                <c:pt idx="7294">
                  <c:v>9.4</c:v>
                </c:pt>
                <c:pt idx="7295">
                  <c:v>0.7</c:v>
                </c:pt>
                <c:pt idx="7296">
                  <c:v>9.1</c:v>
                </c:pt>
                <c:pt idx="7297">
                  <c:v>14.2</c:v>
                </c:pt>
                <c:pt idx="7298">
                  <c:v>5.4</c:v>
                </c:pt>
                <c:pt idx="7299">
                  <c:v>6.1</c:v>
                </c:pt>
                <c:pt idx="7300">
                  <c:v>10.3</c:v>
                </c:pt>
                <c:pt idx="7301">
                  <c:v>7.2</c:v>
                </c:pt>
                <c:pt idx="7302">
                  <c:v>8.5</c:v>
                </c:pt>
                <c:pt idx="7303">
                  <c:v>4</c:v>
                </c:pt>
                <c:pt idx="7304">
                  <c:v>8</c:v>
                </c:pt>
                <c:pt idx="7305">
                  <c:v>8.5</c:v>
                </c:pt>
                <c:pt idx="7306">
                  <c:v>6</c:v>
                </c:pt>
                <c:pt idx="7307">
                  <c:v>6.9</c:v>
                </c:pt>
                <c:pt idx="7308">
                  <c:v>8.4</c:v>
                </c:pt>
                <c:pt idx="7309">
                  <c:v>7.9</c:v>
                </c:pt>
                <c:pt idx="7310">
                  <c:v>12</c:v>
                </c:pt>
                <c:pt idx="7311">
                  <c:v>9.1999999999999993</c:v>
                </c:pt>
                <c:pt idx="7312">
                  <c:v>9.1</c:v>
                </c:pt>
                <c:pt idx="7313">
                  <c:v>8.8000000000000007</c:v>
                </c:pt>
                <c:pt idx="7314">
                  <c:v>1.5</c:v>
                </c:pt>
                <c:pt idx="7315">
                  <c:v>11.7</c:v>
                </c:pt>
                <c:pt idx="7316">
                  <c:v>8.8000000000000007</c:v>
                </c:pt>
                <c:pt idx="7317">
                  <c:v>6</c:v>
                </c:pt>
                <c:pt idx="7318">
                  <c:v>7.4</c:v>
                </c:pt>
                <c:pt idx="7319">
                  <c:v>13.3</c:v>
                </c:pt>
                <c:pt idx="7320">
                  <c:v>7.8</c:v>
                </c:pt>
                <c:pt idx="7321">
                  <c:v>8.8000000000000007</c:v>
                </c:pt>
                <c:pt idx="7322">
                  <c:v>7.2</c:v>
                </c:pt>
                <c:pt idx="7323">
                  <c:v>10.7</c:v>
                </c:pt>
                <c:pt idx="7324">
                  <c:v>9.3000000000000007</c:v>
                </c:pt>
                <c:pt idx="7325">
                  <c:v>2.8</c:v>
                </c:pt>
                <c:pt idx="7326">
                  <c:v>12.3</c:v>
                </c:pt>
                <c:pt idx="7327">
                  <c:v>5.7</c:v>
                </c:pt>
                <c:pt idx="7328">
                  <c:v>9.5</c:v>
                </c:pt>
                <c:pt idx="7329">
                  <c:v>6.3</c:v>
                </c:pt>
                <c:pt idx="7330">
                  <c:v>8.9</c:v>
                </c:pt>
                <c:pt idx="7331">
                  <c:v>11</c:v>
                </c:pt>
                <c:pt idx="7332">
                  <c:v>7.5</c:v>
                </c:pt>
                <c:pt idx="7333">
                  <c:v>12.5</c:v>
                </c:pt>
                <c:pt idx="7334">
                  <c:v>5.9</c:v>
                </c:pt>
                <c:pt idx="7335">
                  <c:v>6.8</c:v>
                </c:pt>
                <c:pt idx="7336">
                  <c:v>5.0999999999999996</c:v>
                </c:pt>
                <c:pt idx="7337">
                  <c:v>3.6</c:v>
                </c:pt>
                <c:pt idx="7338">
                  <c:v>10.9</c:v>
                </c:pt>
                <c:pt idx="7339">
                  <c:v>9.4</c:v>
                </c:pt>
                <c:pt idx="7340">
                  <c:v>9.4</c:v>
                </c:pt>
                <c:pt idx="7341">
                  <c:v>8.4</c:v>
                </c:pt>
                <c:pt idx="7342">
                  <c:v>6.9</c:v>
                </c:pt>
                <c:pt idx="7343">
                  <c:v>5.8</c:v>
                </c:pt>
                <c:pt idx="7344">
                  <c:v>3.3</c:v>
                </c:pt>
                <c:pt idx="7345">
                  <c:v>1.4</c:v>
                </c:pt>
                <c:pt idx="7346">
                  <c:v>10.199999999999999</c:v>
                </c:pt>
                <c:pt idx="7347">
                  <c:v>8.9</c:v>
                </c:pt>
                <c:pt idx="7348">
                  <c:v>5.9</c:v>
                </c:pt>
                <c:pt idx="7349">
                  <c:v>10.3</c:v>
                </c:pt>
                <c:pt idx="7350">
                  <c:v>3.8</c:v>
                </c:pt>
                <c:pt idx="7351">
                  <c:v>7.3</c:v>
                </c:pt>
                <c:pt idx="7352">
                  <c:v>12.9</c:v>
                </c:pt>
                <c:pt idx="7353">
                  <c:v>8.9</c:v>
                </c:pt>
                <c:pt idx="7354">
                  <c:v>13.3</c:v>
                </c:pt>
                <c:pt idx="7355">
                  <c:v>7.4</c:v>
                </c:pt>
                <c:pt idx="7356">
                  <c:v>9.6999999999999993</c:v>
                </c:pt>
                <c:pt idx="7357">
                  <c:v>9.6999999999999993</c:v>
                </c:pt>
                <c:pt idx="7358">
                  <c:v>8.1</c:v>
                </c:pt>
                <c:pt idx="7359">
                  <c:v>5</c:v>
                </c:pt>
                <c:pt idx="7360">
                  <c:v>9.6</c:v>
                </c:pt>
                <c:pt idx="7361">
                  <c:v>12.4</c:v>
                </c:pt>
                <c:pt idx="7362">
                  <c:v>12.2</c:v>
                </c:pt>
                <c:pt idx="7363">
                  <c:v>7.4</c:v>
                </c:pt>
                <c:pt idx="7364">
                  <c:v>9.8000000000000007</c:v>
                </c:pt>
                <c:pt idx="7365">
                  <c:v>8.5</c:v>
                </c:pt>
                <c:pt idx="7366">
                  <c:v>5</c:v>
                </c:pt>
                <c:pt idx="7367">
                  <c:v>9.5</c:v>
                </c:pt>
                <c:pt idx="7368">
                  <c:v>7.5</c:v>
                </c:pt>
                <c:pt idx="7369">
                  <c:v>5.0999999999999996</c:v>
                </c:pt>
                <c:pt idx="7370">
                  <c:v>10.6</c:v>
                </c:pt>
                <c:pt idx="7371">
                  <c:v>6.7</c:v>
                </c:pt>
                <c:pt idx="7372">
                  <c:v>9.6</c:v>
                </c:pt>
                <c:pt idx="7373">
                  <c:v>1.7</c:v>
                </c:pt>
                <c:pt idx="7374">
                  <c:v>9.9</c:v>
                </c:pt>
                <c:pt idx="7375">
                  <c:v>9.8000000000000007</c:v>
                </c:pt>
                <c:pt idx="7376">
                  <c:v>7</c:v>
                </c:pt>
                <c:pt idx="7377">
                  <c:v>14.5</c:v>
                </c:pt>
                <c:pt idx="7378">
                  <c:v>6</c:v>
                </c:pt>
                <c:pt idx="7379">
                  <c:v>4.9000000000000004</c:v>
                </c:pt>
                <c:pt idx="7380">
                  <c:v>10.1</c:v>
                </c:pt>
                <c:pt idx="7381">
                  <c:v>8.5</c:v>
                </c:pt>
                <c:pt idx="7382">
                  <c:v>1.1000000000000001</c:v>
                </c:pt>
                <c:pt idx="7383">
                  <c:v>9.6999999999999993</c:v>
                </c:pt>
                <c:pt idx="7384">
                  <c:v>3</c:v>
                </c:pt>
                <c:pt idx="7385">
                  <c:v>12</c:v>
                </c:pt>
                <c:pt idx="7386">
                  <c:v>10.3</c:v>
                </c:pt>
                <c:pt idx="7387">
                  <c:v>8.4</c:v>
                </c:pt>
                <c:pt idx="7388">
                  <c:v>8.3000000000000007</c:v>
                </c:pt>
                <c:pt idx="7389">
                  <c:v>6.9</c:v>
                </c:pt>
                <c:pt idx="7390">
                  <c:v>9.5</c:v>
                </c:pt>
                <c:pt idx="7391">
                  <c:v>5</c:v>
                </c:pt>
                <c:pt idx="7392">
                  <c:v>9.5</c:v>
                </c:pt>
                <c:pt idx="7393">
                  <c:v>9.1</c:v>
                </c:pt>
                <c:pt idx="7394">
                  <c:v>7.8</c:v>
                </c:pt>
                <c:pt idx="7395">
                  <c:v>7.1</c:v>
                </c:pt>
                <c:pt idx="7396">
                  <c:v>7.9</c:v>
                </c:pt>
                <c:pt idx="7397">
                  <c:v>11.9</c:v>
                </c:pt>
                <c:pt idx="7398">
                  <c:v>6.8</c:v>
                </c:pt>
                <c:pt idx="7399">
                  <c:v>6.8</c:v>
                </c:pt>
                <c:pt idx="7400">
                  <c:v>0.7</c:v>
                </c:pt>
                <c:pt idx="7401">
                  <c:v>10.9</c:v>
                </c:pt>
                <c:pt idx="7402">
                  <c:v>7.8</c:v>
                </c:pt>
                <c:pt idx="7403">
                  <c:v>7</c:v>
                </c:pt>
                <c:pt idx="7404">
                  <c:v>1.7</c:v>
                </c:pt>
                <c:pt idx="7405">
                  <c:v>9.1</c:v>
                </c:pt>
                <c:pt idx="7406">
                  <c:v>2.2000000000000002</c:v>
                </c:pt>
                <c:pt idx="7407">
                  <c:v>0.7</c:v>
                </c:pt>
                <c:pt idx="7408">
                  <c:v>10.5</c:v>
                </c:pt>
                <c:pt idx="7409">
                  <c:v>2.2000000000000002</c:v>
                </c:pt>
                <c:pt idx="7410">
                  <c:v>10.6</c:v>
                </c:pt>
                <c:pt idx="7411">
                  <c:v>9.1</c:v>
                </c:pt>
                <c:pt idx="7412">
                  <c:v>7.2</c:v>
                </c:pt>
                <c:pt idx="7413">
                  <c:v>8.6</c:v>
                </c:pt>
                <c:pt idx="7414">
                  <c:v>5.2</c:v>
                </c:pt>
                <c:pt idx="7415">
                  <c:v>7.8</c:v>
                </c:pt>
                <c:pt idx="7416">
                  <c:v>7.5</c:v>
                </c:pt>
                <c:pt idx="7417">
                  <c:v>6.6</c:v>
                </c:pt>
                <c:pt idx="7418">
                  <c:v>10.7</c:v>
                </c:pt>
                <c:pt idx="7419">
                  <c:v>8.3000000000000007</c:v>
                </c:pt>
                <c:pt idx="7420">
                  <c:v>7.5</c:v>
                </c:pt>
                <c:pt idx="7421">
                  <c:v>10.5</c:v>
                </c:pt>
                <c:pt idx="7422">
                  <c:v>8.6</c:v>
                </c:pt>
                <c:pt idx="7423">
                  <c:v>5.8</c:v>
                </c:pt>
                <c:pt idx="7424">
                  <c:v>8.8000000000000007</c:v>
                </c:pt>
                <c:pt idx="7425">
                  <c:v>7.8</c:v>
                </c:pt>
                <c:pt idx="7426">
                  <c:v>5</c:v>
                </c:pt>
                <c:pt idx="7427">
                  <c:v>9.5</c:v>
                </c:pt>
                <c:pt idx="7428">
                  <c:v>8.1</c:v>
                </c:pt>
                <c:pt idx="7429">
                  <c:v>5.8</c:v>
                </c:pt>
                <c:pt idx="7430">
                  <c:v>11</c:v>
                </c:pt>
                <c:pt idx="7431">
                  <c:v>6.9</c:v>
                </c:pt>
                <c:pt idx="7432">
                  <c:v>9</c:v>
                </c:pt>
                <c:pt idx="7433">
                  <c:v>7.3</c:v>
                </c:pt>
                <c:pt idx="7434">
                  <c:v>9.4</c:v>
                </c:pt>
                <c:pt idx="7435">
                  <c:v>14.6</c:v>
                </c:pt>
                <c:pt idx="7436">
                  <c:v>11</c:v>
                </c:pt>
                <c:pt idx="7437">
                  <c:v>5.7</c:v>
                </c:pt>
                <c:pt idx="7438">
                  <c:v>8.4</c:v>
                </c:pt>
                <c:pt idx="7439">
                  <c:v>9</c:v>
                </c:pt>
                <c:pt idx="7440">
                  <c:v>0.2</c:v>
                </c:pt>
                <c:pt idx="7441">
                  <c:v>10.7</c:v>
                </c:pt>
                <c:pt idx="7442">
                  <c:v>7</c:v>
                </c:pt>
                <c:pt idx="7443">
                  <c:v>10.4</c:v>
                </c:pt>
                <c:pt idx="7444">
                  <c:v>4.8</c:v>
                </c:pt>
                <c:pt idx="7445">
                  <c:v>8.9</c:v>
                </c:pt>
                <c:pt idx="7446">
                  <c:v>9.4</c:v>
                </c:pt>
                <c:pt idx="7447">
                  <c:v>1.3</c:v>
                </c:pt>
                <c:pt idx="7448">
                  <c:v>5.7</c:v>
                </c:pt>
                <c:pt idx="7449">
                  <c:v>13.4</c:v>
                </c:pt>
                <c:pt idx="7450">
                  <c:v>6.6</c:v>
                </c:pt>
                <c:pt idx="7451">
                  <c:v>2.5</c:v>
                </c:pt>
                <c:pt idx="7452">
                  <c:v>4</c:v>
                </c:pt>
                <c:pt idx="7453">
                  <c:v>8.5</c:v>
                </c:pt>
                <c:pt idx="7454">
                  <c:v>9.5</c:v>
                </c:pt>
                <c:pt idx="7455">
                  <c:v>1.2</c:v>
                </c:pt>
                <c:pt idx="7456">
                  <c:v>11.5</c:v>
                </c:pt>
                <c:pt idx="7457">
                  <c:v>1.6</c:v>
                </c:pt>
                <c:pt idx="7458">
                  <c:v>1.7</c:v>
                </c:pt>
                <c:pt idx="7459">
                  <c:v>4.8</c:v>
                </c:pt>
                <c:pt idx="7460">
                  <c:v>11.5</c:v>
                </c:pt>
                <c:pt idx="7461">
                  <c:v>8</c:v>
                </c:pt>
                <c:pt idx="7462">
                  <c:v>11.7</c:v>
                </c:pt>
                <c:pt idx="7463">
                  <c:v>11.6</c:v>
                </c:pt>
                <c:pt idx="7464">
                  <c:v>9.4</c:v>
                </c:pt>
                <c:pt idx="7465">
                  <c:v>9.1</c:v>
                </c:pt>
                <c:pt idx="7466">
                  <c:v>8.6999999999999993</c:v>
                </c:pt>
                <c:pt idx="7467">
                  <c:v>8.5</c:v>
                </c:pt>
                <c:pt idx="7468">
                  <c:v>2.9</c:v>
                </c:pt>
                <c:pt idx="7469">
                  <c:v>0.1</c:v>
                </c:pt>
                <c:pt idx="7470">
                  <c:v>11.2</c:v>
                </c:pt>
                <c:pt idx="7471">
                  <c:v>9.6999999999999993</c:v>
                </c:pt>
                <c:pt idx="7472">
                  <c:v>6.9</c:v>
                </c:pt>
                <c:pt idx="7473">
                  <c:v>6.9</c:v>
                </c:pt>
                <c:pt idx="7474">
                  <c:v>2.4</c:v>
                </c:pt>
                <c:pt idx="7475">
                  <c:v>9.6</c:v>
                </c:pt>
                <c:pt idx="7476">
                  <c:v>4.7</c:v>
                </c:pt>
                <c:pt idx="7477">
                  <c:v>9</c:v>
                </c:pt>
                <c:pt idx="7478">
                  <c:v>11.6</c:v>
                </c:pt>
                <c:pt idx="7479">
                  <c:v>11.5</c:v>
                </c:pt>
                <c:pt idx="7480">
                  <c:v>7.4</c:v>
                </c:pt>
                <c:pt idx="7481">
                  <c:v>5.5</c:v>
                </c:pt>
                <c:pt idx="7482">
                  <c:v>7.8</c:v>
                </c:pt>
                <c:pt idx="7483">
                  <c:v>8.1999999999999993</c:v>
                </c:pt>
                <c:pt idx="7484">
                  <c:v>10.8</c:v>
                </c:pt>
                <c:pt idx="7485">
                  <c:v>6.9</c:v>
                </c:pt>
                <c:pt idx="7486">
                  <c:v>8.9</c:v>
                </c:pt>
                <c:pt idx="7487">
                  <c:v>9.9</c:v>
                </c:pt>
                <c:pt idx="7488">
                  <c:v>6.6</c:v>
                </c:pt>
                <c:pt idx="7489">
                  <c:v>7.5</c:v>
                </c:pt>
                <c:pt idx="7490">
                  <c:v>9.3000000000000007</c:v>
                </c:pt>
                <c:pt idx="7491">
                  <c:v>10.5</c:v>
                </c:pt>
                <c:pt idx="7492">
                  <c:v>7.1</c:v>
                </c:pt>
                <c:pt idx="7493">
                  <c:v>2.5</c:v>
                </c:pt>
                <c:pt idx="7494">
                  <c:v>7.7</c:v>
                </c:pt>
                <c:pt idx="7495">
                  <c:v>10</c:v>
                </c:pt>
                <c:pt idx="7496">
                  <c:v>7.7</c:v>
                </c:pt>
                <c:pt idx="7497">
                  <c:v>8</c:v>
                </c:pt>
                <c:pt idx="7498">
                  <c:v>7.8</c:v>
                </c:pt>
                <c:pt idx="7499">
                  <c:v>8.6</c:v>
                </c:pt>
                <c:pt idx="7500">
                  <c:v>6.4</c:v>
                </c:pt>
                <c:pt idx="7501">
                  <c:v>7.8</c:v>
                </c:pt>
                <c:pt idx="7502">
                  <c:v>7.6</c:v>
                </c:pt>
                <c:pt idx="7503">
                  <c:v>7.8</c:v>
                </c:pt>
                <c:pt idx="7504">
                  <c:v>6.4</c:v>
                </c:pt>
                <c:pt idx="7505">
                  <c:v>1.2</c:v>
                </c:pt>
                <c:pt idx="7506">
                  <c:v>7.8</c:v>
                </c:pt>
                <c:pt idx="7507">
                  <c:v>5.7</c:v>
                </c:pt>
                <c:pt idx="7508">
                  <c:v>6.1</c:v>
                </c:pt>
                <c:pt idx="7509">
                  <c:v>3.8</c:v>
                </c:pt>
                <c:pt idx="7510">
                  <c:v>5.8</c:v>
                </c:pt>
                <c:pt idx="7511">
                  <c:v>14.2</c:v>
                </c:pt>
                <c:pt idx="7512">
                  <c:v>7.2</c:v>
                </c:pt>
                <c:pt idx="7513">
                  <c:v>11.1</c:v>
                </c:pt>
                <c:pt idx="7514">
                  <c:v>11.9</c:v>
                </c:pt>
                <c:pt idx="7515">
                  <c:v>7.8</c:v>
                </c:pt>
                <c:pt idx="7516">
                  <c:v>12.3</c:v>
                </c:pt>
                <c:pt idx="7517">
                  <c:v>2.8</c:v>
                </c:pt>
                <c:pt idx="7518">
                  <c:v>7.8</c:v>
                </c:pt>
                <c:pt idx="7519">
                  <c:v>9.3000000000000007</c:v>
                </c:pt>
                <c:pt idx="7520">
                  <c:v>5.5</c:v>
                </c:pt>
                <c:pt idx="7521">
                  <c:v>13.7</c:v>
                </c:pt>
                <c:pt idx="7522">
                  <c:v>6</c:v>
                </c:pt>
                <c:pt idx="7523">
                  <c:v>1.3</c:v>
                </c:pt>
                <c:pt idx="7524">
                  <c:v>7.2</c:v>
                </c:pt>
                <c:pt idx="7525">
                  <c:v>9.1</c:v>
                </c:pt>
                <c:pt idx="7526">
                  <c:v>4.5999999999999996</c:v>
                </c:pt>
                <c:pt idx="7527">
                  <c:v>7.8</c:v>
                </c:pt>
                <c:pt idx="7528">
                  <c:v>12.3</c:v>
                </c:pt>
                <c:pt idx="7529">
                  <c:v>4.9000000000000004</c:v>
                </c:pt>
                <c:pt idx="7530">
                  <c:v>1</c:v>
                </c:pt>
                <c:pt idx="7531">
                  <c:v>6.4</c:v>
                </c:pt>
                <c:pt idx="7532">
                  <c:v>5.6</c:v>
                </c:pt>
                <c:pt idx="7533">
                  <c:v>4.5999999999999996</c:v>
                </c:pt>
                <c:pt idx="7534">
                  <c:v>9.5</c:v>
                </c:pt>
                <c:pt idx="7535">
                  <c:v>2.4</c:v>
                </c:pt>
                <c:pt idx="7536">
                  <c:v>9.6999999999999993</c:v>
                </c:pt>
                <c:pt idx="7537">
                  <c:v>7.9</c:v>
                </c:pt>
                <c:pt idx="7538">
                  <c:v>4.5</c:v>
                </c:pt>
                <c:pt idx="7539">
                  <c:v>1.1000000000000001</c:v>
                </c:pt>
                <c:pt idx="7540">
                  <c:v>8.6</c:v>
                </c:pt>
                <c:pt idx="7541">
                  <c:v>3.3</c:v>
                </c:pt>
                <c:pt idx="7542">
                  <c:v>10.7</c:v>
                </c:pt>
                <c:pt idx="7543">
                  <c:v>7.3</c:v>
                </c:pt>
                <c:pt idx="7544">
                  <c:v>10</c:v>
                </c:pt>
                <c:pt idx="7545">
                  <c:v>9.1</c:v>
                </c:pt>
                <c:pt idx="7546">
                  <c:v>11.3</c:v>
                </c:pt>
                <c:pt idx="7547">
                  <c:v>11.7</c:v>
                </c:pt>
                <c:pt idx="7548">
                  <c:v>11.8</c:v>
                </c:pt>
                <c:pt idx="7549">
                  <c:v>8.3000000000000007</c:v>
                </c:pt>
                <c:pt idx="7550">
                  <c:v>5.5</c:v>
                </c:pt>
                <c:pt idx="7551">
                  <c:v>4.4000000000000004</c:v>
                </c:pt>
                <c:pt idx="7552">
                  <c:v>8</c:v>
                </c:pt>
                <c:pt idx="7553">
                  <c:v>8.4</c:v>
                </c:pt>
                <c:pt idx="7554">
                  <c:v>11.4</c:v>
                </c:pt>
                <c:pt idx="7555">
                  <c:v>10.6</c:v>
                </c:pt>
                <c:pt idx="7556">
                  <c:v>9.6</c:v>
                </c:pt>
                <c:pt idx="7557">
                  <c:v>9</c:v>
                </c:pt>
                <c:pt idx="7558">
                  <c:v>8.1999999999999993</c:v>
                </c:pt>
                <c:pt idx="7559">
                  <c:v>6.5</c:v>
                </c:pt>
                <c:pt idx="7560">
                  <c:v>6.7</c:v>
                </c:pt>
                <c:pt idx="7561">
                  <c:v>11</c:v>
                </c:pt>
                <c:pt idx="7562">
                  <c:v>7.2</c:v>
                </c:pt>
                <c:pt idx="7563">
                  <c:v>8.8000000000000007</c:v>
                </c:pt>
                <c:pt idx="7564">
                  <c:v>4.8</c:v>
                </c:pt>
                <c:pt idx="7565">
                  <c:v>1.4</c:v>
                </c:pt>
                <c:pt idx="7566">
                  <c:v>11.3</c:v>
                </c:pt>
                <c:pt idx="7567">
                  <c:v>11.4</c:v>
                </c:pt>
                <c:pt idx="7568">
                  <c:v>8.5</c:v>
                </c:pt>
                <c:pt idx="7569">
                  <c:v>6.5</c:v>
                </c:pt>
                <c:pt idx="7570">
                  <c:v>6.1</c:v>
                </c:pt>
                <c:pt idx="7571">
                  <c:v>10.4</c:v>
                </c:pt>
                <c:pt idx="7572">
                  <c:v>5.0999999999999996</c:v>
                </c:pt>
                <c:pt idx="7573">
                  <c:v>8.3000000000000007</c:v>
                </c:pt>
                <c:pt idx="7574">
                  <c:v>6.1</c:v>
                </c:pt>
                <c:pt idx="7575">
                  <c:v>9.6</c:v>
                </c:pt>
                <c:pt idx="7576">
                  <c:v>8.6</c:v>
                </c:pt>
                <c:pt idx="7577">
                  <c:v>0.8</c:v>
                </c:pt>
                <c:pt idx="7578">
                  <c:v>9</c:v>
                </c:pt>
                <c:pt idx="7579">
                  <c:v>7</c:v>
                </c:pt>
                <c:pt idx="7580">
                  <c:v>8.6999999999999993</c:v>
                </c:pt>
                <c:pt idx="7581">
                  <c:v>9.9</c:v>
                </c:pt>
                <c:pt idx="7582">
                  <c:v>7.9</c:v>
                </c:pt>
                <c:pt idx="7583">
                  <c:v>0.7</c:v>
                </c:pt>
                <c:pt idx="7584">
                  <c:v>9</c:v>
                </c:pt>
                <c:pt idx="7585">
                  <c:v>3.3</c:v>
                </c:pt>
                <c:pt idx="7586">
                  <c:v>11.5</c:v>
                </c:pt>
                <c:pt idx="7587">
                  <c:v>5.6</c:v>
                </c:pt>
                <c:pt idx="7588">
                  <c:v>5.3</c:v>
                </c:pt>
                <c:pt idx="7589">
                  <c:v>4.3</c:v>
                </c:pt>
                <c:pt idx="7590">
                  <c:v>11.3</c:v>
                </c:pt>
                <c:pt idx="7591">
                  <c:v>10.199999999999999</c:v>
                </c:pt>
                <c:pt idx="7592">
                  <c:v>14.2</c:v>
                </c:pt>
                <c:pt idx="7593">
                  <c:v>6.5</c:v>
                </c:pt>
                <c:pt idx="7594">
                  <c:v>6.3</c:v>
                </c:pt>
                <c:pt idx="7595">
                  <c:v>1.5</c:v>
                </c:pt>
                <c:pt idx="7596">
                  <c:v>8.5</c:v>
                </c:pt>
                <c:pt idx="7597">
                  <c:v>10.4</c:v>
                </c:pt>
                <c:pt idx="7598">
                  <c:v>11.8</c:v>
                </c:pt>
                <c:pt idx="7599">
                  <c:v>8.8000000000000007</c:v>
                </c:pt>
                <c:pt idx="7600">
                  <c:v>7</c:v>
                </c:pt>
                <c:pt idx="7601">
                  <c:v>3.4</c:v>
                </c:pt>
                <c:pt idx="7602">
                  <c:v>8.3000000000000007</c:v>
                </c:pt>
                <c:pt idx="7603">
                  <c:v>11.6</c:v>
                </c:pt>
                <c:pt idx="7604">
                  <c:v>7.9</c:v>
                </c:pt>
                <c:pt idx="7605">
                  <c:v>4.0999999999999996</c:v>
                </c:pt>
                <c:pt idx="7606">
                  <c:v>4.7</c:v>
                </c:pt>
                <c:pt idx="7607">
                  <c:v>8.8000000000000007</c:v>
                </c:pt>
                <c:pt idx="7608">
                  <c:v>11.3</c:v>
                </c:pt>
                <c:pt idx="7609">
                  <c:v>1.2</c:v>
                </c:pt>
                <c:pt idx="7610">
                  <c:v>4.3</c:v>
                </c:pt>
                <c:pt idx="7611">
                  <c:v>6.9</c:v>
                </c:pt>
                <c:pt idx="7612">
                  <c:v>4.2</c:v>
                </c:pt>
                <c:pt idx="7613">
                  <c:v>4.3</c:v>
                </c:pt>
                <c:pt idx="7614">
                  <c:v>12.8</c:v>
                </c:pt>
                <c:pt idx="7615">
                  <c:v>7.5</c:v>
                </c:pt>
                <c:pt idx="7616">
                  <c:v>13.7</c:v>
                </c:pt>
                <c:pt idx="7617">
                  <c:v>7.5</c:v>
                </c:pt>
                <c:pt idx="7618">
                  <c:v>2.6</c:v>
                </c:pt>
                <c:pt idx="7619">
                  <c:v>6.7</c:v>
                </c:pt>
                <c:pt idx="7620">
                  <c:v>9</c:v>
                </c:pt>
                <c:pt idx="7621">
                  <c:v>3</c:v>
                </c:pt>
                <c:pt idx="7622">
                  <c:v>2.8</c:v>
                </c:pt>
                <c:pt idx="7623">
                  <c:v>14.3</c:v>
                </c:pt>
                <c:pt idx="7624">
                  <c:v>11.2</c:v>
                </c:pt>
                <c:pt idx="7625">
                  <c:v>7.5</c:v>
                </c:pt>
                <c:pt idx="7626">
                  <c:v>6.3</c:v>
                </c:pt>
                <c:pt idx="7627">
                  <c:v>8.6999999999999993</c:v>
                </c:pt>
                <c:pt idx="7628">
                  <c:v>5</c:v>
                </c:pt>
                <c:pt idx="7629">
                  <c:v>2.9</c:v>
                </c:pt>
                <c:pt idx="7630">
                  <c:v>6.9</c:v>
                </c:pt>
                <c:pt idx="7631">
                  <c:v>3.3</c:v>
                </c:pt>
                <c:pt idx="7632">
                  <c:v>2.5</c:v>
                </c:pt>
                <c:pt idx="7633">
                  <c:v>9.4</c:v>
                </c:pt>
                <c:pt idx="7634">
                  <c:v>11.7</c:v>
                </c:pt>
                <c:pt idx="7635">
                  <c:v>9</c:v>
                </c:pt>
                <c:pt idx="7636">
                  <c:v>10.4</c:v>
                </c:pt>
                <c:pt idx="7637">
                  <c:v>4.5</c:v>
                </c:pt>
                <c:pt idx="7638">
                  <c:v>10.3</c:v>
                </c:pt>
                <c:pt idx="7639">
                  <c:v>5.3</c:v>
                </c:pt>
                <c:pt idx="7640">
                  <c:v>10.199999999999999</c:v>
                </c:pt>
                <c:pt idx="7641">
                  <c:v>12.4</c:v>
                </c:pt>
                <c:pt idx="7642">
                  <c:v>7.4</c:v>
                </c:pt>
                <c:pt idx="7643">
                  <c:v>9.1999999999999993</c:v>
                </c:pt>
                <c:pt idx="7644">
                  <c:v>5.4</c:v>
                </c:pt>
                <c:pt idx="7645">
                  <c:v>4.5999999999999996</c:v>
                </c:pt>
                <c:pt idx="7646">
                  <c:v>6.7</c:v>
                </c:pt>
                <c:pt idx="7647">
                  <c:v>6.1</c:v>
                </c:pt>
                <c:pt idx="7648">
                  <c:v>11.9</c:v>
                </c:pt>
                <c:pt idx="7649">
                  <c:v>7.8</c:v>
                </c:pt>
                <c:pt idx="7650">
                  <c:v>8.1</c:v>
                </c:pt>
                <c:pt idx="7651">
                  <c:v>7.8</c:v>
                </c:pt>
                <c:pt idx="7652">
                  <c:v>10.5</c:v>
                </c:pt>
                <c:pt idx="7653">
                  <c:v>10.6</c:v>
                </c:pt>
                <c:pt idx="7654">
                  <c:v>9.1</c:v>
                </c:pt>
                <c:pt idx="7655">
                  <c:v>11.8</c:v>
                </c:pt>
                <c:pt idx="7656">
                  <c:v>7.9</c:v>
                </c:pt>
                <c:pt idx="7657">
                  <c:v>12.2</c:v>
                </c:pt>
                <c:pt idx="7658">
                  <c:v>2.6</c:v>
                </c:pt>
                <c:pt idx="7659">
                  <c:v>7.5</c:v>
                </c:pt>
                <c:pt idx="7660">
                  <c:v>6.9</c:v>
                </c:pt>
                <c:pt idx="7661">
                  <c:v>12.5</c:v>
                </c:pt>
                <c:pt idx="7662">
                  <c:v>7.8</c:v>
                </c:pt>
                <c:pt idx="7663">
                  <c:v>11.1</c:v>
                </c:pt>
                <c:pt idx="7664">
                  <c:v>4.0999999999999996</c:v>
                </c:pt>
                <c:pt idx="7665">
                  <c:v>12.1</c:v>
                </c:pt>
                <c:pt idx="7666">
                  <c:v>7.7</c:v>
                </c:pt>
                <c:pt idx="7667">
                  <c:v>6.4</c:v>
                </c:pt>
                <c:pt idx="7668">
                  <c:v>9.6</c:v>
                </c:pt>
                <c:pt idx="7669">
                  <c:v>10.6</c:v>
                </c:pt>
                <c:pt idx="7670">
                  <c:v>5.0999999999999996</c:v>
                </c:pt>
                <c:pt idx="7671">
                  <c:v>9.8000000000000007</c:v>
                </c:pt>
                <c:pt idx="7672">
                  <c:v>11.5</c:v>
                </c:pt>
                <c:pt idx="7673">
                  <c:v>7.2</c:v>
                </c:pt>
                <c:pt idx="7674">
                  <c:v>13.4</c:v>
                </c:pt>
                <c:pt idx="7675">
                  <c:v>7.2</c:v>
                </c:pt>
                <c:pt idx="7676">
                  <c:v>11</c:v>
                </c:pt>
                <c:pt idx="7677">
                  <c:v>10.9</c:v>
                </c:pt>
                <c:pt idx="7678">
                  <c:v>10.7</c:v>
                </c:pt>
                <c:pt idx="7679">
                  <c:v>12.8</c:v>
                </c:pt>
                <c:pt idx="7680">
                  <c:v>30</c:v>
                </c:pt>
                <c:pt idx="7681">
                  <c:v>5.2</c:v>
                </c:pt>
                <c:pt idx="7682">
                  <c:v>10.199999999999999</c:v>
                </c:pt>
                <c:pt idx="7683">
                  <c:v>7.6</c:v>
                </c:pt>
                <c:pt idx="7684">
                  <c:v>9.5</c:v>
                </c:pt>
                <c:pt idx="7685">
                  <c:v>14.5</c:v>
                </c:pt>
                <c:pt idx="7686">
                  <c:v>2.5</c:v>
                </c:pt>
                <c:pt idx="7687">
                  <c:v>7.5</c:v>
                </c:pt>
                <c:pt idx="7688">
                  <c:v>10.5</c:v>
                </c:pt>
                <c:pt idx="7689">
                  <c:v>3.4</c:v>
                </c:pt>
                <c:pt idx="7690">
                  <c:v>5.8</c:v>
                </c:pt>
                <c:pt idx="7691">
                  <c:v>8.3000000000000007</c:v>
                </c:pt>
                <c:pt idx="7692">
                  <c:v>9.4</c:v>
                </c:pt>
                <c:pt idx="7693">
                  <c:v>9.1</c:v>
                </c:pt>
                <c:pt idx="7694">
                  <c:v>7.9</c:v>
                </c:pt>
                <c:pt idx="7695">
                  <c:v>5.9</c:v>
                </c:pt>
                <c:pt idx="7696">
                  <c:v>3.4</c:v>
                </c:pt>
                <c:pt idx="7697">
                  <c:v>16.399999999999999</c:v>
                </c:pt>
                <c:pt idx="7698">
                  <c:v>8.6</c:v>
                </c:pt>
                <c:pt idx="7699">
                  <c:v>14.1</c:v>
                </c:pt>
                <c:pt idx="7700">
                  <c:v>12.6</c:v>
                </c:pt>
                <c:pt idx="7701">
                  <c:v>11.9</c:v>
                </c:pt>
                <c:pt idx="7702">
                  <c:v>9.8000000000000007</c:v>
                </c:pt>
                <c:pt idx="7703">
                  <c:v>8.6999999999999993</c:v>
                </c:pt>
                <c:pt idx="7704">
                  <c:v>8.6</c:v>
                </c:pt>
                <c:pt idx="7705">
                  <c:v>8</c:v>
                </c:pt>
                <c:pt idx="7706">
                  <c:v>7.4</c:v>
                </c:pt>
              </c:numCache>
            </c:numRef>
          </c:xVal>
          <c:yVal>
            <c:numRef>
              <c:f>'Tenure vs. Phase In EcoDis Ach'!$C$3:$C$7709</c:f>
              <c:numCache>
                <c:formatCode>0%</c:formatCode>
                <c:ptCount val="7707"/>
                <c:pt idx="0">
                  <c:v>1.5748031496062999E-2</c:v>
                </c:pt>
                <c:pt idx="1">
                  <c:v>1.88679245283019E-2</c:v>
                </c:pt>
                <c:pt idx="2">
                  <c:v>2.27272727272727E-2</c:v>
                </c:pt>
                <c:pt idx="3">
                  <c:v>2.32558139534884E-2</c:v>
                </c:pt>
                <c:pt idx="4">
                  <c:v>2.5706940874036001E-2</c:v>
                </c:pt>
                <c:pt idx="5">
                  <c:v>2.94117647058823E-2</c:v>
                </c:pt>
                <c:pt idx="6">
                  <c:v>3.2786885245901599E-2</c:v>
                </c:pt>
                <c:pt idx="7">
                  <c:v>3.83693045563549E-2</c:v>
                </c:pt>
                <c:pt idx="8">
                  <c:v>3.8461538461538498E-2</c:v>
                </c:pt>
                <c:pt idx="9">
                  <c:v>3.94736842105263E-2</c:v>
                </c:pt>
                <c:pt idx="10">
                  <c:v>4.3478260869565202E-2</c:v>
                </c:pt>
                <c:pt idx="11">
                  <c:v>5.2631578947368397E-2</c:v>
                </c:pt>
                <c:pt idx="12">
                  <c:v>5.2631578947368397E-2</c:v>
                </c:pt>
                <c:pt idx="13">
                  <c:v>5.3763440860214999E-2</c:v>
                </c:pt>
                <c:pt idx="14">
                  <c:v>6.25E-2</c:v>
                </c:pt>
                <c:pt idx="15">
                  <c:v>6.3492063492063502E-2</c:v>
                </c:pt>
                <c:pt idx="16">
                  <c:v>7.0175438596491196E-2</c:v>
                </c:pt>
                <c:pt idx="17">
                  <c:v>7.0422535211267595E-2</c:v>
                </c:pt>
                <c:pt idx="18">
                  <c:v>7.1428571428571397E-2</c:v>
                </c:pt>
                <c:pt idx="19">
                  <c:v>7.1428571428571397E-2</c:v>
                </c:pt>
                <c:pt idx="20">
                  <c:v>0.08</c:v>
                </c:pt>
                <c:pt idx="21">
                  <c:v>8.3333333333333301E-2</c:v>
                </c:pt>
                <c:pt idx="22">
                  <c:v>8.4745762711864403E-2</c:v>
                </c:pt>
                <c:pt idx="23">
                  <c:v>8.5106382978723402E-2</c:v>
                </c:pt>
                <c:pt idx="24">
                  <c:v>8.5714285714285701E-2</c:v>
                </c:pt>
                <c:pt idx="25">
                  <c:v>8.6956521739130405E-2</c:v>
                </c:pt>
                <c:pt idx="26">
                  <c:v>8.8235294117646995E-2</c:v>
                </c:pt>
                <c:pt idx="27">
                  <c:v>9.0909090909090898E-2</c:v>
                </c:pt>
                <c:pt idx="28">
                  <c:v>9.375E-2</c:v>
                </c:pt>
                <c:pt idx="29">
                  <c:v>9.5238095238095205E-2</c:v>
                </c:pt>
                <c:pt idx="30">
                  <c:v>9.7222222222222196E-2</c:v>
                </c:pt>
                <c:pt idx="31">
                  <c:v>0.101449275362319</c:v>
                </c:pt>
                <c:pt idx="32">
                  <c:v>0.102564102564103</c:v>
                </c:pt>
                <c:pt idx="33">
                  <c:v>0.10280373831775701</c:v>
                </c:pt>
                <c:pt idx="34">
                  <c:v>0.105263157894737</c:v>
                </c:pt>
                <c:pt idx="35">
                  <c:v>0.105263157894737</c:v>
                </c:pt>
                <c:pt idx="36">
                  <c:v>0.11009174311926601</c:v>
                </c:pt>
                <c:pt idx="37">
                  <c:v>0.11111111111111099</c:v>
                </c:pt>
                <c:pt idx="38">
                  <c:v>0.114285714285714</c:v>
                </c:pt>
                <c:pt idx="39">
                  <c:v>0.116279069767442</c:v>
                </c:pt>
                <c:pt idx="40">
                  <c:v>0.116666666666667</c:v>
                </c:pt>
                <c:pt idx="41">
                  <c:v>0.119047619047619</c:v>
                </c:pt>
                <c:pt idx="42">
                  <c:v>0.12121212121212099</c:v>
                </c:pt>
                <c:pt idx="43">
                  <c:v>0.12195121951219499</c:v>
                </c:pt>
                <c:pt idx="44">
                  <c:v>0.125</c:v>
                </c:pt>
                <c:pt idx="45">
                  <c:v>0.126984126984127</c:v>
                </c:pt>
                <c:pt idx="46">
                  <c:v>0.130769230769231</c:v>
                </c:pt>
                <c:pt idx="47">
                  <c:v>0.133333333333333</c:v>
                </c:pt>
                <c:pt idx="48">
                  <c:v>0.133333333333333</c:v>
                </c:pt>
                <c:pt idx="49">
                  <c:v>0.134615384615385</c:v>
                </c:pt>
                <c:pt idx="50">
                  <c:v>0.13709677419354799</c:v>
                </c:pt>
                <c:pt idx="51">
                  <c:v>0.140350877192982</c:v>
                </c:pt>
                <c:pt idx="52">
                  <c:v>0.140350877192982</c:v>
                </c:pt>
                <c:pt idx="53">
                  <c:v>0.140845070422535</c:v>
                </c:pt>
                <c:pt idx="54">
                  <c:v>0.14285714285714299</c:v>
                </c:pt>
                <c:pt idx="55">
                  <c:v>0.14285714285714299</c:v>
                </c:pt>
                <c:pt idx="56">
                  <c:v>0.14285714285714299</c:v>
                </c:pt>
                <c:pt idx="57">
                  <c:v>0.14285714285714299</c:v>
                </c:pt>
                <c:pt idx="58">
                  <c:v>0.148148148148148</c:v>
                </c:pt>
                <c:pt idx="59">
                  <c:v>0.15</c:v>
                </c:pt>
                <c:pt idx="60">
                  <c:v>0.15094339622641501</c:v>
                </c:pt>
                <c:pt idx="61">
                  <c:v>0.151111111111111</c:v>
                </c:pt>
                <c:pt idx="62">
                  <c:v>0.155555555555556</c:v>
                </c:pt>
                <c:pt idx="63">
                  <c:v>0.157894736842105</c:v>
                </c:pt>
                <c:pt idx="64">
                  <c:v>0.157894736842105</c:v>
                </c:pt>
                <c:pt idx="65">
                  <c:v>0.16129032258064499</c:v>
                </c:pt>
                <c:pt idx="66">
                  <c:v>0.16346153846153799</c:v>
                </c:pt>
                <c:pt idx="67">
                  <c:v>0.16666666666666699</c:v>
                </c:pt>
                <c:pt idx="68">
                  <c:v>0.16666666666666699</c:v>
                </c:pt>
                <c:pt idx="69">
                  <c:v>0.16666666666666699</c:v>
                </c:pt>
                <c:pt idx="70">
                  <c:v>0.16666666666666699</c:v>
                </c:pt>
                <c:pt idx="71">
                  <c:v>0.16875000000000001</c:v>
                </c:pt>
                <c:pt idx="72">
                  <c:v>0.170212765957447</c:v>
                </c:pt>
                <c:pt idx="73">
                  <c:v>0.171875</c:v>
                </c:pt>
                <c:pt idx="74">
                  <c:v>0.173913043478261</c:v>
                </c:pt>
                <c:pt idx="75">
                  <c:v>0.173913043478261</c:v>
                </c:pt>
                <c:pt idx="76">
                  <c:v>0.17431192660550501</c:v>
                </c:pt>
                <c:pt idx="77">
                  <c:v>0.17948717948717899</c:v>
                </c:pt>
                <c:pt idx="78">
                  <c:v>0.18181818181818199</c:v>
                </c:pt>
                <c:pt idx="79">
                  <c:v>0.18518518518518501</c:v>
                </c:pt>
                <c:pt idx="80">
                  <c:v>0.1875</c:v>
                </c:pt>
                <c:pt idx="81">
                  <c:v>0.18954248366013099</c:v>
                </c:pt>
                <c:pt idx="82">
                  <c:v>0.18994413407821201</c:v>
                </c:pt>
                <c:pt idx="83">
                  <c:v>0.19148936170212799</c:v>
                </c:pt>
                <c:pt idx="84">
                  <c:v>0.19191919191919199</c:v>
                </c:pt>
                <c:pt idx="85">
                  <c:v>0.19387755102040799</c:v>
                </c:pt>
                <c:pt idx="86">
                  <c:v>0.19565217391304299</c:v>
                </c:pt>
                <c:pt idx="87">
                  <c:v>0.19696969696969699</c:v>
                </c:pt>
                <c:pt idx="88">
                  <c:v>0.19902912621359201</c:v>
                </c:pt>
                <c:pt idx="89">
                  <c:v>0.2</c:v>
                </c:pt>
                <c:pt idx="90">
                  <c:v>0.2</c:v>
                </c:pt>
                <c:pt idx="91">
                  <c:v>0.20119521912350599</c:v>
                </c:pt>
                <c:pt idx="92">
                  <c:v>0.20754716981132099</c:v>
                </c:pt>
                <c:pt idx="93">
                  <c:v>0.209677419354839</c:v>
                </c:pt>
                <c:pt idx="94">
                  <c:v>0.209876543209877</c:v>
                </c:pt>
                <c:pt idx="95">
                  <c:v>0.21118012422360199</c:v>
                </c:pt>
                <c:pt idx="96">
                  <c:v>0.21212121212121199</c:v>
                </c:pt>
                <c:pt idx="97">
                  <c:v>0.21241830065359499</c:v>
                </c:pt>
                <c:pt idx="98">
                  <c:v>0.213355048859935</c:v>
                </c:pt>
                <c:pt idx="99">
                  <c:v>0.215789473684211</c:v>
                </c:pt>
                <c:pt idx="100">
                  <c:v>0.21666666666666701</c:v>
                </c:pt>
                <c:pt idx="101">
                  <c:v>0.21875</c:v>
                </c:pt>
                <c:pt idx="102">
                  <c:v>0.21875</c:v>
                </c:pt>
                <c:pt idx="103">
                  <c:v>0.219512195121951</c:v>
                </c:pt>
                <c:pt idx="104">
                  <c:v>0.221428571428571</c:v>
                </c:pt>
                <c:pt idx="105">
                  <c:v>0.22222222222222199</c:v>
                </c:pt>
                <c:pt idx="106">
                  <c:v>0.22222222222222199</c:v>
                </c:pt>
                <c:pt idx="107">
                  <c:v>0.22222222222222199</c:v>
                </c:pt>
                <c:pt idx="108">
                  <c:v>0.22448979591836701</c:v>
                </c:pt>
                <c:pt idx="109">
                  <c:v>0.226190476190476</c:v>
                </c:pt>
                <c:pt idx="110">
                  <c:v>0.22641509433962301</c:v>
                </c:pt>
                <c:pt idx="111">
                  <c:v>0.230769230769231</c:v>
                </c:pt>
                <c:pt idx="112">
                  <c:v>0.230769230769231</c:v>
                </c:pt>
                <c:pt idx="113">
                  <c:v>0.230769230769231</c:v>
                </c:pt>
                <c:pt idx="114">
                  <c:v>0.23297491039426499</c:v>
                </c:pt>
                <c:pt idx="115">
                  <c:v>0.234375</c:v>
                </c:pt>
                <c:pt idx="116">
                  <c:v>0.238095238095238</c:v>
                </c:pt>
                <c:pt idx="117">
                  <c:v>0.23943661971831001</c:v>
                </c:pt>
                <c:pt idx="118">
                  <c:v>0.240816326530612</c:v>
                </c:pt>
                <c:pt idx="119">
                  <c:v>0.24137931034482801</c:v>
                </c:pt>
                <c:pt idx="120">
                  <c:v>0.24324324324324301</c:v>
                </c:pt>
                <c:pt idx="121">
                  <c:v>0.24633431085044</c:v>
                </c:pt>
                <c:pt idx="122">
                  <c:v>0.25</c:v>
                </c:pt>
                <c:pt idx="123">
                  <c:v>0.25</c:v>
                </c:pt>
                <c:pt idx="124">
                  <c:v>0.25</c:v>
                </c:pt>
                <c:pt idx="125">
                  <c:v>0.25230769230769201</c:v>
                </c:pt>
                <c:pt idx="126">
                  <c:v>0.25555555555555598</c:v>
                </c:pt>
                <c:pt idx="127">
                  <c:v>0.25560538116591902</c:v>
                </c:pt>
                <c:pt idx="128">
                  <c:v>0.256329113924051</c:v>
                </c:pt>
                <c:pt idx="129">
                  <c:v>0.258278145695364</c:v>
                </c:pt>
                <c:pt idx="130">
                  <c:v>0.26500000000000001</c:v>
                </c:pt>
                <c:pt idx="131">
                  <c:v>0.26530612244898</c:v>
                </c:pt>
                <c:pt idx="132">
                  <c:v>0.266666666666667</c:v>
                </c:pt>
                <c:pt idx="133">
                  <c:v>0.266666666666667</c:v>
                </c:pt>
                <c:pt idx="134">
                  <c:v>0.26760563380281699</c:v>
                </c:pt>
                <c:pt idx="135">
                  <c:v>0.270531400966184</c:v>
                </c:pt>
                <c:pt idx="136">
                  <c:v>0.27173913043478298</c:v>
                </c:pt>
                <c:pt idx="137">
                  <c:v>0.27272727272727298</c:v>
                </c:pt>
                <c:pt idx="138">
                  <c:v>0.27272727272727298</c:v>
                </c:pt>
                <c:pt idx="139">
                  <c:v>0.27551020408163301</c:v>
                </c:pt>
                <c:pt idx="140">
                  <c:v>0.27777777777777801</c:v>
                </c:pt>
                <c:pt idx="141">
                  <c:v>0.27835051546391798</c:v>
                </c:pt>
                <c:pt idx="142">
                  <c:v>0.27966101694915202</c:v>
                </c:pt>
                <c:pt idx="143">
                  <c:v>0.27967479674796702</c:v>
                </c:pt>
                <c:pt idx="144">
                  <c:v>0.28125</c:v>
                </c:pt>
                <c:pt idx="145">
                  <c:v>0.282608695652174</c:v>
                </c:pt>
                <c:pt idx="146">
                  <c:v>0.28571428571428598</c:v>
                </c:pt>
                <c:pt idx="147">
                  <c:v>0.28596802841918301</c:v>
                </c:pt>
                <c:pt idx="148">
                  <c:v>0.28985507246376802</c:v>
                </c:pt>
                <c:pt idx="149">
                  <c:v>0.29012345679012302</c:v>
                </c:pt>
                <c:pt idx="150">
                  <c:v>0.29017857142857101</c:v>
                </c:pt>
                <c:pt idx="151">
                  <c:v>0.29079497907949797</c:v>
                </c:pt>
                <c:pt idx="152">
                  <c:v>0.29096989966555198</c:v>
                </c:pt>
                <c:pt idx="153">
                  <c:v>0.29118773946360199</c:v>
                </c:pt>
                <c:pt idx="154">
                  <c:v>0.29292929292929298</c:v>
                </c:pt>
                <c:pt idx="155">
                  <c:v>0.29411764705882398</c:v>
                </c:pt>
                <c:pt idx="156">
                  <c:v>0.29411764705882398</c:v>
                </c:pt>
                <c:pt idx="157">
                  <c:v>0.29591836734693899</c:v>
                </c:pt>
                <c:pt idx="158">
                  <c:v>0.296296296296296</c:v>
                </c:pt>
                <c:pt idx="159">
                  <c:v>0.29702970297029702</c:v>
                </c:pt>
                <c:pt idx="160">
                  <c:v>0.29710144927536197</c:v>
                </c:pt>
                <c:pt idx="161">
                  <c:v>0.29716981132075498</c:v>
                </c:pt>
                <c:pt idx="162">
                  <c:v>0.29931972789115602</c:v>
                </c:pt>
                <c:pt idx="163">
                  <c:v>0.29961089494163401</c:v>
                </c:pt>
                <c:pt idx="164">
                  <c:v>0.3</c:v>
                </c:pt>
                <c:pt idx="165">
                  <c:v>0.300492610837438</c:v>
                </c:pt>
                <c:pt idx="166">
                  <c:v>0.30107526881720398</c:v>
                </c:pt>
                <c:pt idx="167">
                  <c:v>0.30172413793103398</c:v>
                </c:pt>
                <c:pt idx="168">
                  <c:v>0.30303030303030298</c:v>
                </c:pt>
                <c:pt idx="169">
                  <c:v>0.30303030303030298</c:v>
                </c:pt>
                <c:pt idx="170">
                  <c:v>0.30379746835443</c:v>
                </c:pt>
                <c:pt idx="171">
                  <c:v>0.30434782608695599</c:v>
                </c:pt>
                <c:pt idx="172">
                  <c:v>0.30555555555555602</c:v>
                </c:pt>
                <c:pt idx="173">
                  <c:v>0.30612244897959201</c:v>
                </c:pt>
                <c:pt idx="174">
                  <c:v>0.30678466076696198</c:v>
                </c:pt>
                <c:pt idx="175">
                  <c:v>0.30681818181818199</c:v>
                </c:pt>
                <c:pt idx="176">
                  <c:v>0.30769230769230799</c:v>
                </c:pt>
                <c:pt idx="177">
                  <c:v>0.30769230769230799</c:v>
                </c:pt>
                <c:pt idx="178">
                  <c:v>0.30769230769230799</c:v>
                </c:pt>
                <c:pt idx="179">
                  <c:v>0.30833333333333302</c:v>
                </c:pt>
                <c:pt idx="180">
                  <c:v>0.30888888888888899</c:v>
                </c:pt>
                <c:pt idx="181">
                  <c:v>0.31</c:v>
                </c:pt>
                <c:pt idx="182">
                  <c:v>0.31</c:v>
                </c:pt>
                <c:pt idx="183">
                  <c:v>0.31081081081081102</c:v>
                </c:pt>
                <c:pt idx="184">
                  <c:v>0.3125</c:v>
                </c:pt>
                <c:pt idx="185">
                  <c:v>0.3125</c:v>
                </c:pt>
                <c:pt idx="186">
                  <c:v>0.3125</c:v>
                </c:pt>
                <c:pt idx="187">
                  <c:v>0.31395348837209303</c:v>
                </c:pt>
                <c:pt idx="188">
                  <c:v>0.31413612565444998</c:v>
                </c:pt>
                <c:pt idx="189">
                  <c:v>0.31543624161073802</c:v>
                </c:pt>
                <c:pt idx="190">
                  <c:v>0.31543624161073802</c:v>
                </c:pt>
                <c:pt idx="191">
                  <c:v>0.31578947368421001</c:v>
                </c:pt>
                <c:pt idx="192">
                  <c:v>0.31578947368421001</c:v>
                </c:pt>
                <c:pt idx="193">
                  <c:v>0.316</c:v>
                </c:pt>
                <c:pt idx="194">
                  <c:v>0.31818181818181801</c:v>
                </c:pt>
                <c:pt idx="195">
                  <c:v>0.31901840490797501</c:v>
                </c:pt>
                <c:pt idx="196">
                  <c:v>0.32</c:v>
                </c:pt>
                <c:pt idx="197">
                  <c:v>0.32352941176470601</c:v>
                </c:pt>
                <c:pt idx="198">
                  <c:v>0.323943661971831</c:v>
                </c:pt>
                <c:pt idx="199">
                  <c:v>0.32407407407407401</c:v>
                </c:pt>
                <c:pt idx="200">
                  <c:v>0.32432432432432401</c:v>
                </c:pt>
                <c:pt idx="201">
                  <c:v>0.32452830188679199</c:v>
                </c:pt>
                <c:pt idx="202">
                  <c:v>0.32500000000000001</c:v>
                </c:pt>
                <c:pt idx="203">
                  <c:v>0.32544378698224802</c:v>
                </c:pt>
                <c:pt idx="204">
                  <c:v>0.32661290322580599</c:v>
                </c:pt>
                <c:pt idx="205">
                  <c:v>0.32699619771863098</c:v>
                </c:pt>
                <c:pt idx="206">
                  <c:v>0.32804232804232802</c:v>
                </c:pt>
                <c:pt idx="207">
                  <c:v>0.32894736842105299</c:v>
                </c:pt>
                <c:pt idx="208">
                  <c:v>0.329479768786127</c:v>
                </c:pt>
                <c:pt idx="209">
                  <c:v>0.32989690721649501</c:v>
                </c:pt>
                <c:pt idx="210">
                  <c:v>0.33333333333333298</c:v>
                </c:pt>
                <c:pt idx="211">
                  <c:v>0.33333333333333298</c:v>
                </c:pt>
                <c:pt idx="212">
                  <c:v>0.33333333333333298</c:v>
                </c:pt>
                <c:pt idx="213">
                  <c:v>0.33333333333333298</c:v>
                </c:pt>
                <c:pt idx="214">
                  <c:v>0.33428571428571402</c:v>
                </c:pt>
                <c:pt idx="215">
                  <c:v>0.33479212253829299</c:v>
                </c:pt>
                <c:pt idx="216">
                  <c:v>0.33505917159763299</c:v>
                </c:pt>
                <c:pt idx="217">
                  <c:v>0.337579617834395</c:v>
                </c:pt>
                <c:pt idx="218">
                  <c:v>0.337837837837838</c:v>
                </c:pt>
                <c:pt idx="219">
                  <c:v>0.33846153846153798</c:v>
                </c:pt>
                <c:pt idx="220">
                  <c:v>0.338983050847458</c:v>
                </c:pt>
                <c:pt idx="221">
                  <c:v>0.33918770581778301</c:v>
                </c:pt>
                <c:pt idx="222">
                  <c:v>0.339622641509434</c:v>
                </c:pt>
                <c:pt idx="223">
                  <c:v>0.34014598540146002</c:v>
                </c:pt>
                <c:pt idx="224">
                  <c:v>0.34020618556700999</c:v>
                </c:pt>
                <c:pt idx="225">
                  <c:v>0.340425531914894</c:v>
                </c:pt>
                <c:pt idx="226">
                  <c:v>0.34210526315789502</c:v>
                </c:pt>
                <c:pt idx="227">
                  <c:v>0.34246575342465702</c:v>
                </c:pt>
                <c:pt idx="228">
                  <c:v>0.34375</c:v>
                </c:pt>
                <c:pt idx="229">
                  <c:v>0.34482758620689702</c:v>
                </c:pt>
                <c:pt idx="230">
                  <c:v>0.34588235294117597</c:v>
                </c:pt>
                <c:pt idx="231">
                  <c:v>0.34659090909090901</c:v>
                </c:pt>
                <c:pt idx="232">
                  <c:v>0.34782608695652201</c:v>
                </c:pt>
                <c:pt idx="233">
                  <c:v>0.348314606741573</c:v>
                </c:pt>
                <c:pt idx="234">
                  <c:v>0.35</c:v>
                </c:pt>
                <c:pt idx="235">
                  <c:v>0.35174418604651198</c:v>
                </c:pt>
                <c:pt idx="236">
                  <c:v>0.352112676056338</c:v>
                </c:pt>
                <c:pt idx="237">
                  <c:v>0.35294117647058798</c:v>
                </c:pt>
                <c:pt idx="238">
                  <c:v>0.35329341317365298</c:v>
                </c:pt>
                <c:pt idx="239">
                  <c:v>0.35338345864661602</c:v>
                </c:pt>
                <c:pt idx="240">
                  <c:v>0.35353535353535298</c:v>
                </c:pt>
                <c:pt idx="241">
                  <c:v>0.353658536585366</c:v>
                </c:pt>
                <c:pt idx="242">
                  <c:v>0.35384615384615398</c:v>
                </c:pt>
                <c:pt idx="243">
                  <c:v>0.35398230088495602</c:v>
                </c:pt>
                <c:pt idx="244">
                  <c:v>0.35537190082644599</c:v>
                </c:pt>
                <c:pt idx="245">
                  <c:v>0.35632183908046</c:v>
                </c:pt>
                <c:pt idx="246">
                  <c:v>0.35648754914809999</c:v>
                </c:pt>
                <c:pt idx="247">
                  <c:v>0.35682819383259901</c:v>
                </c:pt>
                <c:pt idx="248">
                  <c:v>0.35714285714285698</c:v>
                </c:pt>
                <c:pt idx="249">
                  <c:v>0.359375</c:v>
                </c:pt>
                <c:pt idx="250">
                  <c:v>0.35947712418300598</c:v>
                </c:pt>
                <c:pt idx="251">
                  <c:v>0.36</c:v>
                </c:pt>
                <c:pt idx="252">
                  <c:v>0.36</c:v>
                </c:pt>
                <c:pt idx="253">
                  <c:v>0.36073059360730603</c:v>
                </c:pt>
                <c:pt idx="254">
                  <c:v>0.36158192090395502</c:v>
                </c:pt>
                <c:pt idx="255">
                  <c:v>0.36216839677047302</c:v>
                </c:pt>
                <c:pt idx="256">
                  <c:v>0.36231884057970998</c:v>
                </c:pt>
                <c:pt idx="257">
                  <c:v>0.36312849162011201</c:v>
                </c:pt>
                <c:pt idx="258">
                  <c:v>0.36338418862690702</c:v>
                </c:pt>
                <c:pt idx="259">
                  <c:v>0.36458333333333298</c:v>
                </c:pt>
                <c:pt idx="260">
                  <c:v>0.36585365853658502</c:v>
                </c:pt>
                <c:pt idx="261">
                  <c:v>0.36589698046181202</c:v>
                </c:pt>
                <c:pt idx="262">
                  <c:v>0.36627547869054999</c:v>
                </c:pt>
                <c:pt idx="263">
                  <c:v>0.366834170854271</c:v>
                </c:pt>
                <c:pt idx="264">
                  <c:v>0.36702127659574502</c:v>
                </c:pt>
                <c:pt idx="265">
                  <c:v>0.36734693877551</c:v>
                </c:pt>
                <c:pt idx="266">
                  <c:v>0.36792452830188699</c:v>
                </c:pt>
                <c:pt idx="267">
                  <c:v>0.36822429906541998</c:v>
                </c:pt>
                <c:pt idx="268">
                  <c:v>0.36842105263157898</c:v>
                </c:pt>
                <c:pt idx="269">
                  <c:v>0.36842105263157898</c:v>
                </c:pt>
                <c:pt idx="270">
                  <c:v>0.36875000000000002</c:v>
                </c:pt>
                <c:pt idx="271">
                  <c:v>0.36956521739130399</c:v>
                </c:pt>
                <c:pt idx="272">
                  <c:v>0.37037037037037002</c:v>
                </c:pt>
                <c:pt idx="273">
                  <c:v>0.37060478199718699</c:v>
                </c:pt>
                <c:pt idx="274">
                  <c:v>0.371428571428571</c:v>
                </c:pt>
                <c:pt idx="275">
                  <c:v>0.371428571428571</c:v>
                </c:pt>
                <c:pt idx="276">
                  <c:v>0.371428571428571</c:v>
                </c:pt>
                <c:pt idx="277">
                  <c:v>0.37190082644628097</c:v>
                </c:pt>
                <c:pt idx="278">
                  <c:v>0.372093023255814</c:v>
                </c:pt>
                <c:pt idx="279">
                  <c:v>0.37234042553191499</c:v>
                </c:pt>
                <c:pt idx="280">
                  <c:v>0.37254901960784298</c:v>
                </c:pt>
                <c:pt idx="281">
                  <c:v>0.37272727272727302</c:v>
                </c:pt>
                <c:pt idx="282">
                  <c:v>0.37288135593220301</c:v>
                </c:pt>
                <c:pt idx="283">
                  <c:v>0.37292817679557999</c:v>
                </c:pt>
                <c:pt idx="284">
                  <c:v>0.37468354430379702</c:v>
                </c:pt>
                <c:pt idx="285">
                  <c:v>0.375</c:v>
                </c:pt>
                <c:pt idx="286">
                  <c:v>0.375</c:v>
                </c:pt>
                <c:pt idx="287">
                  <c:v>0.375</c:v>
                </c:pt>
                <c:pt idx="288">
                  <c:v>0.37588652482269502</c:v>
                </c:pt>
                <c:pt idx="289">
                  <c:v>0.37634408602150499</c:v>
                </c:pt>
                <c:pt idx="290">
                  <c:v>0.37792207792207799</c:v>
                </c:pt>
                <c:pt idx="291">
                  <c:v>0.37881219903691798</c:v>
                </c:pt>
                <c:pt idx="292">
                  <c:v>0.37894736842105298</c:v>
                </c:pt>
                <c:pt idx="293">
                  <c:v>0.38022988505747102</c:v>
                </c:pt>
                <c:pt idx="294">
                  <c:v>0.38069498069498098</c:v>
                </c:pt>
                <c:pt idx="295">
                  <c:v>0.38080495356037097</c:v>
                </c:pt>
                <c:pt idx="296">
                  <c:v>0.38095238095238099</c:v>
                </c:pt>
                <c:pt idx="297">
                  <c:v>0.38095238095238099</c:v>
                </c:pt>
                <c:pt idx="298">
                  <c:v>0.38106235565819901</c:v>
                </c:pt>
                <c:pt idx="299">
                  <c:v>0.38129496402877699</c:v>
                </c:pt>
                <c:pt idx="300">
                  <c:v>0.38235294117647101</c:v>
                </c:pt>
                <c:pt idx="301">
                  <c:v>0.38235294117647101</c:v>
                </c:pt>
                <c:pt idx="302">
                  <c:v>0.38235294117647101</c:v>
                </c:pt>
                <c:pt idx="303">
                  <c:v>0.38235294117647101</c:v>
                </c:pt>
                <c:pt idx="304">
                  <c:v>0.38255033557047002</c:v>
                </c:pt>
                <c:pt idx="305">
                  <c:v>0.38308977035490599</c:v>
                </c:pt>
                <c:pt idx="306">
                  <c:v>0.38317757009345799</c:v>
                </c:pt>
                <c:pt idx="307">
                  <c:v>0.383647798742138</c:v>
                </c:pt>
                <c:pt idx="308">
                  <c:v>0.38372093023255799</c:v>
                </c:pt>
                <c:pt idx="309">
                  <c:v>0.383850931677019</c:v>
                </c:pt>
                <c:pt idx="310">
                  <c:v>0.38461538461538503</c:v>
                </c:pt>
                <c:pt idx="311">
                  <c:v>0.38461538461538503</c:v>
                </c:pt>
                <c:pt idx="312">
                  <c:v>0.38557993730407503</c:v>
                </c:pt>
                <c:pt idx="313">
                  <c:v>0.38679245283018898</c:v>
                </c:pt>
                <c:pt idx="314">
                  <c:v>0.38738738738738698</c:v>
                </c:pt>
                <c:pt idx="315">
                  <c:v>0.38793103448275901</c:v>
                </c:pt>
                <c:pt idx="316">
                  <c:v>0.38826185101580102</c:v>
                </c:pt>
                <c:pt idx="317">
                  <c:v>0.38875305623471901</c:v>
                </c:pt>
                <c:pt idx="318">
                  <c:v>0.38888888888888901</c:v>
                </c:pt>
                <c:pt idx="319">
                  <c:v>0.38928939237899102</c:v>
                </c:pt>
                <c:pt idx="320">
                  <c:v>0.38983050847457601</c:v>
                </c:pt>
                <c:pt idx="321">
                  <c:v>0.39130434782608697</c:v>
                </c:pt>
                <c:pt idx="322">
                  <c:v>0.39215686274509798</c:v>
                </c:pt>
                <c:pt idx="323">
                  <c:v>0.392202729044834</c:v>
                </c:pt>
                <c:pt idx="324">
                  <c:v>0.39263803680981602</c:v>
                </c:pt>
                <c:pt idx="325">
                  <c:v>0.39277899343544898</c:v>
                </c:pt>
                <c:pt idx="326">
                  <c:v>0.39285714285714302</c:v>
                </c:pt>
                <c:pt idx="327">
                  <c:v>0.39285714285714302</c:v>
                </c:pt>
                <c:pt idx="328">
                  <c:v>0.393630573248408</c:v>
                </c:pt>
                <c:pt idx="329">
                  <c:v>0.39405204460966498</c:v>
                </c:pt>
                <c:pt idx="330">
                  <c:v>0.39428571428571402</c:v>
                </c:pt>
                <c:pt idx="331">
                  <c:v>0.39520958083832303</c:v>
                </c:pt>
                <c:pt idx="332">
                  <c:v>0.39583333333333298</c:v>
                </c:pt>
                <c:pt idx="333">
                  <c:v>0.39601494396014902</c:v>
                </c:pt>
                <c:pt idx="334">
                  <c:v>0.39649122807017501</c:v>
                </c:pt>
                <c:pt idx="335">
                  <c:v>0.39672131147541001</c:v>
                </c:pt>
                <c:pt idx="336">
                  <c:v>0.39692307692307699</c:v>
                </c:pt>
                <c:pt idx="337">
                  <c:v>0.39756944444444398</c:v>
                </c:pt>
                <c:pt idx="338">
                  <c:v>0.39814814814814797</c:v>
                </c:pt>
                <c:pt idx="339">
                  <c:v>0.39814814814814797</c:v>
                </c:pt>
                <c:pt idx="340">
                  <c:v>0.39830508474576298</c:v>
                </c:pt>
                <c:pt idx="341">
                  <c:v>0.398960363872644</c:v>
                </c:pt>
                <c:pt idx="342">
                  <c:v>0.4</c:v>
                </c:pt>
                <c:pt idx="343">
                  <c:v>0.4</c:v>
                </c:pt>
                <c:pt idx="344">
                  <c:v>0.4</c:v>
                </c:pt>
                <c:pt idx="345">
                  <c:v>0.40037950664136601</c:v>
                </c:pt>
                <c:pt idx="346">
                  <c:v>0.400709219858156</c:v>
                </c:pt>
                <c:pt idx="347">
                  <c:v>0.401709401709402</c:v>
                </c:pt>
                <c:pt idx="348">
                  <c:v>0.40243902439024398</c:v>
                </c:pt>
                <c:pt idx="349">
                  <c:v>0.40259740259740301</c:v>
                </c:pt>
                <c:pt idx="350">
                  <c:v>0.40277777777777801</c:v>
                </c:pt>
                <c:pt idx="351">
                  <c:v>0.40277777777777801</c:v>
                </c:pt>
                <c:pt idx="352">
                  <c:v>0.403294367693943</c:v>
                </c:pt>
                <c:pt idx="353">
                  <c:v>0.40404040404040398</c:v>
                </c:pt>
                <c:pt idx="354">
                  <c:v>0.40418118466899</c:v>
                </c:pt>
                <c:pt idx="355">
                  <c:v>0.40425531914893598</c:v>
                </c:pt>
                <c:pt idx="356">
                  <c:v>0.40517241379310298</c:v>
                </c:pt>
                <c:pt idx="357">
                  <c:v>0.40554480980012902</c:v>
                </c:pt>
                <c:pt idx="358">
                  <c:v>0.40598802395209599</c:v>
                </c:pt>
                <c:pt idx="359">
                  <c:v>0.40606060606060601</c:v>
                </c:pt>
                <c:pt idx="360">
                  <c:v>0.40616966580976899</c:v>
                </c:pt>
                <c:pt idx="361">
                  <c:v>0.40625</c:v>
                </c:pt>
                <c:pt idx="362">
                  <c:v>0.40673575129533701</c:v>
                </c:pt>
                <c:pt idx="363">
                  <c:v>0.40697674418604601</c:v>
                </c:pt>
                <c:pt idx="364">
                  <c:v>0.40723270440251602</c:v>
                </c:pt>
                <c:pt idx="365">
                  <c:v>0.407407407407407</c:v>
                </c:pt>
                <c:pt idx="366">
                  <c:v>0.407407407407407</c:v>
                </c:pt>
                <c:pt idx="367">
                  <c:v>0.40909090909090901</c:v>
                </c:pt>
                <c:pt idx="368">
                  <c:v>0.40976331360946699</c:v>
                </c:pt>
                <c:pt idx="369">
                  <c:v>0.40978348035284701</c:v>
                </c:pt>
                <c:pt idx="370">
                  <c:v>0.41001353179972899</c:v>
                </c:pt>
                <c:pt idx="371">
                  <c:v>0.41076696165191701</c:v>
                </c:pt>
                <c:pt idx="372">
                  <c:v>0.41130604288499001</c:v>
                </c:pt>
                <c:pt idx="373">
                  <c:v>0.41176470588235298</c:v>
                </c:pt>
                <c:pt idx="374">
                  <c:v>0.41176470588235298</c:v>
                </c:pt>
                <c:pt idx="375">
                  <c:v>0.41184767277856099</c:v>
                </c:pt>
                <c:pt idx="376">
                  <c:v>0.41339770669885301</c:v>
                </c:pt>
                <c:pt idx="377">
                  <c:v>0.41379310344827602</c:v>
                </c:pt>
                <c:pt idx="378">
                  <c:v>0.41405269761606001</c:v>
                </c:pt>
                <c:pt idx="379">
                  <c:v>0.41414141414141398</c:v>
                </c:pt>
                <c:pt idx="380">
                  <c:v>0.414201183431953</c:v>
                </c:pt>
                <c:pt idx="381">
                  <c:v>0.414355628058728</c:v>
                </c:pt>
                <c:pt idx="382">
                  <c:v>0.41441441441441401</c:v>
                </c:pt>
                <c:pt idx="383">
                  <c:v>0.41545189504373198</c:v>
                </c:pt>
                <c:pt idx="384">
                  <c:v>0.41666666666666702</c:v>
                </c:pt>
                <c:pt idx="385">
                  <c:v>0.41687979539641901</c:v>
                </c:pt>
                <c:pt idx="386">
                  <c:v>0.41692307692307701</c:v>
                </c:pt>
                <c:pt idx="387">
                  <c:v>0.41725978647686801</c:v>
                </c:pt>
                <c:pt idx="388">
                  <c:v>0.41734417344173402</c:v>
                </c:pt>
                <c:pt idx="389">
                  <c:v>0.41791044776119401</c:v>
                </c:pt>
                <c:pt idx="390">
                  <c:v>0.41843971631205701</c:v>
                </c:pt>
                <c:pt idx="391">
                  <c:v>0.418604651162791</c:v>
                </c:pt>
                <c:pt idx="392">
                  <c:v>0.418604651162791</c:v>
                </c:pt>
                <c:pt idx="393">
                  <c:v>0.419047619047619</c:v>
                </c:pt>
                <c:pt idx="394">
                  <c:v>0.42032967032967</c:v>
                </c:pt>
                <c:pt idx="395">
                  <c:v>0.42105263157894701</c:v>
                </c:pt>
                <c:pt idx="396">
                  <c:v>0.42105263157894701</c:v>
                </c:pt>
                <c:pt idx="397">
                  <c:v>0.42105263157894701</c:v>
                </c:pt>
                <c:pt idx="398">
                  <c:v>0.42158859470468402</c:v>
                </c:pt>
                <c:pt idx="399">
                  <c:v>0.422077922077922</c:v>
                </c:pt>
                <c:pt idx="400">
                  <c:v>0.42292490118577097</c:v>
                </c:pt>
                <c:pt idx="401">
                  <c:v>0.42424242424242398</c:v>
                </c:pt>
                <c:pt idx="402">
                  <c:v>0.42424242424242398</c:v>
                </c:pt>
                <c:pt idx="403">
                  <c:v>0.42477876106194701</c:v>
                </c:pt>
                <c:pt idx="404">
                  <c:v>0.425133689839572</c:v>
                </c:pt>
                <c:pt idx="405">
                  <c:v>0.425398155909472</c:v>
                </c:pt>
                <c:pt idx="406">
                  <c:v>0.425438596491228</c:v>
                </c:pt>
                <c:pt idx="407">
                  <c:v>0.42570281124498</c:v>
                </c:pt>
                <c:pt idx="408">
                  <c:v>0.42592592592592599</c:v>
                </c:pt>
                <c:pt idx="409">
                  <c:v>0.42607003891050599</c:v>
                </c:pt>
                <c:pt idx="410">
                  <c:v>0.426086956521739</c:v>
                </c:pt>
                <c:pt idx="411">
                  <c:v>0.42739726027397301</c:v>
                </c:pt>
                <c:pt idx="412">
                  <c:v>0.42755681818181801</c:v>
                </c:pt>
                <c:pt idx="413">
                  <c:v>0.42790697674418599</c:v>
                </c:pt>
                <c:pt idx="414">
                  <c:v>0.42798353909464998</c:v>
                </c:pt>
                <c:pt idx="415">
                  <c:v>0.42857142857142899</c:v>
                </c:pt>
                <c:pt idx="416">
                  <c:v>0.42857142857142899</c:v>
                </c:pt>
                <c:pt idx="417">
                  <c:v>0.42857142857142899</c:v>
                </c:pt>
                <c:pt idx="418">
                  <c:v>0.42857142857142899</c:v>
                </c:pt>
                <c:pt idx="419">
                  <c:v>0.42878560719640202</c:v>
                </c:pt>
                <c:pt idx="420">
                  <c:v>0.42913385826771699</c:v>
                </c:pt>
                <c:pt idx="421">
                  <c:v>0.429643527204503</c:v>
                </c:pt>
                <c:pt idx="422">
                  <c:v>0.43006263048016702</c:v>
                </c:pt>
                <c:pt idx="423">
                  <c:v>0.430075187969925</c:v>
                </c:pt>
                <c:pt idx="424">
                  <c:v>0.43023255813953498</c:v>
                </c:pt>
                <c:pt idx="425">
                  <c:v>0.430379746835443</c:v>
                </c:pt>
                <c:pt idx="426">
                  <c:v>0.43055555555555602</c:v>
                </c:pt>
                <c:pt idx="427">
                  <c:v>0.43062200956937802</c:v>
                </c:pt>
                <c:pt idx="428">
                  <c:v>0.43073047858942098</c:v>
                </c:pt>
                <c:pt idx="429">
                  <c:v>0.43093922651933703</c:v>
                </c:pt>
                <c:pt idx="430">
                  <c:v>0.43099273607748201</c:v>
                </c:pt>
                <c:pt idx="431">
                  <c:v>0.43130990415335502</c:v>
                </c:pt>
                <c:pt idx="432">
                  <c:v>0.432</c:v>
                </c:pt>
                <c:pt idx="433">
                  <c:v>0.43234836702954899</c:v>
                </c:pt>
                <c:pt idx="434">
                  <c:v>0.432384341637011</c:v>
                </c:pt>
                <c:pt idx="435">
                  <c:v>0.43243243243243201</c:v>
                </c:pt>
                <c:pt idx="436">
                  <c:v>0.43291995490417101</c:v>
                </c:pt>
                <c:pt idx="437">
                  <c:v>0.43308865047995498</c:v>
                </c:pt>
                <c:pt idx="438">
                  <c:v>0.43333333333333302</c:v>
                </c:pt>
                <c:pt idx="439">
                  <c:v>0.43348982785602502</c:v>
                </c:pt>
                <c:pt idx="440">
                  <c:v>0.43381294964028799</c:v>
                </c:pt>
                <c:pt idx="441">
                  <c:v>0.43396226415094302</c:v>
                </c:pt>
                <c:pt idx="442">
                  <c:v>0.43420538852010898</c:v>
                </c:pt>
                <c:pt idx="443">
                  <c:v>0.43438538205980098</c:v>
                </c:pt>
                <c:pt idx="444">
                  <c:v>0.434782608695652</c:v>
                </c:pt>
                <c:pt idx="445">
                  <c:v>0.434782608695652</c:v>
                </c:pt>
                <c:pt idx="446">
                  <c:v>0.43512974051896203</c:v>
                </c:pt>
                <c:pt idx="447">
                  <c:v>0.43516209476309198</c:v>
                </c:pt>
                <c:pt idx="448">
                  <c:v>0.435294117647059</c:v>
                </c:pt>
                <c:pt idx="449">
                  <c:v>0.43548387096774199</c:v>
                </c:pt>
                <c:pt idx="450">
                  <c:v>0.43617021276595702</c:v>
                </c:pt>
                <c:pt idx="451">
                  <c:v>0.43684210526315798</c:v>
                </c:pt>
                <c:pt idx="452">
                  <c:v>0.43686309260079798</c:v>
                </c:pt>
                <c:pt idx="453">
                  <c:v>0.4375</c:v>
                </c:pt>
                <c:pt idx="454">
                  <c:v>0.4375</c:v>
                </c:pt>
                <c:pt idx="455">
                  <c:v>0.4375</c:v>
                </c:pt>
                <c:pt idx="456">
                  <c:v>0.43774319066147899</c:v>
                </c:pt>
                <c:pt idx="457">
                  <c:v>0.43796711509716002</c:v>
                </c:pt>
                <c:pt idx="458">
                  <c:v>0.43814432989690699</c:v>
                </c:pt>
                <c:pt idx="459">
                  <c:v>0.43859649122806998</c:v>
                </c:pt>
                <c:pt idx="460">
                  <c:v>0.43870967741935502</c:v>
                </c:pt>
                <c:pt idx="461">
                  <c:v>0.43914081145584699</c:v>
                </c:pt>
                <c:pt idx="462">
                  <c:v>0.439285714285714</c:v>
                </c:pt>
                <c:pt idx="463">
                  <c:v>0.43965517241379298</c:v>
                </c:pt>
                <c:pt idx="464">
                  <c:v>0.43978102189780999</c:v>
                </c:pt>
                <c:pt idx="465">
                  <c:v>0.43991416309012898</c:v>
                </c:pt>
                <c:pt idx="466">
                  <c:v>0.43992248062015499</c:v>
                </c:pt>
                <c:pt idx="467">
                  <c:v>0.44</c:v>
                </c:pt>
                <c:pt idx="468">
                  <c:v>0.44005641748942198</c:v>
                </c:pt>
                <c:pt idx="469">
                  <c:v>0.44025157232704398</c:v>
                </c:pt>
                <c:pt idx="470">
                  <c:v>0.44066193853427899</c:v>
                </c:pt>
                <c:pt idx="471">
                  <c:v>0.44081632653061198</c:v>
                </c:pt>
                <c:pt idx="472">
                  <c:v>0.44086021505376299</c:v>
                </c:pt>
                <c:pt idx="473">
                  <c:v>0.44095940959409602</c:v>
                </c:pt>
                <c:pt idx="474">
                  <c:v>0.441176470588235</c:v>
                </c:pt>
                <c:pt idx="475">
                  <c:v>0.44162436548223299</c:v>
                </c:pt>
                <c:pt idx="476">
                  <c:v>0.442</c:v>
                </c:pt>
                <c:pt idx="477">
                  <c:v>0.44206008583690998</c:v>
                </c:pt>
                <c:pt idx="478">
                  <c:v>0.44221105527638199</c:v>
                </c:pt>
                <c:pt idx="479">
                  <c:v>0.442424242424242</c:v>
                </c:pt>
                <c:pt idx="480">
                  <c:v>0.44247787610619499</c:v>
                </c:pt>
                <c:pt idx="481">
                  <c:v>0.44262295081967201</c:v>
                </c:pt>
                <c:pt idx="482">
                  <c:v>0.44267053701016001</c:v>
                </c:pt>
                <c:pt idx="483">
                  <c:v>0.442922374429224</c:v>
                </c:pt>
                <c:pt idx="484">
                  <c:v>0.44320297951582899</c:v>
                </c:pt>
                <c:pt idx="485">
                  <c:v>0.443931398416887</c:v>
                </c:pt>
                <c:pt idx="486">
                  <c:v>0.44407894736842102</c:v>
                </c:pt>
                <c:pt idx="487">
                  <c:v>0.44408427876823298</c:v>
                </c:pt>
                <c:pt idx="488">
                  <c:v>0.44444444444444398</c:v>
                </c:pt>
                <c:pt idx="489">
                  <c:v>0.44444444444444398</c:v>
                </c:pt>
                <c:pt idx="490">
                  <c:v>0.44444444444444398</c:v>
                </c:pt>
                <c:pt idx="491">
                  <c:v>0.44452945677123201</c:v>
                </c:pt>
                <c:pt idx="492">
                  <c:v>0.44470046082949299</c:v>
                </c:pt>
                <c:pt idx="493">
                  <c:v>0.44475138121546998</c:v>
                </c:pt>
                <c:pt idx="494">
                  <c:v>0.44484629294755901</c:v>
                </c:pt>
                <c:pt idx="495">
                  <c:v>0.445578231292517</c:v>
                </c:pt>
                <c:pt idx="496">
                  <c:v>0.44614264919941798</c:v>
                </c:pt>
                <c:pt idx="497">
                  <c:v>0.44628099173553698</c:v>
                </c:pt>
                <c:pt idx="498">
                  <c:v>0.44662576687116601</c:v>
                </c:pt>
                <c:pt idx="499">
                  <c:v>0.44680851063829802</c:v>
                </c:pt>
                <c:pt idx="500">
                  <c:v>0.44680851063829802</c:v>
                </c:pt>
                <c:pt idx="501">
                  <c:v>0.44680851063829802</c:v>
                </c:pt>
                <c:pt idx="502">
                  <c:v>0.44707520891364899</c:v>
                </c:pt>
                <c:pt idx="503">
                  <c:v>0.447204968944099</c:v>
                </c:pt>
                <c:pt idx="504">
                  <c:v>0.448421052631579</c:v>
                </c:pt>
                <c:pt idx="505">
                  <c:v>0.44871794871794901</c:v>
                </c:pt>
                <c:pt idx="506">
                  <c:v>0.44897959183673503</c:v>
                </c:pt>
                <c:pt idx="507">
                  <c:v>0.44920993227991002</c:v>
                </c:pt>
                <c:pt idx="508">
                  <c:v>0.44983818770226502</c:v>
                </c:pt>
                <c:pt idx="509">
                  <c:v>0.450273224043716</c:v>
                </c:pt>
                <c:pt idx="510">
                  <c:v>0.45047923322683697</c:v>
                </c:pt>
                <c:pt idx="511">
                  <c:v>0.450606585788561</c:v>
                </c:pt>
                <c:pt idx="512">
                  <c:v>0.45087900723888302</c:v>
                </c:pt>
                <c:pt idx="513">
                  <c:v>0.45210084033613401</c:v>
                </c:pt>
                <c:pt idx="514">
                  <c:v>0.452214452214452</c:v>
                </c:pt>
                <c:pt idx="515">
                  <c:v>0.45225541886350301</c:v>
                </c:pt>
                <c:pt idx="516">
                  <c:v>0.45252225519287798</c:v>
                </c:pt>
                <c:pt idx="517">
                  <c:v>0.452631578947368</c:v>
                </c:pt>
                <c:pt idx="518">
                  <c:v>0.45412844036697197</c:v>
                </c:pt>
                <c:pt idx="519">
                  <c:v>0.45454545454545398</c:v>
                </c:pt>
                <c:pt idx="520">
                  <c:v>0.454912516823688</c:v>
                </c:pt>
                <c:pt idx="521">
                  <c:v>0.45504087193460502</c:v>
                </c:pt>
                <c:pt idx="522">
                  <c:v>0.45575221238938002</c:v>
                </c:pt>
                <c:pt idx="523">
                  <c:v>0.45588235294117602</c:v>
                </c:pt>
                <c:pt idx="524">
                  <c:v>0.45604395604395598</c:v>
                </c:pt>
                <c:pt idx="525">
                  <c:v>0.45659163987138301</c:v>
                </c:pt>
                <c:pt idx="526">
                  <c:v>0.45659163987138301</c:v>
                </c:pt>
                <c:pt idx="527">
                  <c:v>0.45714285714285702</c:v>
                </c:pt>
                <c:pt idx="528">
                  <c:v>0.45714285714285702</c:v>
                </c:pt>
                <c:pt idx="529">
                  <c:v>0.45726495726495697</c:v>
                </c:pt>
                <c:pt idx="530">
                  <c:v>0.45789473684210502</c:v>
                </c:pt>
                <c:pt idx="531">
                  <c:v>0.45791245791245799</c:v>
                </c:pt>
                <c:pt idx="532">
                  <c:v>0.45800316957210802</c:v>
                </c:pt>
                <c:pt idx="533">
                  <c:v>0.458452722063037</c:v>
                </c:pt>
                <c:pt idx="534">
                  <c:v>0.458984375</c:v>
                </c:pt>
                <c:pt idx="535">
                  <c:v>0.45901639344262302</c:v>
                </c:pt>
                <c:pt idx="536">
                  <c:v>0.45913043478260901</c:v>
                </c:pt>
                <c:pt idx="537">
                  <c:v>0.45945945945945899</c:v>
                </c:pt>
                <c:pt idx="538">
                  <c:v>0.45945945945945899</c:v>
                </c:pt>
                <c:pt idx="539">
                  <c:v>0.459588353413655</c:v>
                </c:pt>
                <c:pt idx="540">
                  <c:v>0.45971370143149298</c:v>
                </c:pt>
                <c:pt idx="541">
                  <c:v>0.45985401459853997</c:v>
                </c:pt>
                <c:pt idx="542">
                  <c:v>0.46022727272727298</c:v>
                </c:pt>
                <c:pt idx="543">
                  <c:v>0.46067415730337102</c:v>
                </c:pt>
                <c:pt idx="544">
                  <c:v>0.4610630407911</c:v>
                </c:pt>
                <c:pt idx="545">
                  <c:v>0.46124763705103999</c:v>
                </c:pt>
                <c:pt idx="546">
                  <c:v>0.46153846153846201</c:v>
                </c:pt>
                <c:pt idx="547">
                  <c:v>0.46153846153846201</c:v>
                </c:pt>
                <c:pt idx="548">
                  <c:v>0.46153846153846201</c:v>
                </c:pt>
                <c:pt idx="549">
                  <c:v>0.46215139442231101</c:v>
                </c:pt>
                <c:pt idx="550">
                  <c:v>0.4629057187017</c:v>
                </c:pt>
                <c:pt idx="551">
                  <c:v>0.463286713286713</c:v>
                </c:pt>
                <c:pt idx="552">
                  <c:v>0.46341463414634099</c:v>
                </c:pt>
                <c:pt idx="553">
                  <c:v>0.463644140290847</c:v>
                </c:pt>
                <c:pt idx="554">
                  <c:v>0.463687150837989</c:v>
                </c:pt>
                <c:pt idx="555">
                  <c:v>0.46385542168674698</c:v>
                </c:pt>
                <c:pt idx="556">
                  <c:v>0.46385542168674698</c:v>
                </c:pt>
                <c:pt idx="557">
                  <c:v>0.46389891696750901</c:v>
                </c:pt>
                <c:pt idx="558">
                  <c:v>0.46428571428571402</c:v>
                </c:pt>
                <c:pt idx="559">
                  <c:v>0.46431199411331903</c:v>
                </c:pt>
                <c:pt idx="560">
                  <c:v>0.464454976303318</c:v>
                </c:pt>
                <c:pt idx="561">
                  <c:v>0.46448087431694002</c:v>
                </c:pt>
                <c:pt idx="562">
                  <c:v>0.46451612903225797</c:v>
                </c:pt>
                <c:pt idx="563">
                  <c:v>0.464566929133858</c:v>
                </c:pt>
                <c:pt idx="564">
                  <c:v>0.46472392638036802</c:v>
                </c:pt>
                <c:pt idx="565">
                  <c:v>0.46478873239436602</c:v>
                </c:pt>
                <c:pt idx="566">
                  <c:v>0.46511627906976699</c:v>
                </c:pt>
                <c:pt idx="567">
                  <c:v>0.465425531914894</c:v>
                </c:pt>
                <c:pt idx="568">
                  <c:v>0.46551724137931</c:v>
                </c:pt>
                <c:pt idx="569">
                  <c:v>0.46555683122847302</c:v>
                </c:pt>
                <c:pt idx="570">
                  <c:v>0.46581875993640698</c:v>
                </c:pt>
                <c:pt idx="571">
                  <c:v>0.46628407460545201</c:v>
                </c:pt>
                <c:pt idx="572">
                  <c:v>0.46666666666666701</c:v>
                </c:pt>
                <c:pt idx="573">
                  <c:v>0.46676970633693998</c:v>
                </c:pt>
                <c:pt idx="574">
                  <c:v>0.46678854357099298</c:v>
                </c:pt>
                <c:pt idx="575">
                  <c:v>0.46685878962535998</c:v>
                </c:pt>
                <c:pt idx="576">
                  <c:v>0.46750000000000003</c:v>
                </c:pt>
                <c:pt idx="577">
                  <c:v>0.467592592592593</c:v>
                </c:pt>
                <c:pt idx="578">
                  <c:v>0.467592592592593</c:v>
                </c:pt>
                <c:pt idx="579">
                  <c:v>0.46788990825688098</c:v>
                </c:pt>
                <c:pt idx="580">
                  <c:v>0.46808510638297901</c:v>
                </c:pt>
                <c:pt idx="581">
                  <c:v>0.46808510638297901</c:v>
                </c:pt>
                <c:pt idx="582">
                  <c:v>0.46808510638297901</c:v>
                </c:pt>
                <c:pt idx="583">
                  <c:v>0.468354430379747</c:v>
                </c:pt>
                <c:pt idx="584">
                  <c:v>0.46875</c:v>
                </c:pt>
                <c:pt idx="585">
                  <c:v>0.46875</c:v>
                </c:pt>
                <c:pt idx="586">
                  <c:v>0.46927374301676</c:v>
                </c:pt>
                <c:pt idx="587">
                  <c:v>0.46934865900383099</c:v>
                </c:pt>
                <c:pt idx="588">
                  <c:v>0.46947368421052599</c:v>
                </c:pt>
                <c:pt idx="589">
                  <c:v>0.46949327817993802</c:v>
                </c:pt>
                <c:pt idx="590">
                  <c:v>0.46956521739130402</c:v>
                </c:pt>
                <c:pt idx="591">
                  <c:v>0.46985446985446999</c:v>
                </c:pt>
                <c:pt idx="592">
                  <c:v>0.47038327526132401</c:v>
                </c:pt>
                <c:pt idx="593">
                  <c:v>0.470558631102164</c:v>
                </c:pt>
                <c:pt idx="594">
                  <c:v>0.47058823529411797</c:v>
                </c:pt>
                <c:pt idx="595">
                  <c:v>0.47073791348600502</c:v>
                </c:pt>
                <c:pt idx="596">
                  <c:v>0.47084548104956297</c:v>
                </c:pt>
                <c:pt idx="597">
                  <c:v>0.47117296222664001</c:v>
                </c:pt>
                <c:pt idx="598">
                  <c:v>0.47144754316069098</c:v>
                </c:pt>
                <c:pt idx="599">
                  <c:v>0.47191011235955099</c:v>
                </c:pt>
                <c:pt idx="600">
                  <c:v>0.47222222222222199</c:v>
                </c:pt>
                <c:pt idx="601">
                  <c:v>0.47222222222222199</c:v>
                </c:pt>
                <c:pt idx="602">
                  <c:v>0.47222222222222199</c:v>
                </c:pt>
                <c:pt idx="603">
                  <c:v>0.47232207045291202</c:v>
                </c:pt>
                <c:pt idx="604">
                  <c:v>0.47234814143245701</c:v>
                </c:pt>
                <c:pt idx="605">
                  <c:v>0.47286821705426402</c:v>
                </c:pt>
                <c:pt idx="606">
                  <c:v>0.47360000000000002</c:v>
                </c:pt>
                <c:pt idx="607">
                  <c:v>0.47368421052631599</c:v>
                </c:pt>
                <c:pt idx="608">
                  <c:v>0.47368421052631599</c:v>
                </c:pt>
                <c:pt idx="609">
                  <c:v>0.47368421052631599</c:v>
                </c:pt>
                <c:pt idx="610">
                  <c:v>0.47368421052631599</c:v>
                </c:pt>
                <c:pt idx="611">
                  <c:v>0.47368421052631599</c:v>
                </c:pt>
                <c:pt idx="612">
                  <c:v>0.47378832838773499</c:v>
                </c:pt>
                <c:pt idx="613">
                  <c:v>0.47384155455904298</c:v>
                </c:pt>
                <c:pt idx="614">
                  <c:v>0.474320241691843</c:v>
                </c:pt>
                <c:pt idx="615">
                  <c:v>0.474813432835821</c:v>
                </c:pt>
                <c:pt idx="616">
                  <c:v>0.47499999999999998</c:v>
                </c:pt>
                <c:pt idx="617">
                  <c:v>0.47529411764705898</c:v>
                </c:pt>
                <c:pt idx="618">
                  <c:v>0.47540983606557402</c:v>
                </c:pt>
                <c:pt idx="619">
                  <c:v>0.47562582345191001</c:v>
                </c:pt>
                <c:pt idx="620">
                  <c:v>0.47592385218365102</c:v>
                </c:pt>
                <c:pt idx="621">
                  <c:v>0.476190476190476</c:v>
                </c:pt>
                <c:pt idx="622">
                  <c:v>0.47625698324022298</c:v>
                </c:pt>
                <c:pt idx="623">
                  <c:v>0.47628865979381402</c:v>
                </c:pt>
                <c:pt idx="624">
                  <c:v>0.47657928663515298</c:v>
                </c:pt>
                <c:pt idx="625">
                  <c:v>0.476643241008681</c:v>
                </c:pt>
                <c:pt idx="626">
                  <c:v>0.47665056360708502</c:v>
                </c:pt>
                <c:pt idx="627">
                  <c:v>0.476673427991886</c:v>
                </c:pt>
                <c:pt idx="628">
                  <c:v>0.47672485453034102</c:v>
                </c:pt>
                <c:pt idx="629">
                  <c:v>0.47681159420289898</c:v>
                </c:pt>
                <c:pt idx="630">
                  <c:v>0.47683397683397699</c:v>
                </c:pt>
                <c:pt idx="631">
                  <c:v>0.47712418300653597</c:v>
                </c:pt>
                <c:pt idx="632">
                  <c:v>0.47720797720797697</c:v>
                </c:pt>
                <c:pt idx="633">
                  <c:v>0.47802993722839199</c:v>
                </c:pt>
                <c:pt idx="634">
                  <c:v>0.47826086956521702</c:v>
                </c:pt>
                <c:pt idx="635">
                  <c:v>0.47826086956521702</c:v>
                </c:pt>
                <c:pt idx="636">
                  <c:v>0.47848101265822801</c:v>
                </c:pt>
                <c:pt idx="637">
                  <c:v>0.47872340425531901</c:v>
                </c:pt>
                <c:pt idx="638">
                  <c:v>0.47872340425531901</c:v>
                </c:pt>
                <c:pt idx="639">
                  <c:v>0.47882268485283602</c:v>
                </c:pt>
                <c:pt idx="640">
                  <c:v>0.47912317327766202</c:v>
                </c:pt>
                <c:pt idx="641">
                  <c:v>0.47916666666666702</c:v>
                </c:pt>
                <c:pt idx="642">
                  <c:v>0.47975077881619899</c:v>
                </c:pt>
                <c:pt idx="643">
                  <c:v>0.479768786127168</c:v>
                </c:pt>
                <c:pt idx="644">
                  <c:v>0.480132450331126</c:v>
                </c:pt>
                <c:pt idx="645">
                  <c:v>0.480151228733459</c:v>
                </c:pt>
                <c:pt idx="646">
                  <c:v>0.48056994818652798</c:v>
                </c:pt>
                <c:pt idx="647">
                  <c:v>0.48085106382978698</c:v>
                </c:pt>
                <c:pt idx="648">
                  <c:v>0.48086124401913899</c:v>
                </c:pt>
                <c:pt idx="649">
                  <c:v>0.48089171974522299</c:v>
                </c:pt>
                <c:pt idx="650">
                  <c:v>0.48106060606060602</c:v>
                </c:pt>
                <c:pt idx="651">
                  <c:v>0.48120300751879702</c:v>
                </c:pt>
                <c:pt idx="652">
                  <c:v>0.48148148148148101</c:v>
                </c:pt>
                <c:pt idx="653">
                  <c:v>0.48192771084337299</c:v>
                </c:pt>
                <c:pt idx="654">
                  <c:v>0.48214285714285698</c:v>
                </c:pt>
                <c:pt idx="655">
                  <c:v>0.48214285714285698</c:v>
                </c:pt>
                <c:pt idx="656">
                  <c:v>0.482374768089054</c:v>
                </c:pt>
                <c:pt idx="657">
                  <c:v>0.48250460405156498</c:v>
                </c:pt>
                <c:pt idx="658">
                  <c:v>0.48263888888888901</c:v>
                </c:pt>
                <c:pt idx="659">
                  <c:v>0.48275862068965503</c:v>
                </c:pt>
                <c:pt idx="660">
                  <c:v>0.48280423280423301</c:v>
                </c:pt>
                <c:pt idx="661">
                  <c:v>0.48284960422163598</c:v>
                </c:pt>
                <c:pt idx="662">
                  <c:v>0.48299319727891199</c:v>
                </c:pt>
                <c:pt idx="663">
                  <c:v>0.48314606741573002</c:v>
                </c:pt>
                <c:pt idx="664">
                  <c:v>0.48319327731092399</c:v>
                </c:pt>
                <c:pt idx="665">
                  <c:v>0.48351648351648302</c:v>
                </c:pt>
                <c:pt idx="666">
                  <c:v>0.48359966358284301</c:v>
                </c:pt>
                <c:pt idx="667">
                  <c:v>0.48361381753764399</c:v>
                </c:pt>
                <c:pt idx="668">
                  <c:v>0.483870967741935</c:v>
                </c:pt>
                <c:pt idx="669">
                  <c:v>0.483870967741935</c:v>
                </c:pt>
                <c:pt idx="670">
                  <c:v>0.483870967741935</c:v>
                </c:pt>
                <c:pt idx="671">
                  <c:v>0.483870967741935</c:v>
                </c:pt>
                <c:pt idx="672">
                  <c:v>0.48427672955974799</c:v>
                </c:pt>
                <c:pt idx="673">
                  <c:v>0.48447204968944102</c:v>
                </c:pt>
                <c:pt idx="674">
                  <c:v>0.48453608247422703</c:v>
                </c:pt>
                <c:pt idx="675">
                  <c:v>0.48504273504273498</c:v>
                </c:pt>
                <c:pt idx="676">
                  <c:v>0.48507462686567199</c:v>
                </c:pt>
                <c:pt idx="677">
                  <c:v>0.48514851485148502</c:v>
                </c:pt>
                <c:pt idx="678">
                  <c:v>0.48529411764705899</c:v>
                </c:pt>
                <c:pt idx="679">
                  <c:v>0.48586118251928001</c:v>
                </c:pt>
                <c:pt idx="680">
                  <c:v>0.48587570621468901</c:v>
                </c:pt>
                <c:pt idx="681">
                  <c:v>0.48598130841121501</c:v>
                </c:pt>
                <c:pt idx="682">
                  <c:v>0.48632218844984798</c:v>
                </c:pt>
                <c:pt idx="683">
                  <c:v>0.48672566371681403</c:v>
                </c:pt>
                <c:pt idx="684">
                  <c:v>0.48678071539657802</c:v>
                </c:pt>
                <c:pt idx="685">
                  <c:v>0.48712667353244099</c:v>
                </c:pt>
                <c:pt idx="686">
                  <c:v>0.48728139904610501</c:v>
                </c:pt>
                <c:pt idx="687">
                  <c:v>0.48756218905472598</c:v>
                </c:pt>
                <c:pt idx="688">
                  <c:v>0.48768472906403898</c:v>
                </c:pt>
                <c:pt idx="689">
                  <c:v>0.48798521256931598</c:v>
                </c:pt>
                <c:pt idx="690">
                  <c:v>0.488188976377953</c:v>
                </c:pt>
                <c:pt idx="691">
                  <c:v>0.48823529411764699</c:v>
                </c:pt>
                <c:pt idx="692">
                  <c:v>0.48863212821468499</c:v>
                </c:pt>
                <c:pt idx="693">
                  <c:v>0.48890784982935098</c:v>
                </c:pt>
                <c:pt idx="694">
                  <c:v>0.488958990536278</c:v>
                </c:pt>
                <c:pt idx="695">
                  <c:v>0.48915662650602398</c:v>
                </c:pt>
                <c:pt idx="696">
                  <c:v>0.48933601609657901</c:v>
                </c:pt>
                <c:pt idx="697">
                  <c:v>0.48958333333333298</c:v>
                </c:pt>
                <c:pt idx="698">
                  <c:v>0.48969072164948402</c:v>
                </c:pt>
                <c:pt idx="699">
                  <c:v>0.48973607038123201</c:v>
                </c:pt>
                <c:pt idx="700">
                  <c:v>0.48979591836734698</c:v>
                </c:pt>
                <c:pt idx="701">
                  <c:v>0.48986486486486502</c:v>
                </c:pt>
                <c:pt idx="702">
                  <c:v>0.49019607843137197</c:v>
                </c:pt>
                <c:pt idx="703">
                  <c:v>0.49042145593869702</c:v>
                </c:pt>
                <c:pt idx="704">
                  <c:v>0.490566037735849</c:v>
                </c:pt>
                <c:pt idx="705">
                  <c:v>0.490566037735849</c:v>
                </c:pt>
                <c:pt idx="706">
                  <c:v>0.49090909090909102</c:v>
                </c:pt>
                <c:pt idx="707">
                  <c:v>0.49160908193484698</c:v>
                </c:pt>
                <c:pt idx="708">
                  <c:v>0.49168975069252102</c:v>
                </c:pt>
                <c:pt idx="709">
                  <c:v>0.49181446111868998</c:v>
                </c:pt>
                <c:pt idx="710">
                  <c:v>0.49197860962566797</c:v>
                </c:pt>
                <c:pt idx="711">
                  <c:v>0.49200492004919999</c:v>
                </c:pt>
                <c:pt idx="712">
                  <c:v>0.49209039548022598</c:v>
                </c:pt>
                <c:pt idx="713">
                  <c:v>0.49244060475161999</c:v>
                </c:pt>
                <c:pt idx="714">
                  <c:v>0.492492492492492</c:v>
                </c:pt>
                <c:pt idx="715">
                  <c:v>0.49253731343283602</c:v>
                </c:pt>
                <c:pt idx="716">
                  <c:v>0.492547906316537</c:v>
                </c:pt>
                <c:pt idx="717">
                  <c:v>0.49272349272349297</c:v>
                </c:pt>
                <c:pt idx="718">
                  <c:v>0.49272349272349297</c:v>
                </c:pt>
                <c:pt idx="719">
                  <c:v>0.49285714285714299</c:v>
                </c:pt>
                <c:pt idx="720">
                  <c:v>0.49298409728718401</c:v>
                </c:pt>
                <c:pt idx="721">
                  <c:v>0.49330783938814499</c:v>
                </c:pt>
                <c:pt idx="722">
                  <c:v>0.49342481417953099</c:v>
                </c:pt>
                <c:pt idx="723">
                  <c:v>0.49355432780847103</c:v>
                </c:pt>
                <c:pt idx="724">
                  <c:v>0.49364021804966701</c:v>
                </c:pt>
                <c:pt idx="725">
                  <c:v>0.49373433583959903</c:v>
                </c:pt>
                <c:pt idx="726">
                  <c:v>0.49401913875598102</c:v>
                </c:pt>
                <c:pt idx="727">
                  <c:v>0.49411764705882399</c:v>
                </c:pt>
                <c:pt idx="728">
                  <c:v>0.49416342412451397</c:v>
                </c:pt>
                <c:pt idx="729">
                  <c:v>0.49421128798842301</c:v>
                </c:pt>
                <c:pt idx="730">
                  <c:v>0.49466192170818502</c:v>
                </c:pt>
                <c:pt idx="731">
                  <c:v>0.49468085106382997</c:v>
                </c:pt>
                <c:pt idx="732">
                  <c:v>0.49475262368815598</c:v>
                </c:pt>
                <c:pt idx="733">
                  <c:v>0.49502487562189101</c:v>
                </c:pt>
                <c:pt idx="734">
                  <c:v>0.495145631067961</c:v>
                </c:pt>
                <c:pt idx="735">
                  <c:v>0.49518304431599203</c:v>
                </c:pt>
                <c:pt idx="736">
                  <c:v>0.49523809523809498</c:v>
                </c:pt>
                <c:pt idx="737">
                  <c:v>0.49574105621805797</c:v>
                </c:pt>
                <c:pt idx="738">
                  <c:v>0.49576271186440701</c:v>
                </c:pt>
                <c:pt idx="739">
                  <c:v>0.49625935162094797</c:v>
                </c:pt>
                <c:pt idx="740">
                  <c:v>0.49671977507029003</c:v>
                </c:pt>
                <c:pt idx="741">
                  <c:v>0.49679487179487197</c:v>
                </c:pt>
                <c:pt idx="742">
                  <c:v>0.49704142011834301</c:v>
                </c:pt>
                <c:pt idx="743">
                  <c:v>0.49728892331525898</c:v>
                </c:pt>
                <c:pt idx="744">
                  <c:v>0.49741824440619598</c:v>
                </c:pt>
                <c:pt idx="745">
                  <c:v>0.49779735682819398</c:v>
                </c:pt>
                <c:pt idx="746">
                  <c:v>0.49812030075188002</c:v>
                </c:pt>
                <c:pt idx="747">
                  <c:v>0.49869994799792</c:v>
                </c:pt>
                <c:pt idx="748">
                  <c:v>0.49887640449438198</c:v>
                </c:pt>
                <c:pt idx="749">
                  <c:v>0.49892008639308799</c:v>
                </c:pt>
                <c:pt idx="750">
                  <c:v>0.49911971830985902</c:v>
                </c:pt>
                <c:pt idx="751">
                  <c:v>0.49960285941223198</c:v>
                </c:pt>
                <c:pt idx="752">
                  <c:v>0.5</c:v>
                </c:pt>
                <c:pt idx="753">
                  <c:v>0.5</c:v>
                </c:pt>
                <c:pt idx="754">
                  <c:v>0.5</c:v>
                </c:pt>
                <c:pt idx="755">
                  <c:v>0.5</c:v>
                </c:pt>
                <c:pt idx="756">
                  <c:v>0.5</c:v>
                </c:pt>
                <c:pt idx="757">
                  <c:v>0.5</c:v>
                </c:pt>
                <c:pt idx="758">
                  <c:v>0.5</c:v>
                </c:pt>
                <c:pt idx="759">
                  <c:v>0.5</c:v>
                </c:pt>
                <c:pt idx="760">
                  <c:v>0.5</c:v>
                </c:pt>
                <c:pt idx="761">
                  <c:v>0.5</c:v>
                </c:pt>
                <c:pt idx="762">
                  <c:v>0.5</c:v>
                </c:pt>
                <c:pt idx="763">
                  <c:v>0.5</c:v>
                </c:pt>
                <c:pt idx="764">
                  <c:v>0.5</c:v>
                </c:pt>
                <c:pt idx="765">
                  <c:v>0.5</c:v>
                </c:pt>
                <c:pt idx="766">
                  <c:v>0.5</c:v>
                </c:pt>
                <c:pt idx="767">
                  <c:v>0.5</c:v>
                </c:pt>
                <c:pt idx="768">
                  <c:v>0.5</c:v>
                </c:pt>
                <c:pt idx="769">
                  <c:v>0.5</c:v>
                </c:pt>
                <c:pt idx="770">
                  <c:v>0.5</c:v>
                </c:pt>
                <c:pt idx="771">
                  <c:v>0.5</c:v>
                </c:pt>
                <c:pt idx="772">
                  <c:v>0.5</c:v>
                </c:pt>
                <c:pt idx="773">
                  <c:v>0.5</c:v>
                </c:pt>
                <c:pt idx="774">
                  <c:v>0.50042844901456696</c:v>
                </c:pt>
                <c:pt idx="775">
                  <c:v>0.50104166666666705</c:v>
                </c:pt>
                <c:pt idx="776">
                  <c:v>0.50121065375302698</c:v>
                </c:pt>
                <c:pt idx="777">
                  <c:v>0.50165016501650195</c:v>
                </c:pt>
                <c:pt idx="778">
                  <c:v>0.501680672268908</c:v>
                </c:pt>
                <c:pt idx="779">
                  <c:v>0.50210970464134996</c:v>
                </c:pt>
                <c:pt idx="780">
                  <c:v>0.50215208034433301</c:v>
                </c:pt>
                <c:pt idx="781">
                  <c:v>0.50226244343891402</c:v>
                </c:pt>
                <c:pt idx="782">
                  <c:v>0.50250626566416001</c:v>
                </c:pt>
                <c:pt idx="783">
                  <c:v>0.50252780586450996</c:v>
                </c:pt>
                <c:pt idx="784">
                  <c:v>0.502742230347349</c:v>
                </c:pt>
                <c:pt idx="785">
                  <c:v>0.50284090909090895</c:v>
                </c:pt>
                <c:pt idx="786">
                  <c:v>0.50307619498343603</c:v>
                </c:pt>
                <c:pt idx="787">
                  <c:v>0.50341530054644801</c:v>
                </c:pt>
                <c:pt idx="788">
                  <c:v>0.50342465753424703</c:v>
                </c:pt>
                <c:pt idx="789">
                  <c:v>0.50346420323325602</c:v>
                </c:pt>
                <c:pt idx="790">
                  <c:v>0.50346921075455298</c:v>
                </c:pt>
                <c:pt idx="791">
                  <c:v>0.50359712230215803</c:v>
                </c:pt>
                <c:pt idx="792">
                  <c:v>0.50374531835206005</c:v>
                </c:pt>
                <c:pt idx="793">
                  <c:v>0.50390625</c:v>
                </c:pt>
                <c:pt idx="794">
                  <c:v>0.50391061452513997</c:v>
                </c:pt>
                <c:pt idx="795">
                  <c:v>0.50406504065040603</c:v>
                </c:pt>
                <c:pt idx="796">
                  <c:v>0.504132231404959</c:v>
                </c:pt>
                <c:pt idx="797">
                  <c:v>0.50425531914893595</c:v>
                </c:pt>
                <c:pt idx="798">
                  <c:v>0.50513698630137005</c:v>
                </c:pt>
                <c:pt idx="799">
                  <c:v>0.505335844318895</c:v>
                </c:pt>
                <c:pt idx="800">
                  <c:v>0.50535077288941699</c:v>
                </c:pt>
                <c:pt idx="801">
                  <c:v>0.50537634408602095</c:v>
                </c:pt>
                <c:pt idx="802">
                  <c:v>0.50566037735849101</c:v>
                </c:pt>
                <c:pt idx="803">
                  <c:v>0.50574712643678199</c:v>
                </c:pt>
                <c:pt idx="804">
                  <c:v>0.50617283950617298</c:v>
                </c:pt>
                <c:pt idx="805">
                  <c:v>0.50637213254035696</c:v>
                </c:pt>
                <c:pt idx="806">
                  <c:v>0.50637522768670296</c:v>
                </c:pt>
                <c:pt idx="807">
                  <c:v>0.50638297872340399</c:v>
                </c:pt>
                <c:pt idx="808">
                  <c:v>0.50645161290322604</c:v>
                </c:pt>
                <c:pt idx="809">
                  <c:v>0.506493506493506</c:v>
                </c:pt>
                <c:pt idx="810">
                  <c:v>0.50666666666666704</c:v>
                </c:pt>
                <c:pt idx="811">
                  <c:v>0.50680272108843505</c:v>
                </c:pt>
                <c:pt idx="812">
                  <c:v>0.50726978998384498</c:v>
                </c:pt>
                <c:pt idx="813">
                  <c:v>0.50764006791171501</c:v>
                </c:pt>
                <c:pt idx="814">
                  <c:v>0.50771604938271597</c:v>
                </c:pt>
                <c:pt idx="815">
                  <c:v>0.50781831720029802</c:v>
                </c:pt>
                <c:pt idx="816">
                  <c:v>0.50794701986754998</c:v>
                </c:pt>
                <c:pt idx="817">
                  <c:v>0.50806451612903203</c:v>
                </c:pt>
                <c:pt idx="818">
                  <c:v>0.50815217391304301</c:v>
                </c:pt>
                <c:pt idx="819">
                  <c:v>0.50823723228995099</c:v>
                </c:pt>
                <c:pt idx="820">
                  <c:v>0.50838926174496601</c:v>
                </c:pt>
                <c:pt idx="821">
                  <c:v>0.50880088008800906</c:v>
                </c:pt>
                <c:pt idx="822">
                  <c:v>0.50888888888888895</c:v>
                </c:pt>
                <c:pt idx="823">
                  <c:v>0.50900900900900903</c:v>
                </c:pt>
                <c:pt idx="824">
                  <c:v>0.50910273081924595</c:v>
                </c:pt>
                <c:pt idx="825">
                  <c:v>0.50978856695379804</c:v>
                </c:pt>
                <c:pt idx="826">
                  <c:v>0.50980392156862697</c:v>
                </c:pt>
                <c:pt idx="827">
                  <c:v>0.50986842105263197</c:v>
                </c:pt>
                <c:pt idx="828">
                  <c:v>0.50989345509893502</c:v>
                </c:pt>
                <c:pt idx="829">
                  <c:v>0.50994575045208002</c:v>
                </c:pt>
                <c:pt idx="830">
                  <c:v>0.51006711409395999</c:v>
                </c:pt>
                <c:pt idx="831">
                  <c:v>0.51029411764705901</c:v>
                </c:pt>
                <c:pt idx="832">
                  <c:v>0.51030927835051498</c:v>
                </c:pt>
                <c:pt idx="833">
                  <c:v>0.51034482758620703</c:v>
                </c:pt>
                <c:pt idx="834">
                  <c:v>0.51034482758620703</c:v>
                </c:pt>
                <c:pt idx="835">
                  <c:v>0.51034482758620703</c:v>
                </c:pt>
                <c:pt idx="836">
                  <c:v>0.510510510510511</c:v>
                </c:pt>
                <c:pt idx="837">
                  <c:v>0.51077246452969005</c:v>
                </c:pt>
                <c:pt idx="838">
                  <c:v>0.51078167115902995</c:v>
                </c:pt>
                <c:pt idx="839">
                  <c:v>0.51098901098901095</c:v>
                </c:pt>
                <c:pt idx="840">
                  <c:v>0.51101321585903103</c:v>
                </c:pt>
                <c:pt idx="841">
                  <c:v>0.51111111111111096</c:v>
                </c:pt>
                <c:pt idx="842">
                  <c:v>0.51124567474048399</c:v>
                </c:pt>
                <c:pt idx="843">
                  <c:v>0.51162790697674398</c:v>
                </c:pt>
                <c:pt idx="844">
                  <c:v>0.51162790697674398</c:v>
                </c:pt>
                <c:pt idx="845">
                  <c:v>0.51162790697674398</c:v>
                </c:pt>
                <c:pt idx="846">
                  <c:v>0.51165146909827797</c:v>
                </c:pt>
                <c:pt idx="847">
                  <c:v>0.51170568561872898</c:v>
                </c:pt>
                <c:pt idx="848">
                  <c:v>0.51209341117597995</c:v>
                </c:pt>
                <c:pt idx="849">
                  <c:v>0.51219512195121997</c:v>
                </c:pt>
                <c:pt idx="850">
                  <c:v>0.51219512195121997</c:v>
                </c:pt>
                <c:pt idx="851">
                  <c:v>0.51219512195121997</c:v>
                </c:pt>
                <c:pt idx="852">
                  <c:v>0.51226158038147096</c:v>
                </c:pt>
                <c:pt idx="853">
                  <c:v>0.51243781094527396</c:v>
                </c:pt>
                <c:pt idx="854">
                  <c:v>0.51271186440677996</c:v>
                </c:pt>
                <c:pt idx="855">
                  <c:v>0.512820512820513</c:v>
                </c:pt>
                <c:pt idx="856">
                  <c:v>0.512820512820513</c:v>
                </c:pt>
                <c:pt idx="857">
                  <c:v>0.51292517006802696</c:v>
                </c:pt>
                <c:pt idx="858">
                  <c:v>0.51293103448275901</c:v>
                </c:pt>
                <c:pt idx="859">
                  <c:v>0.51295731707317105</c:v>
                </c:pt>
                <c:pt idx="860">
                  <c:v>0.51300448430493295</c:v>
                </c:pt>
                <c:pt idx="861">
                  <c:v>0.51302605210420804</c:v>
                </c:pt>
                <c:pt idx="862">
                  <c:v>0.51304347826087005</c:v>
                </c:pt>
                <c:pt idx="863">
                  <c:v>0.513134851138354</c:v>
                </c:pt>
                <c:pt idx="864">
                  <c:v>0.51330304996755305</c:v>
                </c:pt>
                <c:pt idx="865">
                  <c:v>0.51331360946745597</c:v>
                </c:pt>
                <c:pt idx="866">
                  <c:v>0.51344086021505397</c:v>
                </c:pt>
                <c:pt idx="867">
                  <c:v>0.51360946745562097</c:v>
                </c:pt>
                <c:pt idx="868">
                  <c:v>0.51374207188160703</c:v>
                </c:pt>
                <c:pt idx="869">
                  <c:v>0.51376146788990795</c:v>
                </c:pt>
                <c:pt idx="870">
                  <c:v>0.51401869158878499</c:v>
                </c:pt>
                <c:pt idx="871">
                  <c:v>0.51419878296146004</c:v>
                </c:pt>
                <c:pt idx="872">
                  <c:v>0.51421188630490999</c:v>
                </c:pt>
                <c:pt idx="873">
                  <c:v>0.51428571428571401</c:v>
                </c:pt>
                <c:pt idx="874">
                  <c:v>0.51428571428571401</c:v>
                </c:pt>
                <c:pt idx="875">
                  <c:v>0.51449275362318803</c:v>
                </c:pt>
                <c:pt idx="876">
                  <c:v>0.51477597712106804</c:v>
                </c:pt>
                <c:pt idx="877">
                  <c:v>0.51503759398496196</c:v>
                </c:pt>
                <c:pt idx="878">
                  <c:v>0.51505376344085996</c:v>
                </c:pt>
                <c:pt idx="879">
                  <c:v>0.51515151515151503</c:v>
                </c:pt>
                <c:pt idx="880">
                  <c:v>0.515267175572519</c:v>
                </c:pt>
                <c:pt idx="881">
                  <c:v>0.51541850220264296</c:v>
                </c:pt>
                <c:pt idx="882">
                  <c:v>0.51548269581056505</c:v>
                </c:pt>
                <c:pt idx="883">
                  <c:v>0.51565995525727104</c:v>
                </c:pt>
                <c:pt idx="884">
                  <c:v>0.51591553734635998</c:v>
                </c:pt>
                <c:pt idx="885">
                  <c:v>0.515993265993266</c:v>
                </c:pt>
                <c:pt idx="886">
                  <c:v>0.51612903225806395</c:v>
                </c:pt>
                <c:pt idx="887">
                  <c:v>0.51619047619047598</c:v>
                </c:pt>
                <c:pt idx="888">
                  <c:v>0.51619870410367197</c:v>
                </c:pt>
                <c:pt idx="889">
                  <c:v>0.51623376623376604</c:v>
                </c:pt>
                <c:pt idx="890">
                  <c:v>0.51623931623931596</c:v>
                </c:pt>
                <c:pt idx="891">
                  <c:v>0.51632047477744802</c:v>
                </c:pt>
                <c:pt idx="892">
                  <c:v>0.51639344262295095</c:v>
                </c:pt>
                <c:pt idx="893">
                  <c:v>0.516500785751702</c:v>
                </c:pt>
                <c:pt idx="894">
                  <c:v>0.51660026560424999</c:v>
                </c:pt>
                <c:pt idx="895">
                  <c:v>0.51666666666666705</c:v>
                </c:pt>
                <c:pt idx="896">
                  <c:v>0.51679434295816196</c:v>
                </c:pt>
                <c:pt idx="897">
                  <c:v>0.51694915254237295</c:v>
                </c:pt>
                <c:pt idx="898">
                  <c:v>0.51694915254237295</c:v>
                </c:pt>
                <c:pt idx="899">
                  <c:v>0.51699029126213603</c:v>
                </c:pt>
                <c:pt idx="900">
                  <c:v>0.517133956386293</c:v>
                </c:pt>
                <c:pt idx="901">
                  <c:v>0.51724137931034497</c:v>
                </c:pt>
                <c:pt idx="902">
                  <c:v>0.51741716227697498</c:v>
                </c:pt>
                <c:pt idx="903">
                  <c:v>0.517527327553713</c:v>
                </c:pt>
                <c:pt idx="904">
                  <c:v>0.51785714285714302</c:v>
                </c:pt>
                <c:pt idx="905">
                  <c:v>0.51798561151079103</c:v>
                </c:pt>
                <c:pt idx="906">
                  <c:v>0.51818181818181797</c:v>
                </c:pt>
                <c:pt idx="907">
                  <c:v>0.51819757365684604</c:v>
                </c:pt>
                <c:pt idx="908">
                  <c:v>0.51822916666666696</c:v>
                </c:pt>
                <c:pt idx="909">
                  <c:v>0.51851851851851805</c:v>
                </c:pt>
                <c:pt idx="910">
                  <c:v>0.51851851851851805</c:v>
                </c:pt>
                <c:pt idx="911">
                  <c:v>0.51851851851851805</c:v>
                </c:pt>
                <c:pt idx="912">
                  <c:v>0.51851851851851805</c:v>
                </c:pt>
                <c:pt idx="913">
                  <c:v>0.51856763925729399</c:v>
                </c:pt>
                <c:pt idx="914">
                  <c:v>0.51859956236323901</c:v>
                </c:pt>
                <c:pt idx="915">
                  <c:v>0.51862464183381096</c:v>
                </c:pt>
                <c:pt idx="916">
                  <c:v>0.51944971537001905</c:v>
                </c:pt>
                <c:pt idx="917">
                  <c:v>0.51948051948051899</c:v>
                </c:pt>
                <c:pt idx="918">
                  <c:v>0.51963746223564999</c:v>
                </c:pt>
                <c:pt idx="919">
                  <c:v>0.51963746223564999</c:v>
                </c:pt>
                <c:pt idx="920">
                  <c:v>0.51970443349753703</c:v>
                </c:pt>
                <c:pt idx="921">
                  <c:v>0.52</c:v>
                </c:pt>
                <c:pt idx="922">
                  <c:v>0.52</c:v>
                </c:pt>
                <c:pt idx="923">
                  <c:v>0.52008456659619495</c:v>
                </c:pt>
                <c:pt idx="924">
                  <c:v>0.52034261241970003</c:v>
                </c:pt>
                <c:pt idx="925">
                  <c:v>0.52046783625730997</c:v>
                </c:pt>
                <c:pt idx="926">
                  <c:v>0.52054794520547898</c:v>
                </c:pt>
                <c:pt idx="927">
                  <c:v>0.52066929133858297</c:v>
                </c:pt>
                <c:pt idx="928">
                  <c:v>0.52079566003616595</c:v>
                </c:pt>
                <c:pt idx="929">
                  <c:v>0.52094440213252102</c:v>
                </c:pt>
                <c:pt idx="930">
                  <c:v>0.52095422308188299</c:v>
                </c:pt>
                <c:pt idx="931">
                  <c:v>0.52095808383233499</c:v>
                </c:pt>
                <c:pt idx="932">
                  <c:v>0.52098765432098804</c:v>
                </c:pt>
                <c:pt idx="933">
                  <c:v>0.52098765432098804</c:v>
                </c:pt>
                <c:pt idx="934">
                  <c:v>0.52112676056338003</c:v>
                </c:pt>
                <c:pt idx="935">
                  <c:v>0.52127659574468099</c:v>
                </c:pt>
                <c:pt idx="936">
                  <c:v>0.52143138025953595</c:v>
                </c:pt>
                <c:pt idx="937">
                  <c:v>0.521484375</c:v>
                </c:pt>
                <c:pt idx="938">
                  <c:v>0.52151462994836495</c:v>
                </c:pt>
                <c:pt idx="939">
                  <c:v>0.52158894645941301</c:v>
                </c:pt>
                <c:pt idx="940">
                  <c:v>0.521631644004944</c:v>
                </c:pt>
                <c:pt idx="941">
                  <c:v>0.52168949771689499</c:v>
                </c:pt>
                <c:pt idx="942">
                  <c:v>0.52173913043478304</c:v>
                </c:pt>
                <c:pt idx="943">
                  <c:v>0.52197802197802201</c:v>
                </c:pt>
                <c:pt idx="944">
                  <c:v>0.522198731501057</c:v>
                </c:pt>
                <c:pt idx="945">
                  <c:v>0.52224824355971899</c:v>
                </c:pt>
                <c:pt idx="946">
                  <c:v>0.52228412256267398</c:v>
                </c:pt>
                <c:pt idx="947">
                  <c:v>0.52248394004282595</c:v>
                </c:pt>
                <c:pt idx="948">
                  <c:v>0.52252252252252296</c:v>
                </c:pt>
                <c:pt idx="949">
                  <c:v>0.52259887005649697</c:v>
                </c:pt>
                <c:pt idx="950">
                  <c:v>0.52263374485596703</c:v>
                </c:pt>
                <c:pt idx="951">
                  <c:v>0.52272727272727304</c:v>
                </c:pt>
                <c:pt idx="952">
                  <c:v>0.52287581699346397</c:v>
                </c:pt>
                <c:pt idx="953">
                  <c:v>0.52294853963838706</c:v>
                </c:pt>
                <c:pt idx="954">
                  <c:v>0.52309985096870304</c:v>
                </c:pt>
                <c:pt idx="955">
                  <c:v>0.52317880794701999</c:v>
                </c:pt>
                <c:pt idx="956">
                  <c:v>0.52325581395348797</c:v>
                </c:pt>
                <c:pt idx="957">
                  <c:v>0.52358490566037696</c:v>
                </c:pt>
                <c:pt idx="958">
                  <c:v>0.52375152253349599</c:v>
                </c:pt>
                <c:pt idx="959">
                  <c:v>0.52380952380952395</c:v>
                </c:pt>
                <c:pt idx="960">
                  <c:v>0.52380952380952395</c:v>
                </c:pt>
                <c:pt idx="961">
                  <c:v>0.52380952380952395</c:v>
                </c:pt>
                <c:pt idx="962">
                  <c:v>0.52388535031847105</c:v>
                </c:pt>
                <c:pt idx="963">
                  <c:v>0.52398523985239898</c:v>
                </c:pt>
                <c:pt idx="964">
                  <c:v>0.52413793103448303</c:v>
                </c:pt>
                <c:pt idx="965">
                  <c:v>0.52415902140672799</c:v>
                </c:pt>
                <c:pt idx="966">
                  <c:v>0.52417302798982202</c:v>
                </c:pt>
                <c:pt idx="967">
                  <c:v>0.52418645558487198</c:v>
                </c:pt>
                <c:pt idx="968">
                  <c:v>0.52432432432432396</c:v>
                </c:pt>
                <c:pt idx="969">
                  <c:v>0.52439024390243905</c:v>
                </c:pt>
                <c:pt idx="970">
                  <c:v>0.52491694352159501</c:v>
                </c:pt>
                <c:pt idx="971">
                  <c:v>0.52495378927911296</c:v>
                </c:pt>
                <c:pt idx="972">
                  <c:v>0.52500000000000002</c:v>
                </c:pt>
                <c:pt idx="973">
                  <c:v>0.52501214181641598</c:v>
                </c:pt>
                <c:pt idx="974">
                  <c:v>0.52506265664160401</c:v>
                </c:pt>
                <c:pt idx="975">
                  <c:v>0.52557616638561</c:v>
                </c:pt>
                <c:pt idx="976">
                  <c:v>0.52564102564102599</c:v>
                </c:pt>
                <c:pt idx="977">
                  <c:v>0.52566539923954403</c:v>
                </c:pt>
                <c:pt idx="978">
                  <c:v>0.52575757575757598</c:v>
                </c:pt>
                <c:pt idx="979">
                  <c:v>0.52577319587628901</c:v>
                </c:pt>
                <c:pt idx="980">
                  <c:v>0.52587991718426497</c:v>
                </c:pt>
                <c:pt idx="981">
                  <c:v>0.52590673575129498</c:v>
                </c:pt>
                <c:pt idx="982">
                  <c:v>0.52591170825335898</c:v>
                </c:pt>
                <c:pt idx="983">
                  <c:v>0.52596439169139497</c:v>
                </c:pt>
                <c:pt idx="984">
                  <c:v>0.52596975673898705</c:v>
                </c:pt>
                <c:pt idx="985">
                  <c:v>0.52603231597845601</c:v>
                </c:pt>
                <c:pt idx="986">
                  <c:v>0.52609308885754602</c:v>
                </c:pt>
                <c:pt idx="987">
                  <c:v>0.52616279069767402</c:v>
                </c:pt>
                <c:pt idx="988">
                  <c:v>0.52631578947368396</c:v>
                </c:pt>
                <c:pt idx="989">
                  <c:v>0.52637749120750299</c:v>
                </c:pt>
                <c:pt idx="990">
                  <c:v>0.52642706131078199</c:v>
                </c:pt>
                <c:pt idx="991">
                  <c:v>0.52643678160919505</c:v>
                </c:pt>
                <c:pt idx="992">
                  <c:v>0.52650176678445204</c:v>
                </c:pt>
                <c:pt idx="993">
                  <c:v>0.52667167543200599</c:v>
                </c:pt>
                <c:pt idx="994">
                  <c:v>0.526984126984127</c:v>
                </c:pt>
                <c:pt idx="995">
                  <c:v>0.52699784017278595</c:v>
                </c:pt>
                <c:pt idx="996">
                  <c:v>0.52702702702702697</c:v>
                </c:pt>
                <c:pt idx="997">
                  <c:v>0.52702702702702697</c:v>
                </c:pt>
                <c:pt idx="998">
                  <c:v>0.52710027100270995</c:v>
                </c:pt>
                <c:pt idx="999">
                  <c:v>0.527220630372493</c:v>
                </c:pt>
                <c:pt idx="1000">
                  <c:v>0.52743902439024404</c:v>
                </c:pt>
                <c:pt idx="1001">
                  <c:v>0.527454242928453</c:v>
                </c:pt>
                <c:pt idx="1002">
                  <c:v>0.52759740259740295</c:v>
                </c:pt>
                <c:pt idx="1003">
                  <c:v>0.52768729641693801</c:v>
                </c:pt>
                <c:pt idx="1004">
                  <c:v>0.52773109243697502</c:v>
                </c:pt>
                <c:pt idx="1005">
                  <c:v>0.52777777777777801</c:v>
                </c:pt>
                <c:pt idx="1006">
                  <c:v>0.52779893373952802</c:v>
                </c:pt>
                <c:pt idx="1007">
                  <c:v>0.52798789712556704</c:v>
                </c:pt>
                <c:pt idx="1008">
                  <c:v>0.52808988764044895</c:v>
                </c:pt>
                <c:pt idx="1009">
                  <c:v>0.52830188679245305</c:v>
                </c:pt>
                <c:pt idx="1010">
                  <c:v>0.52830188679245305</c:v>
                </c:pt>
                <c:pt idx="1011">
                  <c:v>0.52834224598930501</c:v>
                </c:pt>
                <c:pt idx="1012">
                  <c:v>0.52835408022130004</c:v>
                </c:pt>
                <c:pt idx="1013">
                  <c:v>0.52848722986247498</c:v>
                </c:pt>
                <c:pt idx="1014">
                  <c:v>0.52848722986247498</c:v>
                </c:pt>
                <c:pt idx="1015">
                  <c:v>0.52859135285913506</c:v>
                </c:pt>
                <c:pt idx="1016">
                  <c:v>0.52880658436214001</c:v>
                </c:pt>
                <c:pt idx="1017">
                  <c:v>0.52885525070955497</c:v>
                </c:pt>
                <c:pt idx="1018">
                  <c:v>0.52892561983471098</c:v>
                </c:pt>
                <c:pt idx="1019">
                  <c:v>0.52924791086350997</c:v>
                </c:pt>
                <c:pt idx="1020">
                  <c:v>0.52928416485900198</c:v>
                </c:pt>
                <c:pt idx="1021">
                  <c:v>0.52941176470588203</c:v>
                </c:pt>
                <c:pt idx="1022">
                  <c:v>0.52941176470588203</c:v>
                </c:pt>
                <c:pt idx="1023">
                  <c:v>0.52958152958153004</c:v>
                </c:pt>
                <c:pt idx="1024">
                  <c:v>0.52962515114872999</c:v>
                </c:pt>
                <c:pt idx="1025">
                  <c:v>0.52963671128107104</c:v>
                </c:pt>
                <c:pt idx="1026">
                  <c:v>0.52975047984644896</c:v>
                </c:pt>
                <c:pt idx="1027">
                  <c:v>0.52985074626865702</c:v>
                </c:pt>
                <c:pt idx="1028">
                  <c:v>0.52991452991453003</c:v>
                </c:pt>
                <c:pt idx="1029">
                  <c:v>0.53003161222339301</c:v>
                </c:pt>
                <c:pt idx="1030">
                  <c:v>0.53035714285714297</c:v>
                </c:pt>
                <c:pt idx="1031">
                  <c:v>0.53043478260869603</c:v>
                </c:pt>
                <c:pt idx="1032">
                  <c:v>0.53051359516616303</c:v>
                </c:pt>
                <c:pt idx="1033">
                  <c:v>0.53071895424836601</c:v>
                </c:pt>
                <c:pt idx="1034">
                  <c:v>0.53073770491803296</c:v>
                </c:pt>
                <c:pt idx="1035">
                  <c:v>0.53076923076923099</c:v>
                </c:pt>
                <c:pt idx="1036">
                  <c:v>0.53078078078078095</c:v>
                </c:pt>
                <c:pt idx="1037">
                  <c:v>0.53080568720379195</c:v>
                </c:pt>
                <c:pt idx="1038">
                  <c:v>0.53089887640449396</c:v>
                </c:pt>
                <c:pt idx="1039">
                  <c:v>0.53094606542882405</c:v>
                </c:pt>
                <c:pt idx="1040">
                  <c:v>0.53103448275862097</c:v>
                </c:pt>
                <c:pt idx="1041">
                  <c:v>0.53111111111111098</c:v>
                </c:pt>
                <c:pt idx="1042">
                  <c:v>0.53125</c:v>
                </c:pt>
                <c:pt idx="1043">
                  <c:v>0.53138075313807498</c:v>
                </c:pt>
                <c:pt idx="1044">
                  <c:v>0.53153153153153199</c:v>
                </c:pt>
                <c:pt idx="1045">
                  <c:v>0.53156384505021503</c:v>
                </c:pt>
                <c:pt idx="1046">
                  <c:v>0.53182308522114397</c:v>
                </c:pt>
                <c:pt idx="1047">
                  <c:v>0.531835205992509</c:v>
                </c:pt>
                <c:pt idx="1048">
                  <c:v>0.53191489361702105</c:v>
                </c:pt>
                <c:pt idx="1049">
                  <c:v>0.53191489361702105</c:v>
                </c:pt>
                <c:pt idx="1050">
                  <c:v>0.53234175025942598</c:v>
                </c:pt>
                <c:pt idx="1051">
                  <c:v>0.53235908141962396</c:v>
                </c:pt>
                <c:pt idx="1052">
                  <c:v>0.53237410071942404</c:v>
                </c:pt>
                <c:pt idx="1053">
                  <c:v>0.532407407407407</c:v>
                </c:pt>
                <c:pt idx="1054">
                  <c:v>0.532407407407407</c:v>
                </c:pt>
                <c:pt idx="1055">
                  <c:v>0.53244592346089803</c:v>
                </c:pt>
                <c:pt idx="1056">
                  <c:v>0.53246753246753198</c:v>
                </c:pt>
                <c:pt idx="1057">
                  <c:v>0.53267045454545503</c:v>
                </c:pt>
                <c:pt idx="1058">
                  <c:v>0.53277310924369703</c:v>
                </c:pt>
                <c:pt idx="1059">
                  <c:v>0.53295128939828096</c:v>
                </c:pt>
                <c:pt idx="1060">
                  <c:v>0.53296703296703296</c:v>
                </c:pt>
                <c:pt idx="1061">
                  <c:v>0.53319171534784904</c:v>
                </c:pt>
                <c:pt idx="1062">
                  <c:v>0.53322528363046995</c:v>
                </c:pt>
                <c:pt idx="1063">
                  <c:v>0.53333333333333299</c:v>
                </c:pt>
                <c:pt idx="1064">
                  <c:v>0.53353658536585402</c:v>
                </c:pt>
                <c:pt idx="1065">
                  <c:v>0.53398058252427205</c:v>
                </c:pt>
                <c:pt idx="1066">
                  <c:v>0.53398058252427205</c:v>
                </c:pt>
                <c:pt idx="1067">
                  <c:v>0.53409090909090895</c:v>
                </c:pt>
                <c:pt idx="1068">
                  <c:v>0.53413654618473905</c:v>
                </c:pt>
                <c:pt idx="1069">
                  <c:v>0.53429602888086603</c:v>
                </c:pt>
                <c:pt idx="1070">
                  <c:v>0.53448275862068995</c:v>
                </c:pt>
                <c:pt idx="1071">
                  <c:v>0.53477218225419698</c:v>
                </c:pt>
                <c:pt idx="1072">
                  <c:v>0.53485254691688999</c:v>
                </c:pt>
                <c:pt idx="1073">
                  <c:v>0.53488372093023295</c:v>
                </c:pt>
                <c:pt idx="1074">
                  <c:v>0.53512705530642701</c:v>
                </c:pt>
                <c:pt idx="1075">
                  <c:v>0.53515625</c:v>
                </c:pt>
                <c:pt idx="1076">
                  <c:v>0.53521126760563398</c:v>
                </c:pt>
                <c:pt idx="1077">
                  <c:v>0.53528399311531805</c:v>
                </c:pt>
                <c:pt idx="1078">
                  <c:v>0.53540462427745705</c:v>
                </c:pt>
                <c:pt idx="1079">
                  <c:v>0.535433070866142</c:v>
                </c:pt>
                <c:pt idx="1080">
                  <c:v>0.53571428571428603</c:v>
                </c:pt>
                <c:pt idx="1081">
                  <c:v>0.53594771241830097</c:v>
                </c:pt>
                <c:pt idx="1082">
                  <c:v>0.53598014888337497</c:v>
                </c:pt>
                <c:pt idx="1083">
                  <c:v>0.53599071207430304</c:v>
                </c:pt>
                <c:pt idx="1084">
                  <c:v>0.53599476439790605</c:v>
                </c:pt>
                <c:pt idx="1085">
                  <c:v>0.53615279672578398</c:v>
                </c:pt>
                <c:pt idx="1086">
                  <c:v>0.53623188405797095</c:v>
                </c:pt>
                <c:pt idx="1087">
                  <c:v>0.53647058823529403</c:v>
                </c:pt>
                <c:pt idx="1088">
                  <c:v>0.53647058823529403</c:v>
                </c:pt>
                <c:pt idx="1089">
                  <c:v>0.53658536585365901</c:v>
                </c:pt>
                <c:pt idx="1090">
                  <c:v>0.53680430879712704</c:v>
                </c:pt>
                <c:pt idx="1091">
                  <c:v>0.53682170542635699</c:v>
                </c:pt>
                <c:pt idx="1092">
                  <c:v>0.536922209695603</c:v>
                </c:pt>
                <c:pt idx="1093">
                  <c:v>0.53703703703703698</c:v>
                </c:pt>
                <c:pt idx="1094">
                  <c:v>0.53703703703703698</c:v>
                </c:pt>
                <c:pt idx="1095">
                  <c:v>0.53705815279361502</c:v>
                </c:pt>
                <c:pt idx="1096">
                  <c:v>0.53714285714285703</c:v>
                </c:pt>
                <c:pt idx="1097">
                  <c:v>0.53723404255319196</c:v>
                </c:pt>
                <c:pt idx="1098">
                  <c:v>0.53754940711462496</c:v>
                </c:pt>
                <c:pt idx="1099">
                  <c:v>0.53759535052669805</c:v>
                </c:pt>
                <c:pt idx="1100">
                  <c:v>0.53773584905660399</c:v>
                </c:pt>
                <c:pt idx="1101">
                  <c:v>0.53789004457652301</c:v>
                </c:pt>
                <c:pt idx="1102">
                  <c:v>0.53789731051344702</c:v>
                </c:pt>
                <c:pt idx="1103">
                  <c:v>0.53816046966731901</c:v>
                </c:pt>
                <c:pt idx="1104">
                  <c:v>0.53819444444444398</c:v>
                </c:pt>
                <c:pt idx="1105">
                  <c:v>0.53824362606232301</c:v>
                </c:pt>
                <c:pt idx="1106">
                  <c:v>0.53846153846153799</c:v>
                </c:pt>
                <c:pt idx="1107">
                  <c:v>0.53846153846153799</c:v>
                </c:pt>
                <c:pt idx="1108">
                  <c:v>0.53846153846153799</c:v>
                </c:pt>
                <c:pt idx="1109">
                  <c:v>0.53846153846153799</c:v>
                </c:pt>
                <c:pt idx="1110">
                  <c:v>0.53851540616246496</c:v>
                </c:pt>
                <c:pt idx="1111">
                  <c:v>0.53860407659048803</c:v>
                </c:pt>
                <c:pt idx="1112">
                  <c:v>0.53863636363636402</c:v>
                </c:pt>
                <c:pt idx="1113">
                  <c:v>0.53866146848603003</c:v>
                </c:pt>
                <c:pt idx="1114">
                  <c:v>0.53875968992248102</c:v>
                </c:pt>
                <c:pt idx="1115">
                  <c:v>0.53881278538812805</c:v>
                </c:pt>
                <c:pt idx="1116">
                  <c:v>0.538834951456311</c:v>
                </c:pt>
                <c:pt idx="1117">
                  <c:v>0.53900709219858201</c:v>
                </c:pt>
                <c:pt idx="1118">
                  <c:v>0.53908484270734003</c:v>
                </c:pt>
                <c:pt idx="1119">
                  <c:v>0.53921568627451</c:v>
                </c:pt>
                <c:pt idx="1120">
                  <c:v>0.53939393939393898</c:v>
                </c:pt>
                <c:pt idx="1121">
                  <c:v>0.53947368421052599</c:v>
                </c:pt>
                <c:pt idx="1122">
                  <c:v>0.53947368421052599</c:v>
                </c:pt>
                <c:pt idx="1123">
                  <c:v>0.53956834532374098</c:v>
                </c:pt>
                <c:pt idx="1124">
                  <c:v>0.53975363941769305</c:v>
                </c:pt>
                <c:pt idx="1125">
                  <c:v>0.53978779840848801</c:v>
                </c:pt>
                <c:pt idx="1126">
                  <c:v>0.54</c:v>
                </c:pt>
                <c:pt idx="1127">
                  <c:v>0.54</c:v>
                </c:pt>
                <c:pt idx="1128">
                  <c:v>0.54</c:v>
                </c:pt>
                <c:pt idx="1129">
                  <c:v>0.54</c:v>
                </c:pt>
                <c:pt idx="1130">
                  <c:v>0.54008438818565396</c:v>
                </c:pt>
                <c:pt idx="1131">
                  <c:v>0.54009900990099002</c:v>
                </c:pt>
                <c:pt idx="1132">
                  <c:v>0.54012561060711795</c:v>
                </c:pt>
                <c:pt idx="1133">
                  <c:v>0.54030874785591798</c:v>
                </c:pt>
                <c:pt idx="1134">
                  <c:v>0.54037267080745299</c:v>
                </c:pt>
                <c:pt idx="1135">
                  <c:v>0.54038461538461502</c:v>
                </c:pt>
                <c:pt idx="1136">
                  <c:v>0.54040404040404</c:v>
                </c:pt>
                <c:pt idx="1137">
                  <c:v>0.54054054054054101</c:v>
                </c:pt>
                <c:pt idx="1138">
                  <c:v>0.54092920353982299</c:v>
                </c:pt>
                <c:pt idx="1139">
                  <c:v>0.54096045197740095</c:v>
                </c:pt>
                <c:pt idx="1140">
                  <c:v>0.54138999557326195</c:v>
                </c:pt>
                <c:pt idx="1141">
                  <c:v>0.54146806482364196</c:v>
                </c:pt>
                <c:pt idx="1142">
                  <c:v>0.541534559289791</c:v>
                </c:pt>
                <c:pt idx="1143">
                  <c:v>0.54166666666666696</c:v>
                </c:pt>
                <c:pt idx="1144">
                  <c:v>0.54166666666666696</c:v>
                </c:pt>
                <c:pt idx="1145">
                  <c:v>0.54193548387096802</c:v>
                </c:pt>
                <c:pt idx="1146">
                  <c:v>0.54205607476635498</c:v>
                </c:pt>
                <c:pt idx="1147">
                  <c:v>0.54210526315789498</c:v>
                </c:pt>
                <c:pt idx="1148">
                  <c:v>0.54214123006833703</c:v>
                </c:pt>
                <c:pt idx="1149">
                  <c:v>0.54234234234234202</c:v>
                </c:pt>
                <c:pt idx="1150">
                  <c:v>0.54247572815533995</c:v>
                </c:pt>
                <c:pt idx="1151">
                  <c:v>0.54249547920434005</c:v>
                </c:pt>
                <c:pt idx="1152">
                  <c:v>0.54252199413489699</c:v>
                </c:pt>
                <c:pt idx="1153">
                  <c:v>0.54252873563218396</c:v>
                </c:pt>
                <c:pt idx="1154">
                  <c:v>0.54259043173862298</c:v>
                </c:pt>
                <c:pt idx="1155">
                  <c:v>0.54279749478079298</c:v>
                </c:pt>
                <c:pt idx="1156">
                  <c:v>0.54285714285714304</c:v>
                </c:pt>
                <c:pt idx="1157">
                  <c:v>0.54290718038528896</c:v>
                </c:pt>
                <c:pt idx="1158">
                  <c:v>0.54294803817603399</c:v>
                </c:pt>
                <c:pt idx="1159">
                  <c:v>0.54304635761589404</c:v>
                </c:pt>
                <c:pt idx="1160">
                  <c:v>0.54305200341005999</c:v>
                </c:pt>
                <c:pt idx="1161">
                  <c:v>0.54319180087847696</c:v>
                </c:pt>
                <c:pt idx="1162">
                  <c:v>0.54337899543378998</c:v>
                </c:pt>
                <c:pt idx="1163">
                  <c:v>0.543396226415094</c:v>
                </c:pt>
                <c:pt idx="1164">
                  <c:v>0.54347826086956497</c:v>
                </c:pt>
                <c:pt idx="1165">
                  <c:v>0.54351145038167903</c:v>
                </c:pt>
                <c:pt idx="1166">
                  <c:v>0.54358270418668497</c:v>
                </c:pt>
                <c:pt idx="1167">
                  <c:v>0.54362416107382505</c:v>
                </c:pt>
                <c:pt idx="1168">
                  <c:v>0.54365733113673798</c:v>
                </c:pt>
                <c:pt idx="1169">
                  <c:v>0.54368932038834905</c:v>
                </c:pt>
                <c:pt idx="1170">
                  <c:v>0.54368932038834905</c:v>
                </c:pt>
                <c:pt idx="1171">
                  <c:v>0.543744889615699</c:v>
                </c:pt>
                <c:pt idx="1172">
                  <c:v>0.54385964912280704</c:v>
                </c:pt>
                <c:pt idx="1173">
                  <c:v>0.54386617100371704</c:v>
                </c:pt>
                <c:pt idx="1174">
                  <c:v>0.54415274463007202</c:v>
                </c:pt>
                <c:pt idx="1175">
                  <c:v>0.54424778761061898</c:v>
                </c:pt>
                <c:pt idx="1176">
                  <c:v>0.54427083333333304</c:v>
                </c:pt>
                <c:pt idx="1177">
                  <c:v>0.544303797468354</c:v>
                </c:pt>
                <c:pt idx="1178">
                  <c:v>0.54432855280312897</c:v>
                </c:pt>
                <c:pt idx="1179">
                  <c:v>0.54444444444444395</c:v>
                </c:pt>
                <c:pt idx="1180">
                  <c:v>0.54446854663774402</c:v>
                </c:pt>
                <c:pt idx="1181">
                  <c:v>0.54455445544554504</c:v>
                </c:pt>
                <c:pt idx="1182">
                  <c:v>0.54482758620689697</c:v>
                </c:pt>
                <c:pt idx="1183">
                  <c:v>0.54500000000000004</c:v>
                </c:pt>
                <c:pt idx="1184">
                  <c:v>0.54502369668246398</c:v>
                </c:pt>
                <c:pt idx="1185">
                  <c:v>0.54504504504504503</c:v>
                </c:pt>
                <c:pt idx="1186">
                  <c:v>0.54507042253521099</c:v>
                </c:pt>
                <c:pt idx="1187">
                  <c:v>0.54521625163827003</c:v>
                </c:pt>
                <c:pt idx="1188">
                  <c:v>0.54525862068965503</c:v>
                </c:pt>
                <c:pt idx="1189">
                  <c:v>0.54537850271852795</c:v>
                </c:pt>
                <c:pt idx="1190">
                  <c:v>0.54545454545454497</c:v>
                </c:pt>
                <c:pt idx="1191">
                  <c:v>0.54545454545454497</c:v>
                </c:pt>
                <c:pt idx="1192">
                  <c:v>0.54557551563539597</c:v>
                </c:pt>
                <c:pt idx="1193">
                  <c:v>0.545662100456621</c:v>
                </c:pt>
                <c:pt idx="1194">
                  <c:v>0.54567901234567895</c:v>
                </c:pt>
                <c:pt idx="1195">
                  <c:v>0.54570446735395195</c:v>
                </c:pt>
                <c:pt idx="1196">
                  <c:v>0.545768566493955</c:v>
                </c:pt>
                <c:pt idx="1197">
                  <c:v>0.54581673306772904</c:v>
                </c:pt>
                <c:pt idx="1198">
                  <c:v>0.54581673306772904</c:v>
                </c:pt>
                <c:pt idx="1199">
                  <c:v>0.54583333333333295</c:v>
                </c:pt>
                <c:pt idx="1200">
                  <c:v>0.54589371980676304</c:v>
                </c:pt>
                <c:pt idx="1201">
                  <c:v>0.54605263157894701</c:v>
                </c:pt>
                <c:pt idx="1202">
                  <c:v>0.54609929078014197</c:v>
                </c:pt>
                <c:pt idx="1203">
                  <c:v>0.54639175257731998</c:v>
                </c:pt>
                <c:pt idx="1204">
                  <c:v>0.54651162790697705</c:v>
                </c:pt>
                <c:pt idx="1205">
                  <c:v>0.54655380894800498</c:v>
                </c:pt>
                <c:pt idx="1206">
                  <c:v>0.54681647940074896</c:v>
                </c:pt>
                <c:pt idx="1207">
                  <c:v>0.54683195592286504</c:v>
                </c:pt>
                <c:pt idx="1208">
                  <c:v>0.546875</c:v>
                </c:pt>
                <c:pt idx="1209">
                  <c:v>0.54716981132075504</c:v>
                </c:pt>
                <c:pt idx="1210">
                  <c:v>0.54716981132075504</c:v>
                </c:pt>
                <c:pt idx="1211">
                  <c:v>0.54716981132075504</c:v>
                </c:pt>
                <c:pt idx="1212">
                  <c:v>0.54720439963336398</c:v>
                </c:pt>
                <c:pt idx="1213">
                  <c:v>0.54748603351955305</c:v>
                </c:pt>
                <c:pt idx="1214">
                  <c:v>0.54753643303261601</c:v>
                </c:pt>
                <c:pt idx="1215">
                  <c:v>0.54758620689655202</c:v>
                </c:pt>
                <c:pt idx="1216">
                  <c:v>0.547619047619048</c:v>
                </c:pt>
                <c:pt idx="1217">
                  <c:v>0.54765751211631697</c:v>
                </c:pt>
                <c:pt idx="1218">
                  <c:v>0.54770318021201403</c:v>
                </c:pt>
                <c:pt idx="1219">
                  <c:v>0.547770700636943</c:v>
                </c:pt>
                <c:pt idx="1220">
                  <c:v>0.54777845404747405</c:v>
                </c:pt>
                <c:pt idx="1221">
                  <c:v>0.54801856479828603</c:v>
                </c:pt>
                <c:pt idx="1222">
                  <c:v>0.54807692307692302</c:v>
                </c:pt>
                <c:pt idx="1223">
                  <c:v>0.54818325434439197</c:v>
                </c:pt>
                <c:pt idx="1224">
                  <c:v>0.54819277108433695</c:v>
                </c:pt>
                <c:pt idx="1225">
                  <c:v>0.54827586206896495</c:v>
                </c:pt>
                <c:pt idx="1226">
                  <c:v>0.54827586206896495</c:v>
                </c:pt>
                <c:pt idx="1227">
                  <c:v>0.54829545454545503</c:v>
                </c:pt>
                <c:pt idx="1228">
                  <c:v>0.54838709677419295</c:v>
                </c:pt>
                <c:pt idx="1229">
                  <c:v>0.54838709677419295</c:v>
                </c:pt>
                <c:pt idx="1230">
                  <c:v>0.54844720496894395</c:v>
                </c:pt>
                <c:pt idx="1231">
                  <c:v>0.54848484848484802</c:v>
                </c:pt>
                <c:pt idx="1232">
                  <c:v>0.54857819905213301</c:v>
                </c:pt>
                <c:pt idx="1233">
                  <c:v>0.54861111111111105</c:v>
                </c:pt>
                <c:pt idx="1234">
                  <c:v>0.54863221884498503</c:v>
                </c:pt>
                <c:pt idx="1235">
                  <c:v>0.54888268156424602</c:v>
                </c:pt>
                <c:pt idx="1236">
                  <c:v>0.54897815362931601</c:v>
                </c:pt>
                <c:pt idx="1237">
                  <c:v>0.54903758020165006</c:v>
                </c:pt>
                <c:pt idx="1238">
                  <c:v>0.54905660377358501</c:v>
                </c:pt>
                <c:pt idx="1239">
                  <c:v>0.54917387883556301</c:v>
                </c:pt>
                <c:pt idx="1240">
                  <c:v>0.54927007299270103</c:v>
                </c:pt>
                <c:pt idx="1241">
                  <c:v>0.549275362318841</c:v>
                </c:pt>
                <c:pt idx="1242">
                  <c:v>0.54929577464788704</c:v>
                </c:pt>
                <c:pt idx="1243">
                  <c:v>0.54954954954955004</c:v>
                </c:pt>
                <c:pt idx="1244">
                  <c:v>0.549562682215743</c:v>
                </c:pt>
                <c:pt idx="1245">
                  <c:v>0.54959630911187995</c:v>
                </c:pt>
                <c:pt idx="1246">
                  <c:v>0.54961832061068705</c:v>
                </c:pt>
                <c:pt idx="1247">
                  <c:v>0.54983922829581999</c:v>
                </c:pt>
                <c:pt idx="1248">
                  <c:v>0.55000000000000004</c:v>
                </c:pt>
                <c:pt idx="1249">
                  <c:v>0.55000000000000004</c:v>
                </c:pt>
                <c:pt idx="1250">
                  <c:v>0.55000000000000004</c:v>
                </c:pt>
                <c:pt idx="1251">
                  <c:v>0.55000000000000004</c:v>
                </c:pt>
                <c:pt idx="1252">
                  <c:v>0.55008488964346303</c:v>
                </c:pt>
                <c:pt idx="1253">
                  <c:v>0.55013192612137196</c:v>
                </c:pt>
                <c:pt idx="1254">
                  <c:v>0.55018587360594795</c:v>
                </c:pt>
                <c:pt idx="1255">
                  <c:v>0.55037468776020004</c:v>
                </c:pt>
                <c:pt idx="1256">
                  <c:v>0.55097613882863306</c:v>
                </c:pt>
                <c:pt idx="1257">
                  <c:v>0.55102040816326503</c:v>
                </c:pt>
                <c:pt idx="1258">
                  <c:v>0.55120101137800204</c:v>
                </c:pt>
                <c:pt idx="1259">
                  <c:v>0.55172413793103403</c:v>
                </c:pt>
                <c:pt idx="1260">
                  <c:v>0.55172413793103403</c:v>
                </c:pt>
                <c:pt idx="1261">
                  <c:v>0.55185659411011501</c:v>
                </c:pt>
                <c:pt idx="1262">
                  <c:v>0.55200000000000005</c:v>
                </c:pt>
                <c:pt idx="1263">
                  <c:v>0.55202312138728304</c:v>
                </c:pt>
                <c:pt idx="1264">
                  <c:v>0.55206611570247899</c:v>
                </c:pt>
                <c:pt idx="1265">
                  <c:v>0.55208333333333304</c:v>
                </c:pt>
                <c:pt idx="1266">
                  <c:v>0.55212355212355202</c:v>
                </c:pt>
                <c:pt idx="1267">
                  <c:v>0.55214723926380405</c:v>
                </c:pt>
                <c:pt idx="1268">
                  <c:v>0.55218855218855201</c:v>
                </c:pt>
                <c:pt idx="1269">
                  <c:v>0.55220228384991799</c:v>
                </c:pt>
                <c:pt idx="1270">
                  <c:v>0.55234657039711199</c:v>
                </c:pt>
                <c:pt idx="1271">
                  <c:v>0.55244755244755195</c:v>
                </c:pt>
                <c:pt idx="1272">
                  <c:v>0.55249999999999999</c:v>
                </c:pt>
                <c:pt idx="1273">
                  <c:v>0.55263157894736803</c:v>
                </c:pt>
                <c:pt idx="1274">
                  <c:v>0.55263157894736803</c:v>
                </c:pt>
                <c:pt idx="1275">
                  <c:v>0.55263157894736803</c:v>
                </c:pt>
                <c:pt idx="1276">
                  <c:v>0.552795031055901</c:v>
                </c:pt>
                <c:pt idx="1277">
                  <c:v>0.55284552845528501</c:v>
                </c:pt>
                <c:pt idx="1278">
                  <c:v>0.55294117647058805</c:v>
                </c:pt>
                <c:pt idx="1279">
                  <c:v>0.55303030303030298</c:v>
                </c:pt>
                <c:pt idx="1280">
                  <c:v>0.55303030303030298</c:v>
                </c:pt>
                <c:pt idx="1281">
                  <c:v>0.55308641975308603</c:v>
                </c:pt>
                <c:pt idx="1282">
                  <c:v>0.553097345132743</c:v>
                </c:pt>
                <c:pt idx="1283">
                  <c:v>0.55315614617940201</c:v>
                </c:pt>
                <c:pt idx="1284">
                  <c:v>0.55319148936170204</c:v>
                </c:pt>
                <c:pt idx="1285">
                  <c:v>0.55333333333333301</c:v>
                </c:pt>
                <c:pt idx="1286">
                  <c:v>0.55335968379446598</c:v>
                </c:pt>
                <c:pt idx="1287">
                  <c:v>0.55373134328358198</c:v>
                </c:pt>
                <c:pt idx="1288">
                  <c:v>0.55380577427821498</c:v>
                </c:pt>
                <c:pt idx="1289">
                  <c:v>0.55383022774327095</c:v>
                </c:pt>
                <c:pt idx="1290">
                  <c:v>0.55397727272727304</c:v>
                </c:pt>
                <c:pt idx="1291">
                  <c:v>0.55399061032863794</c:v>
                </c:pt>
                <c:pt idx="1292">
                  <c:v>0.55408560311284005</c:v>
                </c:pt>
                <c:pt idx="1293">
                  <c:v>0.55410691003911305</c:v>
                </c:pt>
                <c:pt idx="1294">
                  <c:v>0.55421686746987997</c:v>
                </c:pt>
                <c:pt idx="1295">
                  <c:v>0.55428571428571405</c:v>
                </c:pt>
                <c:pt idx="1296">
                  <c:v>0.55439459127227997</c:v>
                </c:pt>
                <c:pt idx="1297">
                  <c:v>0.55440414507771996</c:v>
                </c:pt>
                <c:pt idx="1298">
                  <c:v>0.55462184873949605</c:v>
                </c:pt>
                <c:pt idx="1299">
                  <c:v>0.55463059313215402</c:v>
                </c:pt>
                <c:pt idx="1300">
                  <c:v>0.55472636815920395</c:v>
                </c:pt>
                <c:pt idx="1301">
                  <c:v>0.55475763016157997</c:v>
                </c:pt>
                <c:pt idx="1302">
                  <c:v>0.55480378890392401</c:v>
                </c:pt>
                <c:pt idx="1303">
                  <c:v>0.554838709677419</c:v>
                </c:pt>
                <c:pt idx="1304">
                  <c:v>0.55508474576271205</c:v>
                </c:pt>
                <c:pt idx="1305">
                  <c:v>0.55513307984790905</c:v>
                </c:pt>
                <c:pt idx="1306">
                  <c:v>0.555172413793103</c:v>
                </c:pt>
                <c:pt idx="1307">
                  <c:v>0.55518394648829394</c:v>
                </c:pt>
                <c:pt idx="1308">
                  <c:v>0.55524734165510903</c:v>
                </c:pt>
                <c:pt idx="1309">
                  <c:v>0.55524861878453002</c:v>
                </c:pt>
                <c:pt idx="1310">
                  <c:v>0.55525606469002697</c:v>
                </c:pt>
                <c:pt idx="1311">
                  <c:v>0.55526315789473701</c:v>
                </c:pt>
                <c:pt idx="1312">
                  <c:v>0.55542021924482299</c:v>
                </c:pt>
                <c:pt idx="1313">
                  <c:v>0.55555555555555602</c:v>
                </c:pt>
                <c:pt idx="1314">
                  <c:v>0.55555555555555602</c:v>
                </c:pt>
                <c:pt idx="1315">
                  <c:v>0.55555555555555602</c:v>
                </c:pt>
                <c:pt idx="1316">
                  <c:v>0.55555555555555602</c:v>
                </c:pt>
                <c:pt idx="1317">
                  <c:v>0.55555555555555602</c:v>
                </c:pt>
                <c:pt idx="1318">
                  <c:v>0.55555555555555602</c:v>
                </c:pt>
                <c:pt idx="1319">
                  <c:v>0.55555555555555602</c:v>
                </c:pt>
                <c:pt idx="1320">
                  <c:v>0.55555555555555602</c:v>
                </c:pt>
                <c:pt idx="1321">
                  <c:v>0.55555555555555602</c:v>
                </c:pt>
                <c:pt idx="1322">
                  <c:v>0.55564715581203605</c:v>
                </c:pt>
                <c:pt idx="1323">
                  <c:v>0.55571227080394903</c:v>
                </c:pt>
                <c:pt idx="1324">
                  <c:v>0.55574614065180095</c:v>
                </c:pt>
                <c:pt idx="1325">
                  <c:v>0.55576923076923102</c:v>
                </c:pt>
                <c:pt idx="1326">
                  <c:v>0.55589123867069501</c:v>
                </c:pt>
                <c:pt idx="1327">
                  <c:v>0.55594817432273302</c:v>
                </c:pt>
                <c:pt idx="1328">
                  <c:v>0.55598208573256602</c:v>
                </c:pt>
                <c:pt idx="1329">
                  <c:v>0.55606407322654505</c:v>
                </c:pt>
                <c:pt idx="1330">
                  <c:v>0.55624036979969205</c:v>
                </c:pt>
                <c:pt idx="1331">
                  <c:v>0.556291390728477</c:v>
                </c:pt>
                <c:pt idx="1332">
                  <c:v>0.556412729026037</c:v>
                </c:pt>
                <c:pt idx="1333">
                  <c:v>0.55645161290322598</c:v>
                </c:pt>
                <c:pt idx="1334">
                  <c:v>0.55646551724137905</c:v>
                </c:pt>
                <c:pt idx="1335">
                  <c:v>0.55648535564853596</c:v>
                </c:pt>
                <c:pt idx="1336">
                  <c:v>0.55681818181818199</c:v>
                </c:pt>
                <c:pt idx="1337">
                  <c:v>0.55694618272841101</c:v>
                </c:pt>
                <c:pt idx="1338">
                  <c:v>0.55699658703071697</c:v>
                </c:pt>
                <c:pt idx="1339">
                  <c:v>0.55704697986577201</c:v>
                </c:pt>
                <c:pt idx="1340">
                  <c:v>0.55724299065420602</c:v>
                </c:pt>
                <c:pt idx="1341">
                  <c:v>0.55754475703324802</c:v>
                </c:pt>
                <c:pt idx="1342">
                  <c:v>0.55757261410788395</c:v>
                </c:pt>
                <c:pt idx="1343">
                  <c:v>0.55757575757575795</c:v>
                </c:pt>
                <c:pt idx="1344">
                  <c:v>0.55757575757575795</c:v>
                </c:pt>
                <c:pt idx="1345">
                  <c:v>0.55769230769230804</c:v>
                </c:pt>
                <c:pt idx="1346">
                  <c:v>0.55778894472361795</c:v>
                </c:pt>
                <c:pt idx="1347">
                  <c:v>0.55791962174940901</c:v>
                </c:pt>
                <c:pt idx="1348">
                  <c:v>0.55807365439093504</c:v>
                </c:pt>
                <c:pt idx="1349">
                  <c:v>0.55809859154929597</c:v>
                </c:pt>
                <c:pt idx="1350">
                  <c:v>0.55813953488372103</c:v>
                </c:pt>
                <c:pt idx="1351">
                  <c:v>0.55836849507735598</c:v>
                </c:pt>
                <c:pt idx="1352">
                  <c:v>0.55837563451776595</c:v>
                </c:pt>
                <c:pt idx="1353">
                  <c:v>0.55844155844155796</c:v>
                </c:pt>
                <c:pt idx="1354">
                  <c:v>0.55851063829787195</c:v>
                </c:pt>
                <c:pt idx="1355">
                  <c:v>0.55858930602957901</c:v>
                </c:pt>
                <c:pt idx="1356">
                  <c:v>0.55862068965517198</c:v>
                </c:pt>
                <c:pt idx="1357">
                  <c:v>0.55862068965517198</c:v>
                </c:pt>
                <c:pt idx="1358">
                  <c:v>0.55865921787709505</c:v>
                </c:pt>
                <c:pt idx="1359">
                  <c:v>0.55870445344129605</c:v>
                </c:pt>
                <c:pt idx="1360">
                  <c:v>0.55875576036866403</c:v>
                </c:pt>
                <c:pt idx="1361">
                  <c:v>0.55875952121871597</c:v>
                </c:pt>
                <c:pt idx="1362">
                  <c:v>0.55882352941176505</c:v>
                </c:pt>
                <c:pt idx="1363">
                  <c:v>0.55891238670694898</c:v>
                </c:pt>
                <c:pt idx="1364">
                  <c:v>0.55892255892255904</c:v>
                </c:pt>
                <c:pt idx="1365">
                  <c:v>0.55892648774795795</c:v>
                </c:pt>
                <c:pt idx="1366">
                  <c:v>0.55895196506550204</c:v>
                </c:pt>
                <c:pt idx="1367">
                  <c:v>0.55902306648575295</c:v>
                </c:pt>
                <c:pt idx="1368">
                  <c:v>0.55911823647294601</c:v>
                </c:pt>
                <c:pt idx="1369">
                  <c:v>0.55913978494623595</c:v>
                </c:pt>
                <c:pt idx="1370">
                  <c:v>0.55913978494623595</c:v>
                </c:pt>
                <c:pt idx="1371">
                  <c:v>0.559241706161137</c:v>
                </c:pt>
                <c:pt idx="1372">
                  <c:v>0.55925925925925901</c:v>
                </c:pt>
                <c:pt idx="1373">
                  <c:v>0.55932203389830504</c:v>
                </c:pt>
                <c:pt idx="1374">
                  <c:v>0.55932203389830504</c:v>
                </c:pt>
                <c:pt idx="1375">
                  <c:v>0.55940594059405901</c:v>
                </c:pt>
                <c:pt idx="1376">
                  <c:v>0.55958549222797904</c:v>
                </c:pt>
                <c:pt idx="1377">
                  <c:v>0.559782608695652</c:v>
                </c:pt>
                <c:pt idx="1378">
                  <c:v>0.55982274741506599</c:v>
                </c:pt>
                <c:pt idx="1379">
                  <c:v>0.55987055016181198</c:v>
                </c:pt>
                <c:pt idx="1380">
                  <c:v>0.55993690851735001</c:v>
                </c:pt>
                <c:pt idx="1381">
                  <c:v>0.55994152046783596</c:v>
                </c:pt>
                <c:pt idx="1382">
                  <c:v>0.56000000000000005</c:v>
                </c:pt>
                <c:pt idx="1383">
                  <c:v>0.56006768189509304</c:v>
                </c:pt>
                <c:pt idx="1384">
                  <c:v>0.560165975103734</c:v>
                </c:pt>
                <c:pt idx="1385">
                  <c:v>0.56027397260274003</c:v>
                </c:pt>
                <c:pt idx="1386">
                  <c:v>0.56038647342995196</c:v>
                </c:pt>
                <c:pt idx="1387">
                  <c:v>0.56043956043956</c:v>
                </c:pt>
                <c:pt idx="1388">
                  <c:v>0.56051873198847302</c:v>
                </c:pt>
                <c:pt idx="1389">
                  <c:v>0.56063268892794405</c:v>
                </c:pt>
                <c:pt idx="1390">
                  <c:v>0.56063268892794405</c:v>
                </c:pt>
                <c:pt idx="1391">
                  <c:v>0.56066945606694596</c:v>
                </c:pt>
                <c:pt idx="1392">
                  <c:v>0.56074766355140204</c:v>
                </c:pt>
                <c:pt idx="1393">
                  <c:v>0.56085409252669005</c:v>
                </c:pt>
                <c:pt idx="1394">
                  <c:v>0.56088082901554404</c:v>
                </c:pt>
                <c:pt idx="1395">
                  <c:v>0.56088888888888899</c:v>
                </c:pt>
                <c:pt idx="1396">
                  <c:v>0.56090651558073701</c:v>
                </c:pt>
                <c:pt idx="1397">
                  <c:v>0.56097560975609795</c:v>
                </c:pt>
                <c:pt idx="1398">
                  <c:v>0.56097560975609795</c:v>
                </c:pt>
                <c:pt idx="1399">
                  <c:v>0.56102362204724399</c:v>
                </c:pt>
                <c:pt idx="1400">
                  <c:v>0.56102564102564101</c:v>
                </c:pt>
                <c:pt idx="1401">
                  <c:v>0.56105990783410098</c:v>
                </c:pt>
                <c:pt idx="1402">
                  <c:v>0.56113902847571195</c:v>
                </c:pt>
                <c:pt idx="1403">
                  <c:v>0.56127886323268195</c:v>
                </c:pt>
                <c:pt idx="1404">
                  <c:v>0.56134969325153405</c:v>
                </c:pt>
                <c:pt idx="1405">
                  <c:v>0.56140350877193002</c:v>
                </c:pt>
                <c:pt idx="1406">
                  <c:v>0.56153846153846199</c:v>
                </c:pt>
                <c:pt idx="1407">
                  <c:v>0.561546286876907</c:v>
                </c:pt>
                <c:pt idx="1408">
                  <c:v>0.561594202898551</c:v>
                </c:pt>
                <c:pt idx="1409">
                  <c:v>0.56169429097605905</c:v>
                </c:pt>
                <c:pt idx="1410">
                  <c:v>0.56172328086164003</c:v>
                </c:pt>
                <c:pt idx="1411">
                  <c:v>0.56183745583038902</c:v>
                </c:pt>
                <c:pt idx="1412">
                  <c:v>0.56209150326797397</c:v>
                </c:pt>
                <c:pt idx="1413">
                  <c:v>0.56209150326797397</c:v>
                </c:pt>
                <c:pt idx="1414">
                  <c:v>0.56228373702422096</c:v>
                </c:pt>
                <c:pt idx="1415">
                  <c:v>0.56228956228956195</c:v>
                </c:pt>
                <c:pt idx="1416">
                  <c:v>0.5625</c:v>
                </c:pt>
                <c:pt idx="1417">
                  <c:v>0.5625</c:v>
                </c:pt>
                <c:pt idx="1418">
                  <c:v>0.5625</c:v>
                </c:pt>
                <c:pt idx="1419">
                  <c:v>0.5625</c:v>
                </c:pt>
                <c:pt idx="1420">
                  <c:v>0.56255283178360105</c:v>
                </c:pt>
                <c:pt idx="1421">
                  <c:v>0.56268011527377504</c:v>
                </c:pt>
                <c:pt idx="1422">
                  <c:v>0.56281407035175901</c:v>
                </c:pt>
                <c:pt idx="1423">
                  <c:v>0.56283357593401295</c:v>
                </c:pt>
                <c:pt idx="1424">
                  <c:v>0.56284760845383797</c:v>
                </c:pt>
                <c:pt idx="1425">
                  <c:v>0.56290773532152805</c:v>
                </c:pt>
                <c:pt idx="1426">
                  <c:v>0.56294964028776995</c:v>
                </c:pt>
                <c:pt idx="1427">
                  <c:v>0.56298600311042002</c:v>
                </c:pt>
                <c:pt idx="1428">
                  <c:v>0.56303972366148503</c:v>
                </c:pt>
                <c:pt idx="1429">
                  <c:v>0.56307692307692303</c:v>
                </c:pt>
                <c:pt idx="1430">
                  <c:v>0.56314312441534098</c:v>
                </c:pt>
                <c:pt idx="1431">
                  <c:v>0.56321839080459801</c:v>
                </c:pt>
                <c:pt idx="1432">
                  <c:v>0.563271604938272</c:v>
                </c:pt>
                <c:pt idx="1433">
                  <c:v>0.56348167539267002</c:v>
                </c:pt>
                <c:pt idx="1434">
                  <c:v>0.56353591160220995</c:v>
                </c:pt>
                <c:pt idx="1435">
                  <c:v>0.56372824256035903</c:v>
                </c:pt>
                <c:pt idx="1436">
                  <c:v>0.56382978723404298</c:v>
                </c:pt>
                <c:pt idx="1437">
                  <c:v>0.56382978723404298</c:v>
                </c:pt>
                <c:pt idx="1438">
                  <c:v>0.56410256410256399</c:v>
                </c:pt>
                <c:pt idx="1439">
                  <c:v>0.56423841059602697</c:v>
                </c:pt>
                <c:pt idx="1440">
                  <c:v>0.56447831184056296</c:v>
                </c:pt>
                <c:pt idx="1441">
                  <c:v>0.56457142857142895</c:v>
                </c:pt>
                <c:pt idx="1442">
                  <c:v>0.56461232604373801</c:v>
                </c:pt>
                <c:pt idx="1443">
                  <c:v>0.56469298245613997</c:v>
                </c:pt>
                <c:pt idx="1444">
                  <c:v>0.56485355648535596</c:v>
                </c:pt>
                <c:pt idx="1445">
                  <c:v>0.56488549618320605</c:v>
                </c:pt>
                <c:pt idx="1446">
                  <c:v>0.56496350364963499</c:v>
                </c:pt>
                <c:pt idx="1447">
                  <c:v>0.56496519721577698</c:v>
                </c:pt>
                <c:pt idx="1448">
                  <c:v>0.56513026052104198</c:v>
                </c:pt>
                <c:pt idx="1449">
                  <c:v>0.565217391304348</c:v>
                </c:pt>
                <c:pt idx="1450">
                  <c:v>0.56528189910979199</c:v>
                </c:pt>
                <c:pt idx="1451">
                  <c:v>0.56531284302963802</c:v>
                </c:pt>
                <c:pt idx="1452">
                  <c:v>0.565359477124183</c:v>
                </c:pt>
                <c:pt idx="1453">
                  <c:v>0.56562137049941896</c:v>
                </c:pt>
                <c:pt idx="1454">
                  <c:v>0.56572769953051605</c:v>
                </c:pt>
                <c:pt idx="1455">
                  <c:v>0.56582278481012704</c:v>
                </c:pt>
                <c:pt idx="1456">
                  <c:v>0.56583629893238396</c:v>
                </c:pt>
                <c:pt idx="1457">
                  <c:v>0.56589147286821695</c:v>
                </c:pt>
                <c:pt idx="1458">
                  <c:v>0.56590084643288996</c:v>
                </c:pt>
                <c:pt idx="1459">
                  <c:v>0.56594323873121899</c:v>
                </c:pt>
                <c:pt idx="1460">
                  <c:v>0.56599552572706902</c:v>
                </c:pt>
                <c:pt idx="1461">
                  <c:v>0.56603773584905703</c:v>
                </c:pt>
                <c:pt idx="1462">
                  <c:v>0.56613437782464604</c:v>
                </c:pt>
                <c:pt idx="1463">
                  <c:v>0.56637168141592897</c:v>
                </c:pt>
                <c:pt idx="1464">
                  <c:v>0.56643356643356602</c:v>
                </c:pt>
                <c:pt idx="1465">
                  <c:v>0.56652360515021505</c:v>
                </c:pt>
                <c:pt idx="1466">
                  <c:v>0.56657730116175198</c:v>
                </c:pt>
                <c:pt idx="1467">
                  <c:v>0.56666666666666698</c:v>
                </c:pt>
                <c:pt idx="1468">
                  <c:v>0.56669361358124504</c:v>
                </c:pt>
                <c:pt idx="1469">
                  <c:v>0.56675749318801105</c:v>
                </c:pt>
                <c:pt idx="1470">
                  <c:v>0.56681034482758597</c:v>
                </c:pt>
                <c:pt idx="1471">
                  <c:v>0.56692913385826804</c:v>
                </c:pt>
                <c:pt idx="1472">
                  <c:v>0.56699346405228801</c:v>
                </c:pt>
                <c:pt idx="1473">
                  <c:v>0.56716417910447803</c:v>
                </c:pt>
                <c:pt idx="1474">
                  <c:v>0.56717618664521297</c:v>
                </c:pt>
                <c:pt idx="1475">
                  <c:v>0.567357512953368</c:v>
                </c:pt>
                <c:pt idx="1476">
                  <c:v>0.56744186046511602</c:v>
                </c:pt>
                <c:pt idx="1477">
                  <c:v>0.56755089450956198</c:v>
                </c:pt>
                <c:pt idx="1478">
                  <c:v>0.56756756756756799</c:v>
                </c:pt>
                <c:pt idx="1479">
                  <c:v>0.56756756756756799</c:v>
                </c:pt>
                <c:pt idx="1480">
                  <c:v>0.56775067750677499</c:v>
                </c:pt>
                <c:pt idx="1481">
                  <c:v>0.56783919597989896</c:v>
                </c:pt>
                <c:pt idx="1482">
                  <c:v>0.56784162240463498</c:v>
                </c:pt>
                <c:pt idx="1483">
                  <c:v>0.56785714285714295</c:v>
                </c:pt>
                <c:pt idx="1484">
                  <c:v>0.56790123456790098</c:v>
                </c:pt>
                <c:pt idx="1485">
                  <c:v>0.56799999999999995</c:v>
                </c:pt>
                <c:pt idx="1486">
                  <c:v>0.56818181818181801</c:v>
                </c:pt>
                <c:pt idx="1487">
                  <c:v>0.56818181818181801</c:v>
                </c:pt>
                <c:pt idx="1488">
                  <c:v>0.56824512534818905</c:v>
                </c:pt>
                <c:pt idx="1489">
                  <c:v>0.56850533807829196</c:v>
                </c:pt>
                <c:pt idx="1490">
                  <c:v>0.56852791878172604</c:v>
                </c:pt>
                <c:pt idx="1491">
                  <c:v>0.56862745098039202</c:v>
                </c:pt>
                <c:pt idx="1492">
                  <c:v>0.56880733944954098</c:v>
                </c:pt>
                <c:pt idx="1493">
                  <c:v>0.56880733944954098</c:v>
                </c:pt>
                <c:pt idx="1494">
                  <c:v>0.56882494004796202</c:v>
                </c:pt>
                <c:pt idx="1495">
                  <c:v>0.56892230576441105</c:v>
                </c:pt>
                <c:pt idx="1496">
                  <c:v>0.56903765690376595</c:v>
                </c:pt>
                <c:pt idx="1497">
                  <c:v>0.56911196911196904</c:v>
                </c:pt>
                <c:pt idx="1498">
                  <c:v>0.56911581569115799</c:v>
                </c:pt>
                <c:pt idx="1499">
                  <c:v>0.56922549691569602</c:v>
                </c:pt>
                <c:pt idx="1500">
                  <c:v>0.56932153392330398</c:v>
                </c:pt>
                <c:pt idx="1501">
                  <c:v>0.56944444444444398</c:v>
                </c:pt>
                <c:pt idx="1502">
                  <c:v>0.56944444444444398</c:v>
                </c:pt>
                <c:pt idx="1503">
                  <c:v>0.56944444444444398</c:v>
                </c:pt>
                <c:pt idx="1504">
                  <c:v>0.56951871657754005</c:v>
                </c:pt>
                <c:pt idx="1505">
                  <c:v>0.56955645161290303</c:v>
                </c:pt>
                <c:pt idx="1506">
                  <c:v>0.5696</c:v>
                </c:pt>
                <c:pt idx="1507">
                  <c:v>0.56964842011571004</c:v>
                </c:pt>
                <c:pt idx="1508">
                  <c:v>0.56969696969697003</c:v>
                </c:pt>
                <c:pt idx="1509">
                  <c:v>0.56991951710261601</c:v>
                </c:pt>
                <c:pt idx="1510">
                  <c:v>0.56999999999999995</c:v>
                </c:pt>
                <c:pt idx="1511">
                  <c:v>0.57014590347923699</c:v>
                </c:pt>
                <c:pt idx="1512">
                  <c:v>0.57021131561008898</c:v>
                </c:pt>
                <c:pt idx="1513">
                  <c:v>0.570393374741201</c:v>
                </c:pt>
                <c:pt idx="1514">
                  <c:v>0.57042253521126796</c:v>
                </c:pt>
                <c:pt idx="1515">
                  <c:v>0.57043879907621198</c:v>
                </c:pt>
                <c:pt idx="1516">
                  <c:v>0.57044198895027598</c:v>
                </c:pt>
                <c:pt idx="1517">
                  <c:v>0.57046979865771796</c:v>
                </c:pt>
                <c:pt idx="1518">
                  <c:v>0.57048458149779702</c:v>
                </c:pt>
                <c:pt idx="1519">
                  <c:v>0.57051282051282004</c:v>
                </c:pt>
                <c:pt idx="1520">
                  <c:v>0.57051736357193505</c:v>
                </c:pt>
                <c:pt idx="1521">
                  <c:v>0.57057057057057103</c:v>
                </c:pt>
                <c:pt idx="1522">
                  <c:v>0.57063403781980004</c:v>
                </c:pt>
                <c:pt idx="1523">
                  <c:v>0.57065217391304301</c:v>
                </c:pt>
                <c:pt idx="1524">
                  <c:v>0.57073170731707301</c:v>
                </c:pt>
                <c:pt idx="1525">
                  <c:v>0.57074340527577905</c:v>
                </c:pt>
                <c:pt idx="1526">
                  <c:v>0.570809248554913</c:v>
                </c:pt>
                <c:pt idx="1527">
                  <c:v>0.5708309564556</c:v>
                </c:pt>
                <c:pt idx="1528">
                  <c:v>0.57086614173228301</c:v>
                </c:pt>
                <c:pt idx="1529">
                  <c:v>0.57096247960848301</c:v>
                </c:pt>
                <c:pt idx="1530">
                  <c:v>0.57103064066852405</c:v>
                </c:pt>
                <c:pt idx="1531">
                  <c:v>0.57104286196422505</c:v>
                </c:pt>
                <c:pt idx="1532">
                  <c:v>0.57111111111111101</c:v>
                </c:pt>
                <c:pt idx="1533">
                  <c:v>0.57115384615384601</c:v>
                </c:pt>
                <c:pt idx="1534">
                  <c:v>0.57121212121212095</c:v>
                </c:pt>
                <c:pt idx="1535">
                  <c:v>0.57142857142857095</c:v>
                </c:pt>
                <c:pt idx="1536">
                  <c:v>0.57142857142857095</c:v>
                </c:pt>
                <c:pt idx="1537">
                  <c:v>0.57142857142857095</c:v>
                </c:pt>
                <c:pt idx="1538">
                  <c:v>0.57142857142857095</c:v>
                </c:pt>
                <c:pt idx="1539">
                  <c:v>0.57142857142857095</c:v>
                </c:pt>
                <c:pt idx="1540">
                  <c:v>0.57142857142857095</c:v>
                </c:pt>
                <c:pt idx="1541">
                  <c:v>0.57163323782234998</c:v>
                </c:pt>
                <c:pt idx="1542">
                  <c:v>0.571761960326721</c:v>
                </c:pt>
                <c:pt idx="1543">
                  <c:v>0.57197943444730104</c:v>
                </c:pt>
                <c:pt idx="1544">
                  <c:v>0.57213930348258701</c:v>
                </c:pt>
                <c:pt idx="1545">
                  <c:v>0.57216494845360799</c:v>
                </c:pt>
                <c:pt idx="1546">
                  <c:v>0.57224118316268502</c:v>
                </c:pt>
                <c:pt idx="1547">
                  <c:v>0.57225433526011604</c:v>
                </c:pt>
                <c:pt idx="1548">
                  <c:v>0.57226705796038102</c:v>
                </c:pt>
                <c:pt idx="1549">
                  <c:v>0.57228915662650603</c:v>
                </c:pt>
                <c:pt idx="1550">
                  <c:v>0.57230769230769196</c:v>
                </c:pt>
                <c:pt idx="1551">
                  <c:v>0.57232704402515699</c:v>
                </c:pt>
                <c:pt idx="1552">
                  <c:v>0.57234726688102899</c:v>
                </c:pt>
                <c:pt idx="1553">
                  <c:v>0.57238605898123296</c:v>
                </c:pt>
                <c:pt idx="1554">
                  <c:v>0.57244655581947701</c:v>
                </c:pt>
                <c:pt idx="1555">
                  <c:v>0.57246376811594202</c:v>
                </c:pt>
                <c:pt idx="1556">
                  <c:v>0.57255936675461705</c:v>
                </c:pt>
                <c:pt idx="1557">
                  <c:v>0.57266435986159203</c:v>
                </c:pt>
                <c:pt idx="1558">
                  <c:v>0.57273918741808605</c:v>
                </c:pt>
                <c:pt idx="1559">
                  <c:v>0.57276995305164302</c:v>
                </c:pt>
                <c:pt idx="1560">
                  <c:v>0.572784810126582</c:v>
                </c:pt>
                <c:pt idx="1561">
                  <c:v>0.57281553398058205</c:v>
                </c:pt>
                <c:pt idx="1562">
                  <c:v>0.57290767903365003</c:v>
                </c:pt>
                <c:pt idx="1563">
                  <c:v>0.57295373665480398</c:v>
                </c:pt>
                <c:pt idx="1564">
                  <c:v>0.573082489146165</c:v>
                </c:pt>
                <c:pt idx="1565">
                  <c:v>0.573099415204678</c:v>
                </c:pt>
                <c:pt idx="1566">
                  <c:v>0.57312252964426902</c:v>
                </c:pt>
                <c:pt idx="1567">
                  <c:v>0.57316332726168795</c:v>
                </c:pt>
                <c:pt idx="1568">
                  <c:v>0.57323688969258602</c:v>
                </c:pt>
                <c:pt idx="1569">
                  <c:v>0.57352941176470595</c:v>
                </c:pt>
                <c:pt idx="1570">
                  <c:v>0.57356459330143506</c:v>
                </c:pt>
                <c:pt idx="1571">
                  <c:v>0.57360406091370597</c:v>
                </c:pt>
                <c:pt idx="1572">
                  <c:v>0.57360627177700396</c:v>
                </c:pt>
                <c:pt idx="1573">
                  <c:v>0.57367668097281799</c:v>
                </c:pt>
                <c:pt idx="1574">
                  <c:v>0.57368421052631602</c:v>
                </c:pt>
                <c:pt idx="1575">
                  <c:v>0.57377049180327899</c:v>
                </c:pt>
                <c:pt idx="1576">
                  <c:v>0.573913043478261</c:v>
                </c:pt>
                <c:pt idx="1577">
                  <c:v>0.573943661971831</c:v>
                </c:pt>
                <c:pt idx="1578">
                  <c:v>0.57397959183673497</c:v>
                </c:pt>
                <c:pt idx="1579">
                  <c:v>0.57403651115618703</c:v>
                </c:pt>
                <c:pt idx="1580">
                  <c:v>0.57407407407407396</c:v>
                </c:pt>
                <c:pt idx="1581">
                  <c:v>0.57422969187675099</c:v>
                </c:pt>
                <c:pt idx="1582">
                  <c:v>0.57425742574257399</c:v>
                </c:pt>
                <c:pt idx="1583">
                  <c:v>0.57430730478589398</c:v>
                </c:pt>
                <c:pt idx="1584">
                  <c:v>0.57430730478589398</c:v>
                </c:pt>
                <c:pt idx="1585">
                  <c:v>0.57432432432432401</c:v>
                </c:pt>
                <c:pt idx="1586">
                  <c:v>0.57446808510638303</c:v>
                </c:pt>
                <c:pt idx="1587">
                  <c:v>0.57446808510638303</c:v>
                </c:pt>
                <c:pt idx="1588">
                  <c:v>0.57453416149068304</c:v>
                </c:pt>
                <c:pt idx="1589">
                  <c:v>0.57462686567164201</c:v>
                </c:pt>
                <c:pt idx="1590">
                  <c:v>0.57468643101482297</c:v>
                </c:pt>
                <c:pt idx="1591">
                  <c:v>0.574762658227848</c:v>
                </c:pt>
                <c:pt idx="1592">
                  <c:v>0.574866310160428</c:v>
                </c:pt>
                <c:pt idx="1593">
                  <c:v>0.57487437185929602</c:v>
                </c:pt>
                <c:pt idx="1594">
                  <c:v>0.57488986784141005</c:v>
                </c:pt>
                <c:pt idx="1595">
                  <c:v>0.57493188010899199</c:v>
                </c:pt>
                <c:pt idx="1596">
                  <c:v>0.57515030060120198</c:v>
                </c:pt>
                <c:pt idx="1597">
                  <c:v>0.57518796992481203</c:v>
                </c:pt>
                <c:pt idx="1598">
                  <c:v>0.57532956685499104</c:v>
                </c:pt>
                <c:pt idx="1599">
                  <c:v>0.57534246575342496</c:v>
                </c:pt>
                <c:pt idx="1600">
                  <c:v>0.57544757033248095</c:v>
                </c:pt>
                <c:pt idx="1601">
                  <c:v>0.57553956834532405</c:v>
                </c:pt>
                <c:pt idx="1602">
                  <c:v>0.57563959955506105</c:v>
                </c:pt>
                <c:pt idx="1603">
                  <c:v>0.57572992700729897</c:v>
                </c:pt>
                <c:pt idx="1604">
                  <c:v>0.57575757575757602</c:v>
                </c:pt>
                <c:pt idx="1605">
                  <c:v>0.57586206896551695</c:v>
                </c:pt>
                <c:pt idx="1606">
                  <c:v>0.57587336244541498</c:v>
                </c:pt>
                <c:pt idx="1607">
                  <c:v>0.57589285714285698</c:v>
                </c:pt>
                <c:pt idx="1608">
                  <c:v>0.57589285714285698</c:v>
                </c:pt>
                <c:pt idx="1609">
                  <c:v>0.57595993322203698</c:v>
                </c:pt>
                <c:pt idx="1610">
                  <c:v>0.57596253902185202</c:v>
                </c:pt>
                <c:pt idx="1611">
                  <c:v>0.575966850828729</c:v>
                </c:pt>
                <c:pt idx="1612">
                  <c:v>0.57598784194528896</c:v>
                </c:pt>
                <c:pt idx="1613">
                  <c:v>0.57608695652173902</c:v>
                </c:pt>
                <c:pt idx="1614">
                  <c:v>0.57625272331154698</c:v>
                </c:pt>
                <c:pt idx="1615">
                  <c:v>0.57627118644067798</c:v>
                </c:pt>
                <c:pt idx="1616">
                  <c:v>0.57627118644067798</c:v>
                </c:pt>
                <c:pt idx="1617">
                  <c:v>0.57633892885691496</c:v>
                </c:pt>
                <c:pt idx="1618">
                  <c:v>0.57635467980295596</c:v>
                </c:pt>
                <c:pt idx="1619">
                  <c:v>0.57674418604651201</c:v>
                </c:pt>
                <c:pt idx="1620">
                  <c:v>0.57692307692307698</c:v>
                </c:pt>
                <c:pt idx="1621">
                  <c:v>0.57692307692307698</c:v>
                </c:pt>
                <c:pt idx="1622">
                  <c:v>0.577114427860697</c:v>
                </c:pt>
                <c:pt idx="1623">
                  <c:v>0.57713884992987396</c:v>
                </c:pt>
                <c:pt idx="1624">
                  <c:v>0.57716049382715995</c:v>
                </c:pt>
                <c:pt idx="1625">
                  <c:v>0.577181208053691</c:v>
                </c:pt>
                <c:pt idx="1626">
                  <c:v>0.57727272727272705</c:v>
                </c:pt>
                <c:pt idx="1627">
                  <c:v>0.57727272727272705</c:v>
                </c:pt>
                <c:pt idx="1628">
                  <c:v>0.57746478873239404</c:v>
                </c:pt>
                <c:pt idx="1629">
                  <c:v>0.57746478873239404</c:v>
                </c:pt>
                <c:pt idx="1630">
                  <c:v>0.57749469214437399</c:v>
                </c:pt>
                <c:pt idx="1631">
                  <c:v>0.57754010695187197</c:v>
                </c:pt>
                <c:pt idx="1632">
                  <c:v>0.577557755775578</c:v>
                </c:pt>
                <c:pt idx="1633">
                  <c:v>0.57758985200845703</c:v>
                </c:pt>
                <c:pt idx="1634">
                  <c:v>0.57760663507109</c:v>
                </c:pt>
                <c:pt idx="1635">
                  <c:v>0.57761732851985603</c:v>
                </c:pt>
                <c:pt idx="1636">
                  <c:v>0.57770632368703101</c:v>
                </c:pt>
                <c:pt idx="1637">
                  <c:v>0.57777777777777795</c:v>
                </c:pt>
                <c:pt idx="1638">
                  <c:v>0.57777777777777795</c:v>
                </c:pt>
                <c:pt idx="1639">
                  <c:v>0.57795698924731198</c:v>
                </c:pt>
                <c:pt idx="1640">
                  <c:v>0.578125</c:v>
                </c:pt>
                <c:pt idx="1641">
                  <c:v>0.578125</c:v>
                </c:pt>
                <c:pt idx="1642">
                  <c:v>0.57820383451059498</c:v>
                </c:pt>
                <c:pt idx="1643">
                  <c:v>0.57820738137082595</c:v>
                </c:pt>
                <c:pt idx="1644">
                  <c:v>0.57831325301204795</c:v>
                </c:pt>
                <c:pt idx="1645">
                  <c:v>0.578347578347578</c:v>
                </c:pt>
                <c:pt idx="1646">
                  <c:v>0.57839721254355403</c:v>
                </c:pt>
                <c:pt idx="1647">
                  <c:v>0.57843137254902</c:v>
                </c:pt>
                <c:pt idx="1648">
                  <c:v>0.57851239669421495</c:v>
                </c:pt>
                <c:pt idx="1649">
                  <c:v>0.57852882703777297</c:v>
                </c:pt>
                <c:pt idx="1650">
                  <c:v>0.57859078590785895</c:v>
                </c:pt>
                <c:pt idx="1651">
                  <c:v>0.57860962566844898</c:v>
                </c:pt>
                <c:pt idx="1652">
                  <c:v>0.57861635220125796</c:v>
                </c:pt>
                <c:pt idx="1653">
                  <c:v>0.57863145258103199</c:v>
                </c:pt>
                <c:pt idx="1654">
                  <c:v>0.57880794701986804</c:v>
                </c:pt>
                <c:pt idx="1655">
                  <c:v>0.57887788778877902</c:v>
                </c:pt>
                <c:pt idx="1656">
                  <c:v>0.57894736842105299</c:v>
                </c:pt>
                <c:pt idx="1657">
                  <c:v>0.57894736842105299</c:v>
                </c:pt>
                <c:pt idx="1658">
                  <c:v>0.57894736842105299</c:v>
                </c:pt>
                <c:pt idx="1659">
                  <c:v>0.57913247362250897</c:v>
                </c:pt>
                <c:pt idx="1660">
                  <c:v>0.57913669064748197</c:v>
                </c:pt>
                <c:pt idx="1661">
                  <c:v>0.57920000000000005</c:v>
                </c:pt>
                <c:pt idx="1662">
                  <c:v>0.57923497267759605</c:v>
                </c:pt>
                <c:pt idx="1663">
                  <c:v>0.57933042212518204</c:v>
                </c:pt>
                <c:pt idx="1664">
                  <c:v>0.57943022694350599</c:v>
                </c:pt>
                <c:pt idx="1665">
                  <c:v>0.57943492357572901</c:v>
                </c:pt>
                <c:pt idx="1666">
                  <c:v>0.57957244655581996</c:v>
                </c:pt>
                <c:pt idx="1667">
                  <c:v>0.57963446475195801</c:v>
                </c:pt>
                <c:pt idx="1668">
                  <c:v>0.57975797579758004</c:v>
                </c:pt>
                <c:pt idx="1669">
                  <c:v>0.57985611510791402</c:v>
                </c:pt>
                <c:pt idx="1670">
                  <c:v>0.57999999999999996</c:v>
                </c:pt>
                <c:pt idx="1671">
                  <c:v>0.58008658008657998</c:v>
                </c:pt>
                <c:pt idx="1672">
                  <c:v>0.58021712907116996</c:v>
                </c:pt>
                <c:pt idx="1673">
                  <c:v>0.58022388059701502</c:v>
                </c:pt>
                <c:pt idx="1674">
                  <c:v>0.58045977011494299</c:v>
                </c:pt>
                <c:pt idx="1675">
                  <c:v>0.58048780487804896</c:v>
                </c:pt>
                <c:pt idx="1676">
                  <c:v>0.58050847457627097</c:v>
                </c:pt>
                <c:pt idx="1677">
                  <c:v>0.58051235132662404</c:v>
                </c:pt>
                <c:pt idx="1678">
                  <c:v>0.58052434456928803</c:v>
                </c:pt>
                <c:pt idx="1679">
                  <c:v>0.580543933054393</c:v>
                </c:pt>
                <c:pt idx="1680">
                  <c:v>0.58054711246200597</c:v>
                </c:pt>
                <c:pt idx="1681">
                  <c:v>0.58056265984654698</c:v>
                </c:pt>
                <c:pt idx="1682">
                  <c:v>0.58064516129032295</c:v>
                </c:pt>
                <c:pt idx="1683">
                  <c:v>0.58064516129032295</c:v>
                </c:pt>
                <c:pt idx="1684">
                  <c:v>0.58064516129032295</c:v>
                </c:pt>
                <c:pt idx="1685">
                  <c:v>0.58075313807531403</c:v>
                </c:pt>
                <c:pt idx="1686">
                  <c:v>0.580777096114519</c:v>
                </c:pt>
                <c:pt idx="1687">
                  <c:v>0.58078602620087305</c:v>
                </c:pt>
                <c:pt idx="1688">
                  <c:v>0.58085694540428501</c:v>
                </c:pt>
                <c:pt idx="1689">
                  <c:v>0.58100558659217905</c:v>
                </c:pt>
                <c:pt idx="1690">
                  <c:v>0.58101629913710395</c:v>
                </c:pt>
                <c:pt idx="1691">
                  <c:v>0.581023454157783</c:v>
                </c:pt>
                <c:pt idx="1692">
                  <c:v>0.58106169296987098</c:v>
                </c:pt>
                <c:pt idx="1693">
                  <c:v>0.58108108108108103</c:v>
                </c:pt>
                <c:pt idx="1694">
                  <c:v>0.58115942028985501</c:v>
                </c:pt>
                <c:pt idx="1695">
                  <c:v>0.58121827411167504</c:v>
                </c:pt>
                <c:pt idx="1696">
                  <c:v>0.581235697940503</c:v>
                </c:pt>
                <c:pt idx="1697">
                  <c:v>0.58131720430107503</c:v>
                </c:pt>
                <c:pt idx="1698">
                  <c:v>0.581395348837209</c:v>
                </c:pt>
                <c:pt idx="1699">
                  <c:v>0.58149779735682805</c:v>
                </c:pt>
                <c:pt idx="1700">
                  <c:v>0.58165137614678897</c:v>
                </c:pt>
                <c:pt idx="1701">
                  <c:v>0.58168761220825804</c:v>
                </c:pt>
                <c:pt idx="1702">
                  <c:v>0.58173076923076905</c:v>
                </c:pt>
                <c:pt idx="1703">
                  <c:v>0.58193979933110396</c:v>
                </c:pt>
                <c:pt idx="1704">
                  <c:v>0.58201058201058198</c:v>
                </c:pt>
                <c:pt idx="1705">
                  <c:v>0.58237547892720298</c:v>
                </c:pt>
                <c:pt idx="1706">
                  <c:v>0.58237547892720298</c:v>
                </c:pt>
                <c:pt idx="1707">
                  <c:v>0.58238636363636398</c:v>
                </c:pt>
                <c:pt idx="1708">
                  <c:v>0.58240819812126399</c:v>
                </c:pt>
                <c:pt idx="1709">
                  <c:v>0.58241758241758201</c:v>
                </c:pt>
                <c:pt idx="1710">
                  <c:v>0.58247422680412397</c:v>
                </c:pt>
                <c:pt idx="1711">
                  <c:v>0.58247422680412397</c:v>
                </c:pt>
                <c:pt idx="1712">
                  <c:v>0.58248472505091697</c:v>
                </c:pt>
                <c:pt idx="1713">
                  <c:v>0.58260869565217399</c:v>
                </c:pt>
                <c:pt idx="1714">
                  <c:v>0.58260869565217399</c:v>
                </c:pt>
                <c:pt idx="1715">
                  <c:v>0.58262711864406802</c:v>
                </c:pt>
                <c:pt idx="1716">
                  <c:v>0.58267716535433101</c:v>
                </c:pt>
                <c:pt idx="1717">
                  <c:v>0.58270270270270297</c:v>
                </c:pt>
                <c:pt idx="1718">
                  <c:v>0.58273381294964</c:v>
                </c:pt>
                <c:pt idx="1719">
                  <c:v>0.58283433133732498</c:v>
                </c:pt>
                <c:pt idx="1720">
                  <c:v>0.58285714285714296</c:v>
                </c:pt>
                <c:pt idx="1721">
                  <c:v>0.58290005777007503</c:v>
                </c:pt>
                <c:pt idx="1722">
                  <c:v>0.58295281582952796</c:v>
                </c:pt>
                <c:pt idx="1723">
                  <c:v>0.58295964125560495</c:v>
                </c:pt>
                <c:pt idx="1724">
                  <c:v>0.58300132802124804</c:v>
                </c:pt>
                <c:pt idx="1725">
                  <c:v>0.583250249252243</c:v>
                </c:pt>
                <c:pt idx="1726">
                  <c:v>0.58333333333333304</c:v>
                </c:pt>
                <c:pt idx="1727">
                  <c:v>0.58333333333333304</c:v>
                </c:pt>
                <c:pt idx="1728">
                  <c:v>0.58333333333333304</c:v>
                </c:pt>
                <c:pt idx="1729">
                  <c:v>0.58333333333333304</c:v>
                </c:pt>
                <c:pt idx="1730">
                  <c:v>0.58340535868625798</c:v>
                </c:pt>
                <c:pt idx="1731">
                  <c:v>0.58342922899884897</c:v>
                </c:pt>
                <c:pt idx="1732">
                  <c:v>0.58347107438016499</c:v>
                </c:pt>
                <c:pt idx="1733">
                  <c:v>0.58354324097397103</c:v>
                </c:pt>
                <c:pt idx="1734">
                  <c:v>0.58356039963669404</c:v>
                </c:pt>
                <c:pt idx="1735">
                  <c:v>0.58361774744027295</c:v>
                </c:pt>
                <c:pt idx="1736">
                  <c:v>0.583720930232558</c:v>
                </c:pt>
                <c:pt idx="1737">
                  <c:v>0.58381502890173398</c:v>
                </c:pt>
                <c:pt idx="1738">
                  <c:v>0.58382642998027601</c:v>
                </c:pt>
                <c:pt idx="1739">
                  <c:v>0.58388625592417098</c:v>
                </c:pt>
                <c:pt idx="1740">
                  <c:v>0.58389261744966403</c:v>
                </c:pt>
                <c:pt idx="1741">
                  <c:v>0.58392857142857102</c:v>
                </c:pt>
                <c:pt idx="1742">
                  <c:v>0.58415841584158401</c:v>
                </c:pt>
                <c:pt idx="1743">
                  <c:v>0.58422939068100399</c:v>
                </c:pt>
                <c:pt idx="1744">
                  <c:v>0.58447488584474905</c:v>
                </c:pt>
                <c:pt idx="1745">
                  <c:v>0.58455114822547005</c:v>
                </c:pt>
                <c:pt idx="1746">
                  <c:v>0.58455882352941202</c:v>
                </c:pt>
                <c:pt idx="1747">
                  <c:v>0.58456973293768499</c:v>
                </c:pt>
                <c:pt idx="1748">
                  <c:v>0.58461538461538498</c:v>
                </c:pt>
                <c:pt idx="1749">
                  <c:v>0.58487394957983196</c:v>
                </c:pt>
                <c:pt idx="1750">
                  <c:v>0.58490566037735803</c:v>
                </c:pt>
                <c:pt idx="1751">
                  <c:v>0.58495821727019504</c:v>
                </c:pt>
                <c:pt idx="1752">
                  <c:v>0.58501440922190195</c:v>
                </c:pt>
                <c:pt idx="1753">
                  <c:v>0.58510638297872297</c:v>
                </c:pt>
                <c:pt idx="1754">
                  <c:v>0.58510638297872297</c:v>
                </c:pt>
                <c:pt idx="1755">
                  <c:v>0.58510638297872297</c:v>
                </c:pt>
                <c:pt idx="1756">
                  <c:v>0.58518518518518503</c:v>
                </c:pt>
                <c:pt idx="1757">
                  <c:v>0.58526315789473704</c:v>
                </c:pt>
                <c:pt idx="1758">
                  <c:v>0.58527131782945696</c:v>
                </c:pt>
                <c:pt idx="1759">
                  <c:v>0.58530510585305096</c:v>
                </c:pt>
                <c:pt idx="1760">
                  <c:v>0.58536585365853699</c:v>
                </c:pt>
                <c:pt idx="1761">
                  <c:v>0.58536585365853699</c:v>
                </c:pt>
                <c:pt idx="1762">
                  <c:v>0.58536585365853699</c:v>
                </c:pt>
                <c:pt idx="1763">
                  <c:v>0.58539603960396003</c:v>
                </c:pt>
                <c:pt idx="1764">
                  <c:v>0.58544839255499204</c:v>
                </c:pt>
                <c:pt idx="1765">
                  <c:v>0.585534863577306</c:v>
                </c:pt>
                <c:pt idx="1766">
                  <c:v>0.58571428571428596</c:v>
                </c:pt>
                <c:pt idx="1767">
                  <c:v>0.58571428571428596</c:v>
                </c:pt>
                <c:pt idx="1768">
                  <c:v>0.585798816568047</c:v>
                </c:pt>
                <c:pt idx="1769">
                  <c:v>0.58581560283687895</c:v>
                </c:pt>
                <c:pt idx="1770">
                  <c:v>0.58582089552238803</c:v>
                </c:pt>
                <c:pt idx="1771">
                  <c:v>0.58584070796460197</c:v>
                </c:pt>
                <c:pt idx="1772">
                  <c:v>0.58585858585858597</c:v>
                </c:pt>
                <c:pt idx="1773">
                  <c:v>0.58587786259541996</c:v>
                </c:pt>
                <c:pt idx="1774">
                  <c:v>0.586049170954831</c:v>
                </c:pt>
                <c:pt idx="1775">
                  <c:v>0.58606557377049195</c:v>
                </c:pt>
                <c:pt idx="1776">
                  <c:v>0.58609794628751999</c:v>
                </c:pt>
                <c:pt idx="1777">
                  <c:v>0.58617021276595704</c:v>
                </c:pt>
                <c:pt idx="1778">
                  <c:v>0.58620689655172398</c:v>
                </c:pt>
                <c:pt idx="1779">
                  <c:v>0.58620689655172398</c:v>
                </c:pt>
                <c:pt idx="1780">
                  <c:v>0.58620689655172398</c:v>
                </c:pt>
                <c:pt idx="1781">
                  <c:v>0.58627450980392204</c:v>
                </c:pt>
                <c:pt idx="1782">
                  <c:v>0.58627858627858598</c:v>
                </c:pt>
                <c:pt idx="1783">
                  <c:v>0.58629441624365497</c:v>
                </c:pt>
                <c:pt idx="1784">
                  <c:v>0.58637083993660899</c:v>
                </c:pt>
                <c:pt idx="1785">
                  <c:v>0.58637469586374702</c:v>
                </c:pt>
                <c:pt idx="1786">
                  <c:v>0.58650602409638597</c:v>
                </c:pt>
                <c:pt idx="1787">
                  <c:v>0.58653846153846201</c:v>
                </c:pt>
                <c:pt idx="1788">
                  <c:v>0.58653846153846201</c:v>
                </c:pt>
                <c:pt idx="1789">
                  <c:v>0.58663366336633704</c:v>
                </c:pt>
                <c:pt idx="1790">
                  <c:v>0.58675078864353303</c:v>
                </c:pt>
                <c:pt idx="1791">
                  <c:v>0.58686440677966101</c:v>
                </c:pt>
                <c:pt idx="1792">
                  <c:v>0.58687258687258703</c:v>
                </c:pt>
                <c:pt idx="1793">
                  <c:v>0.586891757696127</c:v>
                </c:pt>
                <c:pt idx="1794">
                  <c:v>0.58695652173913004</c:v>
                </c:pt>
                <c:pt idx="1795">
                  <c:v>0.58695652173913004</c:v>
                </c:pt>
                <c:pt idx="1796">
                  <c:v>0.58695652173913004</c:v>
                </c:pt>
                <c:pt idx="1797">
                  <c:v>0.58700209643605905</c:v>
                </c:pt>
                <c:pt idx="1798">
                  <c:v>0.587096774193548</c:v>
                </c:pt>
                <c:pt idx="1799">
                  <c:v>0.58710562414266099</c:v>
                </c:pt>
                <c:pt idx="1800">
                  <c:v>0.58730158730158699</c:v>
                </c:pt>
                <c:pt idx="1801">
                  <c:v>0.58734939759036098</c:v>
                </c:pt>
                <c:pt idx="1802">
                  <c:v>0.58736059479553904</c:v>
                </c:pt>
                <c:pt idx="1803">
                  <c:v>0.58747993579454205</c:v>
                </c:pt>
                <c:pt idx="1804">
                  <c:v>0.58748615725359898</c:v>
                </c:pt>
                <c:pt idx="1805">
                  <c:v>0.58760107816711604</c:v>
                </c:pt>
                <c:pt idx="1806">
                  <c:v>0.58762886597938102</c:v>
                </c:pt>
                <c:pt idx="1807">
                  <c:v>0.58762886597938102</c:v>
                </c:pt>
                <c:pt idx="1808">
                  <c:v>0.58777633289986997</c:v>
                </c:pt>
                <c:pt idx="1809">
                  <c:v>0.58780709736123704</c:v>
                </c:pt>
                <c:pt idx="1810">
                  <c:v>0.58781362007168503</c:v>
                </c:pt>
                <c:pt idx="1811">
                  <c:v>0.58791480931154005</c:v>
                </c:pt>
                <c:pt idx="1812">
                  <c:v>0.587991718426501</c:v>
                </c:pt>
                <c:pt idx="1813">
                  <c:v>0.58805031446540901</c:v>
                </c:pt>
                <c:pt idx="1814">
                  <c:v>0.58823529411764697</c:v>
                </c:pt>
                <c:pt idx="1815">
                  <c:v>0.58833063209076197</c:v>
                </c:pt>
                <c:pt idx="1816">
                  <c:v>0.58836689038031298</c:v>
                </c:pt>
                <c:pt idx="1817">
                  <c:v>0.58853046594982095</c:v>
                </c:pt>
                <c:pt idx="1818">
                  <c:v>0.58863198458574195</c:v>
                </c:pt>
                <c:pt idx="1819">
                  <c:v>0.58876811594202905</c:v>
                </c:pt>
                <c:pt idx="1820">
                  <c:v>0.58879736408566696</c:v>
                </c:pt>
                <c:pt idx="1821">
                  <c:v>0.58885017421602803</c:v>
                </c:pt>
                <c:pt idx="1822">
                  <c:v>0.58888888888888902</c:v>
                </c:pt>
                <c:pt idx="1823">
                  <c:v>0.588910133843212</c:v>
                </c:pt>
                <c:pt idx="1824">
                  <c:v>0.58896797153024905</c:v>
                </c:pt>
                <c:pt idx="1825">
                  <c:v>0.58899082568807304</c:v>
                </c:pt>
                <c:pt idx="1826">
                  <c:v>0.58908341915550999</c:v>
                </c:pt>
                <c:pt idx="1827">
                  <c:v>0.58915537017726805</c:v>
                </c:pt>
                <c:pt idx="1828">
                  <c:v>0.58919803600654697</c:v>
                </c:pt>
                <c:pt idx="1829">
                  <c:v>0.58922155688622802</c:v>
                </c:pt>
                <c:pt idx="1830">
                  <c:v>0.589230769230769</c:v>
                </c:pt>
                <c:pt idx="1831">
                  <c:v>0.58928571428571397</c:v>
                </c:pt>
                <c:pt idx="1832">
                  <c:v>0.58934169278996895</c:v>
                </c:pt>
                <c:pt idx="1833">
                  <c:v>0.58936484490398799</c:v>
                </c:pt>
                <c:pt idx="1834">
                  <c:v>0.58955223880596996</c:v>
                </c:pt>
                <c:pt idx="1835">
                  <c:v>0.58969072164948499</c:v>
                </c:pt>
                <c:pt idx="1836">
                  <c:v>0.58969465648855002</c:v>
                </c:pt>
                <c:pt idx="1837">
                  <c:v>0.58974358974358998</c:v>
                </c:pt>
                <c:pt idx="1838">
                  <c:v>0.58980891719745199</c:v>
                </c:pt>
                <c:pt idx="1839">
                  <c:v>0.59002169197397003</c:v>
                </c:pt>
                <c:pt idx="1840">
                  <c:v>0.59004392386530002</c:v>
                </c:pt>
                <c:pt idx="1841">
                  <c:v>0.59010600706713801</c:v>
                </c:pt>
                <c:pt idx="1842">
                  <c:v>0.59016393442622905</c:v>
                </c:pt>
                <c:pt idx="1843">
                  <c:v>0.59038461538461495</c:v>
                </c:pt>
                <c:pt idx="1844">
                  <c:v>0.59038461538461495</c:v>
                </c:pt>
                <c:pt idx="1845">
                  <c:v>0.59050966608084399</c:v>
                </c:pt>
                <c:pt idx="1846">
                  <c:v>0.59060402684563795</c:v>
                </c:pt>
                <c:pt idx="1847">
                  <c:v>0.59071117561683595</c:v>
                </c:pt>
                <c:pt idx="1848">
                  <c:v>0.59090909090909105</c:v>
                </c:pt>
                <c:pt idx="1849">
                  <c:v>0.59090909090909105</c:v>
                </c:pt>
                <c:pt idx="1850">
                  <c:v>0.59113300492610799</c:v>
                </c:pt>
                <c:pt idx="1851">
                  <c:v>0.59124087591240904</c:v>
                </c:pt>
                <c:pt idx="1852">
                  <c:v>0.59125964010282805</c:v>
                </c:pt>
                <c:pt idx="1853">
                  <c:v>0.59126775381378205</c:v>
                </c:pt>
                <c:pt idx="1854">
                  <c:v>0.59128978224455597</c:v>
                </c:pt>
                <c:pt idx="1855">
                  <c:v>0.59141274238227104</c:v>
                </c:pt>
                <c:pt idx="1856">
                  <c:v>0.59146341463414598</c:v>
                </c:pt>
                <c:pt idx="1857">
                  <c:v>0.59150530918176103</c:v>
                </c:pt>
                <c:pt idx="1858">
                  <c:v>0.59157894736842098</c:v>
                </c:pt>
                <c:pt idx="1859">
                  <c:v>0.59162663006177096</c:v>
                </c:pt>
                <c:pt idx="1860">
                  <c:v>0.59164292497625803</c:v>
                </c:pt>
                <c:pt idx="1861">
                  <c:v>0.59167950693374405</c:v>
                </c:pt>
                <c:pt idx="1862">
                  <c:v>0.59186189889025898</c:v>
                </c:pt>
                <c:pt idx="1863">
                  <c:v>0.59190031152648004</c:v>
                </c:pt>
                <c:pt idx="1864">
                  <c:v>0.59196617336152202</c:v>
                </c:pt>
                <c:pt idx="1865">
                  <c:v>0.59197324414715702</c:v>
                </c:pt>
                <c:pt idx="1866">
                  <c:v>0.59210526315789502</c:v>
                </c:pt>
                <c:pt idx="1867">
                  <c:v>0.59217877094972105</c:v>
                </c:pt>
                <c:pt idx="1868">
                  <c:v>0.59217877094972105</c:v>
                </c:pt>
                <c:pt idx="1869">
                  <c:v>0.59223300970873805</c:v>
                </c:pt>
                <c:pt idx="1870">
                  <c:v>0.59225806451612895</c:v>
                </c:pt>
                <c:pt idx="1871">
                  <c:v>0.59226932668329202</c:v>
                </c:pt>
                <c:pt idx="1872">
                  <c:v>0.59231651376146799</c:v>
                </c:pt>
                <c:pt idx="1873">
                  <c:v>0.59233449477351896</c:v>
                </c:pt>
                <c:pt idx="1874">
                  <c:v>0.59235668789808904</c:v>
                </c:pt>
                <c:pt idx="1875">
                  <c:v>0.59253499222395001</c:v>
                </c:pt>
                <c:pt idx="1876">
                  <c:v>0.592592592592593</c:v>
                </c:pt>
                <c:pt idx="1877">
                  <c:v>0.59265442404006696</c:v>
                </c:pt>
                <c:pt idx="1878">
                  <c:v>0.59294871794871795</c:v>
                </c:pt>
                <c:pt idx="1879">
                  <c:v>0.59294871794871795</c:v>
                </c:pt>
                <c:pt idx="1880">
                  <c:v>0.592957746478873</c:v>
                </c:pt>
                <c:pt idx="1881">
                  <c:v>0.59298245614035106</c:v>
                </c:pt>
                <c:pt idx="1882">
                  <c:v>0.59300184162062597</c:v>
                </c:pt>
                <c:pt idx="1883">
                  <c:v>0.593029792017988</c:v>
                </c:pt>
                <c:pt idx="1884">
                  <c:v>0.59307764265668805</c:v>
                </c:pt>
                <c:pt idx="1885">
                  <c:v>0.59312839059674505</c:v>
                </c:pt>
                <c:pt idx="1886">
                  <c:v>0.59313725490196101</c:v>
                </c:pt>
                <c:pt idx="1887">
                  <c:v>0.59315068493150702</c:v>
                </c:pt>
                <c:pt idx="1888">
                  <c:v>0.59318996415770597</c:v>
                </c:pt>
                <c:pt idx="1889">
                  <c:v>0.59322033898305104</c:v>
                </c:pt>
                <c:pt idx="1890">
                  <c:v>0.59322033898305104</c:v>
                </c:pt>
                <c:pt idx="1891">
                  <c:v>0.59328358208955201</c:v>
                </c:pt>
                <c:pt idx="1892">
                  <c:v>0.59328537170263795</c:v>
                </c:pt>
                <c:pt idx="1893">
                  <c:v>0.59336099585062196</c:v>
                </c:pt>
                <c:pt idx="1894">
                  <c:v>0.59340659340659296</c:v>
                </c:pt>
                <c:pt idx="1895">
                  <c:v>0.59344894026974904</c:v>
                </c:pt>
                <c:pt idx="1896">
                  <c:v>0.59349593495935005</c:v>
                </c:pt>
                <c:pt idx="1897">
                  <c:v>0.59360730593607303</c:v>
                </c:pt>
                <c:pt idx="1898">
                  <c:v>0.59370960792761696</c:v>
                </c:pt>
                <c:pt idx="1899">
                  <c:v>0.59375</c:v>
                </c:pt>
                <c:pt idx="1900">
                  <c:v>0.59375</c:v>
                </c:pt>
                <c:pt idx="1901">
                  <c:v>0.59375</c:v>
                </c:pt>
                <c:pt idx="1902">
                  <c:v>0.59383033419023101</c:v>
                </c:pt>
                <c:pt idx="1903">
                  <c:v>0.59390243902438999</c:v>
                </c:pt>
                <c:pt idx="1904">
                  <c:v>0.59390363815142599</c:v>
                </c:pt>
                <c:pt idx="1905">
                  <c:v>0.59398496240601495</c:v>
                </c:pt>
                <c:pt idx="1906">
                  <c:v>0.59398496240601495</c:v>
                </c:pt>
                <c:pt idx="1907">
                  <c:v>0.59411764705882397</c:v>
                </c:pt>
                <c:pt idx="1908">
                  <c:v>0.59420289855072495</c:v>
                </c:pt>
                <c:pt idx="1909">
                  <c:v>0.59420289855072495</c:v>
                </c:pt>
                <c:pt idx="1910">
                  <c:v>0.59426627793974696</c:v>
                </c:pt>
                <c:pt idx="1911">
                  <c:v>0.59428571428571397</c:v>
                </c:pt>
                <c:pt idx="1912">
                  <c:v>0.59428571428571397</c:v>
                </c:pt>
                <c:pt idx="1913">
                  <c:v>0.594444444444444</c:v>
                </c:pt>
                <c:pt idx="1914">
                  <c:v>0.59447004608294896</c:v>
                </c:pt>
                <c:pt idx="1915">
                  <c:v>0.59452479338843001</c:v>
                </c:pt>
                <c:pt idx="1916">
                  <c:v>0.594543744120414</c:v>
                </c:pt>
                <c:pt idx="1917">
                  <c:v>0.59459459459459496</c:v>
                </c:pt>
                <c:pt idx="1918">
                  <c:v>0.594650205761317</c:v>
                </c:pt>
                <c:pt idx="1919">
                  <c:v>0.59479251423921897</c:v>
                </c:pt>
                <c:pt idx="1920">
                  <c:v>0.59487179487179498</c:v>
                </c:pt>
                <c:pt idx="1921">
                  <c:v>0.594936708860759</c:v>
                </c:pt>
                <c:pt idx="1922">
                  <c:v>0.59498207885304699</c:v>
                </c:pt>
                <c:pt idx="1923">
                  <c:v>0.59499999999999997</c:v>
                </c:pt>
                <c:pt idx="1924">
                  <c:v>0.59509536784741102</c:v>
                </c:pt>
                <c:pt idx="1925">
                  <c:v>0.59510567296996697</c:v>
                </c:pt>
                <c:pt idx="1926">
                  <c:v>0.59529065489330402</c:v>
                </c:pt>
                <c:pt idx="1927">
                  <c:v>0.59532163742690103</c:v>
                </c:pt>
                <c:pt idx="1928">
                  <c:v>0.59534883720930198</c:v>
                </c:pt>
                <c:pt idx="1929">
                  <c:v>0.59539969834087503</c:v>
                </c:pt>
                <c:pt idx="1930">
                  <c:v>0.59545454545454501</c:v>
                </c:pt>
                <c:pt idx="1931">
                  <c:v>0.59565217391304304</c:v>
                </c:pt>
                <c:pt idx="1932">
                  <c:v>0.59565217391304304</c:v>
                </c:pt>
                <c:pt idx="1933">
                  <c:v>0.59569377990430605</c:v>
                </c:pt>
                <c:pt idx="1934">
                  <c:v>0.59574468085106402</c:v>
                </c:pt>
                <c:pt idx="1935">
                  <c:v>0.59574468085106402</c:v>
                </c:pt>
                <c:pt idx="1936">
                  <c:v>0.59574468085106402</c:v>
                </c:pt>
                <c:pt idx="1937">
                  <c:v>0.595813204508857</c:v>
                </c:pt>
                <c:pt idx="1938">
                  <c:v>0.59587628865979403</c:v>
                </c:pt>
                <c:pt idx="1939">
                  <c:v>0.59602649006622499</c:v>
                </c:pt>
                <c:pt idx="1940">
                  <c:v>0.59605911330049299</c:v>
                </c:pt>
                <c:pt idx="1941">
                  <c:v>0.59615384615384603</c:v>
                </c:pt>
                <c:pt idx="1942">
                  <c:v>0.59620596205962095</c:v>
                </c:pt>
                <c:pt idx="1943">
                  <c:v>0.59633418584825204</c:v>
                </c:pt>
                <c:pt idx="1944">
                  <c:v>0.59636363636363598</c:v>
                </c:pt>
                <c:pt idx="1945">
                  <c:v>0.59644059644059599</c:v>
                </c:pt>
                <c:pt idx="1946">
                  <c:v>0.59656160458452701</c:v>
                </c:pt>
                <c:pt idx="1947">
                  <c:v>0.59659090909090895</c:v>
                </c:pt>
                <c:pt idx="1948">
                  <c:v>0.59659969088098896</c:v>
                </c:pt>
                <c:pt idx="1949">
                  <c:v>0.59663865546218497</c:v>
                </c:pt>
                <c:pt idx="1950">
                  <c:v>0.59667359667359698</c:v>
                </c:pt>
                <c:pt idx="1951">
                  <c:v>0.59683794466403195</c:v>
                </c:pt>
                <c:pt idx="1952">
                  <c:v>0.59684684684684697</c:v>
                </c:pt>
                <c:pt idx="1953">
                  <c:v>0.59684684684684697</c:v>
                </c:pt>
                <c:pt idx="1954">
                  <c:v>0.59689922480620095</c:v>
                </c:pt>
                <c:pt idx="1955">
                  <c:v>0.59689922480620095</c:v>
                </c:pt>
                <c:pt idx="1956">
                  <c:v>0.59691252144082296</c:v>
                </c:pt>
                <c:pt idx="1957">
                  <c:v>0.59701492537313405</c:v>
                </c:pt>
                <c:pt idx="1958">
                  <c:v>0.59703337453646499</c:v>
                </c:pt>
                <c:pt idx="1959">
                  <c:v>0.59704641350210996</c:v>
                </c:pt>
                <c:pt idx="1960">
                  <c:v>0.597074468085106</c:v>
                </c:pt>
                <c:pt idx="1961">
                  <c:v>0.59708737864077699</c:v>
                </c:pt>
                <c:pt idx="1962">
                  <c:v>0.59722222222222199</c:v>
                </c:pt>
                <c:pt idx="1963">
                  <c:v>0.59726962457337895</c:v>
                </c:pt>
                <c:pt idx="1964">
                  <c:v>0.59730538922155696</c:v>
                </c:pt>
                <c:pt idx="1965">
                  <c:v>0.59747434885556405</c:v>
                </c:pt>
                <c:pt idx="1966">
                  <c:v>0.59751037344398295</c:v>
                </c:pt>
                <c:pt idx="1967">
                  <c:v>0.59753593429158103</c:v>
                </c:pt>
                <c:pt idx="1968">
                  <c:v>0.59756097560975596</c:v>
                </c:pt>
                <c:pt idx="1969">
                  <c:v>0.59760273972602695</c:v>
                </c:pt>
                <c:pt idx="1970">
                  <c:v>0.59772296015180304</c:v>
                </c:pt>
                <c:pt idx="1971">
                  <c:v>0.59780219780219801</c:v>
                </c:pt>
                <c:pt idx="1972">
                  <c:v>0.59790209790209803</c:v>
                </c:pt>
                <c:pt idx="1973">
                  <c:v>0.59790979097909802</c:v>
                </c:pt>
                <c:pt idx="1974">
                  <c:v>0.597938144329897</c:v>
                </c:pt>
                <c:pt idx="1975">
                  <c:v>0.59799554565701596</c:v>
                </c:pt>
                <c:pt idx="1976">
                  <c:v>0.59806629834254099</c:v>
                </c:pt>
                <c:pt idx="1977">
                  <c:v>0.59811193526635198</c:v>
                </c:pt>
                <c:pt idx="1978">
                  <c:v>0.59811616954474101</c:v>
                </c:pt>
                <c:pt idx="1979">
                  <c:v>0.59813084112149495</c:v>
                </c:pt>
                <c:pt idx="1980">
                  <c:v>0.59816513761467904</c:v>
                </c:pt>
                <c:pt idx="1981">
                  <c:v>0.59819819819819797</c:v>
                </c:pt>
                <c:pt idx="1982">
                  <c:v>0.59821428571428603</c:v>
                </c:pt>
                <c:pt idx="1983">
                  <c:v>0.59829059829059805</c:v>
                </c:pt>
                <c:pt idx="1984">
                  <c:v>0.59830729166666696</c:v>
                </c:pt>
                <c:pt idx="1985">
                  <c:v>0.59836065573770503</c:v>
                </c:pt>
                <c:pt idx="1986">
                  <c:v>0.59860788863109005</c:v>
                </c:pt>
                <c:pt idx="1987">
                  <c:v>0.59871244635193099</c:v>
                </c:pt>
                <c:pt idx="1988">
                  <c:v>0.59899749373433597</c:v>
                </c:pt>
                <c:pt idx="1989">
                  <c:v>0.59900990099009899</c:v>
                </c:pt>
                <c:pt idx="1990">
                  <c:v>0.59905660377358505</c:v>
                </c:pt>
                <c:pt idx="1991">
                  <c:v>0.599088838268793</c:v>
                </c:pt>
                <c:pt idx="1992">
                  <c:v>0.59909909909909898</c:v>
                </c:pt>
                <c:pt idx="1993">
                  <c:v>0.59919232710752102</c:v>
                </c:pt>
                <c:pt idx="1994">
                  <c:v>0.59922680412371099</c:v>
                </c:pt>
                <c:pt idx="1995">
                  <c:v>0.59928762243989298</c:v>
                </c:pt>
                <c:pt idx="1996">
                  <c:v>0.59932088285229201</c:v>
                </c:pt>
                <c:pt idx="1997">
                  <c:v>0.59932659932659904</c:v>
                </c:pt>
                <c:pt idx="1998">
                  <c:v>0.59935117599351195</c:v>
                </c:pt>
                <c:pt idx="1999">
                  <c:v>0.59940652818991103</c:v>
                </c:pt>
                <c:pt idx="2000">
                  <c:v>0.6</c:v>
                </c:pt>
                <c:pt idx="2001">
                  <c:v>0.6</c:v>
                </c:pt>
                <c:pt idx="2002">
                  <c:v>0.6</c:v>
                </c:pt>
                <c:pt idx="2003">
                  <c:v>0.6</c:v>
                </c:pt>
                <c:pt idx="2004">
                  <c:v>0.6</c:v>
                </c:pt>
                <c:pt idx="2005">
                  <c:v>0.6</c:v>
                </c:pt>
                <c:pt idx="2006">
                  <c:v>0.6</c:v>
                </c:pt>
                <c:pt idx="2007">
                  <c:v>0.6</c:v>
                </c:pt>
                <c:pt idx="2008">
                  <c:v>0.6</c:v>
                </c:pt>
                <c:pt idx="2009">
                  <c:v>0.6</c:v>
                </c:pt>
                <c:pt idx="2010">
                  <c:v>0.60024009603841499</c:v>
                </c:pt>
                <c:pt idx="2011">
                  <c:v>0.60025220680958402</c:v>
                </c:pt>
                <c:pt idx="2012">
                  <c:v>0.60054844606947</c:v>
                </c:pt>
                <c:pt idx="2013">
                  <c:v>0.60066006600660105</c:v>
                </c:pt>
                <c:pt idx="2014">
                  <c:v>0.60068846815834798</c:v>
                </c:pt>
                <c:pt idx="2015">
                  <c:v>0.60071942446043203</c:v>
                </c:pt>
                <c:pt idx="2016">
                  <c:v>0.60076775431861795</c:v>
                </c:pt>
                <c:pt idx="2017">
                  <c:v>0.60089686098654704</c:v>
                </c:pt>
                <c:pt idx="2018">
                  <c:v>0.60091743119265995</c:v>
                </c:pt>
                <c:pt idx="2019">
                  <c:v>0.60093896713615003</c:v>
                </c:pt>
                <c:pt idx="2020">
                  <c:v>0.60096153846153799</c:v>
                </c:pt>
                <c:pt idx="2021">
                  <c:v>0.60101867572156198</c:v>
                </c:pt>
                <c:pt idx="2022">
                  <c:v>0.60107816711590301</c:v>
                </c:pt>
                <c:pt idx="2023">
                  <c:v>0.60109289617486295</c:v>
                </c:pt>
                <c:pt idx="2024">
                  <c:v>0.60110294117647001</c:v>
                </c:pt>
                <c:pt idx="2025">
                  <c:v>0.60123966942148799</c:v>
                </c:pt>
                <c:pt idx="2026">
                  <c:v>0.60128322639779996</c:v>
                </c:pt>
                <c:pt idx="2027">
                  <c:v>0.60137457044673504</c:v>
                </c:pt>
                <c:pt idx="2028">
                  <c:v>0.60137931034482806</c:v>
                </c:pt>
                <c:pt idx="2029">
                  <c:v>0.60139860139860102</c:v>
                </c:pt>
                <c:pt idx="2030">
                  <c:v>0.60146252285192003</c:v>
                </c:pt>
                <c:pt idx="2031">
                  <c:v>0.60162601626016299</c:v>
                </c:pt>
                <c:pt idx="2032">
                  <c:v>0.60178970917225905</c:v>
                </c:pt>
                <c:pt idx="2033">
                  <c:v>0.60180995475113097</c:v>
                </c:pt>
                <c:pt idx="2034">
                  <c:v>0.60187353629976603</c:v>
                </c:pt>
                <c:pt idx="2035">
                  <c:v>0.60188087774294696</c:v>
                </c:pt>
                <c:pt idx="2036">
                  <c:v>0.60194174757281504</c:v>
                </c:pt>
                <c:pt idx="2037">
                  <c:v>0.60200668896321097</c:v>
                </c:pt>
                <c:pt idx="2038">
                  <c:v>0.60219780219780195</c:v>
                </c:pt>
                <c:pt idx="2039">
                  <c:v>0.60220994475138101</c:v>
                </c:pt>
                <c:pt idx="2040">
                  <c:v>0.602316602316602</c:v>
                </c:pt>
                <c:pt idx="2041">
                  <c:v>0.602316602316602</c:v>
                </c:pt>
                <c:pt idx="2042">
                  <c:v>0.60232945091514101</c:v>
                </c:pt>
                <c:pt idx="2043">
                  <c:v>0.60249150622876502</c:v>
                </c:pt>
                <c:pt idx="2044">
                  <c:v>0.60251046025104604</c:v>
                </c:pt>
                <c:pt idx="2045">
                  <c:v>0.60267857142857095</c:v>
                </c:pt>
                <c:pt idx="2046">
                  <c:v>0.60270270270270299</c:v>
                </c:pt>
                <c:pt idx="2047">
                  <c:v>0.60283687943262398</c:v>
                </c:pt>
                <c:pt idx="2048">
                  <c:v>0.60283687943262398</c:v>
                </c:pt>
                <c:pt idx="2049">
                  <c:v>0.60285941223192996</c:v>
                </c:pt>
                <c:pt idx="2050">
                  <c:v>0.602870813397129</c:v>
                </c:pt>
                <c:pt idx="2051">
                  <c:v>0.60290742157612798</c:v>
                </c:pt>
                <c:pt idx="2052">
                  <c:v>0.60293288212069895</c:v>
                </c:pt>
                <c:pt idx="2053">
                  <c:v>0.60294117647058798</c:v>
                </c:pt>
                <c:pt idx="2054">
                  <c:v>0.60294117647058798</c:v>
                </c:pt>
                <c:pt idx="2055">
                  <c:v>0.60305343511450404</c:v>
                </c:pt>
                <c:pt idx="2056">
                  <c:v>0.60308502633559102</c:v>
                </c:pt>
                <c:pt idx="2057">
                  <c:v>0.60311958405545896</c:v>
                </c:pt>
                <c:pt idx="2058">
                  <c:v>0.60316319194823897</c:v>
                </c:pt>
                <c:pt idx="2059">
                  <c:v>0.60333006856023497</c:v>
                </c:pt>
                <c:pt idx="2060">
                  <c:v>0.60337552742615996</c:v>
                </c:pt>
                <c:pt idx="2061">
                  <c:v>0.60342857142857098</c:v>
                </c:pt>
                <c:pt idx="2062">
                  <c:v>0.60344003822264702</c:v>
                </c:pt>
                <c:pt idx="2063">
                  <c:v>0.60347826086956502</c:v>
                </c:pt>
                <c:pt idx="2064">
                  <c:v>0.603494623655914</c:v>
                </c:pt>
                <c:pt idx="2065">
                  <c:v>0.60351826792963403</c:v>
                </c:pt>
                <c:pt idx="2066">
                  <c:v>0.60354223433242504</c:v>
                </c:pt>
                <c:pt idx="2067">
                  <c:v>0.60365853658536595</c:v>
                </c:pt>
                <c:pt idx="2068">
                  <c:v>0.60373443983402497</c:v>
                </c:pt>
                <c:pt idx="2069">
                  <c:v>0.60377358490566002</c:v>
                </c:pt>
                <c:pt idx="2070">
                  <c:v>0.604010025062657</c:v>
                </c:pt>
                <c:pt idx="2071">
                  <c:v>0.60415610745058301</c:v>
                </c:pt>
                <c:pt idx="2072">
                  <c:v>0.60416666666666696</c:v>
                </c:pt>
                <c:pt idx="2073">
                  <c:v>0.60416666666666696</c:v>
                </c:pt>
                <c:pt idx="2074">
                  <c:v>0.60421940928270002</c:v>
                </c:pt>
                <c:pt idx="2075">
                  <c:v>0.60422960725075503</c:v>
                </c:pt>
                <c:pt idx="2076">
                  <c:v>0.60425531914893604</c:v>
                </c:pt>
                <c:pt idx="2077">
                  <c:v>0.60429722470904201</c:v>
                </c:pt>
                <c:pt idx="2078">
                  <c:v>0.60441426146010202</c:v>
                </c:pt>
                <c:pt idx="2079">
                  <c:v>0.60453400503778298</c:v>
                </c:pt>
                <c:pt idx="2080">
                  <c:v>0.60454545454545405</c:v>
                </c:pt>
                <c:pt idx="2081">
                  <c:v>0.60456273764258495</c:v>
                </c:pt>
                <c:pt idx="2082">
                  <c:v>0.60456784594715596</c:v>
                </c:pt>
                <c:pt idx="2083">
                  <c:v>0.60460652591170805</c:v>
                </c:pt>
                <c:pt idx="2084">
                  <c:v>0.60465116279069797</c:v>
                </c:pt>
                <c:pt idx="2085">
                  <c:v>0.60465116279069797</c:v>
                </c:pt>
                <c:pt idx="2086">
                  <c:v>0.60468750000000004</c:v>
                </c:pt>
                <c:pt idx="2087">
                  <c:v>0.60504201680672298</c:v>
                </c:pt>
                <c:pt idx="2088">
                  <c:v>0.60508369497830095</c:v>
                </c:pt>
                <c:pt idx="2089">
                  <c:v>0.60512820512820498</c:v>
                </c:pt>
                <c:pt idx="2090">
                  <c:v>0.60512820512820498</c:v>
                </c:pt>
                <c:pt idx="2091">
                  <c:v>0.605140186915888</c:v>
                </c:pt>
                <c:pt idx="2092">
                  <c:v>0.60515021459227503</c:v>
                </c:pt>
                <c:pt idx="2093">
                  <c:v>0.60519480519480495</c:v>
                </c:pt>
                <c:pt idx="2094">
                  <c:v>0.60524399126001505</c:v>
                </c:pt>
                <c:pt idx="2095">
                  <c:v>0.60524710189139697</c:v>
                </c:pt>
                <c:pt idx="2096">
                  <c:v>0.60526315789473695</c:v>
                </c:pt>
                <c:pt idx="2097">
                  <c:v>0.60526315789473695</c:v>
                </c:pt>
                <c:pt idx="2098">
                  <c:v>0.60526315789473695</c:v>
                </c:pt>
                <c:pt idx="2099">
                  <c:v>0.60526315789473695</c:v>
                </c:pt>
                <c:pt idx="2100">
                  <c:v>0.60539845758354804</c:v>
                </c:pt>
                <c:pt idx="2101">
                  <c:v>0.605413105413105</c:v>
                </c:pt>
                <c:pt idx="2102">
                  <c:v>0.60544217687074797</c:v>
                </c:pt>
                <c:pt idx="2103">
                  <c:v>0.60544217687074797</c:v>
                </c:pt>
                <c:pt idx="2104">
                  <c:v>0.60545193687231003</c:v>
                </c:pt>
                <c:pt idx="2105">
                  <c:v>0.60545308740978299</c:v>
                </c:pt>
                <c:pt idx="2106">
                  <c:v>0.60546541417591804</c:v>
                </c:pt>
                <c:pt idx="2107">
                  <c:v>0.60546875</c:v>
                </c:pt>
                <c:pt idx="2108">
                  <c:v>0.60557768924302802</c:v>
                </c:pt>
                <c:pt idx="2109">
                  <c:v>0.60557768924302802</c:v>
                </c:pt>
                <c:pt idx="2110">
                  <c:v>0.60563380281690105</c:v>
                </c:pt>
                <c:pt idx="2111">
                  <c:v>0.60567823343848604</c:v>
                </c:pt>
                <c:pt idx="2112">
                  <c:v>0.60569105691056901</c:v>
                </c:pt>
                <c:pt idx="2113">
                  <c:v>0.60576923076923095</c:v>
                </c:pt>
                <c:pt idx="2114">
                  <c:v>0.60580762250453701</c:v>
                </c:pt>
                <c:pt idx="2115">
                  <c:v>0.60597014925373105</c:v>
                </c:pt>
                <c:pt idx="2116">
                  <c:v>0.60597439544807996</c:v>
                </c:pt>
                <c:pt idx="2117">
                  <c:v>0.60597826086956497</c:v>
                </c:pt>
                <c:pt idx="2118">
                  <c:v>0.60606060606060597</c:v>
                </c:pt>
                <c:pt idx="2119">
                  <c:v>0.60606060606060597</c:v>
                </c:pt>
                <c:pt idx="2120">
                  <c:v>0.60606060606060597</c:v>
                </c:pt>
                <c:pt idx="2121">
                  <c:v>0.60612939841089697</c:v>
                </c:pt>
                <c:pt idx="2122">
                  <c:v>0.60617059891107095</c:v>
                </c:pt>
                <c:pt idx="2123">
                  <c:v>0.606223175965665</c:v>
                </c:pt>
                <c:pt idx="2124">
                  <c:v>0.60629921259842501</c:v>
                </c:pt>
                <c:pt idx="2125">
                  <c:v>0.606343283582089</c:v>
                </c:pt>
                <c:pt idx="2126">
                  <c:v>0.60638297872340396</c:v>
                </c:pt>
                <c:pt idx="2127">
                  <c:v>0.60638297872340396</c:v>
                </c:pt>
                <c:pt idx="2128">
                  <c:v>0.60646900269541804</c:v>
                </c:pt>
                <c:pt idx="2129">
                  <c:v>0.60648379052369095</c:v>
                </c:pt>
                <c:pt idx="2130">
                  <c:v>0.60659340659340599</c:v>
                </c:pt>
                <c:pt idx="2131">
                  <c:v>0.60661764705882304</c:v>
                </c:pt>
                <c:pt idx="2132">
                  <c:v>0.60664206642066398</c:v>
                </c:pt>
                <c:pt idx="2133">
                  <c:v>0.60674157303370801</c:v>
                </c:pt>
                <c:pt idx="2134">
                  <c:v>0.60678391959799005</c:v>
                </c:pt>
                <c:pt idx="2135">
                  <c:v>0.60678642714570896</c:v>
                </c:pt>
                <c:pt idx="2136">
                  <c:v>0.606822262118492</c:v>
                </c:pt>
                <c:pt idx="2137">
                  <c:v>0.60682680151706703</c:v>
                </c:pt>
                <c:pt idx="2138">
                  <c:v>0.60696517412935302</c:v>
                </c:pt>
                <c:pt idx="2139">
                  <c:v>0.60714285714285698</c:v>
                </c:pt>
                <c:pt idx="2140">
                  <c:v>0.60714285714285698</c:v>
                </c:pt>
                <c:pt idx="2141">
                  <c:v>0.60724779627815895</c:v>
                </c:pt>
                <c:pt idx="2142">
                  <c:v>0.60735009671179896</c:v>
                </c:pt>
                <c:pt idx="2143">
                  <c:v>0.60736196319018398</c:v>
                </c:pt>
                <c:pt idx="2144">
                  <c:v>0.60747663551401898</c:v>
                </c:pt>
                <c:pt idx="2145">
                  <c:v>0.60766961651917395</c:v>
                </c:pt>
                <c:pt idx="2146">
                  <c:v>0.60778128286014699</c:v>
                </c:pt>
                <c:pt idx="2147">
                  <c:v>0.60779220779220799</c:v>
                </c:pt>
                <c:pt idx="2148">
                  <c:v>0.60779816513761498</c:v>
                </c:pt>
                <c:pt idx="2149">
                  <c:v>0.60780984719864195</c:v>
                </c:pt>
                <c:pt idx="2150">
                  <c:v>0.60784313725490202</c:v>
                </c:pt>
                <c:pt idx="2151">
                  <c:v>0.60792951541850204</c:v>
                </c:pt>
                <c:pt idx="2152">
                  <c:v>0.60805860805860801</c:v>
                </c:pt>
                <c:pt idx="2153">
                  <c:v>0.60809248554913298</c:v>
                </c:pt>
                <c:pt idx="2154">
                  <c:v>0.608108108108108</c:v>
                </c:pt>
                <c:pt idx="2155">
                  <c:v>0.608108108108108</c:v>
                </c:pt>
                <c:pt idx="2156">
                  <c:v>0.60814606741572996</c:v>
                </c:pt>
                <c:pt idx="2157">
                  <c:v>0.608200455580865</c:v>
                </c:pt>
                <c:pt idx="2158">
                  <c:v>0.60822898032200301</c:v>
                </c:pt>
                <c:pt idx="2159">
                  <c:v>0.60824742268041199</c:v>
                </c:pt>
                <c:pt idx="2160">
                  <c:v>0.60834181078331595</c:v>
                </c:pt>
                <c:pt idx="2161">
                  <c:v>0.60847018150388898</c:v>
                </c:pt>
                <c:pt idx="2162">
                  <c:v>0.60852713178294604</c:v>
                </c:pt>
                <c:pt idx="2163">
                  <c:v>0.60854700854700805</c:v>
                </c:pt>
                <c:pt idx="2164">
                  <c:v>0.60869565217391297</c:v>
                </c:pt>
                <c:pt idx="2165">
                  <c:v>0.60869565217391297</c:v>
                </c:pt>
                <c:pt idx="2166">
                  <c:v>0.60869565217391297</c:v>
                </c:pt>
                <c:pt idx="2167">
                  <c:v>0.60869565217391297</c:v>
                </c:pt>
                <c:pt idx="2168">
                  <c:v>0.60875640428504896</c:v>
                </c:pt>
                <c:pt idx="2169">
                  <c:v>0.60875912408759103</c:v>
                </c:pt>
                <c:pt idx="2170">
                  <c:v>0.60879629629629595</c:v>
                </c:pt>
                <c:pt idx="2171">
                  <c:v>0.60880503144654097</c:v>
                </c:pt>
                <c:pt idx="2172">
                  <c:v>0.60887096774193505</c:v>
                </c:pt>
                <c:pt idx="2173">
                  <c:v>0.60891089108910901</c:v>
                </c:pt>
                <c:pt idx="2174">
                  <c:v>0.60902255639097702</c:v>
                </c:pt>
                <c:pt idx="2175">
                  <c:v>0.60914051841746197</c:v>
                </c:pt>
                <c:pt idx="2176">
                  <c:v>0.60919540229885105</c:v>
                </c:pt>
                <c:pt idx="2177">
                  <c:v>0.60921843687374699</c:v>
                </c:pt>
                <c:pt idx="2178">
                  <c:v>0.60925449871465298</c:v>
                </c:pt>
                <c:pt idx="2179">
                  <c:v>0.60926193921852401</c:v>
                </c:pt>
                <c:pt idx="2180">
                  <c:v>0.60927152317880795</c:v>
                </c:pt>
                <c:pt idx="2181">
                  <c:v>0.60944206008583701</c:v>
                </c:pt>
                <c:pt idx="2182">
                  <c:v>0.60956790123456805</c:v>
                </c:pt>
                <c:pt idx="2183">
                  <c:v>0.60962566844919797</c:v>
                </c:pt>
                <c:pt idx="2184">
                  <c:v>0.60972568578553599</c:v>
                </c:pt>
                <c:pt idx="2185">
                  <c:v>0.60975609756097604</c:v>
                </c:pt>
                <c:pt idx="2186">
                  <c:v>0.60975609756097604</c:v>
                </c:pt>
                <c:pt idx="2187">
                  <c:v>0.60978384527872598</c:v>
                </c:pt>
                <c:pt idx="2188">
                  <c:v>0.60979462875197499</c:v>
                </c:pt>
                <c:pt idx="2189">
                  <c:v>0.60984182776801399</c:v>
                </c:pt>
                <c:pt idx="2190">
                  <c:v>0.60994764397905699</c:v>
                </c:pt>
                <c:pt idx="2191">
                  <c:v>0.60999456816947295</c:v>
                </c:pt>
                <c:pt idx="2192">
                  <c:v>0.61005199306759095</c:v>
                </c:pt>
                <c:pt idx="2193">
                  <c:v>0.61009174311926595</c:v>
                </c:pt>
                <c:pt idx="2194">
                  <c:v>0.61016949152542399</c:v>
                </c:pt>
                <c:pt idx="2195">
                  <c:v>0.61023947151114799</c:v>
                </c:pt>
                <c:pt idx="2196">
                  <c:v>0.61024844720496896</c:v>
                </c:pt>
                <c:pt idx="2197">
                  <c:v>0.61034047919293799</c:v>
                </c:pt>
                <c:pt idx="2198">
                  <c:v>0.61038961038961004</c:v>
                </c:pt>
                <c:pt idx="2199">
                  <c:v>0.61042944785276099</c:v>
                </c:pt>
                <c:pt idx="2200">
                  <c:v>0.61044520547945202</c:v>
                </c:pt>
                <c:pt idx="2201">
                  <c:v>0.61061946902654896</c:v>
                </c:pt>
                <c:pt idx="2202">
                  <c:v>0.61063464837049697</c:v>
                </c:pt>
                <c:pt idx="2203">
                  <c:v>0.61066235864297203</c:v>
                </c:pt>
                <c:pt idx="2204">
                  <c:v>0.61084905660377298</c:v>
                </c:pt>
                <c:pt idx="2205">
                  <c:v>0.61087866108786604</c:v>
                </c:pt>
                <c:pt idx="2206">
                  <c:v>0.61111111111111105</c:v>
                </c:pt>
                <c:pt idx="2207">
                  <c:v>0.61111111111111105</c:v>
                </c:pt>
                <c:pt idx="2208">
                  <c:v>0.61127029608405004</c:v>
                </c:pt>
                <c:pt idx="2209">
                  <c:v>0.61128526645768</c:v>
                </c:pt>
                <c:pt idx="2210">
                  <c:v>0.61137820512820495</c:v>
                </c:pt>
                <c:pt idx="2211">
                  <c:v>0.61140819964349402</c:v>
                </c:pt>
                <c:pt idx="2212">
                  <c:v>0.61141516810007801</c:v>
                </c:pt>
                <c:pt idx="2213">
                  <c:v>0.61143523920653398</c:v>
                </c:pt>
                <c:pt idx="2214">
                  <c:v>0.611464968152866</c:v>
                </c:pt>
                <c:pt idx="2215">
                  <c:v>0.61152141802067905</c:v>
                </c:pt>
                <c:pt idx="2216">
                  <c:v>0.61153846153846103</c:v>
                </c:pt>
                <c:pt idx="2217">
                  <c:v>0.61154273029966699</c:v>
                </c:pt>
                <c:pt idx="2218">
                  <c:v>0.61157601115760096</c:v>
                </c:pt>
                <c:pt idx="2219">
                  <c:v>0.61163522012578597</c:v>
                </c:pt>
                <c:pt idx="2220">
                  <c:v>0.61164427383237396</c:v>
                </c:pt>
                <c:pt idx="2221">
                  <c:v>0.61171662125340598</c:v>
                </c:pt>
                <c:pt idx="2222">
                  <c:v>0.61176470588235299</c:v>
                </c:pt>
                <c:pt idx="2223">
                  <c:v>0.61176470588235299</c:v>
                </c:pt>
                <c:pt idx="2224">
                  <c:v>0.61176470588235299</c:v>
                </c:pt>
                <c:pt idx="2225">
                  <c:v>0.61182669789227195</c:v>
                </c:pt>
                <c:pt idx="2226">
                  <c:v>0.61183550651955898</c:v>
                </c:pt>
                <c:pt idx="2227">
                  <c:v>0.61184210526315796</c:v>
                </c:pt>
                <c:pt idx="2228">
                  <c:v>0.61188811188811199</c:v>
                </c:pt>
                <c:pt idx="2229">
                  <c:v>0.61199294532627901</c:v>
                </c:pt>
                <c:pt idx="2230">
                  <c:v>0.61210453920220098</c:v>
                </c:pt>
                <c:pt idx="2231">
                  <c:v>0.61214953271028005</c:v>
                </c:pt>
                <c:pt idx="2232">
                  <c:v>0.61219195849546004</c:v>
                </c:pt>
                <c:pt idx="2233">
                  <c:v>0.61219512195121895</c:v>
                </c:pt>
                <c:pt idx="2234">
                  <c:v>0.61224489795918402</c:v>
                </c:pt>
                <c:pt idx="2235">
                  <c:v>0.61224489795918402</c:v>
                </c:pt>
                <c:pt idx="2236">
                  <c:v>0.61235955056179803</c:v>
                </c:pt>
                <c:pt idx="2237">
                  <c:v>0.61241523213354199</c:v>
                </c:pt>
                <c:pt idx="2238">
                  <c:v>0.61241610738255003</c:v>
                </c:pt>
                <c:pt idx="2239">
                  <c:v>0.61255924170616105</c:v>
                </c:pt>
                <c:pt idx="2240">
                  <c:v>0.61259541984732802</c:v>
                </c:pt>
                <c:pt idx="2241">
                  <c:v>0.61278195488721798</c:v>
                </c:pt>
                <c:pt idx="2242">
                  <c:v>0.61284722222222199</c:v>
                </c:pt>
                <c:pt idx="2243">
                  <c:v>0.61286407766990303</c:v>
                </c:pt>
                <c:pt idx="2244">
                  <c:v>0.61290322580645196</c:v>
                </c:pt>
                <c:pt idx="2245">
                  <c:v>0.61302325581395301</c:v>
                </c:pt>
                <c:pt idx="2246">
                  <c:v>0.61303191489361697</c:v>
                </c:pt>
                <c:pt idx="2247">
                  <c:v>0.61304347826086902</c:v>
                </c:pt>
                <c:pt idx="2248">
                  <c:v>0.61305007587253402</c:v>
                </c:pt>
                <c:pt idx="2249">
                  <c:v>0.61306532663316604</c:v>
                </c:pt>
                <c:pt idx="2250">
                  <c:v>0.61307901907356899</c:v>
                </c:pt>
                <c:pt idx="2251">
                  <c:v>0.61316872427983504</c:v>
                </c:pt>
                <c:pt idx="2252">
                  <c:v>0.61320754716981096</c:v>
                </c:pt>
                <c:pt idx="2253">
                  <c:v>0.61323763955342903</c:v>
                </c:pt>
                <c:pt idx="2254">
                  <c:v>0.61338289962825299</c:v>
                </c:pt>
                <c:pt idx="2255">
                  <c:v>0.61340206185567003</c:v>
                </c:pt>
                <c:pt idx="2256">
                  <c:v>0.61342281879194605</c:v>
                </c:pt>
                <c:pt idx="2257">
                  <c:v>0.61344537815125999</c:v>
                </c:pt>
                <c:pt idx="2258">
                  <c:v>0.61349693251533699</c:v>
                </c:pt>
                <c:pt idx="2259">
                  <c:v>0.61351351351351302</c:v>
                </c:pt>
                <c:pt idx="2260">
                  <c:v>0.61354581673306796</c:v>
                </c:pt>
                <c:pt idx="2261">
                  <c:v>0.61355443403028098</c:v>
                </c:pt>
                <c:pt idx="2262">
                  <c:v>0.61355529131985698</c:v>
                </c:pt>
                <c:pt idx="2263">
                  <c:v>0.613592233009709</c:v>
                </c:pt>
                <c:pt idx="2264">
                  <c:v>0.61363636363636398</c:v>
                </c:pt>
                <c:pt idx="2265">
                  <c:v>0.61363636363636398</c:v>
                </c:pt>
                <c:pt idx="2266">
                  <c:v>0.61372812920592201</c:v>
                </c:pt>
                <c:pt idx="2267">
                  <c:v>0.613810741687979</c:v>
                </c:pt>
                <c:pt idx="2268">
                  <c:v>0.61386138613861396</c:v>
                </c:pt>
                <c:pt idx="2269">
                  <c:v>0.613924050632911</c:v>
                </c:pt>
                <c:pt idx="2270">
                  <c:v>0.61399397388684296</c:v>
                </c:pt>
                <c:pt idx="2271">
                  <c:v>0.61406249999999996</c:v>
                </c:pt>
                <c:pt idx="2272">
                  <c:v>0.61408450704225304</c:v>
                </c:pt>
                <c:pt idx="2273">
                  <c:v>0.61408882082695204</c:v>
                </c:pt>
                <c:pt idx="2274">
                  <c:v>0.614100185528757</c:v>
                </c:pt>
                <c:pt idx="2275">
                  <c:v>0.61416430594900795</c:v>
                </c:pt>
                <c:pt idx="2276">
                  <c:v>0.61418143899895705</c:v>
                </c:pt>
                <c:pt idx="2277">
                  <c:v>0.61421319796954299</c:v>
                </c:pt>
                <c:pt idx="2278">
                  <c:v>0.61421988150098705</c:v>
                </c:pt>
                <c:pt idx="2279">
                  <c:v>0.614222222222222</c:v>
                </c:pt>
                <c:pt idx="2280">
                  <c:v>0.61425576519916103</c:v>
                </c:pt>
                <c:pt idx="2281">
                  <c:v>0.61434977578475303</c:v>
                </c:pt>
                <c:pt idx="2282">
                  <c:v>0.61434977578475303</c:v>
                </c:pt>
                <c:pt idx="2283">
                  <c:v>0.61441441441441402</c:v>
                </c:pt>
                <c:pt idx="2284">
                  <c:v>0.61445783132530096</c:v>
                </c:pt>
                <c:pt idx="2285">
                  <c:v>0.61451247165532896</c:v>
                </c:pt>
                <c:pt idx="2286">
                  <c:v>0.61464088397789995</c:v>
                </c:pt>
                <c:pt idx="2287">
                  <c:v>0.61467889908256901</c:v>
                </c:pt>
                <c:pt idx="2288">
                  <c:v>0.61469933184855197</c:v>
                </c:pt>
                <c:pt idx="2289">
                  <c:v>0.61475409836065598</c:v>
                </c:pt>
                <c:pt idx="2290">
                  <c:v>0.61481481481481504</c:v>
                </c:pt>
                <c:pt idx="2291">
                  <c:v>0.61483594864479296</c:v>
                </c:pt>
                <c:pt idx="2292">
                  <c:v>0.61486486486486502</c:v>
                </c:pt>
                <c:pt idx="2293">
                  <c:v>0.61487603305785099</c:v>
                </c:pt>
                <c:pt idx="2294">
                  <c:v>0.61491317671092904</c:v>
                </c:pt>
                <c:pt idx="2295">
                  <c:v>0.61497326203208502</c:v>
                </c:pt>
                <c:pt idx="2296">
                  <c:v>0.61499999999999999</c:v>
                </c:pt>
                <c:pt idx="2297">
                  <c:v>0.61503759398496205</c:v>
                </c:pt>
                <c:pt idx="2298">
                  <c:v>0.61516853932584303</c:v>
                </c:pt>
                <c:pt idx="2299">
                  <c:v>0.61516853932584303</c:v>
                </c:pt>
                <c:pt idx="2300">
                  <c:v>0.61533626649905704</c:v>
                </c:pt>
                <c:pt idx="2301">
                  <c:v>0.61538461538461497</c:v>
                </c:pt>
                <c:pt idx="2302">
                  <c:v>0.61538461538461497</c:v>
                </c:pt>
                <c:pt idx="2303">
                  <c:v>0.61538461538461497</c:v>
                </c:pt>
                <c:pt idx="2304">
                  <c:v>0.61538461538461497</c:v>
                </c:pt>
                <c:pt idx="2305">
                  <c:v>0.61538461538461497</c:v>
                </c:pt>
                <c:pt idx="2306">
                  <c:v>0.61538461538461497</c:v>
                </c:pt>
                <c:pt idx="2307">
                  <c:v>0.61548643282594295</c:v>
                </c:pt>
                <c:pt idx="2308">
                  <c:v>0.61556791104050801</c:v>
                </c:pt>
                <c:pt idx="2309">
                  <c:v>0.61566966649020605</c:v>
                </c:pt>
                <c:pt idx="2310">
                  <c:v>0.61578266494178502</c:v>
                </c:pt>
                <c:pt idx="2311">
                  <c:v>0.615979381443299</c:v>
                </c:pt>
                <c:pt idx="2312">
                  <c:v>0.61598746081504696</c:v>
                </c:pt>
                <c:pt idx="2313">
                  <c:v>0.61599999999999999</c:v>
                </c:pt>
                <c:pt idx="2314">
                  <c:v>0.61608040201004999</c:v>
                </c:pt>
                <c:pt idx="2315">
                  <c:v>0.61609907120743002</c:v>
                </c:pt>
                <c:pt idx="2316">
                  <c:v>0.61611374407582897</c:v>
                </c:pt>
                <c:pt idx="2317">
                  <c:v>0.61616161616161602</c:v>
                </c:pt>
                <c:pt idx="2318">
                  <c:v>0.61632653061224496</c:v>
                </c:pt>
                <c:pt idx="2319">
                  <c:v>0.61638733705772797</c:v>
                </c:pt>
                <c:pt idx="2320">
                  <c:v>0.61643026004728096</c:v>
                </c:pt>
                <c:pt idx="2321">
                  <c:v>0.61643835616438303</c:v>
                </c:pt>
                <c:pt idx="2322">
                  <c:v>0.61643835616438303</c:v>
                </c:pt>
                <c:pt idx="2323">
                  <c:v>0.61646586345381504</c:v>
                </c:pt>
                <c:pt idx="2324">
                  <c:v>0.61647058823529399</c:v>
                </c:pt>
                <c:pt idx="2325">
                  <c:v>0.61651917404129797</c:v>
                </c:pt>
                <c:pt idx="2326">
                  <c:v>0.61661341853035101</c:v>
                </c:pt>
                <c:pt idx="2327">
                  <c:v>0.61666666666666703</c:v>
                </c:pt>
                <c:pt idx="2328">
                  <c:v>0.61666666666666703</c:v>
                </c:pt>
                <c:pt idx="2329">
                  <c:v>0.61670235546038499</c:v>
                </c:pt>
                <c:pt idx="2330">
                  <c:v>0.61671087533156499</c:v>
                </c:pt>
                <c:pt idx="2331">
                  <c:v>0.61680327868852403</c:v>
                </c:pt>
                <c:pt idx="2332">
                  <c:v>0.61686746987951802</c:v>
                </c:pt>
                <c:pt idx="2333">
                  <c:v>0.61688125894134505</c:v>
                </c:pt>
                <c:pt idx="2334">
                  <c:v>0.61688311688311703</c:v>
                </c:pt>
                <c:pt idx="2335">
                  <c:v>0.616915422885572</c:v>
                </c:pt>
                <c:pt idx="2336">
                  <c:v>0.61702127659574502</c:v>
                </c:pt>
                <c:pt idx="2337">
                  <c:v>0.617100371747212</c:v>
                </c:pt>
                <c:pt idx="2338">
                  <c:v>0.61715481171548103</c:v>
                </c:pt>
                <c:pt idx="2339">
                  <c:v>0.6171875</c:v>
                </c:pt>
                <c:pt idx="2340">
                  <c:v>0.61721068249258204</c:v>
                </c:pt>
                <c:pt idx="2341">
                  <c:v>0.61724137931034495</c:v>
                </c:pt>
                <c:pt idx="2342">
                  <c:v>0.61725663716814205</c:v>
                </c:pt>
                <c:pt idx="2343">
                  <c:v>0.61728395061728403</c:v>
                </c:pt>
                <c:pt idx="2344">
                  <c:v>0.61731843575418999</c:v>
                </c:pt>
                <c:pt idx="2345">
                  <c:v>0.61742424242424199</c:v>
                </c:pt>
                <c:pt idx="2346">
                  <c:v>0.61742424242424199</c:v>
                </c:pt>
                <c:pt idx="2347">
                  <c:v>0.61744583808437803</c:v>
                </c:pt>
                <c:pt idx="2348">
                  <c:v>0.61757425742574201</c:v>
                </c:pt>
                <c:pt idx="2349">
                  <c:v>0.61764705882352899</c:v>
                </c:pt>
                <c:pt idx="2350">
                  <c:v>0.61777150916784196</c:v>
                </c:pt>
                <c:pt idx="2351">
                  <c:v>0.61784897025171603</c:v>
                </c:pt>
                <c:pt idx="2352">
                  <c:v>0.61787905346187499</c:v>
                </c:pt>
                <c:pt idx="2353">
                  <c:v>0.61788617886178898</c:v>
                </c:pt>
                <c:pt idx="2354">
                  <c:v>0.61797752808988804</c:v>
                </c:pt>
                <c:pt idx="2355">
                  <c:v>0.61797752808988804</c:v>
                </c:pt>
                <c:pt idx="2356">
                  <c:v>0.61802575107296098</c:v>
                </c:pt>
                <c:pt idx="2357">
                  <c:v>0.61805555555555503</c:v>
                </c:pt>
                <c:pt idx="2358">
                  <c:v>0.61816192560174998</c:v>
                </c:pt>
                <c:pt idx="2359">
                  <c:v>0.61818181818181805</c:v>
                </c:pt>
                <c:pt idx="2360">
                  <c:v>0.61821086261980795</c:v>
                </c:pt>
                <c:pt idx="2361">
                  <c:v>0.61821366024518398</c:v>
                </c:pt>
                <c:pt idx="2362">
                  <c:v>0.61832061068702304</c:v>
                </c:pt>
                <c:pt idx="2363">
                  <c:v>0.61832061068702304</c:v>
                </c:pt>
                <c:pt idx="2364">
                  <c:v>0.61836045440589504</c:v>
                </c:pt>
                <c:pt idx="2365">
                  <c:v>0.61842105263157898</c:v>
                </c:pt>
                <c:pt idx="2366">
                  <c:v>0.61845607808340697</c:v>
                </c:pt>
                <c:pt idx="2367">
                  <c:v>0.61852433281004704</c:v>
                </c:pt>
                <c:pt idx="2368">
                  <c:v>0.61862917398945505</c:v>
                </c:pt>
                <c:pt idx="2369">
                  <c:v>0.61875000000000002</c:v>
                </c:pt>
                <c:pt idx="2370">
                  <c:v>0.61878881987577605</c:v>
                </c:pt>
                <c:pt idx="2371">
                  <c:v>0.61904761904761896</c:v>
                </c:pt>
                <c:pt idx="2372">
                  <c:v>0.61904761904761896</c:v>
                </c:pt>
                <c:pt idx="2373">
                  <c:v>0.61915887850467299</c:v>
                </c:pt>
                <c:pt idx="2374">
                  <c:v>0.61919999999999997</c:v>
                </c:pt>
                <c:pt idx="2375">
                  <c:v>0.61920903954802298</c:v>
                </c:pt>
                <c:pt idx="2376">
                  <c:v>0.61923076923076903</c:v>
                </c:pt>
                <c:pt idx="2377">
                  <c:v>0.61928934010152303</c:v>
                </c:pt>
                <c:pt idx="2378">
                  <c:v>0.61931187569367396</c:v>
                </c:pt>
                <c:pt idx="2379">
                  <c:v>0.61940298507462699</c:v>
                </c:pt>
                <c:pt idx="2380">
                  <c:v>0.619413407821229</c:v>
                </c:pt>
                <c:pt idx="2381">
                  <c:v>0.61945392491467599</c:v>
                </c:pt>
                <c:pt idx="2382">
                  <c:v>0.61952861952861904</c:v>
                </c:pt>
                <c:pt idx="2383">
                  <c:v>0.61956521739130399</c:v>
                </c:pt>
                <c:pt idx="2384">
                  <c:v>0.61964285714285705</c:v>
                </c:pt>
                <c:pt idx="2385">
                  <c:v>0.61968085106382997</c:v>
                </c:pt>
                <c:pt idx="2386">
                  <c:v>0.61969111969112001</c:v>
                </c:pt>
                <c:pt idx="2387">
                  <c:v>0.61971830985915499</c:v>
                </c:pt>
                <c:pt idx="2388">
                  <c:v>0.619785458879618</c:v>
                </c:pt>
                <c:pt idx="2389">
                  <c:v>0.61984196663740099</c:v>
                </c:pt>
                <c:pt idx="2390">
                  <c:v>0.61984282907662103</c:v>
                </c:pt>
                <c:pt idx="2391">
                  <c:v>0.61989649223691801</c:v>
                </c:pt>
                <c:pt idx="2392">
                  <c:v>0.61990950226244301</c:v>
                </c:pt>
                <c:pt idx="2393">
                  <c:v>0.619967793880837</c:v>
                </c:pt>
                <c:pt idx="2394">
                  <c:v>0.62007874015747999</c:v>
                </c:pt>
                <c:pt idx="2395">
                  <c:v>0.62008141112618698</c:v>
                </c:pt>
                <c:pt idx="2396">
                  <c:v>0.62009419152276302</c:v>
                </c:pt>
                <c:pt idx="2397">
                  <c:v>0.62011173184357504</c:v>
                </c:pt>
                <c:pt idx="2398">
                  <c:v>0.62015503875969002</c:v>
                </c:pt>
                <c:pt idx="2399">
                  <c:v>0.62037037037037002</c:v>
                </c:pt>
                <c:pt idx="2400">
                  <c:v>0.62038664323374304</c:v>
                </c:pt>
                <c:pt idx="2401">
                  <c:v>0.62043795620437903</c:v>
                </c:pt>
                <c:pt idx="2402">
                  <c:v>0.62043795620437903</c:v>
                </c:pt>
                <c:pt idx="2403">
                  <c:v>0.620577027762656</c:v>
                </c:pt>
                <c:pt idx="2404">
                  <c:v>0.62065934065934103</c:v>
                </c:pt>
                <c:pt idx="2405">
                  <c:v>0.62068965517241403</c:v>
                </c:pt>
                <c:pt idx="2406">
                  <c:v>0.62079510703363905</c:v>
                </c:pt>
                <c:pt idx="2407">
                  <c:v>0.62080443828016596</c:v>
                </c:pt>
                <c:pt idx="2408">
                  <c:v>0.62095238095238103</c:v>
                </c:pt>
                <c:pt idx="2409">
                  <c:v>0.62096774193548399</c:v>
                </c:pt>
                <c:pt idx="2410">
                  <c:v>0.620975609756097</c:v>
                </c:pt>
                <c:pt idx="2411">
                  <c:v>0.62102689486552598</c:v>
                </c:pt>
                <c:pt idx="2412">
                  <c:v>0.62105263157894697</c:v>
                </c:pt>
                <c:pt idx="2413">
                  <c:v>0.62105907560453</c:v>
                </c:pt>
                <c:pt idx="2414">
                  <c:v>0.62110311750599501</c:v>
                </c:pt>
                <c:pt idx="2415">
                  <c:v>0.62117950925527299</c:v>
                </c:pt>
                <c:pt idx="2416">
                  <c:v>0.62118780096308202</c:v>
                </c:pt>
                <c:pt idx="2417">
                  <c:v>0.62121212121212099</c:v>
                </c:pt>
                <c:pt idx="2418">
                  <c:v>0.62121212121212099</c:v>
                </c:pt>
                <c:pt idx="2419">
                  <c:v>0.62130177514792895</c:v>
                </c:pt>
                <c:pt idx="2420">
                  <c:v>0.62154696132596698</c:v>
                </c:pt>
                <c:pt idx="2421">
                  <c:v>0.62159624413145498</c:v>
                </c:pt>
                <c:pt idx="2422">
                  <c:v>0.62159934047815302</c:v>
                </c:pt>
                <c:pt idx="2423">
                  <c:v>0.62162162162162204</c:v>
                </c:pt>
                <c:pt idx="2424">
                  <c:v>0.62162162162162204</c:v>
                </c:pt>
                <c:pt idx="2425">
                  <c:v>0.62162162162162204</c:v>
                </c:pt>
                <c:pt idx="2426">
                  <c:v>0.62172284644194697</c:v>
                </c:pt>
                <c:pt idx="2427">
                  <c:v>0.62179121505989698</c:v>
                </c:pt>
                <c:pt idx="2428">
                  <c:v>0.62185199535063895</c:v>
                </c:pt>
                <c:pt idx="2429">
                  <c:v>0.62188099808061403</c:v>
                </c:pt>
                <c:pt idx="2430">
                  <c:v>0.62191780821917797</c:v>
                </c:pt>
                <c:pt idx="2431">
                  <c:v>0.62195121951219501</c:v>
                </c:pt>
                <c:pt idx="2432">
                  <c:v>0.62204724409448797</c:v>
                </c:pt>
                <c:pt idx="2433">
                  <c:v>0.62204724409448797</c:v>
                </c:pt>
                <c:pt idx="2434">
                  <c:v>0.62204724409448797</c:v>
                </c:pt>
                <c:pt idx="2435">
                  <c:v>0.62211981566820296</c:v>
                </c:pt>
                <c:pt idx="2436">
                  <c:v>0.62211981566820296</c:v>
                </c:pt>
                <c:pt idx="2437">
                  <c:v>0.62222222222222201</c:v>
                </c:pt>
                <c:pt idx="2438">
                  <c:v>0.62222222222222201</c:v>
                </c:pt>
                <c:pt idx="2439">
                  <c:v>0.62230215827338098</c:v>
                </c:pt>
                <c:pt idx="2440">
                  <c:v>0.62235067437379599</c:v>
                </c:pt>
                <c:pt idx="2441">
                  <c:v>0.62235649546827798</c:v>
                </c:pt>
                <c:pt idx="2442">
                  <c:v>0.62245989304812799</c:v>
                </c:pt>
                <c:pt idx="2443">
                  <c:v>0.622591362126246</c:v>
                </c:pt>
                <c:pt idx="2444">
                  <c:v>0.62260127931769704</c:v>
                </c:pt>
                <c:pt idx="2445">
                  <c:v>0.62261380323054305</c:v>
                </c:pt>
                <c:pt idx="2446">
                  <c:v>0.62261625961860101</c:v>
                </c:pt>
                <c:pt idx="2447">
                  <c:v>0.62262916939175905</c:v>
                </c:pt>
                <c:pt idx="2448">
                  <c:v>0.62264150943396201</c:v>
                </c:pt>
                <c:pt idx="2449">
                  <c:v>0.62273901808785503</c:v>
                </c:pt>
                <c:pt idx="2450">
                  <c:v>0.62275449101796398</c:v>
                </c:pt>
                <c:pt idx="2451">
                  <c:v>0.62287104622871003</c:v>
                </c:pt>
                <c:pt idx="2452">
                  <c:v>0.62295081967213095</c:v>
                </c:pt>
                <c:pt idx="2453">
                  <c:v>0.62295081967213095</c:v>
                </c:pt>
                <c:pt idx="2454">
                  <c:v>0.62299134734239803</c:v>
                </c:pt>
                <c:pt idx="2455">
                  <c:v>0.62302158273381303</c:v>
                </c:pt>
                <c:pt idx="2456">
                  <c:v>0.62306460224239202</c:v>
                </c:pt>
                <c:pt idx="2457">
                  <c:v>0.62311557788944705</c:v>
                </c:pt>
                <c:pt idx="2458">
                  <c:v>0.62327718223583495</c:v>
                </c:pt>
                <c:pt idx="2459">
                  <c:v>0.62328042328042299</c:v>
                </c:pt>
                <c:pt idx="2460">
                  <c:v>0.62337662337662303</c:v>
                </c:pt>
                <c:pt idx="2461">
                  <c:v>0.62337662337662303</c:v>
                </c:pt>
                <c:pt idx="2462">
                  <c:v>0.62344439983942201</c:v>
                </c:pt>
                <c:pt idx="2463">
                  <c:v>0.62344827586206897</c:v>
                </c:pt>
                <c:pt idx="2464">
                  <c:v>0.62350597609561698</c:v>
                </c:pt>
                <c:pt idx="2465">
                  <c:v>0.623529411764706</c:v>
                </c:pt>
                <c:pt idx="2466">
                  <c:v>0.62359550561797705</c:v>
                </c:pt>
                <c:pt idx="2467">
                  <c:v>0.62371134020618502</c:v>
                </c:pt>
                <c:pt idx="2468">
                  <c:v>0.62382445141065801</c:v>
                </c:pt>
                <c:pt idx="2469">
                  <c:v>0.62393162393162405</c:v>
                </c:pt>
                <c:pt idx="2470">
                  <c:v>0.62394603709949403</c:v>
                </c:pt>
                <c:pt idx="2471">
                  <c:v>0.62398921832884102</c:v>
                </c:pt>
                <c:pt idx="2472">
                  <c:v>0.624</c:v>
                </c:pt>
                <c:pt idx="2473">
                  <c:v>0.62403433476394798</c:v>
                </c:pt>
                <c:pt idx="2474">
                  <c:v>0.62409638554216895</c:v>
                </c:pt>
                <c:pt idx="2475">
                  <c:v>0.62416107382550301</c:v>
                </c:pt>
                <c:pt idx="2476">
                  <c:v>0.62419006479481598</c:v>
                </c:pt>
                <c:pt idx="2477">
                  <c:v>0.62419562419562402</c:v>
                </c:pt>
                <c:pt idx="2478">
                  <c:v>0.62422535211267605</c:v>
                </c:pt>
                <c:pt idx="2479">
                  <c:v>0.62424242424242404</c:v>
                </c:pt>
                <c:pt idx="2480">
                  <c:v>0.62429378531073398</c:v>
                </c:pt>
                <c:pt idx="2481">
                  <c:v>0.62429906542056102</c:v>
                </c:pt>
                <c:pt idx="2482">
                  <c:v>0.62432915921288001</c:v>
                </c:pt>
                <c:pt idx="2483">
                  <c:v>0.62439807383627599</c:v>
                </c:pt>
                <c:pt idx="2484">
                  <c:v>0.62441314553990601</c:v>
                </c:pt>
                <c:pt idx="2485">
                  <c:v>0.62441314553990601</c:v>
                </c:pt>
                <c:pt idx="2486">
                  <c:v>0.62448644207066595</c:v>
                </c:pt>
                <c:pt idx="2487">
                  <c:v>0.62451361867704303</c:v>
                </c:pt>
                <c:pt idx="2488">
                  <c:v>0.62453684643886398</c:v>
                </c:pt>
                <c:pt idx="2489">
                  <c:v>0.62462462462462498</c:v>
                </c:pt>
                <c:pt idx="2490">
                  <c:v>0.624733475479744</c:v>
                </c:pt>
                <c:pt idx="2491">
                  <c:v>0.62474437627811896</c:v>
                </c:pt>
                <c:pt idx="2492">
                  <c:v>0.62479155086158999</c:v>
                </c:pt>
                <c:pt idx="2493">
                  <c:v>0.62479608482871096</c:v>
                </c:pt>
                <c:pt idx="2494">
                  <c:v>0.62481315396113601</c:v>
                </c:pt>
                <c:pt idx="2495">
                  <c:v>0.62491716368455896</c:v>
                </c:pt>
                <c:pt idx="2496">
                  <c:v>0.625</c:v>
                </c:pt>
                <c:pt idx="2497">
                  <c:v>0.625</c:v>
                </c:pt>
                <c:pt idx="2498">
                  <c:v>0.625</c:v>
                </c:pt>
                <c:pt idx="2499">
                  <c:v>0.625</c:v>
                </c:pt>
                <c:pt idx="2500">
                  <c:v>0.625</c:v>
                </c:pt>
                <c:pt idx="2501">
                  <c:v>0.625</c:v>
                </c:pt>
                <c:pt idx="2502">
                  <c:v>0.625</c:v>
                </c:pt>
                <c:pt idx="2503">
                  <c:v>0.625</c:v>
                </c:pt>
                <c:pt idx="2504">
                  <c:v>0.625</c:v>
                </c:pt>
                <c:pt idx="2505">
                  <c:v>0.625</c:v>
                </c:pt>
                <c:pt idx="2506">
                  <c:v>0.625</c:v>
                </c:pt>
                <c:pt idx="2507">
                  <c:v>0.625126646403242</c:v>
                </c:pt>
                <c:pt idx="2508">
                  <c:v>0.62515883100381198</c:v>
                </c:pt>
                <c:pt idx="2509">
                  <c:v>0.62525737817433102</c:v>
                </c:pt>
                <c:pt idx="2510">
                  <c:v>0.62527716186252802</c:v>
                </c:pt>
                <c:pt idx="2511">
                  <c:v>0.62534626038781205</c:v>
                </c:pt>
                <c:pt idx="2512">
                  <c:v>0.62541806020066903</c:v>
                </c:pt>
                <c:pt idx="2513">
                  <c:v>0.62544169611307399</c:v>
                </c:pt>
                <c:pt idx="2514">
                  <c:v>0.62545454545454504</c:v>
                </c:pt>
                <c:pt idx="2515">
                  <c:v>0.62546816479400702</c:v>
                </c:pt>
                <c:pt idx="2516">
                  <c:v>0.62548262548262501</c:v>
                </c:pt>
                <c:pt idx="2517">
                  <c:v>0.62553191489361704</c:v>
                </c:pt>
                <c:pt idx="2518">
                  <c:v>0.625633598841419</c:v>
                </c:pt>
                <c:pt idx="2519">
                  <c:v>0.62570315880571203</c:v>
                </c:pt>
                <c:pt idx="2520">
                  <c:v>0.62572254335260102</c:v>
                </c:pt>
                <c:pt idx="2521">
                  <c:v>0.62573099415204703</c:v>
                </c:pt>
                <c:pt idx="2522">
                  <c:v>0.62573964497041401</c:v>
                </c:pt>
                <c:pt idx="2523">
                  <c:v>0.62578464509898601</c:v>
                </c:pt>
                <c:pt idx="2524">
                  <c:v>0.62583271650629202</c:v>
                </c:pt>
                <c:pt idx="2525">
                  <c:v>0.62586206896551699</c:v>
                </c:pt>
                <c:pt idx="2526">
                  <c:v>0.62599469496021198</c:v>
                </c:pt>
                <c:pt idx="2527">
                  <c:v>0.626</c:v>
                </c:pt>
                <c:pt idx="2528">
                  <c:v>0.62601626016260103</c:v>
                </c:pt>
                <c:pt idx="2529">
                  <c:v>0.62602739726027401</c:v>
                </c:pt>
                <c:pt idx="2530">
                  <c:v>0.62604340567612704</c:v>
                </c:pt>
                <c:pt idx="2531">
                  <c:v>0.62616822429906505</c:v>
                </c:pt>
                <c:pt idx="2532">
                  <c:v>0.62619808306709301</c:v>
                </c:pt>
                <c:pt idx="2533">
                  <c:v>0.626349892008639</c:v>
                </c:pt>
                <c:pt idx="2534">
                  <c:v>0.62635100360267604</c:v>
                </c:pt>
                <c:pt idx="2535">
                  <c:v>0.62641509433962295</c:v>
                </c:pt>
                <c:pt idx="2536">
                  <c:v>0.62646566164154105</c:v>
                </c:pt>
                <c:pt idx="2537">
                  <c:v>0.62654320987654299</c:v>
                </c:pt>
                <c:pt idx="2538">
                  <c:v>0.62676056338028197</c:v>
                </c:pt>
                <c:pt idx="2539">
                  <c:v>0.62686567164179097</c:v>
                </c:pt>
                <c:pt idx="2540">
                  <c:v>0.62686567164179097</c:v>
                </c:pt>
                <c:pt idx="2541">
                  <c:v>0.62686567164179097</c:v>
                </c:pt>
                <c:pt idx="2542">
                  <c:v>0.62689585439838202</c:v>
                </c:pt>
                <c:pt idx="2543">
                  <c:v>0.62689804772234303</c:v>
                </c:pt>
                <c:pt idx="2544">
                  <c:v>0.62698412698412698</c:v>
                </c:pt>
                <c:pt idx="2545">
                  <c:v>0.62698412698412698</c:v>
                </c:pt>
                <c:pt idx="2546">
                  <c:v>0.62699822380106596</c:v>
                </c:pt>
                <c:pt idx="2547">
                  <c:v>0.627</c:v>
                </c:pt>
                <c:pt idx="2548">
                  <c:v>0.62704471101417703</c:v>
                </c:pt>
                <c:pt idx="2549">
                  <c:v>0.62707535121328195</c:v>
                </c:pt>
                <c:pt idx="2550">
                  <c:v>0.62709030100334395</c:v>
                </c:pt>
                <c:pt idx="2551">
                  <c:v>0.62711864406779705</c:v>
                </c:pt>
                <c:pt idx="2552">
                  <c:v>0.62713178294573602</c:v>
                </c:pt>
                <c:pt idx="2553">
                  <c:v>0.62718204488777995</c:v>
                </c:pt>
                <c:pt idx="2554">
                  <c:v>0.62719812426729205</c:v>
                </c:pt>
                <c:pt idx="2555">
                  <c:v>0.627265563435776</c:v>
                </c:pt>
                <c:pt idx="2556">
                  <c:v>0.62729124236252498</c:v>
                </c:pt>
                <c:pt idx="2557">
                  <c:v>0.62736842105263102</c:v>
                </c:pt>
                <c:pt idx="2558">
                  <c:v>0.62739726027397202</c:v>
                </c:pt>
                <c:pt idx="2559">
                  <c:v>0.62745098039215697</c:v>
                </c:pt>
                <c:pt idx="2560">
                  <c:v>0.62745098039215697</c:v>
                </c:pt>
                <c:pt idx="2561">
                  <c:v>0.62755102040816302</c:v>
                </c:pt>
                <c:pt idx="2562">
                  <c:v>0.62760971452918601</c:v>
                </c:pt>
                <c:pt idx="2563">
                  <c:v>0.62763466042154603</c:v>
                </c:pt>
                <c:pt idx="2564">
                  <c:v>0.62765957446808496</c:v>
                </c:pt>
                <c:pt idx="2565">
                  <c:v>0.62782401902496998</c:v>
                </c:pt>
                <c:pt idx="2566">
                  <c:v>0.62808349146109999</c:v>
                </c:pt>
                <c:pt idx="2567">
                  <c:v>0.62811028917283096</c:v>
                </c:pt>
                <c:pt idx="2568">
                  <c:v>0.62815884476534301</c:v>
                </c:pt>
                <c:pt idx="2569">
                  <c:v>0.628164556962025</c:v>
                </c:pt>
                <c:pt idx="2570">
                  <c:v>0.628235294117647</c:v>
                </c:pt>
                <c:pt idx="2571">
                  <c:v>0.62829736211031195</c:v>
                </c:pt>
                <c:pt idx="2572">
                  <c:v>0.62831858407079599</c:v>
                </c:pt>
                <c:pt idx="2573">
                  <c:v>0.62831858407079599</c:v>
                </c:pt>
                <c:pt idx="2574">
                  <c:v>0.62831858407079599</c:v>
                </c:pt>
                <c:pt idx="2575">
                  <c:v>0.62840466926070004</c:v>
                </c:pt>
                <c:pt idx="2576">
                  <c:v>0.62841530054644801</c:v>
                </c:pt>
                <c:pt idx="2577">
                  <c:v>0.62842190016103106</c:v>
                </c:pt>
                <c:pt idx="2578">
                  <c:v>0.62847555129434296</c:v>
                </c:pt>
                <c:pt idx="2579">
                  <c:v>0.62850467289719603</c:v>
                </c:pt>
                <c:pt idx="2580">
                  <c:v>0.62850971922246202</c:v>
                </c:pt>
                <c:pt idx="2581">
                  <c:v>0.628571428571428</c:v>
                </c:pt>
                <c:pt idx="2582">
                  <c:v>0.62866242038216502</c:v>
                </c:pt>
                <c:pt idx="2583">
                  <c:v>0.62869198312236296</c:v>
                </c:pt>
                <c:pt idx="2584">
                  <c:v>0.62871287128712905</c:v>
                </c:pt>
                <c:pt idx="2585">
                  <c:v>0.62871287128712905</c:v>
                </c:pt>
                <c:pt idx="2586">
                  <c:v>0.62874251497005995</c:v>
                </c:pt>
                <c:pt idx="2587">
                  <c:v>0.62877155172413801</c:v>
                </c:pt>
                <c:pt idx="2588">
                  <c:v>0.62884615384615405</c:v>
                </c:pt>
                <c:pt idx="2589">
                  <c:v>0.62888888888888905</c:v>
                </c:pt>
                <c:pt idx="2590">
                  <c:v>0.62891207153502204</c:v>
                </c:pt>
                <c:pt idx="2591">
                  <c:v>0.62893081761006298</c:v>
                </c:pt>
                <c:pt idx="2592">
                  <c:v>0.62897526501766798</c:v>
                </c:pt>
                <c:pt idx="2593">
                  <c:v>0.62899050905953402</c:v>
                </c:pt>
                <c:pt idx="2594">
                  <c:v>0.62903225806451601</c:v>
                </c:pt>
                <c:pt idx="2595">
                  <c:v>0.62917063870352696</c:v>
                </c:pt>
                <c:pt idx="2596">
                  <c:v>0.62927496580027398</c:v>
                </c:pt>
                <c:pt idx="2597">
                  <c:v>0.62928082191780799</c:v>
                </c:pt>
                <c:pt idx="2598">
                  <c:v>0.629411764705882</c:v>
                </c:pt>
                <c:pt idx="2599">
                  <c:v>0.629411764705882</c:v>
                </c:pt>
                <c:pt idx="2600">
                  <c:v>0.629411764705882</c:v>
                </c:pt>
                <c:pt idx="2601">
                  <c:v>0.62946428571428603</c:v>
                </c:pt>
                <c:pt idx="2602">
                  <c:v>0.62962962962962998</c:v>
                </c:pt>
                <c:pt idx="2603">
                  <c:v>0.62962962962962998</c:v>
                </c:pt>
                <c:pt idx="2604">
                  <c:v>0.62970106075217003</c:v>
                </c:pt>
                <c:pt idx="2605">
                  <c:v>0.62972292191435797</c:v>
                </c:pt>
                <c:pt idx="2606">
                  <c:v>0.62982273201251304</c:v>
                </c:pt>
                <c:pt idx="2607">
                  <c:v>0.62982456140350895</c:v>
                </c:pt>
                <c:pt idx="2608">
                  <c:v>0.62982456140350895</c:v>
                </c:pt>
                <c:pt idx="2609">
                  <c:v>0.62985685071574604</c:v>
                </c:pt>
                <c:pt idx="2610">
                  <c:v>0.62992125984252001</c:v>
                </c:pt>
                <c:pt idx="2611">
                  <c:v>0.62995951417004004</c:v>
                </c:pt>
                <c:pt idx="2612">
                  <c:v>0.62996941896024505</c:v>
                </c:pt>
                <c:pt idx="2613">
                  <c:v>0.63008631319358799</c:v>
                </c:pt>
                <c:pt idx="2614">
                  <c:v>0.63013698630137005</c:v>
                </c:pt>
                <c:pt idx="2615">
                  <c:v>0.63018867924528299</c:v>
                </c:pt>
                <c:pt idx="2616">
                  <c:v>0.63031423290203303</c:v>
                </c:pt>
                <c:pt idx="2617">
                  <c:v>0.63032919589854297</c:v>
                </c:pt>
                <c:pt idx="2618">
                  <c:v>0.63039014373716595</c:v>
                </c:pt>
                <c:pt idx="2619">
                  <c:v>0.63045586808923404</c:v>
                </c:pt>
                <c:pt idx="2620">
                  <c:v>0.63048016701461396</c:v>
                </c:pt>
                <c:pt idx="2621">
                  <c:v>0.63051897753679298</c:v>
                </c:pt>
                <c:pt idx="2622">
                  <c:v>0.63052208835341395</c:v>
                </c:pt>
                <c:pt idx="2623">
                  <c:v>0.63054187192118205</c:v>
                </c:pt>
                <c:pt idx="2624">
                  <c:v>0.63054187192118205</c:v>
                </c:pt>
                <c:pt idx="2625">
                  <c:v>0.63063063063063096</c:v>
                </c:pt>
                <c:pt idx="2626">
                  <c:v>0.63065326633165797</c:v>
                </c:pt>
                <c:pt idx="2627">
                  <c:v>0.63069544364508401</c:v>
                </c:pt>
                <c:pt idx="2628">
                  <c:v>0.63072378138847895</c:v>
                </c:pt>
                <c:pt idx="2629">
                  <c:v>0.63076923076923097</c:v>
                </c:pt>
                <c:pt idx="2630">
                  <c:v>0.63079777365491596</c:v>
                </c:pt>
                <c:pt idx="2631">
                  <c:v>0.63095238095238104</c:v>
                </c:pt>
                <c:pt idx="2632">
                  <c:v>0.63095238095238104</c:v>
                </c:pt>
                <c:pt idx="2633">
                  <c:v>0.63100775193798397</c:v>
                </c:pt>
                <c:pt idx="2634">
                  <c:v>0.63128491620111704</c:v>
                </c:pt>
                <c:pt idx="2635">
                  <c:v>0.63144963144963095</c:v>
                </c:pt>
                <c:pt idx="2636">
                  <c:v>0.63147792706334005</c:v>
                </c:pt>
                <c:pt idx="2637">
                  <c:v>0.63157894736842102</c:v>
                </c:pt>
                <c:pt idx="2638">
                  <c:v>0.63157894736842102</c:v>
                </c:pt>
                <c:pt idx="2639">
                  <c:v>0.63157894736842102</c:v>
                </c:pt>
                <c:pt idx="2640">
                  <c:v>0.63157894736842102</c:v>
                </c:pt>
                <c:pt idx="2641">
                  <c:v>0.63157894736842102</c:v>
                </c:pt>
                <c:pt idx="2642">
                  <c:v>0.63157894736842102</c:v>
                </c:pt>
                <c:pt idx="2643">
                  <c:v>0.63166397415185804</c:v>
                </c:pt>
                <c:pt idx="2644">
                  <c:v>0.63166397415185804</c:v>
                </c:pt>
                <c:pt idx="2645">
                  <c:v>0.63166397415185804</c:v>
                </c:pt>
                <c:pt idx="2646">
                  <c:v>0.63183279742765297</c:v>
                </c:pt>
                <c:pt idx="2647">
                  <c:v>0.63183279742765297</c:v>
                </c:pt>
                <c:pt idx="2648">
                  <c:v>0.63187588152327201</c:v>
                </c:pt>
                <c:pt idx="2649">
                  <c:v>0.63190184049079701</c:v>
                </c:pt>
                <c:pt idx="2650">
                  <c:v>0.63194444444444398</c:v>
                </c:pt>
                <c:pt idx="2651">
                  <c:v>0.63197026022304803</c:v>
                </c:pt>
                <c:pt idx="2652">
                  <c:v>0.631975867269985</c:v>
                </c:pt>
                <c:pt idx="2653">
                  <c:v>0.63205828779599305</c:v>
                </c:pt>
                <c:pt idx="2654">
                  <c:v>0.63210227272727304</c:v>
                </c:pt>
                <c:pt idx="2655">
                  <c:v>0.63218390804597702</c:v>
                </c:pt>
                <c:pt idx="2656">
                  <c:v>0.63222416812609505</c:v>
                </c:pt>
                <c:pt idx="2657">
                  <c:v>0.63224637681159401</c:v>
                </c:pt>
                <c:pt idx="2658">
                  <c:v>0.63225806451612898</c:v>
                </c:pt>
                <c:pt idx="2659">
                  <c:v>0.63246268656716398</c:v>
                </c:pt>
                <c:pt idx="2660">
                  <c:v>0.63251366120218599</c:v>
                </c:pt>
                <c:pt idx="2661">
                  <c:v>0.63260025873221204</c:v>
                </c:pt>
                <c:pt idx="2662">
                  <c:v>0.63279132791327897</c:v>
                </c:pt>
                <c:pt idx="2663">
                  <c:v>0.63279445727482697</c:v>
                </c:pt>
                <c:pt idx="2664">
                  <c:v>0.63279445727482697</c:v>
                </c:pt>
                <c:pt idx="2665">
                  <c:v>0.63282937365010805</c:v>
                </c:pt>
                <c:pt idx="2666">
                  <c:v>0.632841328413284</c:v>
                </c:pt>
                <c:pt idx="2667">
                  <c:v>0.63286713286713303</c:v>
                </c:pt>
                <c:pt idx="2668">
                  <c:v>0.63289280469897202</c:v>
                </c:pt>
                <c:pt idx="2669">
                  <c:v>0.632911392405063</c:v>
                </c:pt>
                <c:pt idx="2670">
                  <c:v>0.63302752293578002</c:v>
                </c:pt>
                <c:pt idx="2671">
                  <c:v>0.63309352517985595</c:v>
                </c:pt>
                <c:pt idx="2672">
                  <c:v>0.633136094674556</c:v>
                </c:pt>
                <c:pt idx="2673">
                  <c:v>0.63320463320463305</c:v>
                </c:pt>
                <c:pt idx="2674">
                  <c:v>0.63325183374083105</c:v>
                </c:pt>
                <c:pt idx="2675">
                  <c:v>0.63333333333333297</c:v>
                </c:pt>
                <c:pt idx="2676">
                  <c:v>0.63333333333333297</c:v>
                </c:pt>
                <c:pt idx="2677">
                  <c:v>0.63333333333333297</c:v>
                </c:pt>
                <c:pt idx="2678">
                  <c:v>0.63333333333333297</c:v>
                </c:pt>
                <c:pt idx="2679">
                  <c:v>0.63336566440349196</c:v>
                </c:pt>
                <c:pt idx="2680">
                  <c:v>0.63344594594594605</c:v>
                </c:pt>
                <c:pt idx="2681">
                  <c:v>0.63345195729537396</c:v>
                </c:pt>
                <c:pt idx="2682">
                  <c:v>0.63348416289592702</c:v>
                </c:pt>
                <c:pt idx="2683">
                  <c:v>0.63348416289592702</c:v>
                </c:pt>
                <c:pt idx="2684">
                  <c:v>0.63352044907778704</c:v>
                </c:pt>
                <c:pt idx="2685">
                  <c:v>0.63354037267080698</c:v>
                </c:pt>
                <c:pt idx="2686">
                  <c:v>0.63364055299539201</c:v>
                </c:pt>
                <c:pt idx="2687">
                  <c:v>0.633663366336634</c:v>
                </c:pt>
                <c:pt idx="2688">
                  <c:v>0.633677991137371</c:v>
                </c:pt>
                <c:pt idx="2689">
                  <c:v>0.63371356147021496</c:v>
                </c:pt>
                <c:pt idx="2690">
                  <c:v>0.63389830508474598</c:v>
                </c:pt>
                <c:pt idx="2691">
                  <c:v>0.63392857142857095</c:v>
                </c:pt>
                <c:pt idx="2692">
                  <c:v>0.63392857142857095</c:v>
                </c:pt>
                <c:pt idx="2693">
                  <c:v>0.63404255319148894</c:v>
                </c:pt>
                <c:pt idx="2694">
                  <c:v>0.63410301953818804</c:v>
                </c:pt>
                <c:pt idx="2695">
                  <c:v>0.63412228796844206</c:v>
                </c:pt>
                <c:pt idx="2696">
                  <c:v>0.63414634146341498</c:v>
                </c:pt>
                <c:pt idx="2697">
                  <c:v>0.63414634146341498</c:v>
                </c:pt>
                <c:pt idx="2698">
                  <c:v>0.63421828908554601</c:v>
                </c:pt>
                <c:pt idx="2699">
                  <c:v>0.63437500000000002</c:v>
                </c:pt>
                <c:pt idx="2700">
                  <c:v>0.63440860215053796</c:v>
                </c:pt>
                <c:pt idx="2701">
                  <c:v>0.63442069741282303</c:v>
                </c:pt>
                <c:pt idx="2702">
                  <c:v>0.63455149501661101</c:v>
                </c:pt>
                <c:pt idx="2703">
                  <c:v>0.63458110516933997</c:v>
                </c:pt>
                <c:pt idx="2704">
                  <c:v>0.63461538461538403</c:v>
                </c:pt>
                <c:pt idx="2705">
                  <c:v>0.63461538461538403</c:v>
                </c:pt>
                <c:pt idx="2706">
                  <c:v>0.63465783664459197</c:v>
                </c:pt>
                <c:pt idx="2707">
                  <c:v>0.63475177304964503</c:v>
                </c:pt>
                <c:pt idx="2708">
                  <c:v>0.63478260869565195</c:v>
                </c:pt>
                <c:pt idx="2709">
                  <c:v>0.63482414242292695</c:v>
                </c:pt>
                <c:pt idx="2710">
                  <c:v>0.634848484848485</c:v>
                </c:pt>
                <c:pt idx="2711">
                  <c:v>0.63495145631067995</c:v>
                </c:pt>
                <c:pt idx="2712">
                  <c:v>0.63499604117181296</c:v>
                </c:pt>
                <c:pt idx="2713">
                  <c:v>0.63522012578616305</c:v>
                </c:pt>
                <c:pt idx="2714">
                  <c:v>0.63529411764705901</c:v>
                </c:pt>
                <c:pt idx="2715">
                  <c:v>0.63535911602209905</c:v>
                </c:pt>
                <c:pt idx="2716">
                  <c:v>0.63535911602209905</c:v>
                </c:pt>
                <c:pt idx="2717">
                  <c:v>0.63546798029556595</c:v>
                </c:pt>
                <c:pt idx="2718">
                  <c:v>0.63556280587275704</c:v>
                </c:pt>
                <c:pt idx="2719">
                  <c:v>0.63563829787234005</c:v>
                </c:pt>
                <c:pt idx="2720">
                  <c:v>0.635673624288425</c:v>
                </c:pt>
                <c:pt idx="2721">
                  <c:v>0.63571428571428601</c:v>
                </c:pt>
                <c:pt idx="2722">
                  <c:v>0.63571428571428601</c:v>
                </c:pt>
                <c:pt idx="2723">
                  <c:v>0.63575042158516004</c:v>
                </c:pt>
                <c:pt idx="2724">
                  <c:v>0.63578274760383402</c:v>
                </c:pt>
                <c:pt idx="2725">
                  <c:v>0.63589076723016902</c:v>
                </c:pt>
                <c:pt idx="2726">
                  <c:v>0.63592233009708699</c:v>
                </c:pt>
                <c:pt idx="2727">
                  <c:v>0.63592233009708699</c:v>
                </c:pt>
                <c:pt idx="2728">
                  <c:v>0.63593750000000004</c:v>
                </c:pt>
                <c:pt idx="2729">
                  <c:v>0.63596491228070196</c:v>
                </c:pt>
                <c:pt idx="2730">
                  <c:v>0.63596491228070196</c:v>
                </c:pt>
                <c:pt idx="2731">
                  <c:v>0.63605442176870697</c:v>
                </c:pt>
                <c:pt idx="2732">
                  <c:v>0.636065573770492</c:v>
                </c:pt>
                <c:pt idx="2733">
                  <c:v>0.63612217795484705</c:v>
                </c:pt>
                <c:pt idx="2734">
                  <c:v>0.63619047619047597</c:v>
                </c:pt>
                <c:pt idx="2735">
                  <c:v>0.63629574309185899</c:v>
                </c:pt>
                <c:pt idx="2736">
                  <c:v>0.63636363636363602</c:v>
                </c:pt>
                <c:pt idx="2737">
                  <c:v>0.63636363636363602</c:v>
                </c:pt>
                <c:pt idx="2738">
                  <c:v>0.63636363636363602</c:v>
                </c:pt>
                <c:pt idx="2739">
                  <c:v>0.63636363636363602</c:v>
                </c:pt>
                <c:pt idx="2740">
                  <c:v>0.63636363636363602</c:v>
                </c:pt>
                <c:pt idx="2741">
                  <c:v>0.63636363636363602</c:v>
                </c:pt>
                <c:pt idx="2742">
                  <c:v>0.63636363636363602</c:v>
                </c:pt>
                <c:pt idx="2743">
                  <c:v>0.63636363636363602</c:v>
                </c:pt>
                <c:pt idx="2744">
                  <c:v>0.63636363636363602</c:v>
                </c:pt>
                <c:pt idx="2745">
                  <c:v>0.63636363636363602</c:v>
                </c:pt>
                <c:pt idx="2746">
                  <c:v>0.63643040763863401</c:v>
                </c:pt>
                <c:pt idx="2747">
                  <c:v>0.63646659116647797</c:v>
                </c:pt>
                <c:pt idx="2748">
                  <c:v>0.63650546021840904</c:v>
                </c:pt>
                <c:pt idx="2749">
                  <c:v>0.63653483992466997</c:v>
                </c:pt>
                <c:pt idx="2750">
                  <c:v>0.63664596273291896</c:v>
                </c:pt>
                <c:pt idx="2751">
                  <c:v>0.63667232597623102</c:v>
                </c:pt>
                <c:pt idx="2752">
                  <c:v>0.63669064748201398</c:v>
                </c:pt>
                <c:pt idx="2753">
                  <c:v>0.63677130044843</c:v>
                </c:pt>
                <c:pt idx="2754">
                  <c:v>0.63681592039801005</c:v>
                </c:pt>
                <c:pt idx="2755">
                  <c:v>0.63684559310801803</c:v>
                </c:pt>
                <c:pt idx="2756">
                  <c:v>0.63709677419354804</c:v>
                </c:pt>
                <c:pt idx="2757">
                  <c:v>0.63711151736745897</c:v>
                </c:pt>
                <c:pt idx="2758">
                  <c:v>0.63717171717171694</c:v>
                </c:pt>
                <c:pt idx="2759">
                  <c:v>0.63725490196078405</c:v>
                </c:pt>
                <c:pt idx="2760">
                  <c:v>0.63736263736263699</c:v>
                </c:pt>
                <c:pt idx="2761">
                  <c:v>0.63749999999999996</c:v>
                </c:pt>
                <c:pt idx="2762">
                  <c:v>0.63754512635379001</c:v>
                </c:pt>
                <c:pt idx="2763">
                  <c:v>0.63758389261744997</c:v>
                </c:pt>
                <c:pt idx="2764">
                  <c:v>0.63758389261744997</c:v>
                </c:pt>
                <c:pt idx="2765">
                  <c:v>0.63758841360727503</c:v>
                </c:pt>
                <c:pt idx="2766">
                  <c:v>0.63770053475935795</c:v>
                </c:pt>
                <c:pt idx="2767">
                  <c:v>0.63770794824399202</c:v>
                </c:pt>
                <c:pt idx="2768">
                  <c:v>0.63774104683195598</c:v>
                </c:pt>
                <c:pt idx="2769">
                  <c:v>0.63775510204081598</c:v>
                </c:pt>
                <c:pt idx="2770">
                  <c:v>0.63783783783783798</c:v>
                </c:pt>
                <c:pt idx="2771">
                  <c:v>0.637865311308767</c:v>
                </c:pt>
                <c:pt idx="2772">
                  <c:v>0.63800000000000001</c:v>
                </c:pt>
                <c:pt idx="2773">
                  <c:v>0.63805104408352697</c:v>
                </c:pt>
                <c:pt idx="2774">
                  <c:v>0.63806552262090499</c:v>
                </c:pt>
                <c:pt idx="2775">
                  <c:v>0.63807890222984598</c:v>
                </c:pt>
                <c:pt idx="2776">
                  <c:v>0.63810015487867799</c:v>
                </c:pt>
                <c:pt idx="2777">
                  <c:v>0.63813229571984398</c:v>
                </c:pt>
                <c:pt idx="2778">
                  <c:v>0.63822525597269597</c:v>
                </c:pt>
                <c:pt idx="2779">
                  <c:v>0.63829787234042501</c:v>
                </c:pt>
                <c:pt idx="2780">
                  <c:v>0.63849765258215996</c:v>
                </c:pt>
                <c:pt idx="2781">
                  <c:v>0.63852556480380496</c:v>
                </c:pt>
                <c:pt idx="2782">
                  <c:v>0.63862179487179505</c:v>
                </c:pt>
                <c:pt idx="2783">
                  <c:v>0.63866305329719997</c:v>
                </c:pt>
                <c:pt idx="2784">
                  <c:v>0.63868613138686103</c:v>
                </c:pt>
                <c:pt idx="2785">
                  <c:v>0.63869863013698602</c:v>
                </c:pt>
                <c:pt idx="2786">
                  <c:v>0.63888888888888895</c:v>
                </c:pt>
                <c:pt idx="2787">
                  <c:v>0.63890654799745705</c:v>
                </c:pt>
                <c:pt idx="2788">
                  <c:v>0.63893249607535296</c:v>
                </c:pt>
                <c:pt idx="2789">
                  <c:v>0.63902439024390201</c:v>
                </c:pt>
                <c:pt idx="2790">
                  <c:v>0.63902439024390201</c:v>
                </c:pt>
                <c:pt idx="2791">
                  <c:v>0.63903281519861799</c:v>
                </c:pt>
                <c:pt idx="2792">
                  <c:v>0.63905325443786998</c:v>
                </c:pt>
                <c:pt idx="2793">
                  <c:v>0.63919821826280598</c:v>
                </c:pt>
                <c:pt idx="2794">
                  <c:v>0.63929146537842196</c:v>
                </c:pt>
                <c:pt idx="2795">
                  <c:v>0.63932448733413705</c:v>
                </c:pt>
                <c:pt idx="2796">
                  <c:v>0.63934426229508201</c:v>
                </c:pt>
                <c:pt idx="2797">
                  <c:v>0.63945578231292499</c:v>
                </c:pt>
                <c:pt idx="2798">
                  <c:v>0.63953488372093004</c:v>
                </c:pt>
                <c:pt idx="2799">
                  <c:v>0.63953488372093004</c:v>
                </c:pt>
                <c:pt idx="2800">
                  <c:v>0.63953488372093004</c:v>
                </c:pt>
                <c:pt idx="2801">
                  <c:v>0.63959390862944199</c:v>
                </c:pt>
                <c:pt idx="2802">
                  <c:v>0.63962264150943404</c:v>
                </c:pt>
                <c:pt idx="2803">
                  <c:v>0.63972484952708497</c:v>
                </c:pt>
                <c:pt idx="2804">
                  <c:v>0.639791183294663</c:v>
                </c:pt>
                <c:pt idx="2805">
                  <c:v>0.63983050847457601</c:v>
                </c:pt>
                <c:pt idx="2806">
                  <c:v>0.63992042440318297</c:v>
                </c:pt>
                <c:pt idx="2807">
                  <c:v>0.64003673094582203</c:v>
                </c:pt>
                <c:pt idx="2808">
                  <c:v>0.64008179959100198</c:v>
                </c:pt>
                <c:pt idx="2809">
                  <c:v>0.64015904572564597</c:v>
                </c:pt>
                <c:pt idx="2810">
                  <c:v>0.64025869037995098</c:v>
                </c:pt>
                <c:pt idx="2811">
                  <c:v>0.64029666254635298</c:v>
                </c:pt>
                <c:pt idx="2812">
                  <c:v>0.64042553191489404</c:v>
                </c:pt>
                <c:pt idx="2813">
                  <c:v>0.64046242774566498</c:v>
                </c:pt>
                <c:pt idx="2814">
                  <c:v>0.64050235478806905</c:v>
                </c:pt>
                <c:pt idx="2815">
                  <c:v>0.64055944055944003</c:v>
                </c:pt>
                <c:pt idx="2816">
                  <c:v>0.64056939501779397</c:v>
                </c:pt>
                <c:pt idx="2817">
                  <c:v>0.64057971014492698</c:v>
                </c:pt>
                <c:pt idx="2818">
                  <c:v>0.64066496163682896</c:v>
                </c:pt>
                <c:pt idx="2819">
                  <c:v>0.64069264069264098</c:v>
                </c:pt>
                <c:pt idx="2820">
                  <c:v>0.64070351758793997</c:v>
                </c:pt>
                <c:pt idx="2821">
                  <c:v>0.64074479737130297</c:v>
                </c:pt>
                <c:pt idx="2822">
                  <c:v>0.64101717305151895</c:v>
                </c:pt>
                <c:pt idx="2823">
                  <c:v>0.64102564102564097</c:v>
                </c:pt>
                <c:pt idx="2824">
                  <c:v>0.64102564102564097</c:v>
                </c:pt>
                <c:pt idx="2825">
                  <c:v>0.64102564102564097</c:v>
                </c:pt>
                <c:pt idx="2826">
                  <c:v>0.64111111111111097</c:v>
                </c:pt>
                <c:pt idx="2827">
                  <c:v>0.64122635355512103</c:v>
                </c:pt>
                <c:pt idx="2828">
                  <c:v>0.64126790612618101</c:v>
                </c:pt>
                <c:pt idx="2829">
                  <c:v>0.64127423822714702</c:v>
                </c:pt>
                <c:pt idx="2830">
                  <c:v>0.64135702746365097</c:v>
                </c:pt>
                <c:pt idx="2831">
                  <c:v>0.64140480591497195</c:v>
                </c:pt>
                <c:pt idx="2832">
                  <c:v>0.64144736842105299</c:v>
                </c:pt>
                <c:pt idx="2833">
                  <c:v>0.64150943396226401</c:v>
                </c:pt>
                <c:pt idx="2834">
                  <c:v>0.64150943396226401</c:v>
                </c:pt>
                <c:pt idx="2835">
                  <c:v>0.64150943396226401</c:v>
                </c:pt>
                <c:pt idx="2836">
                  <c:v>0.64153439153439096</c:v>
                </c:pt>
                <c:pt idx="2837">
                  <c:v>0.64157706093189903</c:v>
                </c:pt>
                <c:pt idx="2838">
                  <c:v>0.64160401002506295</c:v>
                </c:pt>
                <c:pt idx="2839">
                  <c:v>0.64161849710982599</c:v>
                </c:pt>
                <c:pt idx="2840">
                  <c:v>0.64163822525597303</c:v>
                </c:pt>
                <c:pt idx="2841">
                  <c:v>0.64164648910411604</c:v>
                </c:pt>
                <c:pt idx="2842">
                  <c:v>0.64171122994652396</c:v>
                </c:pt>
                <c:pt idx="2843">
                  <c:v>0.64171974522292996</c:v>
                </c:pt>
                <c:pt idx="2844">
                  <c:v>0.64179104477611904</c:v>
                </c:pt>
                <c:pt idx="2845">
                  <c:v>0.64197530864197505</c:v>
                </c:pt>
                <c:pt idx="2846">
                  <c:v>0.64201335387776104</c:v>
                </c:pt>
                <c:pt idx="2847">
                  <c:v>0.642027455121436</c:v>
                </c:pt>
                <c:pt idx="2848">
                  <c:v>0.64214046822742499</c:v>
                </c:pt>
                <c:pt idx="2849">
                  <c:v>0.64229471316085496</c:v>
                </c:pt>
                <c:pt idx="2850">
                  <c:v>0.64231354642313498</c:v>
                </c:pt>
                <c:pt idx="2851">
                  <c:v>0.64231738035264496</c:v>
                </c:pt>
                <c:pt idx="2852">
                  <c:v>0.64233576642335799</c:v>
                </c:pt>
                <c:pt idx="2853">
                  <c:v>0.64251207729468596</c:v>
                </c:pt>
                <c:pt idx="2854">
                  <c:v>0.64252336448598102</c:v>
                </c:pt>
                <c:pt idx="2855">
                  <c:v>0.64253393665158398</c:v>
                </c:pt>
                <c:pt idx="2856">
                  <c:v>0.64270876609887795</c:v>
                </c:pt>
                <c:pt idx="2857">
                  <c:v>0.64285714285714302</c:v>
                </c:pt>
                <c:pt idx="2858">
                  <c:v>0.64285714285714302</c:v>
                </c:pt>
                <c:pt idx="2859">
                  <c:v>0.64285714285714302</c:v>
                </c:pt>
                <c:pt idx="2860">
                  <c:v>0.64285714285714302</c:v>
                </c:pt>
                <c:pt idx="2861">
                  <c:v>0.64285714285714302</c:v>
                </c:pt>
                <c:pt idx="2862">
                  <c:v>0.64301075268817198</c:v>
                </c:pt>
                <c:pt idx="2863">
                  <c:v>0.64308681672025703</c:v>
                </c:pt>
                <c:pt idx="2864">
                  <c:v>0.64308681672025703</c:v>
                </c:pt>
                <c:pt idx="2865">
                  <c:v>0.64312267657992594</c:v>
                </c:pt>
                <c:pt idx="2866">
                  <c:v>0.64316239316239299</c:v>
                </c:pt>
                <c:pt idx="2867">
                  <c:v>0.64319248826291098</c:v>
                </c:pt>
                <c:pt idx="2868">
                  <c:v>0.64319248826291098</c:v>
                </c:pt>
                <c:pt idx="2869">
                  <c:v>0.64322469982847297</c:v>
                </c:pt>
                <c:pt idx="2870">
                  <c:v>0.643243243243243</c:v>
                </c:pt>
                <c:pt idx="2871">
                  <c:v>0.64336661911554904</c:v>
                </c:pt>
                <c:pt idx="2872">
                  <c:v>0.64337349397590404</c:v>
                </c:pt>
                <c:pt idx="2873">
                  <c:v>0.64343163538874004</c:v>
                </c:pt>
                <c:pt idx="2874">
                  <c:v>0.64347826086956506</c:v>
                </c:pt>
                <c:pt idx="2875">
                  <c:v>0.64363636363636401</c:v>
                </c:pt>
                <c:pt idx="2876">
                  <c:v>0.64372469635627505</c:v>
                </c:pt>
                <c:pt idx="2877">
                  <c:v>0.64381520119225</c:v>
                </c:pt>
                <c:pt idx="2878">
                  <c:v>0.64387464387464399</c:v>
                </c:pt>
                <c:pt idx="2879">
                  <c:v>0.64388243335611794</c:v>
                </c:pt>
                <c:pt idx="2880">
                  <c:v>0.64389233954451297</c:v>
                </c:pt>
                <c:pt idx="2881">
                  <c:v>0.64393939393939403</c:v>
                </c:pt>
                <c:pt idx="2882">
                  <c:v>0.64395886889460097</c:v>
                </c:pt>
                <c:pt idx="2883">
                  <c:v>0.64396284829721395</c:v>
                </c:pt>
                <c:pt idx="2884">
                  <c:v>0.64397905759162299</c:v>
                </c:pt>
                <c:pt idx="2885">
                  <c:v>0.64417989417989396</c:v>
                </c:pt>
                <c:pt idx="2886">
                  <c:v>0.64423076923076905</c:v>
                </c:pt>
                <c:pt idx="2887">
                  <c:v>0.644295302013423</c:v>
                </c:pt>
                <c:pt idx="2888">
                  <c:v>0.644295302013423</c:v>
                </c:pt>
                <c:pt idx="2889">
                  <c:v>0.64434574649812104</c:v>
                </c:pt>
                <c:pt idx="2890">
                  <c:v>0.64435146443514602</c:v>
                </c:pt>
                <c:pt idx="2891">
                  <c:v>0.64444444444444404</c:v>
                </c:pt>
                <c:pt idx="2892">
                  <c:v>0.64446952595936802</c:v>
                </c:pt>
                <c:pt idx="2893">
                  <c:v>0.64453524004085805</c:v>
                </c:pt>
                <c:pt idx="2894">
                  <c:v>0.64462809917355401</c:v>
                </c:pt>
                <c:pt idx="2895">
                  <c:v>0.64464285714285696</c:v>
                </c:pt>
                <c:pt idx="2896">
                  <c:v>0.644817073170732</c:v>
                </c:pt>
                <c:pt idx="2897">
                  <c:v>0.644859813084112</c:v>
                </c:pt>
                <c:pt idx="2898">
                  <c:v>0.64492753623188404</c:v>
                </c:pt>
                <c:pt idx="2899">
                  <c:v>0.64494382022471897</c:v>
                </c:pt>
                <c:pt idx="2900">
                  <c:v>0.64497716894977197</c:v>
                </c:pt>
                <c:pt idx="2901">
                  <c:v>0.64516129032258096</c:v>
                </c:pt>
                <c:pt idx="2902">
                  <c:v>0.64533333333333298</c:v>
                </c:pt>
                <c:pt idx="2903">
                  <c:v>0.64534883720930203</c:v>
                </c:pt>
                <c:pt idx="2904">
                  <c:v>0.64536082474226797</c:v>
                </c:pt>
                <c:pt idx="2905">
                  <c:v>0.64539007092198597</c:v>
                </c:pt>
                <c:pt idx="2906">
                  <c:v>0.64539521392313304</c:v>
                </c:pt>
                <c:pt idx="2907">
                  <c:v>0.64540495174150203</c:v>
                </c:pt>
                <c:pt idx="2908">
                  <c:v>0.64542936288088604</c:v>
                </c:pt>
                <c:pt idx="2909">
                  <c:v>0.64543663821405095</c:v>
                </c:pt>
                <c:pt idx="2910">
                  <c:v>0.64550264550264502</c:v>
                </c:pt>
                <c:pt idx="2911">
                  <c:v>0.64551724137930999</c:v>
                </c:pt>
                <c:pt idx="2912">
                  <c:v>0.64558184451955603</c:v>
                </c:pt>
                <c:pt idx="2913">
                  <c:v>0.64562118126272905</c:v>
                </c:pt>
                <c:pt idx="2914">
                  <c:v>0.64564007421150305</c:v>
                </c:pt>
                <c:pt idx="2915">
                  <c:v>0.64566929133858297</c:v>
                </c:pt>
                <c:pt idx="2916">
                  <c:v>0.64570230607966494</c:v>
                </c:pt>
                <c:pt idx="2917">
                  <c:v>0.64571428571428602</c:v>
                </c:pt>
                <c:pt idx="2918">
                  <c:v>0.645756457564576</c:v>
                </c:pt>
                <c:pt idx="2919">
                  <c:v>0.64578005115089498</c:v>
                </c:pt>
                <c:pt idx="2920">
                  <c:v>0.64583333333333304</c:v>
                </c:pt>
                <c:pt idx="2921">
                  <c:v>0.64583333333333304</c:v>
                </c:pt>
                <c:pt idx="2922">
                  <c:v>0.64583333333333304</c:v>
                </c:pt>
                <c:pt idx="2923">
                  <c:v>0.64589235127478695</c:v>
                </c:pt>
                <c:pt idx="2924">
                  <c:v>0.645951035781544</c:v>
                </c:pt>
                <c:pt idx="2925">
                  <c:v>0.64596273291925499</c:v>
                </c:pt>
                <c:pt idx="2926">
                  <c:v>0.64600715137067899</c:v>
                </c:pt>
                <c:pt idx="2927">
                  <c:v>0.64603365384615397</c:v>
                </c:pt>
                <c:pt idx="2928">
                  <c:v>0.64605137963843995</c:v>
                </c:pt>
                <c:pt idx="2929">
                  <c:v>0.64607097591888496</c:v>
                </c:pt>
                <c:pt idx="2930">
                  <c:v>0.64608294930875598</c:v>
                </c:pt>
                <c:pt idx="2931">
                  <c:v>0.64620938628158797</c:v>
                </c:pt>
                <c:pt idx="2932">
                  <c:v>0.64620938628158797</c:v>
                </c:pt>
                <c:pt idx="2933">
                  <c:v>0.64625850340136004</c:v>
                </c:pt>
                <c:pt idx="2934">
                  <c:v>0.64625850340136004</c:v>
                </c:pt>
                <c:pt idx="2935">
                  <c:v>0.64643799472295504</c:v>
                </c:pt>
                <c:pt idx="2936">
                  <c:v>0.64646464646464596</c:v>
                </c:pt>
                <c:pt idx="2937">
                  <c:v>0.64646464646464596</c:v>
                </c:pt>
                <c:pt idx="2938">
                  <c:v>0.64665127020785196</c:v>
                </c:pt>
                <c:pt idx="2939">
                  <c:v>0.64670658682634696</c:v>
                </c:pt>
                <c:pt idx="2940">
                  <c:v>0.64676616915422902</c:v>
                </c:pt>
                <c:pt idx="2941">
                  <c:v>0.64685714285714302</c:v>
                </c:pt>
                <c:pt idx="2942">
                  <c:v>0.64685908319185004</c:v>
                </c:pt>
                <c:pt idx="2943">
                  <c:v>0.64686468646864703</c:v>
                </c:pt>
                <c:pt idx="2944">
                  <c:v>0.64689265536723195</c:v>
                </c:pt>
                <c:pt idx="2945">
                  <c:v>0.64694082246740203</c:v>
                </c:pt>
                <c:pt idx="2946">
                  <c:v>0.64696853415195699</c:v>
                </c:pt>
                <c:pt idx="2947">
                  <c:v>0.64705882352941202</c:v>
                </c:pt>
                <c:pt idx="2948">
                  <c:v>0.64705882352941202</c:v>
                </c:pt>
                <c:pt idx="2949">
                  <c:v>0.64716312056737602</c:v>
                </c:pt>
                <c:pt idx="2950">
                  <c:v>0.64719358533791504</c:v>
                </c:pt>
                <c:pt idx="2951">
                  <c:v>0.64724919093851097</c:v>
                </c:pt>
                <c:pt idx="2952">
                  <c:v>0.647272727272727</c:v>
                </c:pt>
                <c:pt idx="2953">
                  <c:v>0.64727954971857404</c:v>
                </c:pt>
                <c:pt idx="2954">
                  <c:v>0.64730290456431505</c:v>
                </c:pt>
                <c:pt idx="2955">
                  <c:v>0.64733542319749204</c:v>
                </c:pt>
                <c:pt idx="2956">
                  <c:v>0.64736842105263104</c:v>
                </c:pt>
                <c:pt idx="2957">
                  <c:v>0.64740740740740699</c:v>
                </c:pt>
                <c:pt idx="2958">
                  <c:v>0.64754098360655699</c:v>
                </c:pt>
                <c:pt idx="2959">
                  <c:v>0.64754098360655699</c:v>
                </c:pt>
                <c:pt idx="2960">
                  <c:v>0.64767932489451496</c:v>
                </c:pt>
                <c:pt idx="2961">
                  <c:v>0.64772054470100604</c:v>
                </c:pt>
                <c:pt idx="2962">
                  <c:v>0.64772727272727304</c:v>
                </c:pt>
                <c:pt idx="2963">
                  <c:v>0.64775413711583896</c:v>
                </c:pt>
                <c:pt idx="2964">
                  <c:v>0.64801444043321299</c:v>
                </c:pt>
                <c:pt idx="2965">
                  <c:v>0.64806866952789699</c:v>
                </c:pt>
                <c:pt idx="2966">
                  <c:v>0.64809384164222905</c:v>
                </c:pt>
                <c:pt idx="2967">
                  <c:v>0.64810690423162598</c:v>
                </c:pt>
                <c:pt idx="2968">
                  <c:v>0.64814814814814803</c:v>
                </c:pt>
                <c:pt idx="2969">
                  <c:v>0.64814814814814803</c:v>
                </c:pt>
                <c:pt idx="2970">
                  <c:v>0.64818024263431495</c:v>
                </c:pt>
                <c:pt idx="2971">
                  <c:v>0.64820143884892101</c:v>
                </c:pt>
                <c:pt idx="2972">
                  <c:v>0.64824120603015101</c:v>
                </c:pt>
                <c:pt idx="2973">
                  <c:v>0.64827586206896504</c:v>
                </c:pt>
                <c:pt idx="2974">
                  <c:v>0.64830508474576298</c:v>
                </c:pt>
                <c:pt idx="2975">
                  <c:v>0.64831804281345595</c:v>
                </c:pt>
                <c:pt idx="2976">
                  <c:v>0.64834123222748796</c:v>
                </c:pt>
                <c:pt idx="2977">
                  <c:v>0.64835858585858597</c:v>
                </c:pt>
                <c:pt idx="2978">
                  <c:v>0.64836325237592396</c:v>
                </c:pt>
                <c:pt idx="2979">
                  <c:v>0.64840989399293303</c:v>
                </c:pt>
                <c:pt idx="2980">
                  <c:v>0.64841498559077804</c:v>
                </c:pt>
                <c:pt idx="2981">
                  <c:v>0.64841498559077804</c:v>
                </c:pt>
                <c:pt idx="2982">
                  <c:v>0.64841498559077804</c:v>
                </c:pt>
                <c:pt idx="2983">
                  <c:v>0.6484375</c:v>
                </c:pt>
                <c:pt idx="2984">
                  <c:v>0.64856230031948903</c:v>
                </c:pt>
                <c:pt idx="2985">
                  <c:v>0.64857142857142802</c:v>
                </c:pt>
                <c:pt idx="2986">
                  <c:v>0.64857881136950901</c:v>
                </c:pt>
                <c:pt idx="2987">
                  <c:v>0.64859437751004001</c:v>
                </c:pt>
                <c:pt idx="2988">
                  <c:v>0.64864864864864902</c:v>
                </c:pt>
                <c:pt idx="2989">
                  <c:v>0.64869281045751603</c:v>
                </c:pt>
                <c:pt idx="2990">
                  <c:v>0.648745519713262</c:v>
                </c:pt>
                <c:pt idx="2991">
                  <c:v>0.64891304347826095</c:v>
                </c:pt>
                <c:pt idx="2992">
                  <c:v>0.64893617021276595</c:v>
                </c:pt>
                <c:pt idx="2993">
                  <c:v>0.64893617021276595</c:v>
                </c:pt>
                <c:pt idx="2994">
                  <c:v>0.64896073903002305</c:v>
                </c:pt>
                <c:pt idx="2995">
                  <c:v>0.64918497519489704</c:v>
                </c:pt>
                <c:pt idx="2996">
                  <c:v>0.64925373134328301</c:v>
                </c:pt>
                <c:pt idx="2997">
                  <c:v>0.64928909952606595</c:v>
                </c:pt>
                <c:pt idx="2998">
                  <c:v>0.64930555555555503</c:v>
                </c:pt>
                <c:pt idx="2999">
                  <c:v>0.64935064935064901</c:v>
                </c:pt>
                <c:pt idx="3000">
                  <c:v>0.64935064935064901</c:v>
                </c:pt>
                <c:pt idx="3001">
                  <c:v>0.64937993235625702</c:v>
                </c:pt>
                <c:pt idx="3002">
                  <c:v>0.64942528735632199</c:v>
                </c:pt>
                <c:pt idx="3003">
                  <c:v>0.64942528735632199</c:v>
                </c:pt>
                <c:pt idx="3004">
                  <c:v>0.64942528735632199</c:v>
                </c:pt>
                <c:pt idx="3005">
                  <c:v>0.64947089947089898</c:v>
                </c:pt>
                <c:pt idx="3006">
                  <c:v>0.64954682779456197</c:v>
                </c:pt>
                <c:pt idx="3007">
                  <c:v>0.64957264957264904</c:v>
                </c:pt>
                <c:pt idx="3008">
                  <c:v>0.64968152866242002</c:v>
                </c:pt>
                <c:pt idx="3009">
                  <c:v>0.64975845410627997</c:v>
                </c:pt>
                <c:pt idx="3010">
                  <c:v>0.64975845410627997</c:v>
                </c:pt>
                <c:pt idx="3011">
                  <c:v>0.64976958525345596</c:v>
                </c:pt>
                <c:pt idx="3012">
                  <c:v>0.64981036662452596</c:v>
                </c:pt>
                <c:pt idx="3013">
                  <c:v>0.64984227129337502</c:v>
                </c:pt>
                <c:pt idx="3014">
                  <c:v>0.64985163204747798</c:v>
                </c:pt>
                <c:pt idx="3015">
                  <c:v>0.64985994397759095</c:v>
                </c:pt>
                <c:pt idx="3016">
                  <c:v>0.64994298745724</c:v>
                </c:pt>
                <c:pt idx="3017">
                  <c:v>0.65</c:v>
                </c:pt>
                <c:pt idx="3018">
                  <c:v>0.65</c:v>
                </c:pt>
                <c:pt idx="3019">
                  <c:v>0.65</c:v>
                </c:pt>
                <c:pt idx="3020">
                  <c:v>0.65012886597938102</c:v>
                </c:pt>
                <c:pt idx="3021">
                  <c:v>0.65013774104683197</c:v>
                </c:pt>
                <c:pt idx="3022">
                  <c:v>0.65013966480446905</c:v>
                </c:pt>
                <c:pt idx="3023">
                  <c:v>0.65014577259475204</c:v>
                </c:pt>
                <c:pt idx="3024">
                  <c:v>0.65020297699593999</c:v>
                </c:pt>
                <c:pt idx="3025">
                  <c:v>0.65020576131687202</c:v>
                </c:pt>
                <c:pt idx="3026">
                  <c:v>0.65034965034964998</c:v>
                </c:pt>
                <c:pt idx="3027">
                  <c:v>0.65037593984962405</c:v>
                </c:pt>
                <c:pt idx="3028">
                  <c:v>0.65040650406504097</c:v>
                </c:pt>
                <c:pt idx="3029">
                  <c:v>0.65040650406504097</c:v>
                </c:pt>
                <c:pt idx="3030">
                  <c:v>0.65040650406504097</c:v>
                </c:pt>
                <c:pt idx="3031">
                  <c:v>0.65044247787610598</c:v>
                </c:pt>
                <c:pt idx="3032">
                  <c:v>0.65047021943573702</c:v>
                </c:pt>
                <c:pt idx="3033">
                  <c:v>0.65048543689320404</c:v>
                </c:pt>
                <c:pt idx="3034">
                  <c:v>0.65053322395406099</c:v>
                </c:pt>
                <c:pt idx="3035">
                  <c:v>0.65055762081784396</c:v>
                </c:pt>
                <c:pt idx="3036">
                  <c:v>0.65056818181818199</c:v>
                </c:pt>
                <c:pt idx="3037">
                  <c:v>0.65056818181818199</c:v>
                </c:pt>
                <c:pt idx="3038">
                  <c:v>0.65059445178335495</c:v>
                </c:pt>
                <c:pt idx="3039">
                  <c:v>0.65061633281972298</c:v>
                </c:pt>
                <c:pt idx="3040">
                  <c:v>0.65061898211829405</c:v>
                </c:pt>
                <c:pt idx="3041">
                  <c:v>0.65066225165562896</c:v>
                </c:pt>
                <c:pt idx="3042">
                  <c:v>0.65071770334928203</c:v>
                </c:pt>
                <c:pt idx="3043">
                  <c:v>0.65073041168658696</c:v>
                </c:pt>
                <c:pt idx="3044">
                  <c:v>0.65079365079365104</c:v>
                </c:pt>
                <c:pt idx="3045">
                  <c:v>0.65085511455308198</c:v>
                </c:pt>
                <c:pt idx="3046">
                  <c:v>0.65089877010406805</c:v>
                </c:pt>
                <c:pt idx="3047">
                  <c:v>0.65098634294385405</c:v>
                </c:pt>
                <c:pt idx="3048">
                  <c:v>0.65100671140939603</c:v>
                </c:pt>
                <c:pt idx="3049">
                  <c:v>0.65115034777956105</c:v>
                </c:pt>
                <c:pt idx="3050">
                  <c:v>0.65116279069767402</c:v>
                </c:pt>
                <c:pt idx="3051">
                  <c:v>0.65116279069767402</c:v>
                </c:pt>
                <c:pt idx="3052">
                  <c:v>0.65116279069767402</c:v>
                </c:pt>
                <c:pt idx="3053">
                  <c:v>0.65123456790123402</c:v>
                </c:pt>
                <c:pt idx="3054">
                  <c:v>0.65124555160142295</c:v>
                </c:pt>
                <c:pt idx="3055">
                  <c:v>0.65136054421768697</c:v>
                </c:pt>
                <c:pt idx="3056">
                  <c:v>0.65140845070422504</c:v>
                </c:pt>
                <c:pt idx="3057">
                  <c:v>0.65141113653699501</c:v>
                </c:pt>
                <c:pt idx="3058">
                  <c:v>0.65142857142857102</c:v>
                </c:pt>
                <c:pt idx="3059">
                  <c:v>0.65145228215767603</c:v>
                </c:pt>
                <c:pt idx="3060">
                  <c:v>0.65151515151515105</c:v>
                </c:pt>
                <c:pt idx="3061">
                  <c:v>0.65157750342935505</c:v>
                </c:pt>
                <c:pt idx="3062">
                  <c:v>0.65159128978224401</c:v>
                </c:pt>
                <c:pt idx="3063">
                  <c:v>0.65161290322580601</c:v>
                </c:pt>
                <c:pt idx="3064">
                  <c:v>0.651685393258427</c:v>
                </c:pt>
                <c:pt idx="3065">
                  <c:v>0.65175718849840203</c:v>
                </c:pt>
                <c:pt idx="3066">
                  <c:v>0.65177195685670297</c:v>
                </c:pt>
                <c:pt idx="3067">
                  <c:v>0.65178571428571397</c:v>
                </c:pt>
                <c:pt idx="3068">
                  <c:v>0.65182829888712202</c:v>
                </c:pt>
                <c:pt idx="3069">
                  <c:v>0.65189466923571004</c:v>
                </c:pt>
                <c:pt idx="3070">
                  <c:v>0.651904340124003</c:v>
                </c:pt>
                <c:pt idx="3071">
                  <c:v>0.651913875598086</c:v>
                </c:pt>
                <c:pt idx="3072">
                  <c:v>0.65196078431372495</c:v>
                </c:pt>
                <c:pt idx="3073">
                  <c:v>0.65201465201465203</c:v>
                </c:pt>
                <c:pt idx="3074">
                  <c:v>0.65217391304347805</c:v>
                </c:pt>
                <c:pt idx="3075">
                  <c:v>0.65217391304347805</c:v>
                </c:pt>
                <c:pt idx="3076">
                  <c:v>0.65217391304347805</c:v>
                </c:pt>
                <c:pt idx="3077">
                  <c:v>0.65217391304347805</c:v>
                </c:pt>
                <c:pt idx="3078">
                  <c:v>0.65217391304347805</c:v>
                </c:pt>
                <c:pt idx="3079">
                  <c:v>0.65221318879855505</c:v>
                </c:pt>
                <c:pt idx="3080">
                  <c:v>0.65229885057471204</c:v>
                </c:pt>
                <c:pt idx="3081">
                  <c:v>0.65238095238095195</c:v>
                </c:pt>
                <c:pt idx="3082">
                  <c:v>0.65240641711229896</c:v>
                </c:pt>
                <c:pt idx="3083">
                  <c:v>0.65240641711229896</c:v>
                </c:pt>
                <c:pt idx="3084">
                  <c:v>0.65242165242165195</c:v>
                </c:pt>
                <c:pt idx="3085">
                  <c:v>0.65243902439024404</c:v>
                </c:pt>
                <c:pt idx="3086">
                  <c:v>0.65250965250965198</c:v>
                </c:pt>
                <c:pt idx="3087">
                  <c:v>0.65254237288135597</c:v>
                </c:pt>
                <c:pt idx="3088">
                  <c:v>0.65258215962441302</c:v>
                </c:pt>
                <c:pt idx="3089">
                  <c:v>0.65259117082533602</c:v>
                </c:pt>
                <c:pt idx="3090">
                  <c:v>0.65263157894736801</c:v>
                </c:pt>
                <c:pt idx="3091">
                  <c:v>0.65265760197775002</c:v>
                </c:pt>
                <c:pt idx="3092">
                  <c:v>0.65271317829457398</c:v>
                </c:pt>
                <c:pt idx="3093">
                  <c:v>0.65275459098497501</c:v>
                </c:pt>
                <c:pt idx="3094">
                  <c:v>0.65277777777777801</c:v>
                </c:pt>
                <c:pt idx="3095">
                  <c:v>0.65280289330922203</c:v>
                </c:pt>
                <c:pt idx="3096">
                  <c:v>0.65296803652968005</c:v>
                </c:pt>
                <c:pt idx="3097">
                  <c:v>0.65298507462686595</c:v>
                </c:pt>
                <c:pt idx="3098">
                  <c:v>0.65298507462686595</c:v>
                </c:pt>
                <c:pt idx="3099">
                  <c:v>0.65306122448979598</c:v>
                </c:pt>
                <c:pt idx="3100">
                  <c:v>0.65306122448979598</c:v>
                </c:pt>
                <c:pt idx="3101">
                  <c:v>0.65306122448979598</c:v>
                </c:pt>
                <c:pt idx="3102">
                  <c:v>0.65306122448979598</c:v>
                </c:pt>
                <c:pt idx="3103">
                  <c:v>0.65309200603318196</c:v>
                </c:pt>
                <c:pt idx="3104">
                  <c:v>0.65322580645161299</c:v>
                </c:pt>
                <c:pt idx="3105">
                  <c:v>0.65326633165829096</c:v>
                </c:pt>
                <c:pt idx="3106">
                  <c:v>0.653306613226453</c:v>
                </c:pt>
                <c:pt idx="3107">
                  <c:v>0.65333333333333299</c:v>
                </c:pt>
                <c:pt idx="3108">
                  <c:v>0.65333333333333299</c:v>
                </c:pt>
                <c:pt idx="3109">
                  <c:v>0.65334717176959001</c:v>
                </c:pt>
                <c:pt idx="3110">
                  <c:v>0.65340179717586599</c:v>
                </c:pt>
                <c:pt idx="3111">
                  <c:v>0.65353159851301101</c:v>
                </c:pt>
                <c:pt idx="3112">
                  <c:v>0.65373961218836596</c:v>
                </c:pt>
                <c:pt idx="3113">
                  <c:v>0.65382262996941898</c:v>
                </c:pt>
                <c:pt idx="3114">
                  <c:v>0.65384615384615397</c:v>
                </c:pt>
                <c:pt idx="3115">
                  <c:v>0.65384615384615397</c:v>
                </c:pt>
                <c:pt idx="3116">
                  <c:v>0.65384615384615397</c:v>
                </c:pt>
                <c:pt idx="3117">
                  <c:v>0.65393258426966305</c:v>
                </c:pt>
                <c:pt idx="3118">
                  <c:v>0.653954802259887</c:v>
                </c:pt>
                <c:pt idx="3119">
                  <c:v>0.65402843601895699</c:v>
                </c:pt>
                <c:pt idx="3120">
                  <c:v>0.65402843601895699</c:v>
                </c:pt>
                <c:pt idx="3121">
                  <c:v>0.654066437571592</c:v>
                </c:pt>
                <c:pt idx="3122">
                  <c:v>0.65410958904109595</c:v>
                </c:pt>
                <c:pt idx="3123">
                  <c:v>0.654161781946073</c:v>
                </c:pt>
                <c:pt idx="3124">
                  <c:v>0.65416666666666701</c:v>
                </c:pt>
                <c:pt idx="3125">
                  <c:v>0.65416666666666701</c:v>
                </c:pt>
                <c:pt idx="3126">
                  <c:v>0.65417867435158505</c:v>
                </c:pt>
                <c:pt idx="3127">
                  <c:v>0.65420560747663503</c:v>
                </c:pt>
                <c:pt idx="3128">
                  <c:v>0.65424430641821896</c:v>
                </c:pt>
                <c:pt idx="3129">
                  <c:v>0.65425531914893598</c:v>
                </c:pt>
                <c:pt idx="3130">
                  <c:v>0.65432098765432101</c:v>
                </c:pt>
                <c:pt idx="3131">
                  <c:v>0.65432098765432101</c:v>
                </c:pt>
                <c:pt idx="3132">
                  <c:v>0.65432098765432101</c:v>
                </c:pt>
                <c:pt idx="3133">
                  <c:v>0.65441176470588203</c:v>
                </c:pt>
                <c:pt idx="3134">
                  <c:v>0.65445026178010501</c:v>
                </c:pt>
                <c:pt idx="3135">
                  <c:v>0.654485049833887</c:v>
                </c:pt>
                <c:pt idx="3136">
                  <c:v>0.65454545454545399</c:v>
                </c:pt>
                <c:pt idx="3137">
                  <c:v>0.65454545454545399</c:v>
                </c:pt>
                <c:pt idx="3138">
                  <c:v>0.65454545454545399</c:v>
                </c:pt>
                <c:pt idx="3139">
                  <c:v>0.65454545454545399</c:v>
                </c:pt>
                <c:pt idx="3140">
                  <c:v>0.65461847389558203</c:v>
                </c:pt>
                <c:pt idx="3141">
                  <c:v>0.65464770095931202</c:v>
                </c:pt>
                <c:pt idx="3142">
                  <c:v>0.65465669612508504</c:v>
                </c:pt>
                <c:pt idx="3143">
                  <c:v>0.65466101694915202</c:v>
                </c:pt>
                <c:pt idx="3144">
                  <c:v>0.65472695243687595</c:v>
                </c:pt>
                <c:pt idx="3145">
                  <c:v>0.65476190476190499</c:v>
                </c:pt>
                <c:pt idx="3146">
                  <c:v>0.65478119935170198</c:v>
                </c:pt>
                <c:pt idx="3147">
                  <c:v>0.65492957746478897</c:v>
                </c:pt>
                <c:pt idx="3148">
                  <c:v>0.65493646138807404</c:v>
                </c:pt>
                <c:pt idx="3149">
                  <c:v>0.65510948905109501</c:v>
                </c:pt>
                <c:pt idx="3150">
                  <c:v>0.65517241379310298</c:v>
                </c:pt>
                <c:pt idx="3151">
                  <c:v>0.65517241379310298</c:v>
                </c:pt>
                <c:pt idx="3152">
                  <c:v>0.65517241379310298</c:v>
                </c:pt>
                <c:pt idx="3153">
                  <c:v>0.65517241379310298</c:v>
                </c:pt>
                <c:pt idx="3154">
                  <c:v>0.65534804753819997</c:v>
                </c:pt>
                <c:pt idx="3155">
                  <c:v>0.65536723163841804</c:v>
                </c:pt>
                <c:pt idx="3156">
                  <c:v>0.65545493747304895</c:v>
                </c:pt>
                <c:pt idx="3157">
                  <c:v>0.65546218487394903</c:v>
                </c:pt>
                <c:pt idx="3158">
                  <c:v>0.65548780487804903</c:v>
                </c:pt>
                <c:pt idx="3159">
                  <c:v>0.65551839464882899</c:v>
                </c:pt>
                <c:pt idx="3160">
                  <c:v>0.65564738292011004</c:v>
                </c:pt>
                <c:pt idx="3161">
                  <c:v>0.65569347004857004</c:v>
                </c:pt>
                <c:pt idx="3162">
                  <c:v>0.65571975916803504</c:v>
                </c:pt>
                <c:pt idx="3163">
                  <c:v>0.65573770491803296</c:v>
                </c:pt>
                <c:pt idx="3164">
                  <c:v>0.65577596266044302</c:v>
                </c:pt>
                <c:pt idx="3165">
                  <c:v>0.65578635014836795</c:v>
                </c:pt>
                <c:pt idx="3166">
                  <c:v>0.65579878900791799</c:v>
                </c:pt>
                <c:pt idx="3167">
                  <c:v>0.65580541532813197</c:v>
                </c:pt>
                <c:pt idx="3168">
                  <c:v>0.65584415584415601</c:v>
                </c:pt>
                <c:pt idx="3169">
                  <c:v>0.65591397849462396</c:v>
                </c:pt>
                <c:pt idx="3170">
                  <c:v>0.65591397849462396</c:v>
                </c:pt>
                <c:pt idx="3171">
                  <c:v>0.65594855305466204</c:v>
                </c:pt>
                <c:pt idx="3172">
                  <c:v>0.65594855305466204</c:v>
                </c:pt>
                <c:pt idx="3173">
                  <c:v>0.65600000000000003</c:v>
                </c:pt>
                <c:pt idx="3174">
                  <c:v>0.65605095541401304</c:v>
                </c:pt>
                <c:pt idx="3175">
                  <c:v>0.65610142630744805</c:v>
                </c:pt>
                <c:pt idx="3176">
                  <c:v>0.65610859728506798</c:v>
                </c:pt>
                <c:pt idx="3177">
                  <c:v>0.65620094191522704</c:v>
                </c:pt>
                <c:pt idx="3178">
                  <c:v>0.65625</c:v>
                </c:pt>
                <c:pt idx="3179">
                  <c:v>0.65625</c:v>
                </c:pt>
                <c:pt idx="3180">
                  <c:v>0.65631469979296098</c:v>
                </c:pt>
                <c:pt idx="3181">
                  <c:v>0.65631691648822299</c:v>
                </c:pt>
                <c:pt idx="3182">
                  <c:v>0.65639269406392697</c:v>
                </c:pt>
                <c:pt idx="3183">
                  <c:v>0.65641025641025597</c:v>
                </c:pt>
                <c:pt idx="3184">
                  <c:v>0.65642458100558598</c:v>
                </c:pt>
                <c:pt idx="3185">
                  <c:v>0.65659340659340604</c:v>
                </c:pt>
                <c:pt idx="3186">
                  <c:v>0.656626506024096</c:v>
                </c:pt>
                <c:pt idx="3187">
                  <c:v>0.65671641791044799</c:v>
                </c:pt>
                <c:pt idx="3188">
                  <c:v>0.65674334686513303</c:v>
                </c:pt>
                <c:pt idx="3189">
                  <c:v>0.65683646112600502</c:v>
                </c:pt>
                <c:pt idx="3190">
                  <c:v>0.65691056910569101</c:v>
                </c:pt>
                <c:pt idx="3191">
                  <c:v>0.65695792880258896</c:v>
                </c:pt>
                <c:pt idx="3192">
                  <c:v>0.65703971119133597</c:v>
                </c:pt>
                <c:pt idx="3193">
                  <c:v>0.65705128205128205</c:v>
                </c:pt>
                <c:pt idx="3194">
                  <c:v>0.65708418891170395</c:v>
                </c:pt>
                <c:pt idx="3195">
                  <c:v>0.65714285714285703</c:v>
                </c:pt>
                <c:pt idx="3196">
                  <c:v>0.65716547901821099</c:v>
                </c:pt>
                <c:pt idx="3197">
                  <c:v>0.65718067504963595</c:v>
                </c:pt>
                <c:pt idx="3198">
                  <c:v>0.65721040189125302</c:v>
                </c:pt>
                <c:pt idx="3199">
                  <c:v>0.65721040189125302</c:v>
                </c:pt>
                <c:pt idx="3200">
                  <c:v>0.65723270440251602</c:v>
                </c:pt>
                <c:pt idx="3201">
                  <c:v>0.65726375176304597</c:v>
                </c:pt>
                <c:pt idx="3202">
                  <c:v>0.65727699530516404</c:v>
                </c:pt>
                <c:pt idx="3203">
                  <c:v>0.65730337078651702</c:v>
                </c:pt>
                <c:pt idx="3204">
                  <c:v>0.65734265734265696</c:v>
                </c:pt>
                <c:pt idx="3205">
                  <c:v>0.65736434108527098</c:v>
                </c:pt>
                <c:pt idx="3206">
                  <c:v>0.65737051792828705</c:v>
                </c:pt>
                <c:pt idx="3207">
                  <c:v>0.657407407407407</c:v>
                </c:pt>
                <c:pt idx="3208">
                  <c:v>0.65743944636678198</c:v>
                </c:pt>
                <c:pt idx="3209">
                  <c:v>0.65753424657534199</c:v>
                </c:pt>
                <c:pt idx="3210">
                  <c:v>0.65757575757575704</c:v>
                </c:pt>
                <c:pt idx="3211">
                  <c:v>0.65765765765765805</c:v>
                </c:pt>
                <c:pt idx="3212">
                  <c:v>0.65771812080536896</c:v>
                </c:pt>
                <c:pt idx="3213">
                  <c:v>0.65785381026438605</c:v>
                </c:pt>
                <c:pt idx="3214">
                  <c:v>0.65791393143690702</c:v>
                </c:pt>
                <c:pt idx="3215">
                  <c:v>0.65792431622330505</c:v>
                </c:pt>
                <c:pt idx="3216">
                  <c:v>0.65794392523364498</c:v>
                </c:pt>
                <c:pt idx="3217">
                  <c:v>0.65803108808290101</c:v>
                </c:pt>
                <c:pt idx="3218">
                  <c:v>0.658119658119658</c:v>
                </c:pt>
                <c:pt idx="3219">
                  <c:v>0.658119658119658</c:v>
                </c:pt>
                <c:pt idx="3220">
                  <c:v>0.658137882018479</c:v>
                </c:pt>
                <c:pt idx="3221">
                  <c:v>0.65816326530612201</c:v>
                </c:pt>
                <c:pt idx="3222">
                  <c:v>0.65827338129496404</c:v>
                </c:pt>
                <c:pt idx="3223">
                  <c:v>0.65836298932384296</c:v>
                </c:pt>
                <c:pt idx="3224">
                  <c:v>0.658371040723982</c:v>
                </c:pt>
                <c:pt idx="3225">
                  <c:v>0.65843023255813904</c:v>
                </c:pt>
                <c:pt idx="3226">
                  <c:v>0.65843621399176899</c:v>
                </c:pt>
                <c:pt idx="3227">
                  <c:v>0.65845464725643899</c:v>
                </c:pt>
                <c:pt idx="3228">
                  <c:v>0.65848871442590795</c:v>
                </c:pt>
                <c:pt idx="3229">
                  <c:v>0.65849056603773604</c:v>
                </c:pt>
                <c:pt idx="3230">
                  <c:v>0.65853658536585402</c:v>
                </c:pt>
                <c:pt idx="3231">
                  <c:v>0.65853658536585402</c:v>
                </c:pt>
                <c:pt idx="3232">
                  <c:v>0.65853658536585402</c:v>
                </c:pt>
                <c:pt idx="3233">
                  <c:v>0.65865384615384603</c:v>
                </c:pt>
                <c:pt idx="3234">
                  <c:v>0.65865782932891503</c:v>
                </c:pt>
                <c:pt idx="3235">
                  <c:v>0.65876777251184804</c:v>
                </c:pt>
                <c:pt idx="3236">
                  <c:v>0.65889212827988297</c:v>
                </c:pt>
                <c:pt idx="3237">
                  <c:v>0.65891472868217005</c:v>
                </c:pt>
                <c:pt idx="3238">
                  <c:v>0.65893271461716896</c:v>
                </c:pt>
                <c:pt idx="3239">
                  <c:v>0.65893271461716896</c:v>
                </c:pt>
                <c:pt idx="3240">
                  <c:v>0.65894039735099297</c:v>
                </c:pt>
                <c:pt idx="3241">
                  <c:v>0.65899501342539302</c:v>
                </c:pt>
                <c:pt idx="3242">
                  <c:v>0.65902578796561595</c:v>
                </c:pt>
                <c:pt idx="3243">
                  <c:v>0.65909090909090895</c:v>
                </c:pt>
                <c:pt idx="3244">
                  <c:v>0.65909090909090895</c:v>
                </c:pt>
                <c:pt idx="3245">
                  <c:v>0.65913370998116805</c:v>
                </c:pt>
                <c:pt idx="3246">
                  <c:v>0.65914489311163904</c:v>
                </c:pt>
                <c:pt idx="3247">
                  <c:v>0.65922920892494896</c:v>
                </c:pt>
                <c:pt idx="3248">
                  <c:v>0.65923344947735196</c:v>
                </c:pt>
                <c:pt idx="3249">
                  <c:v>0.659340659340659</c:v>
                </c:pt>
                <c:pt idx="3250">
                  <c:v>0.65935672514619903</c:v>
                </c:pt>
                <c:pt idx="3251">
                  <c:v>0.65935919055649195</c:v>
                </c:pt>
                <c:pt idx="3252">
                  <c:v>0.65937072503420002</c:v>
                </c:pt>
                <c:pt idx="3253">
                  <c:v>0.65940054495912803</c:v>
                </c:pt>
                <c:pt idx="3254">
                  <c:v>0.65942536790469497</c:v>
                </c:pt>
                <c:pt idx="3255">
                  <c:v>0.659498207885305</c:v>
                </c:pt>
                <c:pt idx="3256">
                  <c:v>0.65953307392996097</c:v>
                </c:pt>
                <c:pt idx="3257">
                  <c:v>0.65968586387434502</c:v>
                </c:pt>
                <c:pt idx="3258">
                  <c:v>0.65972720746590097</c:v>
                </c:pt>
                <c:pt idx="3259">
                  <c:v>0.65975103734439799</c:v>
                </c:pt>
                <c:pt idx="3260">
                  <c:v>0.659773182121414</c:v>
                </c:pt>
                <c:pt idx="3261">
                  <c:v>0.65995975855130795</c:v>
                </c:pt>
                <c:pt idx="3262">
                  <c:v>0.65996649916247896</c:v>
                </c:pt>
                <c:pt idx="3263">
                  <c:v>0.65996649916247896</c:v>
                </c:pt>
                <c:pt idx="3264">
                  <c:v>0.65997229916897504</c:v>
                </c:pt>
                <c:pt idx="3265">
                  <c:v>0.65997322623828603</c:v>
                </c:pt>
                <c:pt idx="3266">
                  <c:v>0.66007653061224503</c:v>
                </c:pt>
                <c:pt idx="3267">
                  <c:v>0.66007905138339895</c:v>
                </c:pt>
                <c:pt idx="3268">
                  <c:v>0.66013071895424802</c:v>
                </c:pt>
                <c:pt idx="3269">
                  <c:v>0.66018596787827499</c:v>
                </c:pt>
                <c:pt idx="3270">
                  <c:v>0.66022099447513805</c:v>
                </c:pt>
                <c:pt idx="3271">
                  <c:v>0.66024759284731804</c:v>
                </c:pt>
                <c:pt idx="3272">
                  <c:v>0.66033254156769605</c:v>
                </c:pt>
                <c:pt idx="3273">
                  <c:v>0.66033254156769605</c:v>
                </c:pt>
                <c:pt idx="3274">
                  <c:v>0.660377358490566</c:v>
                </c:pt>
                <c:pt idx="3275">
                  <c:v>0.66044776119403004</c:v>
                </c:pt>
                <c:pt idx="3276">
                  <c:v>0.66046511627907001</c:v>
                </c:pt>
                <c:pt idx="3277">
                  <c:v>0.66051660516605204</c:v>
                </c:pt>
                <c:pt idx="3278">
                  <c:v>0.66059602649006599</c:v>
                </c:pt>
                <c:pt idx="3279">
                  <c:v>0.66063348416289602</c:v>
                </c:pt>
                <c:pt idx="3280">
                  <c:v>0.66064981949458501</c:v>
                </c:pt>
                <c:pt idx="3281">
                  <c:v>0.66067726330338605</c:v>
                </c:pt>
                <c:pt idx="3282">
                  <c:v>0.66071428571428603</c:v>
                </c:pt>
                <c:pt idx="3283">
                  <c:v>0.66084788029925201</c:v>
                </c:pt>
                <c:pt idx="3284">
                  <c:v>0.66086956521739104</c:v>
                </c:pt>
                <c:pt idx="3285">
                  <c:v>0.660886319845857</c:v>
                </c:pt>
                <c:pt idx="3286">
                  <c:v>0.66091954022988497</c:v>
                </c:pt>
                <c:pt idx="3287">
                  <c:v>0.66097560975609704</c:v>
                </c:pt>
                <c:pt idx="3288">
                  <c:v>0.661007957559682</c:v>
                </c:pt>
                <c:pt idx="3289">
                  <c:v>0.66102941176470598</c:v>
                </c:pt>
                <c:pt idx="3290">
                  <c:v>0.66110183639399001</c:v>
                </c:pt>
                <c:pt idx="3291">
                  <c:v>0.661157024793388</c:v>
                </c:pt>
                <c:pt idx="3292">
                  <c:v>0.66125290023201799</c:v>
                </c:pt>
                <c:pt idx="3293">
                  <c:v>0.66129032258064502</c:v>
                </c:pt>
                <c:pt idx="3294">
                  <c:v>0.66129032258064502</c:v>
                </c:pt>
                <c:pt idx="3295">
                  <c:v>0.66129032258064502</c:v>
                </c:pt>
                <c:pt idx="3296">
                  <c:v>0.66132264529058105</c:v>
                </c:pt>
                <c:pt idx="3297">
                  <c:v>0.66144200626959204</c:v>
                </c:pt>
                <c:pt idx="3298">
                  <c:v>0.66150870406189499</c:v>
                </c:pt>
                <c:pt idx="3299">
                  <c:v>0.66151545363908304</c:v>
                </c:pt>
                <c:pt idx="3300">
                  <c:v>0.66166666666666696</c:v>
                </c:pt>
                <c:pt idx="3301">
                  <c:v>0.66172106824925803</c:v>
                </c:pt>
                <c:pt idx="3302">
                  <c:v>0.66172839506172798</c:v>
                </c:pt>
                <c:pt idx="3303">
                  <c:v>0.66191446028513201</c:v>
                </c:pt>
                <c:pt idx="3304">
                  <c:v>0.66200000000000003</c:v>
                </c:pt>
                <c:pt idx="3305">
                  <c:v>0.66200466200466201</c:v>
                </c:pt>
                <c:pt idx="3306">
                  <c:v>0.66206301251618505</c:v>
                </c:pt>
                <c:pt idx="3307">
                  <c:v>0.66207627118644097</c:v>
                </c:pt>
                <c:pt idx="3308">
                  <c:v>0.66208791208791196</c:v>
                </c:pt>
                <c:pt idx="3309">
                  <c:v>0.662121212121212</c:v>
                </c:pt>
                <c:pt idx="3310">
                  <c:v>0.66223175965665204</c:v>
                </c:pt>
                <c:pt idx="3311">
                  <c:v>0.66235632183908</c:v>
                </c:pt>
                <c:pt idx="3312">
                  <c:v>0.66239813736903397</c:v>
                </c:pt>
                <c:pt idx="3313">
                  <c:v>0.66246056782334395</c:v>
                </c:pt>
                <c:pt idx="3314">
                  <c:v>0.66249999999999998</c:v>
                </c:pt>
                <c:pt idx="3315">
                  <c:v>0.66251944012441699</c:v>
                </c:pt>
                <c:pt idx="3316">
                  <c:v>0.66256590509666102</c:v>
                </c:pt>
                <c:pt idx="3317">
                  <c:v>0.662632375189107</c:v>
                </c:pt>
                <c:pt idx="3318">
                  <c:v>0.66265060240963802</c:v>
                </c:pt>
                <c:pt idx="3319">
                  <c:v>0.66265060240963802</c:v>
                </c:pt>
                <c:pt idx="3320">
                  <c:v>0.66266666666666696</c:v>
                </c:pt>
                <c:pt idx="3321">
                  <c:v>0.66267942583731998</c:v>
                </c:pt>
                <c:pt idx="3322">
                  <c:v>0.66269165247018702</c:v>
                </c:pt>
                <c:pt idx="3323">
                  <c:v>0.66275954454119201</c:v>
                </c:pt>
                <c:pt idx="3324">
                  <c:v>0.66276803118908401</c:v>
                </c:pt>
                <c:pt idx="3325">
                  <c:v>0.66281652598844898</c:v>
                </c:pt>
                <c:pt idx="3326">
                  <c:v>0.66283987915407905</c:v>
                </c:pt>
                <c:pt idx="3327">
                  <c:v>0.66284680337756297</c:v>
                </c:pt>
                <c:pt idx="3328">
                  <c:v>0.66284987277353702</c:v>
                </c:pt>
                <c:pt idx="3329">
                  <c:v>0.66291291291291299</c:v>
                </c:pt>
                <c:pt idx="3330">
                  <c:v>0.66298342541436495</c:v>
                </c:pt>
                <c:pt idx="3331">
                  <c:v>0.66300940438871503</c:v>
                </c:pt>
                <c:pt idx="3332">
                  <c:v>0.66304347826086896</c:v>
                </c:pt>
                <c:pt idx="3333">
                  <c:v>0.66305525460454995</c:v>
                </c:pt>
                <c:pt idx="3334">
                  <c:v>0.66306306306306295</c:v>
                </c:pt>
                <c:pt idx="3335">
                  <c:v>0.66308724832214805</c:v>
                </c:pt>
                <c:pt idx="3336">
                  <c:v>0.66315789473684195</c:v>
                </c:pt>
                <c:pt idx="3337">
                  <c:v>0.66318926974664705</c:v>
                </c:pt>
                <c:pt idx="3338">
                  <c:v>0.66319444444444398</c:v>
                </c:pt>
                <c:pt idx="3339">
                  <c:v>0.66329479768786104</c:v>
                </c:pt>
                <c:pt idx="3340">
                  <c:v>0.66334661354581703</c:v>
                </c:pt>
                <c:pt idx="3341">
                  <c:v>0.66346153846153799</c:v>
                </c:pt>
                <c:pt idx="3342">
                  <c:v>0.66349206349206302</c:v>
                </c:pt>
                <c:pt idx="3343">
                  <c:v>0.66351118760757299</c:v>
                </c:pt>
                <c:pt idx="3344">
                  <c:v>0.66352201257861598</c:v>
                </c:pt>
                <c:pt idx="3345">
                  <c:v>0.66355140186915895</c:v>
                </c:pt>
                <c:pt idx="3346">
                  <c:v>0.66365688487584595</c:v>
                </c:pt>
                <c:pt idx="3347">
                  <c:v>0.66369047619047605</c:v>
                </c:pt>
                <c:pt idx="3348">
                  <c:v>0.66378689704823601</c:v>
                </c:pt>
                <c:pt idx="3349">
                  <c:v>0.66382252559726995</c:v>
                </c:pt>
                <c:pt idx="3350">
                  <c:v>0.66382460414129096</c:v>
                </c:pt>
                <c:pt idx="3351">
                  <c:v>0.66384658770445604</c:v>
                </c:pt>
                <c:pt idx="3352">
                  <c:v>0.66386554621848703</c:v>
                </c:pt>
                <c:pt idx="3353">
                  <c:v>0.66386554621848703</c:v>
                </c:pt>
                <c:pt idx="3354">
                  <c:v>0.66396542409508397</c:v>
                </c:pt>
                <c:pt idx="3355">
                  <c:v>0.66396761133603199</c:v>
                </c:pt>
                <c:pt idx="3356">
                  <c:v>0.66400000000000003</c:v>
                </c:pt>
                <c:pt idx="3357">
                  <c:v>0.66400000000000003</c:v>
                </c:pt>
                <c:pt idx="3358">
                  <c:v>0.664086687306501</c:v>
                </c:pt>
                <c:pt idx="3359">
                  <c:v>0.66411378555798695</c:v>
                </c:pt>
                <c:pt idx="3360">
                  <c:v>0.66423357664233595</c:v>
                </c:pt>
                <c:pt idx="3361">
                  <c:v>0.66428571428571404</c:v>
                </c:pt>
                <c:pt idx="3362">
                  <c:v>0.66435506241331499</c:v>
                </c:pt>
                <c:pt idx="3363">
                  <c:v>0.66435986159169502</c:v>
                </c:pt>
                <c:pt idx="3364">
                  <c:v>0.66438356164383605</c:v>
                </c:pt>
                <c:pt idx="3365">
                  <c:v>0.66438356164383605</c:v>
                </c:pt>
                <c:pt idx="3366">
                  <c:v>0.66442953020134199</c:v>
                </c:pt>
                <c:pt idx="3367">
                  <c:v>0.66442953020134199</c:v>
                </c:pt>
                <c:pt idx="3368">
                  <c:v>0.66445182724252505</c:v>
                </c:pt>
                <c:pt idx="3369">
                  <c:v>0.66447368421052599</c:v>
                </c:pt>
                <c:pt idx="3370">
                  <c:v>0.66447368421052599</c:v>
                </c:pt>
                <c:pt idx="3371">
                  <c:v>0.66452991452991395</c:v>
                </c:pt>
                <c:pt idx="3372">
                  <c:v>0.66459627329192505</c:v>
                </c:pt>
                <c:pt idx="3373">
                  <c:v>0.66460268317853399</c:v>
                </c:pt>
                <c:pt idx="3374">
                  <c:v>0.66466346153846101</c:v>
                </c:pt>
                <c:pt idx="3375">
                  <c:v>0.66469428007889497</c:v>
                </c:pt>
                <c:pt idx="3376">
                  <c:v>0.66470588235294104</c:v>
                </c:pt>
                <c:pt idx="3377">
                  <c:v>0.66480446927374304</c:v>
                </c:pt>
                <c:pt idx="3378">
                  <c:v>0.66485647788983704</c:v>
                </c:pt>
                <c:pt idx="3379">
                  <c:v>0.66488413547237102</c:v>
                </c:pt>
                <c:pt idx="3380">
                  <c:v>0.66496163682864395</c:v>
                </c:pt>
                <c:pt idx="3381">
                  <c:v>0.66504854368931998</c:v>
                </c:pt>
                <c:pt idx="3382">
                  <c:v>0.66509433962264097</c:v>
                </c:pt>
                <c:pt idx="3383">
                  <c:v>0.66510695187165803</c:v>
                </c:pt>
                <c:pt idx="3384">
                  <c:v>0.66513761467889898</c:v>
                </c:pt>
                <c:pt idx="3385">
                  <c:v>0.66515837104072395</c:v>
                </c:pt>
                <c:pt idx="3386">
                  <c:v>0.66519174041297902</c:v>
                </c:pt>
                <c:pt idx="3387">
                  <c:v>0.66522366522366505</c:v>
                </c:pt>
                <c:pt idx="3388">
                  <c:v>0.66526845637583898</c:v>
                </c:pt>
                <c:pt idx="3389">
                  <c:v>0.66535433070866101</c:v>
                </c:pt>
                <c:pt idx="3390">
                  <c:v>0.66538461538461502</c:v>
                </c:pt>
                <c:pt idx="3391">
                  <c:v>0.66538461538461502</c:v>
                </c:pt>
                <c:pt idx="3392">
                  <c:v>0.66541353383458601</c:v>
                </c:pt>
                <c:pt idx="3393">
                  <c:v>0.66542473919523104</c:v>
                </c:pt>
                <c:pt idx="3394">
                  <c:v>0.66546762589927999</c:v>
                </c:pt>
                <c:pt idx="3395">
                  <c:v>0.66547406082289795</c:v>
                </c:pt>
                <c:pt idx="3396">
                  <c:v>0.66550522648083599</c:v>
                </c:pt>
                <c:pt idx="3397">
                  <c:v>0.66551724137931001</c:v>
                </c:pt>
                <c:pt idx="3398">
                  <c:v>0.66563944530046204</c:v>
                </c:pt>
                <c:pt idx="3399">
                  <c:v>0.66568047337278102</c:v>
                </c:pt>
                <c:pt idx="3400">
                  <c:v>0.66571428571428604</c:v>
                </c:pt>
                <c:pt idx="3401">
                  <c:v>0.66584766584766597</c:v>
                </c:pt>
                <c:pt idx="3402">
                  <c:v>0.66594360086767901</c:v>
                </c:pt>
                <c:pt idx="3403">
                  <c:v>0.666015625</c:v>
                </c:pt>
                <c:pt idx="3404">
                  <c:v>0.66601941747572801</c:v>
                </c:pt>
                <c:pt idx="3405">
                  <c:v>0.66606982990152197</c:v>
                </c:pt>
                <c:pt idx="3406">
                  <c:v>0.66610169491525395</c:v>
                </c:pt>
                <c:pt idx="3407">
                  <c:v>0.66617538688282996</c:v>
                </c:pt>
                <c:pt idx="3408">
                  <c:v>0.66632962588473199</c:v>
                </c:pt>
                <c:pt idx="3409">
                  <c:v>0.66652001759788804</c:v>
                </c:pt>
                <c:pt idx="3410">
                  <c:v>0.66666666666666696</c:v>
                </c:pt>
                <c:pt idx="3411">
                  <c:v>0.66666666666666696</c:v>
                </c:pt>
                <c:pt idx="3412">
                  <c:v>0.66666666666666696</c:v>
                </c:pt>
                <c:pt idx="3413">
                  <c:v>0.66666666666666696</c:v>
                </c:pt>
                <c:pt idx="3414">
                  <c:v>0.66666666666666696</c:v>
                </c:pt>
                <c:pt idx="3415">
                  <c:v>0.66666666666666696</c:v>
                </c:pt>
                <c:pt idx="3416">
                  <c:v>0.66666666666666696</c:v>
                </c:pt>
                <c:pt idx="3417">
                  <c:v>0.66666666666666696</c:v>
                </c:pt>
                <c:pt idx="3418">
                  <c:v>0.66666666666666696</c:v>
                </c:pt>
                <c:pt idx="3419">
                  <c:v>0.66666666666666696</c:v>
                </c:pt>
                <c:pt idx="3420">
                  <c:v>0.66666666666666696</c:v>
                </c:pt>
                <c:pt idx="3421">
                  <c:v>0.66666666666666696</c:v>
                </c:pt>
                <c:pt idx="3422">
                  <c:v>0.66666666666666696</c:v>
                </c:pt>
                <c:pt idx="3423">
                  <c:v>0.66666666666666696</c:v>
                </c:pt>
                <c:pt idx="3424">
                  <c:v>0.66666666666666696</c:v>
                </c:pt>
                <c:pt idx="3425">
                  <c:v>0.66666666666666696</c:v>
                </c:pt>
                <c:pt idx="3426">
                  <c:v>0.66666666666666696</c:v>
                </c:pt>
                <c:pt idx="3427">
                  <c:v>0.66666666666666696</c:v>
                </c:pt>
                <c:pt idx="3428">
                  <c:v>0.66666666666666696</c:v>
                </c:pt>
                <c:pt idx="3429">
                  <c:v>0.66666666666666696</c:v>
                </c:pt>
                <c:pt idx="3430">
                  <c:v>0.66666666666666696</c:v>
                </c:pt>
                <c:pt idx="3431">
                  <c:v>0.66666666666666696</c:v>
                </c:pt>
                <c:pt idx="3432">
                  <c:v>0.66666666666666696</c:v>
                </c:pt>
                <c:pt idx="3433">
                  <c:v>0.66666666666666696</c:v>
                </c:pt>
                <c:pt idx="3434">
                  <c:v>0.66666666666666696</c:v>
                </c:pt>
                <c:pt idx="3435">
                  <c:v>0.66666666666666696</c:v>
                </c:pt>
                <c:pt idx="3436">
                  <c:v>0.66666666666666696</c:v>
                </c:pt>
                <c:pt idx="3437">
                  <c:v>0.66666666666666696</c:v>
                </c:pt>
                <c:pt idx="3438">
                  <c:v>0.66695205479452002</c:v>
                </c:pt>
                <c:pt idx="3439">
                  <c:v>0.66698292220113797</c:v>
                </c:pt>
                <c:pt idx="3440">
                  <c:v>0.667004048582996</c:v>
                </c:pt>
                <c:pt idx="3441">
                  <c:v>0.66714015151515105</c:v>
                </c:pt>
                <c:pt idx="3442">
                  <c:v>0.66714082503556205</c:v>
                </c:pt>
                <c:pt idx="3443">
                  <c:v>0.66714905933429802</c:v>
                </c:pt>
                <c:pt idx="3444">
                  <c:v>0.66718750000000004</c:v>
                </c:pt>
                <c:pt idx="3445">
                  <c:v>0.66718995290423899</c:v>
                </c:pt>
                <c:pt idx="3446">
                  <c:v>0.66723452583759202</c:v>
                </c:pt>
                <c:pt idx="3447">
                  <c:v>0.66724436741767801</c:v>
                </c:pt>
                <c:pt idx="3448">
                  <c:v>0.66742081447963797</c:v>
                </c:pt>
                <c:pt idx="3449">
                  <c:v>0.66744006187161597</c:v>
                </c:pt>
                <c:pt idx="3450">
                  <c:v>0.66748499727223098</c:v>
                </c:pt>
                <c:pt idx="3451">
                  <c:v>0.66752910737386795</c:v>
                </c:pt>
                <c:pt idx="3452">
                  <c:v>0.66753926701570698</c:v>
                </c:pt>
                <c:pt idx="3453">
                  <c:v>0.66754617414247996</c:v>
                </c:pt>
                <c:pt idx="3454">
                  <c:v>0.66759259259259296</c:v>
                </c:pt>
                <c:pt idx="3455">
                  <c:v>0.66763005780346796</c:v>
                </c:pt>
                <c:pt idx="3456">
                  <c:v>0.66765140324963101</c:v>
                </c:pt>
                <c:pt idx="3457">
                  <c:v>0.667655786350148</c:v>
                </c:pt>
                <c:pt idx="3458">
                  <c:v>0.66767143933685003</c:v>
                </c:pt>
                <c:pt idx="3459">
                  <c:v>0.66769706336939705</c:v>
                </c:pt>
                <c:pt idx="3460">
                  <c:v>0.66776315789473695</c:v>
                </c:pt>
                <c:pt idx="3461">
                  <c:v>0.66798941798941802</c:v>
                </c:pt>
                <c:pt idx="3462">
                  <c:v>0.66800000000000004</c:v>
                </c:pt>
                <c:pt idx="3463">
                  <c:v>0.66801437556154497</c:v>
                </c:pt>
                <c:pt idx="3464">
                  <c:v>0.668024439918533</c:v>
                </c:pt>
                <c:pt idx="3465">
                  <c:v>0.66808510638297902</c:v>
                </c:pt>
                <c:pt idx="3466">
                  <c:v>0.66812705366922198</c:v>
                </c:pt>
                <c:pt idx="3467">
                  <c:v>0.66812865497076002</c:v>
                </c:pt>
                <c:pt idx="3468">
                  <c:v>0.66822429906542002</c:v>
                </c:pt>
                <c:pt idx="3469">
                  <c:v>0.66823529411764704</c:v>
                </c:pt>
                <c:pt idx="3470">
                  <c:v>0.668261562998405</c:v>
                </c:pt>
                <c:pt idx="3471">
                  <c:v>0.66837857666911205</c:v>
                </c:pt>
                <c:pt idx="3472">
                  <c:v>0.66838046272493601</c:v>
                </c:pt>
                <c:pt idx="3473">
                  <c:v>0.66842105263157903</c:v>
                </c:pt>
                <c:pt idx="3474">
                  <c:v>0.66842105263157903</c:v>
                </c:pt>
                <c:pt idx="3475">
                  <c:v>0.66842800528401602</c:v>
                </c:pt>
                <c:pt idx="3476">
                  <c:v>0.66844919786096202</c:v>
                </c:pt>
                <c:pt idx="3477">
                  <c:v>0.66849315068493098</c:v>
                </c:pt>
                <c:pt idx="3478">
                  <c:v>0.66859344894026995</c:v>
                </c:pt>
                <c:pt idx="3479">
                  <c:v>0.66861826697892301</c:v>
                </c:pt>
                <c:pt idx="3480">
                  <c:v>0.66863905325443795</c:v>
                </c:pt>
                <c:pt idx="3481">
                  <c:v>0.66867469879518104</c:v>
                </c:pt>
                <c:pt idx="3482">
                  <c:v>0.66871165644171804</c:v>
                </c:pt>
                <c:pt idx="3483">
                  <c:v>0.66876310272536699</c:v>
                </c:pt>
                <c:pt idx="3484">
                  <c:v>0.66881324747010096</c:v>
                </c:pt>
                <c:pt idx="3485">
                  <c:v>0.668831168831169</c:v>
                </c:pt>
                <c:pt idx="3486">
                  <c:v>0.66885245901639301</c:v>
                </c:pt>
                <c:pt idx="3487">
                  <c:v>0.66886543535620002</c:v>
                </c:pt>
                <c:pt idx="3488">
                  <c:v>0.668896321070234</c:v>
                </c:pt>
                <c:pt idx="3489">
                  <c:v>0.66890982503364704</c:v>
                </c:pt>
                <c:pt idx="3490">
                  <c:v>0.66891891891891897</c:v>
                </c:pt>
                <c:pt idx="3491">
                  <c:v>0.66891891891891897</c:v>
                </c:pt>
                <c:pt idx="3492">
                  <c:v>0.66895238095238096</c:v>
                </c:pt>
                <c:pt idx="3493">
                  <c:v>0.66897285790313998</c:v>
                </c:pt>
                <c:pt idx="3494">
                  <c:v>0.66903914590747304</c:v>
                </c:pt>
                <c:pt idx="3495">
                  <c:v>0.66915052160953803</c:v>
                </c:pt>
                <c:pt idx="3496">
                  <c:v>0.66917808219178099</c:v>
                </c:pt>
                <c:pt idx="3497">
                  <c:v>0.669191919191919</c:v>
                </c:pt>
                <c:pt idx="3498">
                  <c:v>0.66920152091254703</c:v>
                </c:pt>
                <c:pt idx="3499">
                  <c:v>0.66924066924066905</c:v>
                </c:pt>
                <c:pt idx="3500">
                  <c:v>0.66929133858267698</c:v>
                </c:pt>
                <c:pt idx="3501">
                  <c:v>0.66929133858267698</c:v>
                </c:pt>
                <c:pt idx="3502">
                  <c:v>0.669316375198728</c:v>
                </c:pt>
                <c:pt idx="3503">
                  <c:v>0.66936790923824996</c:v>
                </c:pt>
                <c:pt idx="3504">
                  <c:v>0.66940339354132505</c:v>
                </c:pt>
                <c:pt idx="3505">
                  <c:v>0.669421487603306</c:v>
                </c:pt>
                <c:pt idx="3506">
                  <c:v>0.66943521594684396</c:v>
                </c:pt>
                <c:pt idx="3507">
                  <c:v>0.669498069498069</c:v>
                </c:pt>
                <c:pt idx="3508">
                  <c:v>0.669612508497621</c:v>
                </c:pt>
                <c:pt idx="3509">
                  <c:v>0.66962305986696202</c:v>
                </c:pt>
                <c:pt idx="3510">
                  <c:v>0.66963151207115601</c:v>
                </c:pt>
                <c:pt idx="3511">
                  <c:v>0.66966966966967001</c:v>
                </c:pt>
                <c:pt idx="3512">
                  <c:v>0.66968325791855199</c:v>
                </c:pt>
                <c:pt idx="3513">
                  <c:v>0.66972477064220204</c:v>
                </c:pt>
                <c:pt idx="3514">
                  <c:v>0.66973886328724996</c:v>
                </c:pt>
                <c:pt idx="3515">
                  <c:v>0.66975881261595505</c:v>
                </c:pt>
                <c:pt idx="3516">
                  <c:v>0.66977611940298498</c:v>
                </c:pt>
                <c:pt idx="3517">
                  <c:v>0.66981132075471705</c:v>
                </c:pt>
                <c:pt idx="3518">
                  <c:v>0.66987179487179505</c:v>
                </c:pt>
                <c:pt idx="3519">
                  <c:v>0.66995073891625601</c:v>
                </c:pt>
                <c:pt idx="3520">
                  <c:v>0.669957686882934</c:v>
                </c:pt>
                <c:pt idx="3521">
                  <c:v>0.67013888888888895</c:v>
                </c:pt>
                <c:pt idx="3522">
                  <c:v>0.67019027484143801</c:v>
                </c:pt>
                <c:pt idx="3523">
                  <c:v>0.67021276595744705</c:v>
                </c:pt>
                <c:pt idx="3524">
                  <c:v>0.670241286863271</c:v>
                </c:pt>
                <c:pt idx="3525">
                  <c:v>0.67035398230088505</c:v>
                </c:pt>
                <c:pt idx="3526">
                  <c:v>0.67036011080332403</c:v>
                </c:pt>
                <c:pt idx="3527">
                  <c:v>0.67039106145251404</c:v>
                </c:pt>
                <c:pt idx="3528">
                  <c:v>0.67039800995024901</c:v>
                </c:pt>
                <c:pt idx="3529">
                  <c:v>0.67054908485856901</c:v>
                </c:pt>
                <c:pt idx="3530">
                  <c:v>0.67058823529411804</c:v>
                </c:pt>
                <c:pt idx="3531">
                  <c:v>0.670694864048338</c:v>
                </c:pt>
                <c:pt idx="3532">
                  <c:v>0.67073170731707299</c:v>
                </c:pt>
                <c:pt idx="3533">
                  <c:v>0.67079303675048296</c:v>
                </c:pt>
                <c:pt idx="3534">
                  <c:v>0.67083206339530599</c:v>
                </c:pt>
                <c:pt idx="3535">
                  <c:v>0.670886075949367</c:v>
                </c:pt>
                <c:pt idx="3536">
                  <c:v>0.670886075949367</c:v>
                </c:pt>
                <c:pt idx="3537">
                  <c:v>0.67091681845780204</c:v>
                </c:pt>
                <c:pt idx="3538">
                  <c:v>0.671023965141612</c:v>
                </c:pt>
                <c:pt idx="3539">
                  <c:v>0.67105263157894701</c:v>
                </c:pt>
                <c:pt idx="3540">
                  <c:v>0.67105263157894701</c:v>
                </c:pt>
                <c:pt idx="3541">
                  <c:v>0.67114093959731502</c:v>
                </c:pt>
                <c:pt idx="3542">
                  <c:v>0.67114093959731502</c:v>
                </c:pt>
                <c:pt idx="3543">
                  <c:v>0.67115902964959595</c:v>
                </c:pt>
                <c:pt idx="3544">
                  <c:v>0.67129629629629595</c:v>
                </c:pt>
                <c:pt idx="3545">
                  <c:v>0.67132867132867102</c:v>
                </c:pt>
                <c:pt idx="3546">
                  <c:v>0.67132867132867102</c:v>
                </c:pt>
                <c:pt idx="3547">
                  <c:v>0.67138193688792203</c:v>
                </c:pt>
                <c:pt idx="3548">
                  <c:v>0.67148014440433201</c:v>
                </c:pt>
                <c:pt idx="3549">
                  <c:v>0.67149220489977701</c:v>
                </c:pt>
                <c:pt idx="3550">
                  <c:v>0.67164179104477595</c:v>
                </c:pt>
                <c:pt idx="3551">
                  <c:v>0.67166042446941299</c:v>
                </c:pt>
                <c:pt idx="3552">
                  <c:v>0.67166474432910395</c:v>
                </c:pt>
                <c:pt idx="3553">
                  <c:v>0.67168262653898803</c:v>
                </c:pt>
                <c:pt idx="3554">
                  <c:v>0.67169811320754702</c:v>
                </c:pt>
                <c:pt idx="3555">
                  <c:v>0.67170626349892004</c:v>
                </c:pt>
                <c:pt idx="3556">
                  <c:v>0.67175572519084004</c:v>
                </c:pt>
                <c:pt idx="3557">
                  <c:v>0.67177304964538997</c:v>
                </c:pt>
                <c:pt idx="3558">
                  <c:v>0.67179487179487196</c:v>
                </c:pt>
                <c:pt idx="3559">
                  <c:v>0.67180094786729905</c:v>
                </c:pt>
                <c:pt idx="3560">
                  <c:v>0.67183098591549295</c:v>
                </c:pt>
                <c:pt idx="3561">
                  <c:v>0.67183462532299698</c:v>
                </c:pt>
                <c:pt idx="3562">
                  <c:v>0.671875</c:v>
                </c:pt>
                <c:pt idx="3563">
                  <c:v>0.67195767195767198</c:v>
                </c:pt>
                <c:pt idx="3564">
                  <c:v>0.67198838896952096</c:v>
                </c:pt>
                <c:pt idx="3565">
                  <c:v>0.67204301075268802</c:v>
                </c:pt>
                <c:pt idx="3566">
                  <c:v>0.67213114754098302</c:v>
                </c:pt>
                <c:pt idx="3567">
                  <c:v>0.67213114754098302</c:v>
                </c:pt>
                <c:pt idx="3568">
                  <c:v>0.67222222222222205</c:v>
                </c:pt>
                <c:pt idx="3569">
                  <c:v>0.67235494880546098</c:v>
                </c:pt>
                <c:pt idx="3570">
                  <c:v>0.67241379310344795</c:v>
                </c:pt>
                <c:pt idx="3571">
                  <c:v>0.67244094488188999</c:v>
                </c:pt>
                <c:pt idx="3572">
                  <c:v>0.67244701348747604</c:v>
                </c:pt>
                <c:pt idx="3573">
                  <c:v>0.67253521126760596</c:v>
                </c:pt>
                <c:pt idx="3574">
                  <c:v>0.67254408060453397</c:v>
                </c:pt>
                <c:pt idx="3575">
                  <c:v>0.672619047619048</c:v>
                </c:pt>
                <c:pt idx="3576">
                  <c:v>0.67276887871853497</c:v>
                </c:pt>
                <c:pt idx="3577">
                  <c:v>0.67276887871853497</c:v>
                </c:pt>
                <c:pt idx="3578">
                  <c:v>0.67282321899736097</c:v>
                </c:pt>
                <c:pt idx="3579">
                  <c:v>0.67295597484276704</c:v>
                </c:pt>
                <c:pt idx="3580">
                  <c:v>0.67295597484276704</c:v>
                </c:pt>
                <c:pt idx="3581">
                  <c:v>0.67299864314789704</c:v>
                </c:pt>
                <c:pt idx="3582">
                  <c:v>0.67302798982188305</c:v>
                </c:pt>
                <c:pt idx="3583">
                  <c:v>0.67302798982188305</c:v>
                </c:pt>
                <c:pt idx="3584">
                  <c:v>0.673139158576052</c:v>
                </c:pt>
                <c:pt idx="3585">
                  <c:v>0.67315716272600801</c:v>
                </c:pt>
                <c:pt idx="3586">
                  <c:v>0.673170731707317</c:v>
                </c:pt>
                <c:pt idx="3587">
                  <c:v>0.67322834645669305</c:v>
                </c:pt>
                <c:pt idx="3588">
                  <c:v>0.67325056433408603</c:v>
                </c:pt>
                <c:pt idx="3589">
                  <c:v>0.67326732673267298</c:v>
                </c:pt>
                <c:pt idx="3590">
                  <c:v>0.67330677290836605</c:v>
                </c:pt>
                <c:pt idx="3591">
                  <c:v>0.67333333333333301</c:v>
                </c:pt>
                <c:pt idx="3592">
                  <c:v>0.67335562987736897</c:v>
                </c:pt>
                <c:pt idx="3593">
                  <c:v>0.67338709677419295</c:v>
                </c:pt>
                <c:pt idx="3594">
                  <c:v>0.673400673400673</c:v>
                </c:pt>
                <c:pt idx="3595">
                  <c:v>0.67346938775510201</c:v>
                </c:pt>
                <c:pt idx="3596">
                  <c:v>0.67346938775510201</c:v>
                </c:pt>
                <c:pt idx="3597">
                  <c:v>0.67357512953367904</c:v>
                </c:pt>
                <c:pt idx="3598">
                  <c:v>0.67359050445103896</c:v>
                </c:pt>
                <c:pt idx="3599">
                  <c:v>0.673684210526316</c:v>
                </c:pt>
                <c:pt idx="3600">
                  <c:v>0.67371202113606299</c:v>
                </c:pt>
                <c:pt idx="3601">
                  <c:v>0.67391304347826098</c:v>
                </c:pt>
                <c:pt idx="3602">
                  <c:v>0.67424242424242398</c:v>
                </c:pt>
                <c:pt idx="3603">
                  <c:v>0.67425320056898996</c:v>
                </c:pt>
                <c:pt idx="3604">
                  <c:v>0.67426273458444996</c:v>
                </c:pt>
                <c:pt idx="3605">
                  <c:v>0.67441860465116299</c:v>
                </c:pt>
                <c:pt idx="3606">
                  <c:v>0.67441860465116299</c:v>
                </c:pt>
                <c:pt idx="3607">
                  <c:v>0.67448275862068996</c:v>
                </c:pt>
                <c:pt idx="3608">
                  <c:v>0.67449664429530198</c:v>
                </c:pt>
                <c:pt idx="3609">
                  <c:v>0.67452830188679203</c:v>
                </c:pt>
                <c:pt idx="3610">
                  <c:v>0.67458432304037996</c:v>
                </c:pt>
                <c:pt idx="3611">
                  <c:v>0.67460317460317498</c:v>
                </c:pt>
                <c:pt idx="3612">
                  <c:v>0.67464788732394398</c:v>
                </c:pt>
                <c:pt idx="3613">
                  <c:v>0.67467652495378905</c:v>
                </c:pt>
                <c:pt idx="3614">
                  <c:v>0.67480719794344501</c:v>
                </c:pt>
                <c:pt idx="3615">
                  <c:v>0.67482517482517501</c:v>
                </c:pt>
                <c:pt idx="3616">
                  <c:v>0.67486033519553101</c:v>
                </c:pt>
                <c:pt idx="3617">
                  <c:v>0.67489986648865097</c:v>
                </c:pt>
                <c:pt idx="3618">
                  <c:v>0.67495126705652997</c:v>
                </c:pt>
                <c:pt idx="3619">
                  <c:v>0.67500000000000004</c:v>
                </c:pt>
                <c:pt idx="3620">
                  <c:v>0.67500000000000004</c:v>
                </c:pt>
                <c:pt idx="3621">
                  <c:v>0.67500000000000004</c:v>
                </c:pt>
                <c:pt idx="3622">
                  <c:v>0.67500000000000004</c:v>
                </c:pt>
                <c:pt idx="3623">
                  <c:v>0.67504835589942003</c:v>
                </c:pt>
                <c:pt idx="3624">
                  <c:v>0.67507418397626096</c:v>
                </c:pt>
                <c:pt idx="3625">
                  <c:v>0.67511312217194597</c:v>
                </c:pt>
                <c:pt idx="3626">
                  <c:v>0.67513200905204895</c:v>
                </c:pt>
                <c:pt idx="3627">
                  <c:v>0.67515923566878999</c:v>
                </c:pt>
                <c:pt idx="3628">
                  <c:v>0.67524115755627001</c:v>
                </c:pt>
                <c:pt idx="3629">
                  <c:v>0.67524317540006296</c:v>
                </c:pt>
                <c:pt idx="3630">
                  <c:v>0.67525195968645002</c:v>
                </c:pt>
                <c:pt idx="3631">
                  <c:v>0.67527675276752797</c:v>
                </c:pt>
                <c:pt idx="3632">
                  <c:v>0.67529411764705904</c:v>
                </c:pt>
                <c:pt idx="3633">
                  <c:v>0.67532467532467499</c:v>
                </c:pt>
                <c:pt idx="3634">
                  <c:v>0.67532467532467499</c:v>
                </c:pt>
                <c:pt idx="3635">
                  <c:v>0.67532467532467499</c:v>
                </c:pt>
                <c:pt idx="3636">
                  <c:v>0.67534456355283301</c:v>
                </c:pt>
                <c:pt idx="3637">
                  <c:v>0.67538461538461503</c:v>
                </c:pt>
                <c:pt idx="3638">
                  <c:v>0.67543859649122795</c:v>
                </c:pt>
                <c:pt idx="3639">
                  <c:v>0.67543859649122795</c:v>
                </c:pt>
                <c:pt idx="3640">
                  <c:v>0.67543859649122795</c:v>
                </c:pt>
                <c:pt idx="3641">
                  <c:v>0.67549668874172197</c:v>
                </c:pt>
                <c:pt idx="3642">
                  <c:v>0.67553191489361697</c:v>
                </c:pt>
                <c:pt idx="3643">
                  <c:v>0.67557932263814602</c:v>
                </c:pt>
                <c:pt idx="3644">
                  <c:v>0.675585284280936</c:v>
                </c:pt>
                <c:pt idx="3645">
                  <c:v>0.67567567567567599</c:v>
                </c:pt>
                <c:pt idx="3646">
                  <c:v>0.67567567567567599</c:v>
                </c:pt>
                <c:pt idx="3647">
                  <c:v>0.67567567567567599</c:v>
                </c:pt>
                <c:pt idx="3648">
                  <c:v>0.67573696145124695</c:v>
                </c:pt>
                <c:pt idx="3649">
                  <c:v>0.67574257425742601</c:v>
                </c:pt>
                <c:pt idx="3650">
                  <c:v>0.675757575757576</c:v>
                </c:pt>
                <c:pt idx="3651">
                  <c:v>0.67582417582417598</c:v>
                </c:pt>
                <c:pt idx="3652">
                  <c:v>0.67586206896551704</c:v>
                </c:pt>
                <c:pt idx="3653">
                  <c:v>0.67588325652841796</c:v>
                </c:pt>
                <c:pt idx="3654">
                  <c:v>0.67599067599067597</c:v>
                </c:pt>
                <c:pt idx="3655">
                  <c:v>0.67610062893081702</c:v>
                </c:pt>
                <c:pt idx="3656">
                  <c:v>0.67613636363636398</c:v>
                </c:pt>
                <c:pt idx="3657">
                  <c:v>0.67619047619047601</c:v>
                </c:pt>
                <c:pt idx="3658">
                  <c:v>0.67622950819672101</c:v>
                </c:pt>
                <c:pt idx="3659">
                  <c:v>0.67625133120340797</c:v>
                </c:pt>
                <c:pt idx="3660">
                  <c:v>0.676345004269855</c:v>
                </c:pt>
                <c:pt idx="3661">
                  <c:v>0.67637540453074396</c:v>
                </c:pt>
                <c:pt idx="3662">
                  <c:v>0.67638483965014595</c:v>
                </c:pt>
                <c:pt idx="3663">
                  <c:v>0.67647058823529405</c:v>
                </c:pt>
                <c:pt idx="3664">
                  <c:v>0.67647058823529405</c:v>
                </c:pt>
                <c:pt idx="3665">
                  <c:v>0.67655786350148395</c:v>
                </c:pt>
                <c:pt idx="3666">
                  <c:v>0.67656415694591698</c:v>
                </c:pt>
                <c:pt idx="3667">
                  <c:v>0.67659574468085104</c:v>
                </c:pt>
                <c:pt idx="3668">
                  <c:v>0.67661691542288604</c:v>
                </c:pt>
                <c:pt idx="3669">
                  <c:v>0.67661691542288604</c:v>
                </c:pt>
                <c:pt idx="3670">
                  <c:v>0.67661691542288604</c:v>
                </c:pt>
                <c:pt idx="3671">
                  <c:v>0.67670011148272002</c:v>
                </c:pt>
                <c:pt idx="3672">
                  <c:v>0.67670682730923704</c:v>
                </c:pt>
                <c:pt idx="3673">
                  <c:v>0.67676767676767702</c:v>
                </c:pt>
                <c:pt idx="3674">
                  <c:v>0.67682926829268297</c:v>
                </c:pt>
                <c:pt idx="3675">
                  <c:v>0.67684021543985595</c:v>
                </c:pt>
                <c:pt idx="3676">
                  <c:v>0.67692307692307696</c:v>
                </c:pt>
                <c:pt idx="3677">
                  <c:v>0.67692307692307696</c:v>
                </c:pt>
                <c:pt idx="3678">
                  <c:v>0.67708333333333304</c:v>
                </c:pt>
                <c:pt idx="3679">
                  <c:v>0.67709497206703895</c:v>
                </c:pt>
                <c:pt idx="3680">
                  <c:v>0.67723342939481301</c:v>
                </c:pt>
                <c:pt idx="3681">
                  <c:v>0.67724867724867699</c:v>
                </c:pt>
                <c:pt idx="3682">
                  <c:v>0.67728882144663605</c:v>
                </c:pt>
                <c:pt idx="3683">
                  <c:v>0.67730337078651703</c:v>
                </c:pt>
                <c:pt idx="3684">
                  <c:v>0.67736339982653904</c:v>
                </c:pt>
                <c:pt idx="3685">
                  <c:v>0.67741935483870996</c:v>
                </c:pt>
                <c:pt idx="3686">
                  <c:v>0.67741935483870996</c:v>
                </c:pt>
                <c:pt idx="3687">
                  <c:v>0.67746913580246904</c:v>
                </c:pt>
                <c:pt idx="3688">
                  <c:v>0.67747914735866499</c:v>
                </c:pt>
                <c:pt idx="3689">
                  <c:v>0.67753960857409101</c:v>
                </c:pt>
                <c:pt idx="3690">
                  <c:v>0.67767767767767795</c:v>
                </c:pt>
                <c:pt idx="3691">
                  <c:v>0.67768595041322299</c:v>
                </c:pt>
                <c:pt idx="3692">
                  <c:v>0.67768595041322299</c:v>
                </c:pt>
                <c:pt idx="3693">
                  <c:v>0.67769607843137203</c:v>
                </c:pt>
                <c:pt idx="3694">
                  <c:v>0.67770034843205595</c:v>
                </c:pt>
                <c:pt idx="3695">
                  <c:v>0.67772511848341199</c:v>
                </c:pt>
                <c:pt idx="3696">
                  <c:v>0.67775831873905401</c:v>
                </c:pt>
                <c:pt idx="3697">
                  <c:v>0.67777777777777803</c:v>
                </c:pt>
                <c:pt idx="3698">
                  <c:v>0.67786259541984695</c:v>
                </c:pt>
                <c:pt idx="3699">
                  <c:v>0.67793240556659995</c:v>
                </c:pt>
                <c:pt idx="3700">
                  <c:v>0.677966101694915</c:v>
                </c:pt>
                <c:pt idx="3701">
                  <c:v>0.677966101694915</c:v>
                </c:pt>
                <c:pt idx="3702">
                  <c:v>0.677966101694915</c:v>
                </c:pt>
                <c:pt idx="3703">
                  <c:v>0.67800000000000005</c:v>
                </c:pt>
                <c:pt idx="3704">
                  <c:v>0.67803030303030298</c:v>
                </c:pt>
                <c:pt idx="3705">
                  <c:v>0.67806267806267795</c:v>
                </c:pt>
                <c:pt idx="3706">
                  <c:v>0.67814371257484996</c:v>
                </c:pt>
                <c:pt idx="3707">
                  <c:v>0.67816091954022995</c:v>
                </c:pt>
                <c:pt idx="3708">
                  <c:v>0.67816091954022995</c:v>
                </c:pt>
                <c:pt idx="3709">
                  <c:v>0.67819297267150003</c:v>
                </c:pt>
                <c:pt idx="3710">
                  <c:v>0.67819548872180402</c:v>
                </c:pt>
                <c:pt idx="3711">
                  <c:v>0.67823765020026705</c:v>
                </c:pt>
                <c:pt idx="3712">
                  <c:v>0.67826086956521703</c:v>
                </c:pt>
                <c:pt idx="3713">
                  <c:v>0.67826086956521703</c:v>
                </c:pt>
                <c:pt idx="3714">
                  <c:v>0.67828418230563003</c:v>
                </c:pt>
                <c:pt idx="3715">
                  <c:v>0.678321678321678</c:v>
                </c:pt>
                <c:pt idx="3716">
                  <c:v>0.678321678321678</c:v>
                </c:pt>
                <c:pt idx="3717">
                  <c:v>0.67836257309941494</c:v>
                </c:pt>
                <c:pt idx="3718">
                  <c:v>0.678378378378378</c:v>
                </c:pt>
                <c:pt idx="3719">
                  <c:v>0.678378378378378</c:v>
                </c:pt>
                <c:pt idx="3720">
                  <c:v>0.67853509664292999</c:v>
                </c:pt>
                <c:pt idx="3721">
                  <c:v>0.67857142857142905</c:v>
                </c:pt>
                <c:pt idx="3722">
                  <c:v>0.67857142857142905</c:v>
                </c:pt>
                <c:pt idx="3723">
                  <c:v>0.67858407079645999</c:v>
                </c:pt>
                <c:pt idx="3724">
                  <c:v>0.67868852459016404</c:v>
                </c:pt>
                <c:pt idx="3725">
                  <c:v>0.67871485943775101</c:v>
                </c:pt>
                <c:pt idx="3726">
                  <c:v>0.67876588021778606</c:v>
                </c:pt>
                <c:pt idx="3727">
                  <c:v>0.678776290630975</c:v>
                </c:pt>
                <c:pt idx="3728">
                  <c:v>0.67887323943662004</c:v>
                </c:pt>
                <c:pt idx="3729">
                  <c:v>0.67889908256880704</c:v>
                </c:pt>
                <c:pt idx="3730">
                  <c:v>0.67889908256880704</c:v>
                </c:pt>
                <c:pt idx="3731">
                  <c:v>0.67889908256880704</c:v>
                </c:pt>
                <c:pt idx="3732">
                  <c:v>0.67894736842105297</c:v>
                </c:pt>
                <c:pt idx="3733">
                  <c:v>0.67894736842105297</c:v>
                </c:pt>
                <c:pt idx="3734">
                  <c:v>0.67897623400365603</c:v>
                </c:pt>
                <c:pt idx="3735">
                  <c:v>0.678983833718245</c:v>
                </c:pt>
                <c:pt idx="3736">
                  <c:v>0.67899408284023699</c:v>
                </c:pt>
                <c:pt idx="3737">
                  <c:v>0.67901234567901203</c:v>
                </c:pt>
                <c:pt idx="3738">
                  <c:v>0.67901234567901203</c:v>
                </c:pt>
                <c:pt idx="3739">
                  <c:v>0.67901234567901203</c:v>
                </c:pt>
                <c:pt idx="3740">
                  <c:v>0.67916999201915396</c:v>
                </c:pt>
                <c:pt idx="3741">
                  <c:v>0.67917369308600295</c:v>
                </c:pt>
                <c:pt idx="3742">
                  <c:v>0.67919799498746902</c:v>
                </c:pt>
                <c:pt idx="3743">
                  <c:v>0.679245283018868</c:v>
                </c:pt>
                <c:pt idx="3744">
                  <c:v>0.67926565874730005</c:v>
                </c:pt>
                <c:pt idx="3745">
                  <c:v>0.67936507936507895</c:v>
                </c:pt>
                <c:pt idx="3746">
                  <c:v>0.67938931297709904</c:v>
                </c:pt>
                <c:pt idx="3747">
                  <c:v>0.67946577629382299</c:v>
                </c:pt>
                <c:pt idx="3748">
                  <c:v>0.67948717948717896</c:v>
                </c:pt>
                <c:pt idx="3749">
                  <c:v>0.67948717948717896</c:v>
                </c:pt>
                <c:pt idx="3750">
                  <c:v>0.67948717948717896</c:v>
                </c:pt>
                <c:pt idx="3751">
                  <c:v>0.67948717948717896</c:v>
                </c:pt>
                <c:pt idx="3752">
                  <c:v>0.67954911433172305</c:v>
                </c:pt>
                <c:pt idx="3753">
                  <c:v>0.67961165048543704</c:v>
                </c:pt>
                <c:pt idx="3754">
                  <c:v>0.67961165048543704</c:v>
                </c:pt>
                <c:pt idx="3755">
                  <c:v>0.67961165048543704</c:v>
                </c:pt>
                <c:pt idx="3756">
                  <c:v>0.67961165048543704</c:v>
                </c:pt>
                <c:pt idx="3757">
                  <c:v>0.67961165048543704</c:v>
                </c:pt>
                <c:pt idx="3758">
                  <c:v>0.67971014492753601</c:v>
                </c:pt>
                <c:pt idx="3759">
                  <c:v>0.67971530249110301</c:v>
                </c:pt>
                <c:pt idx="3760">
                  <c:v>0.67972027972028004</c:v>
                </c:pt>
                <c:pt idx="3761">
                  <c:v>0.67972350230414702</c:v>
                </c:pt>
                <c:pt idx="3762">
                  <c:v>0.67973856209150296</c:v>
                </c:pt>
                <c:pt idx="3763">
                  <c:v>0.679824561403509</c:v>
                </c:pt>
                <c:pt idx="3764">
                  <c:v>0.68</c:v>
                </c:pt>
                <c:pt idx="3765">
                  <c:v>0.68</c:v>
                </c:pt>
                <c:pt idx="3766">
                  <c:v>0.68008363826450602</c:v>
                </c:pt>
                <c:pt idx="3767">
                  <c:v>0.68017366136034696</c:v>
                </c:pt>
                <c:pt idx="3768">
                  <c:v>0.68018018018018001</c:v>
                </c:pt>
                <c:pt idx="3769">
                  <c:v>0.68019480519480502</c:v>
                </c:pt>
                <c:pt idx="3770">
                  <c:v>0.68023255813953498</c:v>
                </c:pt>
                <c:pt idx="3771">
                  <c:v>0.68027210884353695</c:v>
                </c:pt>
                <c:pt idx="3772">
                  <c:v>0.68030690537084404</c:v>
                </c:pt>
                <c:pt idx="3773">
                  <c:v>0.68030690537084404</c:v>
                </c:pt>
                <c:pt idx="3774">
                  <c:v>0.68032786885245899</c:v>
                </c:pt>
                <c:pt idx="3775">
                  <c:v>0.68042526579111895</c:v>
                </c:pt>
                <c:pt idx="3776">
                  <c:v>0.68045112781954897</c:v>
                </c:pt>
                <c:pt idx="3777">
                  <c:v>0.68055555555555503</c:v>
                </c:pt>
                <c:pt idx="3778">
                  <c:v>0.68055555555555503</c:v>
                </c:pt>
                <c:pt idx="3779">
                  <c:v>0.68055555555555503</c:v>
                </c:pt>
                <c:pt idx="3780">
                  <c:v>0.68055555555555503</c:v>
                </c:pt>
                <c:pt idx="3781">
                  <c:v>0.68063872255489</c:v>
                </c:pt>
                <c:pt idx="3782">
                  <c:v>0.68070175438596503</c:v>
                </c:pt>
                <c:pt idx="3783">
                  <c:v>0.68079470198675496</c:v>
                </c:pt>
                <c:pt idx="3784">
                  <c:v>0.68085831062670299</c:v>
                </c:pt>
                <c:pt idx="3785">
                  <c:v>0.68095238095238098</c:v>
                </c:pt>
                <c:pt idx="3786">
                  <c:v>0.68097014925373101</c:v>
                </c:pt>
                <c:pt idx="3787">
                  <c:v>0.68101265822784796</c:v>
                </c:pt>
                <c:pt idx="3788">
                  <c:v>0.68106312292358795</c:v>
                </c:pt>
                <c:pt idx="3789">
                  <c:v>0.68114143920595505</c:v>
                </c:pt>
                <c:pt idx="3790">
                  <c:v>0.68115942028985499</c:v>
                </c:pt>
                <c:pt idx="3791">
                  <c:v>0.68125000000000002</c:v>
                </c:pt>
                <c:pt idx="3792">
                  <c:v>0.68126094570928197</c:v>
                </c:pt>
                <c:pt idx="3793">
                  <c:v>0.68128654970760205</c:v>
                </c:pt>
                <c:pt idx="3794">
                  <c:v>0.68128916741271295</c:v>
                </c:pt>
                <c:pt idx="3795">
                  <c:v>0.68135593220338997</c:v>
                </c:pt>
                <c:pt idx="3796">
                  <c:v>0.68142968142968097</c:v>
                </c:pt>
                <c:pt idx="3797">
                  <c:v>0.68147013782542099</c:v>
                </c:pt>
                <c:pt idx="3798">
                  <c:v>0.681506849315068</c:v>
                </c:pt>
                <c:pt idx="3799">
                  <c:v>0.68151447661469899</c:v>
                </c:pt>
                <c:pt idx="3800">
                  <c:v>0.68170426065162903</c:v>
                </c:pt>
                <c:pt idx="3801">
                  <c:v>0.68172043010752703</c:v>
                </c:pt>
                <c:pt idx="3802">
                  <c:v>0.681724845995893</c:v>
                </c:pt>
                <c:pt idx="3803">
                  <c:v>0.68174726989079504</c:v>
                </c:pt>
                <c:pt idx="3804">
                  <c:v>0.68181818181818199</c:v>
                </c:pt>
                <c:pt idx="3805">
                  <c:v>0.68181818181818199</c:v>
                </c:pt>
                <c:pt idx="3806">
                  <c:v>0.68181818181818199</c:v>
                </c:pt>
                <c:pt idx="3807">
                  <c:v>0.68195718654434201</c:v>
                </c:pt>
                <c:pt idx="3808">
                  <c:v>0.68196721311475395</c:v>
                </c:pt>
                <c:pt idx="3809">
                  <c:v>0.68214285714285705</c:v>
                </c:pt>
                <c:pt idx="3810">
                  <c:v>0.68217054263565902</c:v>
                </c:pt>
                <c:pt idx="3811">
                  <c:v>0.682210708117444</c:v>
                </c:pt>
                <c:pt idx="3812">
                  <c:v>0.682318415260455</c:v>
                </c:pt>
                <c:pt idx="3813">
                  <c:v>0.68240343347639498</c:v>
                </c:pt>
                <c:pt idx="3814">
                  <c:v>0.68241758241758199</c:v>
                </c:pt>
                <c:pt idx="3815">
                  <c:v>0.68243243243243201</c:v>
                </c:pt>
                <c:pt idx="3816">
                  <c:v>0.68249258160237403</c:v>
                </c:pt>
                <c:pt idx="3817">
                  <c:v>0.68258426966292096</c:v>
                </c:pt>
                <c:pt idx="3818">
                  <c:v>0.68262653898768799</c:v>
                </c:pt>
                <c:pt idx="3819">
                  <c:v>0.68263473053892199</c:v>
                </c:pt>
                <c:pt idx="3820">
                  <c:v>0.68265682656826598</c:v>
                </c:pt>
                <c:pt idx="3821">
                  <c:v>0.68273092369477895</c:v>
                </c:pt>
                <c:pt idx="3822">
                  <c:v>0.68275862068965498</c:v>
                </c:pt>
                <c:pt idx="3823">
                  <c:v>0.68291139240506304</c:v>
                </c:pt>
                <c:pt idx="3824">
                  <c:v>0.68292682926829296</c:v>
                </c:pt>
                <c:pt idx="3825">
                  <c:v>0.68292682926829296</c:v>
                </c:pt>
                <c:pt idx="3826">
                  <c:v>0.68298969072164895</c:v>
                </c:pt>
                <c:pt idx="3827">
                  <c:v>0.68300653594771199</c:v>
                </c:pt>
                <c:pt idx="3828">
                  <c:v>0.68300653594771199</c:v>
                </c:pt>
                <c:pt idx="3829">
                  <c:v>0.68302257114818399</c:v>
                </c:pt>
                <c:pt idx="3830">
                  <c:v>0.68305304010349299</c:v>
                </c:pt>
                <c:pt idx="3831">
                  <c:v>0.68306010928961702</c:v>
                </c:pt>
                <c:pt idx="3832">
                  <c:v>0.68313458262350901</c:v>
                </c:pt>
                <c:pt idx="3833">
                  <c:v>0.68313953488372103</c:v>
                </c:pt>
                <c:pt idx="3834">
                  <c:v>0.683168316831683</c:v>
                </c:pt>
                <c:pt idx="3835">
                  <c:v>0.68325791855203599</c:v>
                </c:pt>
                <c:pt idx="3836">
                  <c:v>0.68327974276527303</c:v>
                </c:pt>
                <c:pt idx="3837">
                  <c:v>0.68327974276527303</c:v>
                </c:pt>
                <c:pt idx="3838">
                  <c:v>0.68328840970350402</c:v>
                </c:pt>
                <c:pt idx="3839">
                  <c:v>0.68339100346020798</c:v>
                </c:pt>
                <c:pt idx="3840">
                  <c:v>0.68339768339768303</c:v>
                </c:pt>
                <c:pt idx="3841">
                  <c:v>0.68342644320297896</c:v>
                </c:pt>
                <c:pt idx="3842">
                  <c:v>0.68345323741007202</c:v>
                </c:pt>
                <c:pt idx="3843">
                  <c:v>0.68346774193548399</c:v>
                </c:pt>
                <c:pt idx="3844">
                  <c:v>0.68350168350168305</c:v>
                </c:pt>
                <c:pt idx="3845">
                  <c:v>0.683544303797468</c:v>
                </c:pt>
                <c:pt idx="3846">
                  <c:v>0.68356750152718404</c:v>
                </c:pt>
                <c:pt idx="3847">
                  <c:v>0.68367346938775497</c:v>
                </c:pt>
                <c:pt idx="3848">
                  <c:v>0.68369028006589805</c:v>
                </c:pt>
                <c:pt idx="3849">
                  <c:v>0.68369829683698302</c:v>
                </c:pt>
                <c:pt idx="3850">
                  <c:v>0.68369829683698302</c:v>
                </c:pt>
                <c:pt idx="3851">
                  <c:v>0.68373493975903599</c:v>
                </c:pt>
                <c:pt idx="3852">
                  <c:v>0.68381897086174803</c:v>
                </c:pt>
                <c:pt idx="3853">
                  <c:v>0.68384879725085901</c:v>
                </c:pt>
                <c:pt idx="3854">
                  <c:v>0.68404907975460105</c:v>
                </c:pt>
                <c:pt idx="3855">
                  <c:v>0.68408551068883605</c:v>
                </c:pt>
                <c:pt idx="3856">
                  <c:v>0.68421052631578905</c:v>
                </c:pt>
                <c:pt idx="3857">
                  <c:v>0.68421052631578905</c:v>
                </c:pt>
                <c:pt idx="3858">
                  <c:v>0.68421052631578905</c:v>
                </c:pt>
                <c:pt idx="3859">
                  <c:v>0.68421052631578905</c:v>
                </c:pt>
                <c:pt idx="3860">
                  <c:v>0.68421052631578905</c:v>
                </c:pt>
                <c:pt idx="3861">
                  <c:v>0.68421052631578905</c:v>
                </c:pt>
                <c:pt idx="3862">
                  <c:v>0.68421052631578905</c:v>
                </c:pt>
                <c:pt idx="3863">
                  <c:v>0.68432203389830504</c:v>
                </c:pt>
                <c:pt idx="3864">
                  <c:v>0.68434343434343403</c:v>
                </c:pt>
                <c:pt idx="3865">
                  <c:v>0.68434343434343403</c:v>
                </c:pt>
                <c:pt idx="3866">
                  <c:v>0.68442622950819698</c:v>
                </c:pt>
                <c:pt idx="3867">
                  <c:v>0.684486373165618</c:v>
                </c:pt>
                <c:pt idx="3868">
                  <c:v>0.68451519536903005</c:v>
                </c:pt>
                <c:pt idx="3869">
                  <c:v>0.68453105968331296</c:v>
                </c:pt>
                <c:pt idx="3870">
                  <c:v>0.68456375838926198</c:v>
                </c:pt>
                <c:pt idx="3871">
                  <c:v>0.68456947996589901</c:v>
                </c:pt>
                <c:pt idx="3872">
                  <c:v>0.684579439252336</c:v>
                </c:pt>
                <c:pt idx="3873">
                  <c:v>0.68464730290456399</c:v>
                </c:pt>
                <c:pt idx="3874">
                  <c:v>0.68468468468468502</c:v>
                </c:pt>
                <c:pt idx="3875">
                  <c:v>0.68470588235294105</c:v>
                </c:pt>
                <c:pt idx="3876">
                  <c:v>0.684782608695652</c:v>
                </c:pt>
                <c:pt idx="3877">
                  <c:v>0.68484848484848504</c:v>
                </c:pt>
                <c:pt idx="3878">
                  <c:v>0.68493150684931503</c:v>
                </c:pt>
                <c:pt idx="3879">
                  <c:v>0.68493150684931503</c:v>
                </c:pt>
                <c:pt idx="3880">
                  <c:v>0.68505079825834503</c:v>
                </c:pt>
                <c:pt idx="3881">
                  <c:v>0.68505079825834503</c:v>
                </c:pt>
                <c:pt idx="3882">
                  <c:v>0.685057471264368</c:v>
                </c:pt>
                <c:pt idx="3883">
                  <c:v>0.68513513513513502</c:v>
                </c:pt>
                <c:pt idx="3884">
                  <c:v>0.68516833484986295</c:v>
                </c:pt>
                <c:pt idx="3885">
                  <c:v>0.68518518518518501</c:v>
                </c:pt>
                <c:pt idx="3886">
                  <c:v>0.68521954236239901</c:v>
                </c:pt>
                <c:pt idx="3887">
                  <c:v>0.68525896414342602</c:v>
                </c:pt>
                <c:pt idx="3888">
                  <c:v>0.68530020703933703</c:v>
                </c:pt>
                <c:pt idx="3889">
                  <c:v>0.68531889290012005</c:v>
                </c:pt>
                <c:pt idx="3890">
                  <c:v>0.68534482758620696</c:v>
                </c:pt>
                <c:pt idx="3891">
                  <c:v>0.68534482758620696</c:v>
                </c:pt>
                <c:pt idx="3892">
                  <c:v>0.68541080912214902</c:v>
                </c:pt>
                <c:pt idx="3893">
                  <c:v>0.68548387096774199</c:v>
                </c:pt>
                <c:pt idx="3894">
                  <c:v>0.68556701030927802</c:v>
                </c:pt>
                <c:pt idx="3895">
                  <c:v>0.68556701030927802</c:v>
                </c:pt>
                <c:pt idx="3896">
                  <c:v>0.68558951965065495</c:v>
                </c:pt>
                <c:pt idx="3897">
                  <c:v>0.68566493955094998</c:v>
                </c:pt>
                <c:pt idx="3898">
                  <c:v>0.68571428571428605</c:v>
                </c:pt>
                <c:pt idx="3899">
                  <c:v>0.68571428571428605</c:v>
                </c:pt>
                <c:pt idx="3900">
                  <c:v>0.68571428571428605</c:v>
                </c:pt>
                <c:pt idx="3901">
                  <c:v>0.68571428571428605</c:v>
                </c:pt>
                <c:pt idx="3902">
                  <c:v>0.68571428571428605</c:v>
                </c:pt>
                <c:pt idx="3903">
                  <c:v>0.68571428571428605</c:v>
                </c:pt>
                <c:pt idx="3904">
                  <c:v>0.68571428571428605</c:v>
                </c:pt>
                <c:pt idx="3905">
                  <c:v>0.68574766355140204</c:v>
                </c:pt>
                <c:pt idx="3906">
                  <c:v>0.68581081081081097</c:v>
                </c:pt>
                <c:pt idx="3907">
                  <c:v>0.68585365853658498</c:v>
                </c:pt>
                <c:pt idx="3908">
                  <c:v>0.68589743589743601</c:v>
                </c:pt>
                <c:pt idx="3909">
                  <c:v>0.68589743589743601</c:v>
                </c:pt>
                <c:pt idx="3910">
                  <c:v>0.68595041322313999</c:v>
                </c:pt>
                <c:pt idx="3911">
                  <c:v>0.68609865470852005</c:v>
                </c:pt>
                <c:pt idx="3912">
                  <c:v>0.68613138686131403</c:v>
                </c:pt>
                <c:pt idx="3913">
                  <c:v>0.68615984405458097</c:v>
                </c:pt>
                <c:pt idx="3914">
                  <c:v>0.686162624821683</c:v>
                </c:pt>
                <c:pt idx="3915">
                  <c:v>0.68620037807183398</c:v>
                </c:pt>
                <c:pt idx="3916">
                  <c:v>0.68621700879765402</c:v>
                </c:pt>
                <c:pt idx="3917">
                  <c:v>0.68623481781376505</c:v>
                </c:pt>
                <c:pt idx="3918">
                  <c:v>0.68627450980392102</c:v>
                </c:pt>
                <c:pt idx="3919">
                  <c:v>0.68630136986301404</c:v>
                </c:pt>
                <c:pt idx="3920">
                  <c:v>0.686351706036745</c:v>
                </c:pt>
                <c:pt idx="3921">
                  <c:v>0.68641114982578399</c:v>
                </c:pt>
                <c:pt idx="3922">
                  <c:v>0.68644067796610198</c:v>
                </c:pt>
                <c:pt idx="3923">
                  <c:v>0.68644067796610198</c:v>
                </c:pt>
                <c:pt idx="3924">
                  <c:v>0.68647764449291204</c:v>
                </c:pt>
                <c:pt idx="3925">
                  <c:v>0.68656716417910402</c:v>
                </c:pt>
                <c:pt idx="3926">
                  <c:v>0.68660287081339699</c:v>
                </c:pt>
                <c:pt idx="3927">
                  <c:v>0.68661971830985902</c:v>
                </c:pt>
                <c:pt idx="3928">
                  <c:v>0.68663594470046097</c:v>
                </c:pt>
                <c:pt idx="3929">
                  <c:v>0.68670309653916195</c:v>
                </c:pt>
                <c:pt idx="3930">
                  <c:v>0.68676545733265204</c:v>
                </c:pt>
                <c:pt idx="3931">
                  <c:v>0.68677042801556398</c:v>
                </c:pt>
                <c:pt idx="3932">
                  <c:v>0.68681983071342201</c:v>
                </c:pt>
                <c:pt idx="3933">
                  <c:v>0.686878727634195</c:v>
                </c:pt>
                <c:pt idx="3934">
                  <c:v>0.68694550063371296</c:v>
                </c:pt>
                <c:pt idx="3935">
                  <c:v>0.68697478991596606</c:v>
                </c:pt>
                <c:pt idx="3936">
                  <c:v>0.68707172224760105</c:v>
                </c:pt>
                <c:pt idx="3937">
                  <c:v>0.68717948717948696</c:v>
                </c:pt>
                <c:pt idx="3938">
                  <c:v>0.68720379146919397</c:v>
                </c:pt>
                <c:pt idx="3939">
                  <c:v>0.68722466960352402</c:v>
                </c:pt>
                <c:pt idx="3940">
                  <c:v>0.68722466960352402</c:v>
                </c:pt>
                <c:pt idx="3941">
                  <c:v>0.687242798353909</c:v>
                </c:pt>
                <c:pt idx="3942">
                  <c:v>0.687242798353909</c:v>
                </c:pt>
                <c:pt idx="3943">
                  <c:v>0.68727705112960702</c:v>
                </c:pt>
                <c:pt idx="3944">
                  <c:v>0.68738229755178903</c:v>
                </c:pt>
                <c:pt idx="3945">
                  <c:v>0.68741291221551304</c:v>
                </c:pt>
                <c:pt idx="3946">
                  <c:v>0.6875</c:v>
                </c:pt>
                <c:pt idx="3947">
                  <c:v>0.6875</c:v>
                </c:pt>
                <c:pt idx="3948">
                  <c:v>0.6875</c:v>
                </c:pt>
                <c:pt idx="3949">
                  <c:v>0.6875</c:v>
                </c:pt>
                <c:pt idx="3950">
                  <c:v>0.68759811616954503</c:v>
                </c:pt>
                <c:pt idx="3951">
                  <c:v>0.68763102725366898</c:v>
                </c:pt>
                <c:pt idx="3952">
                  <c:v>0.68764568764568801</c:v>
                </c:pt>
                <c:pt idx="3953">
                  <c:v>0.68783068783068801</c:v>
                </c:pt>
                <c:pt idx="3954">
                  <c:v>0.68788598574821802</c:v>
                </c:pt>
                <c:pt idx="3955">
                  <c:v>0.68794326241134696</c:v>
                </c:pt>
                <c:pt idx="3956">
                  <c:v>0.68799999999999994</c:v>
                </c:pt>
                <c:pt idx="3957">
                  <c:v>0.68803176403857003</c:v>
                </c:pt>
                <c:pt idx="3958">
                  <c:v>0.68804159445407298</c:v>
                </c:pt>
                <c:pt idx="3959">
                  <c:v>0.68806699232379598</c:v>
                </c:pt>
                <c:pt idx="3960">
                  <c:v>0.68807707747892399</c:v>
                </c:pt>
                <c:pt idx="3961">
                  <c:v>0.68814432989690699</c:v>
                </c:pt>
                <c:pt idx="3962">
                  <c:v>0.68815331010452996</c:v>
                </c:pt>
                <c:pt idx="3963">
                  <c:v>0.68815592203898002</c:v>
                </c:pt>
                <c:pt idx="3964">
                  <c:v>0.68817204301075297</c:v>
                </c:pt>
                <c:pt idx="3965">
                  <c:v>0.68822328114363496</c:v>
                </c:pt>
                <c:pt idx="3966">
                  <c:v>0.68823529411764695</c:v>
                </c:pt>
                <c:pt idx="3967">
                  <c:v>0.688271604938271</c:v>
                </c:pt>
                <c:pt idx="3968">
                  <c:v>0.68827930174563601</c:v>
                </c:pt>
                <c:pt idx="3969">
                  <c:v>0.68831168831168799</c:v>
                </c:pt>
                <c:pt idx="3970">
                  <c:v>0.68831168831168799</c:v>
                </c:pt>
                <c:pt idx="3971">
                  <c:v>0.688405797101449</c:v>
                </c:pt>
                <c:pt idx="3972">
                  <c:v>0.68844221105527603</c:v>
                </c:pt>
                <c:pt idx="3973">
                  <c:v>0.68846153846153801</c:v>
                </c:pt>
                <c:pt idx="3974">
                  <c:v>0.688555347091932</c:v>
                </c:pt>
                <c:pt idx="3975">
                  <c:v>0.68860759493670898</c:v>
                </c:pt>
                <c:pt idx="3976">
                  <c:v>0.68869936034115098</c:v>
                </c:pt>
                <c:pt idx="3977">
                  <c:v>0.68884892086330896</c:v>
                </c:pt>
                <c:pt idx="3978">
                  <c:v>0.68885191347753705</c:v>
                </c:pt>
                <c:pt idx="3979">
                  <c:v>0.68888888888888899</c:v>
                </c:pt>
                <c:pt idx="3980">
                  <c:v>0.68893528183716102</c:v>
                </c:pt>
                <c:pt idx="3981">
                  <c:v>0.68901989683124498</c:v>
                </c:pt>
                <c:pt idx="3982">
                  <c:v>0.68902439024390205</c:v>
                </c:pt>
                <c:pt idx="3983">
                  <c:v>0.68905950095969304</c:v>
                </c:pt>
                <c:pt idx="3984">
                  <c:v>0.68917018284106901</c:v>
                </c:pt>
                <c:pt idx="3985">
                  <c:v>0.68918918918918903</c:v>
                </c:pt>
                <c:pt idx="3986">
                  <c:v>0.68920282542886002</c:v>
                </c:pt>
                <c:pt idx="3987">
                  <c:v>0.68923076923076898</c:v>
                </c:pt>
                <c:pt idx="3988">
                  <c:v>0.68929503916449097</c:v>
                </c:pt>
                <c:pt idx="3989">
                  <c:v>0.68948035487959403</c:v>
                </c:pt>
                <c:pt idx="3990">
                  <c:v>0.68949044585987296</c:v>
                </c:pt>
                <c:pt idx="3991">
                  <c:v>0.689526184538653</c:v>
                </c:pt>
                <c:pt idx="3992">
                  <c:v>0.68953687821612297</c:v>
                </c:pt>
                <c:pt idx="3993">
                  <c:v>0.68955223880597005</c:v>
                </c:pt>
                <c:pt idx="3994">
                  <c:v>0.68955223880597005</c:v>
                </c:pt>
                <c:pt idx="3995">
                  <c:v>0.68956849602010895</c:v>
                </c:pt>
                <c:pt idx="3996">
                  <c:v>0.68960165545783703</c:v>
                </c:pt>
                <c:pt idx="3997">
                  <c:v>0.68965517241379304</c:v>
                </c:pt>
                <c:pt idx="3998">
                  <c:v>0.68965517241379304</c:v>
                </c:pt>
                <c:pt idx="3999">
                  <c:v>0.68969696969697003</c:v>
                </c:pt>
                <c:pt idx="4000">
                  <c:v>0.68974943052391802</c:v>
                </c:pt>
                <c:pt idx="4001">
                  <c:v>0.68975468975469001</c:v>
                </c:pt>
                <c:pt idx="4002">
                  <c:v>0.68993839835728898</c:v>
                </c:pt>
                <c:pt idx="4003">
                  <c:v>0.69007263922518103</c:v>
                </c:pt>
                <c:pt idx="4004">
                  <c:v>0.69009584664536705</c:v>
                </c:pt>
                <c:pt idx="4005">
                  <c:v>0.69010629599345896</c:v>
                </c:pt>
                <c:pt idx="4006">
                  <c:v>0.69014084507042195</c:v>
                </c:pt>
                <c:pt idx="4007">
                  <c:v>0.69014084507042195</c:v>
                </c:pt>
                <c:pt idx="4008">
                  <c:v>0.69019607843137198</c:v>
                </c:pt>
                <c:pt idx="4009">
                  <c:v>0.69020172910662803</c:v>
                </c:pt>
                <c:pt idx="4010">
                  <c:v>0.690217391304348</c:v>
                </c:pt>
                <c:pt idx="4011">
                  <c:v>0.69026548672566401</c:v>
                </c:pt>
                <c:pt idx="4012">
                  <c:v>0.69035087719298205</c:v>
                </c:pt>
                <c:pt idx="4013">
                  <c:v>0.69035532994923798</c:v>
                </c:pt>
                <c:pt idx="4014">
                  <c:v>0.69047619047619002</c:v>
                </c:pt>
                <c:pt idx="4015">
                  <c:v>0.69047619047619002</c:v>
                </c:pt>
                <c:pt idx="4016">
                  <c:v>0.69049098819142296</c:v>
                </c:pt>
                <c:pt idx="4017">
                  <c:v>0.69054441260745003</c:v>
                </c:pt>
                <c:pt idx="4018">
                  <c:v>0.69054441260745003</c:v>
                </c:pt>
                <c:pt idx="4019">
                  <c:v>0.69058295964125505</c:v>
                </c:pt>
                <c:pt idx="4020">
                  <c:v>0.69064748201438797</c:v>
                </c:pt>
                <c:pt idx="4021">
                  <c:v>0.69075144508670505</c:v>
                </c:pt>
                <c:pt idx="4022">
                  <c:v>0.69077306733167099</c:v>
                </c:pt>
                <c:pt idx="4023">
                  <c:v>0.69090909090909103</c:v>
                </c:pt>
                <c:pt idx="4024">
                  <c:v>0.69090909090909103</c:v>
                </c:pt>
                <c:pt idx="4025">
                  <c:v>0.69094138543516903</c:v>
                </c:pt>
                <c:pt idx="4026">
                  <c:v>0.69097222222222199</c:v>
                </c:pt>
                <c:pt idx="4027">
                  <c:v>0.69105691056910601</c:v>
                </c:pt>
                <c:pt idx="4028">
                  <c:v>0.69109947643978997</c:v>
                </c:pt>
                <c:pt idx="4029">
                  <c:v>0.69117647058823495</c:v>
                </c:pt>
                <c:pt idx="4030">
                  <c:v>0.69117647058823495</c:v>
                </c:pt>
                <c:pt idx="4031">
                  <c:v>0.69117647058823495</c:v>
                </c:pt>
                <c:pt idx="4032">
                  <c:v>0.69121813031161505</c:v>
                </c:pt>
                <c:pt idx="4033">
                  <c:v>0.69135802469135799</c:v>
                </c:pt>
                <c:pt idx="4034">
                  <c:v>0.69135802469135799</c:v>
                </c:pt>
                <c:pt idx="4035">
                  <c:v>0.69148936170212805</c:v>
                </c:pt>
                <c:pt idx="4036">
                  <c:v>0.69149952244508095</c:v>
                </c:pt>
                <c:pt idx="4037">
                  <c:v>0.69152542372881298</c:v>
                </c:pt>
                <c:pt idx="4038">
                  <c:v>0.691542288557214</c:v>
                </c:pt>
                <c:pt idx="4039">
                  <c:v>0.69160231660231697</c:v>
                </c:pt>
                <c:pt idx="4040">
                  <c:v>0.69161676646706605</c:v>
                </c:pt>
                <c:pt idx="4041">
                  <c:v>0.69169960474308301</c:v>
                </c:pt>
                <c:pt idx="4042">
                  <c:v>0.69171779141104295</c:v>
                </c:pt>
                <c:pt idx="4043">
                  <c:v>0.69180327868852398</c:v>
                </c:pt>
                <c:pt idx="4044">
                  <c:v>0.69182389937106903</c:v>
                </c:pt>
                <c:pt idx="4045">
                  <c:v>0.69182389937106903</c:v>
                </c:pt>
                <c:pt idx="4046">
                  <c:v>0.69190600522193202</c:v>
                </c:pt>
                <c:pt idx="4047">
                  <c:v>0.69196428571428603</c:v>
                </c:pt>
                <c:pt idx="4048">
                  <c:v>0.69199999999999995</c:v>
                </c:pt>
                <c:pt idx="4049">
                  <c:v>0.69204152249134898</c:v>
                </c:pt>
                <c:pt idx="4050">
                  <c:v>0.69207317073170704</c:v>
                </c:pt>
                <c:pt idx="4051">
                  <c:v>0.69215686274509802</c:v>
                </c:pt>
                <c:pt idx="4052">
                  <c:v>0.69215876089061001</c:v>
                </c:pt>
                <c:pt idx="4053">
                  <c:v>0.69230769230769196</c:v>
                </c:pt>
                <c:pt idx="4054">
                  <c:v>0.69230769230769196</c:v>
                </c:pt>
                <c:pt idx="4055">
                  <c:v>0.69230769230769196</c:v>
                </c:pt>
                <c:pt idx="4056">
                  <c:v>0.69230769230769196</c:v>
                </c:pt>
                <c:pt idx="4057">
                  <c:v>0.69230769230769196</c:v>
                </c:pt>
                <c:pt idx="4058">
                  <c:v>0.69230769230769196</c:v>
                </c:pt>
                <c:pt idx="4059">
                  <c:v>0.69230769230769196</c:v>
                </c:pt>
                <c:pt idx="4060">
                  <c:v>0.69240196078431404</c:v>
                </c:pt>
                <c:pt idx="4061">
                  <c:v>0.69244288224956096</c:v>
                </c:pt>
                <c:pt idx="4062">
                  <c:v>0.69248826291079801</c:v>
                </c:pt>
                <c:pt idx="4063">
                  <c:v>0.69251336898395699</c:v>
                </c:pt>
                <c:pt idx="4064">
                  <c:v>0.69277108433734902</c:v>
                </c:pt>
                <c:pt idx="4065">
                  <c:v>0.69281585466556495</c:v>
                </c:pt>
                <c:pt idx="4066">
                  <c:v>0.69283276450511899</c:v>
                </c:pt>
                <c:pt idx="4067">
                  <c:v>0.69284467713787101</c:v>
                </c:pt>
                <c:pt idx="4068">
                  <c:v>0.69285714285714295</c:v>
                </c:pt>
                <c:pt idx="4069">
                  <c:v>0.69285714285714295</c:v>
                </c:pt>
                <c:pt idx="4070">
                  <c:v>0.69288389513108595</c:v>
                </c:pt>
                <c:pt idx="4071">
                  <c:v>0.69288389513108595</c:v>
                </c:pt>
                <c:pt idx="4072">
                  <c:v>0.69298245614035103</c:v>
                </c:pt>
                <c:pt idx="4073">
                  <c:v>0.69298245614035103</c:v>
                </c:pt>
                <c:pt idx="4074">
                  <c:v>0.69301712779973601</c:v>
                </c:pt>
                <c:pt idx="4075">
                  <c:v>0.69302325581395297</c:v>
                </c:pt>
                <c:pt idx="4076">
                  <c:v>0.693029490616622</c:v>
                </c:pt>
                <c:pt idx="4077">
                  <c:v>0.69307976756471201</c:v>
                </c:pt>
                <c:pt idx="4078">
                  <c:v>0.693086003372681</c:v>
                </c:pt>
                <c:pt idx="4079">
                  <c:v>0.693150684931507</c:v>
                </c:pt>
                <c:pt idx="4080">
                  <c:v>0.69321533923303802</c:v>
                </c:pt>
                <c:pt idx="4081">
                  <c:v>0.69323843416370101</c:v>
                </c:pt>
                <c:pt idx="4082">
                  <c:v>0.69325153374233095</c:v>
                </c:pt>
                <c:pt idx="4083">
                  <c:v>0.69327731092436995</c:v>
                </c:pt>
                <c:pt idx="4084">
                  <c:v>0.69330855018587301</c:v>
                </c:pt>
                <c:pt idx="4085">
                  <c:v>0.69337016574585597</c:v>
                </c:pt>
                <c:pt idx="4086">
                  <c:v>0.69337442218798095</c:v>
                </c:pt>
                <c:pt idx="4087">
                  <c:v>0.69339272457312495</c:v>
                </c:pt>
                <c:pt idx="4088">
                  <c:v>0.69341894060995202</c:v>
                </c:pt>
                <c:pt idx="4089">
                  <c:v>0.69349845201238403</c:v>
                </c:pt>
                <c:pt idx="4090">
                  <c:v>0.69350649350649296</c:v>
                </c:pt>
                <c:pt idx="4091">
                  <c:v>0.69354838709677402</c:v>
                </c:pt>
                <c:pt idx="4092">
                  <c:v>0.69354838709677402</c:v>
                </c:pt>
                <c:pt idx="4093">
                  <c:v>0.69358974358974301</c:v>
                </c:pt>
                <c:pt idx="4094">
                  <c:v>0.69360902255639101</c:v>
                </c:pt>
                <c:pt idx="4095">
                  <c:v>0.69366197183098599</c:v>
                </c:pt>
                <c:pt idx="4096">
                  <c:v>0.69374999999999998</c:v>
                </c:pt>
                <c:pt idx="4097">
                  <c:v>0.69376693766937703</c:v>
                </c:pt>
                <c:pt idx="4098">
                  <c:v>0.69377162629757805</c:v>
                </c:pt>
                <c:pt idx="4099">
                  <c:v>0.69379014989293397</c:v>
                </c:pt>
                <c:pt idx="4100">
                  <c:v>0.69382273948075202</c:v>
                </c:pt>
                <c:pt idx="4101">
                  <c:v>0.69382863990413401</c:v>
                </c:pt>
                <c:pt idx="4102">
                  <c:v>0.69387755102040805</c:v>
                </c:pt>
                <c:pt idx="4103">
                  <c:v>0.69387755102040805</c:v>
                </c:pt>
                <c:pt idx="4104">
                  <c:v>0.69387755102040805</c:v>
                </c:pt>
                <c:pt idx="4105">
                  <c:v>0.69393939393939397</c:v>
                </c:pt>
                <c:pt idx="4106">
                  <c:v>0.69401709401709399</c:v>
                </c:pt>
                <c:pt idx="4107">
                  <c:v>0.69407008086253397</c:v>
                </c:pt>
                <c:pt idx="4108">
                  <c:v>0.69411764705882295</c:v>
                </c:pt>
                <c:pt idx="4109">
                  <c:v>0.69419642857142805</c:v>
                </c:pt>
                <c:pt idx="4110">
                  <c:v>0.69420035149384896</c:v>
                </c:pt>
                <c:pt idx="4111">
                  <c:v>0.69421487603305798</c:v>
                </c:pt>
                <c:pt idx="4112">
                  <c:v>0.69422572178477704</c:v>
                </c:pt>
                <c:pt idx="4113">
                  <c:v>0.69425087108013905</c:v>
                </c:pt>
                <c:pt idx="4114">
                  <c:v>0.69426751592356695</c:v>
                </c:pt>
                <c:pt idx="4115">
                  <c:v>0.69431279620853104</c:v>
                </c:pt>
                <c:pt idx="4116">
                  <c:v>0.69444444444444398</c:v>
                </c:pt>
                <c:pt idx="4117">
                  <c:v>0.69444444444444398</c:v>
                </c:pt>
                <c:pt idx="4118">
                  <c:v>0.69444444444444398</c:v>
                </c:pt>
                <c:pt idx="4119">
                  <c:v>0.69449081803004997</c:v>
                </c:pt>
                <c:pt idx="4120">
                  <c:v>0.69454545454545402</c:v>
                </c:pt>
                <c:pt idx="4121">
                  <c:v>0.69458762886597902</c:v>
                </c:pt>
                <c:pt idx="4122">
                  <c:v>0.69465960048919695</c:v>
                </c:pt>
                <c:pt idx="4123">
                  <c:v>0.69471947194719497</c:v>
                </c:pt>
                <c:pt idx="4124">
                  <c:v>0.69473684210526299</c:v>
                </c:pt>
                <c:pt idx="4125">
                  <c:v>0.69481132075471697</c:v>
                </c:pt>
                <c:pt idx="4126">
                  <c:v>0.69482173174872697</c:v>
                </c:pt>
                <c:pt idx="4127">
                  <c:v>0.69483870967741901</c:v>
                </c:pt>
                <c:pt idx="4128">
                  <c:v>0.69487750556792904</c:v>
                </c:pt>
                <c:pt idx="4129">
                  <c:v>0.69509043927648595</c:v>
                </c:pt>
                <c:pt idx="4130">
                  <c:v>0.69512966476913296</c:v>
                </c:pt>
                <c:pt idx="4131">
                  <c:v>0.69514237855946404</c:v>
                </c:pt>
                <c:pt idx="4132">
                  <c:v>0.6953125</c:v>
                </c:pt>
                <c:pt idx="4133">
                  <c:v>0.69540229885057503</c:v>
                </c:pt>
                <c:pt idx="4134">
                  <c:v>0.69546436285097202</c:v>
                </c:pt>
                <c:pt idx="4135">
                  <c:v>0.69565217391304301</c:v>
                </c:pt>
                <c:pt idx="4136">
                  <c:v>0.69565217391304301</c:v>
                </c:pt>
                <c:pt idx="4137">
                  <c:v>0.69565217391304301</c:v>
                </c:pt>
                <c:pt idx="4138">
                  <c:v>0.69572649572649603</c:v>
                </c:pt>
                <c:pt idx="4139">
                  <c:v>0.69581190301249096</c:v>
                </c:pt>
                <c:pt idx="4140">
                  <c:v>0.69584109248913695</c:v>
                </c:pt>
                <c:pt idx="4141">
                  <c:v>0.69585253456221197</c:v>
                </c:pt>
                <c:pt idx="4142">
                  <c:v>0.69587109768378597</c:v>
                </c:pt>
                <c:pt idx="4143">
                  <c:v>0.69592476489028199</c:v>
                </c:pt>
                <c:pt idx="4144">
                  <c:v>0.69594594594594605</c:v>
                </c:pt>
                <c:pt idx="4145">
                  <c:v>0.69599999999999995</c:v>
                </c:pt>
                <c:pt idx="4146">
                  <c:v>0.69602763385146804</c:v>
                </c:pt>
                <c:pt idx="4147">
                  <c:v>0.69603524229074898</c:v>
                </c:pt>
                <c:pt idx="4148">
                  <c:v>0.69604863221884505</c:v>
                </c:pt>
                <c:pt idx="4149">
                  <c:v>0.69614299153339598</c:v>
                </c:pt>
                <c:pt idx="4150">
                  <c:v>0.69616519174041303</c:v>
                </c:pt>
                <c:pt idx="4151">
                  <c:v>0.69620253164557</c:v>
                </c:pt>
                <c:pt idx="4152">
                  <c:v>0.69626168224299101</c:v>
                </c:pt>
                <c:pt idx="4153">
                  <c:v>0.69626168224299101</c:v>
                </c:pt>
                <c:pt idx="4154">
                  <c:v>0.69629629629629597</c:v>
                </c:pt>
                <c:pt idx="4155">
                  <c:v>0.69637462235649505</c:v>
                </c:pt>
                <c:pt idx="4156">
                  <c:v>0.69642857142857095</c:v>
                </c:pt>
                <c:pt idx="4157">
                  <c:v>0.69651741293532299</c:v>
                </c:pt>
                <c:pt idx="4158">
                  <c:v>0.69657364888731899</c:v>
                </c:pt>
                <c:pt idx="4159">
                  <c:v>0.69662921348314599</c:v>
                </c:pt>
                <c:pt idx="4160">
                  <c:v>0.69662921348314599</c:v>
                </c:pt>
                <c:pt idx="4161">
                  <c:v>0.69672678690714795</c:v>
                </c:pt>
                <c:pt idx="4162">
                  <c:v>0.69683481701285799</c:v>
                </c:pt>
                <c:pt idx="4163">
                  <c:v>0.69689737470167101</c:v>
                </c:pt>
                <c:pt idx="4164">
                  <c:v>0.69692058346839503</c:v>
                </c:pt>
                <c:pt idx="4165">
                  <c:v>0.69696969696969702</c:v>
                </c:pt>
                <c:pt idx="4166">
                  <c:v>0.69696969696969702</c:v>
                </c:pt>
                <c:pt idx="4167">
                  <c:v>0.69696969696969702</c:v>
                </c:pt>
                <c:pt idx="4168">
                  <c:v>0.69696969696969702</c:v>
                </c:pt>
                <c:pt idx="4169">
                  <c:v>0.69706498951782003</c:v>
                </c:pt>
                <c:pt idx="4170">
                  <c:v>0.69714285714285695</c:v>
                </c:pt>
                <c:pt idx="4171">
                  <c:v>0.69716599190283401</c:v>
                </c:pt>
                <c:pt idx="4172">
                  <c:v>0.69722557297949295</c:v>
                </c:pt>
                <c:pt idx="4173">
                  <c:v>0.69722814498933905</c:v>
                </c:pt>
                <c:pt idx="4174">
                  <c:v>0.69723018147086901</c:v>
                </c:pt>
                <c:pt idx="4175">
                  <c:v>0.69724770642201805</c:v>
                </c:pt>
                <c:pt idx="4176">
                  <c:v>0.69727891156462596</c:v>
                </c:pt>
                <c:pt idx="4177">
                  <c:v>0.69734151329243299</c:v>
                </c:pt>
                <c:pt idx="4178">
                  <c:v>0.69736842105263097</c:v>
                </c:pt>
                <c:pt idx="4179">
                  <c:v>0.69738562091503298</c:v>
                </c:pt>
                <c:pt idx="4180">
                  <c:v>0.69742198100407005</c:v>
                </c:pt>
                <c:pt idx="4181">
                  <c:v>0.69745222929936301</c:v>
                </c:pt>
                <c:pt idx="4182">
                  <c:v>0.69745454545454499</c:v>
                </c:pt>
                <c:pt idx="4183">
                  <c:v>0.69747899159663895</c:v>
                </c:pt>
                <c:pt idx="4184">
                  <c:v>0.69756097560975605</c:v>
                </c:pt>
                <c:pt idx="4185">
                  <c:v>0.69761029411764697</c:v>
                </c:pt>
                <c:pt idx="4186">
                  <c:v>0.69768786127167604</c:v>
                </c:pt>
                <c:pt idx="4187">
                  <c:v>0.69769503546099298</c:v>
                </c:pt>
                <c:pt idx="4188">
                  <c:v>0.69772727272727297</c:v>
                </c:pt>
                <c:pt idx="4189">
                  <c:v>0.69774288518155003</c:v>
                </c:pt>
                <c:pt idx="4190">
                  <c:v>0.69780219780219799</c:v>
                </c:pt>
                <c:pt idx="4191">
                  <c:v>0.69780219780219799</c:v>
                </c:pt>
                <c:pt idx="4192">
                  <c:v>0.69784172661870503</c:v>
                </c:pt>
                <c:pt idx="4193">
                  <c:v>0.69791666666666696</c:v>
                </c:pt>
                <c:pt idx="4194">
                  <c:v>0.69796170475602204</c:v>
                </c:pt>
                <c:pt idx="4195">
                  <c:v>0.69797859690844199</c:v>
                </c:pt>
                <c:pt idx="4196">
                  <c:v>0.69798657718120805</c:v>
                </c:pt>
                <c:pt idx="4197">
                  <c:v>0.69805194805194803</c:v>
                </c:pt>
                <c:pt idx="4198">
                  <c:v>0.698074974670719</c:v>
                </c:pt>
                <c:pt idx="4199">
                  <c:v>0.698083067092652</c:v>
                </c:pt>
                <c:pt idx="4200">
                  <c:v>0.69811320754716999</c:v>
                </c:pt>
                <c:pt idx="4201">
                  <c:v>0.69822485207100604</c:v>
                </c:pt>
                <c:pt idx="4202">
                  <c:v>0.69825436408977504</c:v>
                </c:pt>
                <c:pt idx="4203">
                  <c:v>0.69826224328594</c:v>
                </c:pt>
                <c:pt idx="4204">
                  <c:v>0.69834087481146301</c:v>
                </c:pt>
                <c:pt idx="4205">
                  <c:v>0.698375870069605</c:v>
                </c:pt>
                <c:pt idx="4206">
                  <c:v>0.69838056680161897</c:v>
                </c:pt>
                <c:pt idx="4207">
                  <c:v>0.69838709677419297</c:v>
                </c:pt>
                <c:pt idx="4208">
                  <c:v>0.69847328244274798</c:v>
                </c:pt>
                <c:pt idx="4209">
                  <c:v>0.69847715736040605</c:v>
                </c:pt>
                <c:pt idx="4210">
                  <c:v>0.69860064585575898</c:v>
                </c:pt>
                <c:pt idx="4211">
                  <c:v>0.69863013698630105</c:v>
                </c:pt>
                <c:pt idx="4212">
                  <c:v>0.69868995633187803</c:v>
                </c:pt>
                <c:pt idx="4213">
                  <c:v>0.69871794871794901</c:v>
                </c:pt>
                <c:pt idx="4214">
                  <c:v>0.69874476987447698</c:v>
                </c:pt>
                <c:pt idx="4215">
                  <c:v>0.69875424688561705</c:v>
                </c:pt>
                <c:pt idx="4216">
                  <c:v>0.69877049180327899</c:v>
                </c:pt>
                <c:pt idx="4217">
                  <c:v>0.69885433715220902</c:v>
                </c:pt>
                <c:pt idx="4218">
                  <c:v>0.69894099848714097</c:v>
                </c:pt>
                <c:pt idx="4219">
                  <c:v>0.698972099853157</c:v>
                </c:pt>
                <c:pt idx="4220">
                  <c:v>0.69917355371900802</c:v>
                </c:pt>
                <c:pt idx="4221">
                  <c:v>0.69922879177377895</c:v>
                </c:pt>
                <c:pt idx="4222">
                  <c:v>0.69929078014184398</c:v>
                </c:pt>
                <c:pt idx="4223">
                  <c:v>0.69931034482758603</c:v>
                </c:pt>
                <c:pt idx="4224">
                  <c:v>0.69942748091603002</c:v>
                </c:pt>
                <c:pt idx="4225">
                  <c:v>0.699438202247191</c:v>
                </c:pt>
                <c:pt idx="4226">
                  <c:v>0.69944341372912799</c:v>
                </c:pt>
                <c:pt idx="4227">
                  <c:v>0.69944751381215498</c:v>
                </c:pt>
                <c:pt idx="4228">
                  <c:v>0.69948186528497402</c:v>
                </c:pt>
                <c:pt idx="4229">
                  <c:v>0.69950248756218902</c:v>
                </c:pt>
                <c:pt idx="4230">
                  <c:v>0.69953775038520805</c:v>
                </c:pt>
                <c:pt idx="4231">
                  <c:v>0.69958847736625496</c:v>
                </c:pt>
                <c:pt idx="4232">
                  <c:v>0.69964664310953995</c:v>
                </c:pt>
                <c:pt idx="4233">
                  <c:v>0.69968051118210794</c:v>
                </c:pt>
                <c:pt idx="4234">
                  <c:v>0.69969040247678005</c:v>
                </c:pt>
                <c:pt idx="4235">
                  <c:v>0.69977426636568796</c:v>
                </c:pt>
                <c:pt idx="4236">
                  <c:v>0.69983948635633997</c:v>
                </c:pt>
                <c:pt idx="4237">
                  <c:v>0.69991617770326897</c:v>
                </c:pt>
                <c:pt idx="4238">
                  <c:v>0.7</c:v>
                </c:pt>
                <c:pt idx="4239">
                  <c:v>0.7</c:v>
                </c:pt>
                <c:pt idx="4240">
                  <c:v>0.7</c:v>
                </c:pt>
                <c:pt idx="4241">
                  <c:v>0.7</c:v>
                </c:pt>
                <c:pt idx="4242">
                  <c:v>0.7</c:v>
                </c:pt>
                <c:pt idx="4243">
                  <c:v>0.7</c:v>
                </c:pt>
                <c:pt idx="4244">
                  <c:v>0.7</c:v>
                </c:pt>
                <c:pt idx="4245">
                  <c:v>0.7</c:v>
                </c:pt>
                <c:pt idx="4246">
                  <c:v>0.70025188916876602</c:v>
                </c:pt>
                <c:pt idx="4247">
                  <c:v>0.70037453183520604</c:v>
                </c:pt>
                <c:pt idx="4248">
                  <c:v>0.70040485829959498</c:v>
                </c:pt>
                <c:pt idx="4249">
                  <c:v>0.70042796005706098</c:v>
                </c:pt>
                <c:pt idx="4250">
                  <c:v>0.70046082949308697</c:v>
                </c:pt>
                <c:pt idx="4251">
                  <c:v>0.70048309178743995</c:v>
                </c:pt>
                <c:pt idx="4252">
                  <c:v>0.70052083333333304</c:v>
                </c:pt>
                <c:pt idx="4253">
                  <c:v>0.70056497175141197</c:v>
                </c:pt>
                <c:pt idx="4254">
                  <c:v>0.70059215396003005</c:v>
                </c:pt>
                <c:pt idx="4255">
                  <c:v>0.70063694267515897</c:v>
                </c:pt>
                <c:pt idx="4256">
                  <c:v>0.70063694267515897</c:v>
                </c:pt>
                <c:pt idx="4257">
                  <c:v>0.70068965517241399</c:v>
                </c:pt>
                <c:pt idx="4258">
                  <c:v>0.70075757575757602</c:v>
                </c:pt>
                <c:pt idx="4259">
                  <c:v>0.70081967213114704</c:v>
                </c:pt>
                <c:pt idx="4260">
                  <c:v>0.70081967213114704</c:v>
                </c:pt>
                <c:pt idx="4261">
                  <c:v>0.700831024930748</c:v>
                </c:pt>
                <c:pt idx="4262">
                  <c:v>0.70087336244541498</c:v>
                </c:pt>
                <c:pt idx="4263">
                  <c:v>0.70087976539589403</c:v>
                </c:pt>
                <c:pt idx="4264">
                  <c:v>0.700953961012028</c:v>
                </c:pt>
                <c:pt idx="4265">
                  <c:v>0.70098039215686303</c:v>
                </c:pt>
                <c:pt idx="4266">
                  <c:v>0.70103092783505105</c:v>
                </c:pt>
                <c:pt idx="4267">
                  <c:v>0.70109066121336105</c:v>
                </c:pt>
                <c:pt idx="4268">
                  <c:v>0.70114942528735602</c:v>
                </c:pt>
                <c:pt idx="4269">
                  <c:v>0.70117647058823496</c:v>
                </c:pt>
                <c:pt idx="4270">
                  <c:v>0.70118845500848903</c:v>
                </c:pt>
                <c:pt idx="4271">
                  <c:v>0.70121951219512202</c:v>
                </c:pt>
                <c:pt idx="4272">
                  <c:v>0.70121951219512202</c:v>
                </c:pt>
                <c:pt idx="4273">
                  <c:v>0.70129870129870098</c:v>
                </c:pt>
                <c:pt idx="4274">
                  <c:v>0.70133333333333303</c:v>
                </c:pt>
                <c:pt idx="4275">
                  <c:v>0.70140280561122204</c:v>
                </c:pt>
                <c:pt idx="4276">
                  <c:v>0.70140965399402</c:v>
                </c:pt>
                <c:pt idx="4277">
                  <c:v>0.70149253731343297</c:v>
                </c:pt>
                <c:pt idx="4278">
                  <c:v>0.70155038759689903</c:v>
                </c:pt>
                <c:pt idx="4279">
                  <c:v>0.70158730158730098</c:v>
                </c:pt>
                <c:pt idx="4280">
                  <c:v>0.70164609053497895</c:v>
                </c:pt>
                <c:pt idx="4281">
                  <c:v>0.70166666666666699</c:v>
                </c:pt>
                <c:pt idx="4282">
                  <c:v>0.70173833485818804</c:v>
                </c:pt>
                <c:pt idx="4283">
                  <c:v>0.70175438596491202</c:v>
                </c:pt>
                <c:pt idx="4284">
                  <c:v>0.70186335403726696</c:v>
                </c:pt>
                <c:pt idx="4285">
                  <c:v>0.70189431704885297</c:v>
                </c:pt>
                <c:pt idx="4286">
                  <c:v>0.70192307692307698</c:v>
                </c:pt>
                <c:pt idx="4287">
                  <c:v>0.70193740685544004</c:v>
                </c:pt>
                <c:pt idx="4288">
                  <c:v>0.70205479452054798</c:v>
                </c:pt>
                <c:pt idx="4289">
                  <c:v>0.702247191011236</c:v>
                </c:pt>
                <c:pt idx="4290">
                  <c:v>0.702380952380952</c:v>
                </c:pt>
                <c:pt idx="4291">
                  <c:v>0.70241286863270802</c:v>
                </c:pt>
                <c:pt idx="4292">
                  <c:v>0.70246085011185699</c:v>
                </c:pt>
                <c:pt idx="4293">
                  <c:v>0.70253164556962</c:v>
                </c:pt>
                <c:pt idx="4294">
                  <c:v>0.70254110612855003</c:v>
                </c:pt>
                <c:pt idx="4295">
                  <c:v>0.70256410256410196</c:v>
                </c:pt>
                <c:pt idx="4296">
                  <c:v>0.702572347266881</c:v>
                </c:pt>
                <c:pt idx="4297">
                  <c:v>0.70260223048327097</c:v>
                </c:pt>
                <c:pt idx="4298">
                  <c:v>0.70264765784114103</c:v>
                </c:pt>
                <c:pt idx="4299">
                  <c:v>0.70270270270270296</c:v>
                </c:pt>
                <c:pt idx="4300">
                  <c:v>0.70270270270270296</c:v>
                </c:pt>
                <c:pt idx="4301">
                  <c:v>0.70281124497991998</c:v>
                </c:pt>
                <c:pt idx="4302">
                  <c:v>0.70287958115183202</c:v>
                </c:pt>
                <c:pt idx="4303">
                  <c:v>0.70289855072463803</c:v>
                </c:pt>
                <c:pt idx="4304">
                  <c:v>0.70297029702970304</c:v>
                </c:pt>
                <c:pt idx="4305">
                  <c:v>0.70300751879699197</c:v>
                </c:pt>
                <c:pt idx="4306">
                  <c:v>0.703125</c:v>
                </c:pt>
                <c:pt idx="4307">
                  <c:v>0.703125</c:v>
                </c:pt>
                <c:pt idx="4308">
                  <c:v>0.703125</c:v>
                </c:pt>
                <c:pt idx="4309">
                  <c:v>0.70315789473684198</c:v>
                </c:pt>
                <c:pt idx="4310">
                  <c:v>0.70320855614973299</c:v>
                </c:pt>
                <c:pt idx="4311">
                  <c:v>0.70322580645161303</c:v>
                </c:pt>
                <c:pt idx="4312">
                  <c:v>0.70329670329670302</c:v>
                </c:pt>
                <c:pt idx="4313">
                  <c:v>0.70329670329670302</c:v>
                </c:pt>
                <c:pt idx="4314">
                  <c:v>0.70329670329670302</c:v>
                </c:pt>
                <c:pt idx="4315">
                  <c:v>0.70336787564766801</c:v>
                </c:pt>
                <c:pt idx="4316">
                  <c:v>0.70353982300884899</c:v>
                </c:pt>
                <c:pt idx="4317">
                  <c:v>0.70357142857142896</c:v>
                </c:pt>
                <c:pt idx="4318">
                  <c:v>0.70370370370370405</c:v>
                </c:pt>
                <c:pt idx="4319">
                  <c:v>0.70370370370370405</c:v>
                </c:pt>
                <c:pt idx="4320">
                  <c:v>0.70370370370370405</c:v>
                </c:pt>
                <c:pt idx="4321">
                  <c:v>0.70378151260504196</c:v>
                </c:pt>
                <c:pt idx="4322">
                  <c:v>0.70380434782608703</c:v>
                </c:pt>
                <c:pt idx="4323">
                  <c:v>0.70380434782608703</c:v>
                </c:pt>
                <c:pt idx="4324">
                  <c:v>0.70381231671554201</c:v>
                </c:pt>
                <c:pt idx="4325">
                  <c:v>0.70383275261323996</c:v>
                </c:pt>
                <c:pt idx="4326">
                  <c:v>0.70385126162018596</c:v>
                </c:pt>
                <c:pt idx="4327">
                  <c:v>0.70387243735763105</c:v>
                </c:pt>
                <c:pt idx="4328">
                  <c:v>0.70391061452514003</c:v>
                </c:pt>
                <c:pt idx="4329">
                  <c:v>0.70392749244713004</c:v>
                </c:pt>
                <c:pt idx="4330">
                  <c:v>0.70396600566572198</c:v>
                </c:pt>
                <c:pt idx="4331">
                  <c:v>0.70408163265306101</c:v>
                </c:pt>
                <c:pt idx="4332">
                  <c:v>0.70408163265306101</c:v>
                </c:pt>
                <c:pt idx="4333">
                  <c:v>0.70410367170626298</c:v>
                </c:pt>
                <c:pt idx="4334">
                  <c:v>0.70414201183432001</c:v>
                </c:pt>
                <c:pt idx="4335">
                  <c:v>0.70418006430868196</c:v>
                </c:pt>
                <c:pt idx="4336">
                  <c:v>0.70422535211267601</c:v>
                </c:pt>
                <c:pt idx="4337">
                  <c:v>0.70425321463897095</c:v>
                </c:pt>
                <c:pt idx="4338">
                  <c:v>0.70428893905191903</c:v>
                </c:pt>
                <c:pt idx="4339">
                  <c:v>0.70438799076212499</c:v>
                </c:pt>
                <c:pt idx="4340">
                  <c:v>0.70440251572326995</c:v>
                </c:pt>
                <c:pt idx="4341">
                  <c:v>0.70443349753694595</c:v>
                </c:pt>
                <c:pt idx="4342">
                  <c:v>0.70450097847358095</c:v>
                </c:pt>
                <c:pt idx="4343">
                  <c:v>0.70454545454545503</c:v>
                </c:pt>
                <c:pt idx="4344">
                  <c:v>0.70454545454545503</c:v>
                </c:pt>
                <c:pt idx="4345">
                  <c:v>0.70454545454545503</c:v>
                </c:pt>
                <c:pt idx="4346">
                  <c:v>0.70454545454545503</c:v>
                </c:pt>
                <c:pt idx="4347">
                  <c:v>0.70464135021096996</c:v>
                </c:pt>
                <c:pt idx="4348">
                  <c:v>0.70474137931034497</c:v>
                </c:pt>
                <c:pt idx="4349">
                  <c:v>0.70479704797048004</c:v>
                </c:pt>
                <c:pt idx="4350">
                  <c:v>0.70497630331753602</c:v>
                </c:pt>
                <c:pt idx="4351">
                  <c:v>0.70509977827050996</c:v>
                </c:pt>
                <c:pt idx="4352">
                  <c:v>0.70512820512820495</c:v>
                </c:pt>
                <c:pt idx="4353">
                  <c:v>0.70512820512820495</c:v>
                </c:pt>
                <c:pt idx="4354">
                  <c:v>0.70524017467248901</c:v>
                </c:pt>
                <c:pt idx="4355">
                  <c:v>0.70524691358024705</c:v>
                </c:pt>
                <c:pt idx="4356">
                  <c:v>0.70526315789473704</c:v>
                </c:pt>
                <c:pt idx="4357">
                  <c:v>0.70529595015576296</c:v>
                </c:pt>
                <c:pt idx="4358">
                  <c:v>0.70532915360501602</c:v>
                </c:pt>
                <c:pt idx="4359">
                  <c:v>0.70532915360501602</c:v>
                </c:pt>
                <c:pt idx="4360">
                  <c:v>0.70539419087136901</c:v>
                </c:pt>
                <c:pt idx="4361">
                  <c:v>0.70542635658914699</c:v>
                </c:pt>
                <c:pt idx="4362">
                  <c:v>0.70547945205479401</c:v>
                </c:pt>
                <c:pt idx="4363">
                  <c:v>0.70547945205479401</c:v>
                </c:pt>
                <c:pt idx="4364">
                  <c:v>0.70549738219895297</c:v>
                </c:pt>
                <c:pt idx="4365">
                  <c:v>0.70552147239263796</c:v>
                </c:pt>
                <c:pt idx="4366">
                  <c:v>0.70560747663551404</c:v>
                </c:pt>
                <c:pt idx="4367">
                  <c:v>0.70573566084787998</c:v>
                </c:pt>
                <c:pt idx="4368">
                  <c:v>0.70575221238938102</c:v>
                </c:pt>
                <c:pt idx="4369">
                  <c:v>0.70588235294117596</c:v>
                </c:pt>
                <c:pt idx="4370">
                  <c:v>0.70588235294117596</c:v>
                </c:pt>
                <c:pt idx="4371">
                  <c:v>0.70588235294117596</c:v>
                </c:pt>
                <c:pt idx="4372">
                  <c:v>0.70588235294117596</c:v>
                </c:pt>
                <c:pt idx="4373">
                  <c:v>0.70609318996415804</c:v>
                </c:pt>
                <c:pt idx="4374">
                  <c:v>0.70610687022900798</c:v>
                </c:pt>
                <c:pt idx="4375">
                  <c:v>0.70610687022900798</c:v>
                </c:pt>
                <c:pt idx="4376">
                  <c:v>0.70612244897959198</c:v>
                </c:pt>
                <c:pt idx="4377">
                  <c:v>0.70617149098853105</c:v>
                </c:pt>
                <c:pt idx="4378">
                  <c:v>0.70621468926553699</c:v>
                </c:pt>
                <c:pt idx="4379">
                  <c:v>0.70622059592263497</c:v>
                </c:pt>
                <c:pt idx="4380">
                  <c:v>0.70622796709753199</c:v>
                </c:pt>
                <c:pt idx="4381">
                  <c:v>0.70624571036376105</c:v>
                </c:pt>
                <c:pt idx="4382">
                  <c:v>0.70625000000000004</c:v>
                </c:pt>
                <c:pt idx="4383">
                  <c:v>0.70628768303186895</c:v>
                </c:pt>
                <c:pt idx="4384">
                  <c:v>0.70642201834862395</c:v>
                </c:pt>
                <c:pt idx="4385">
                  <c:v>0.70652173913043503</c:v>
                </c:pt>
                <c:pt idx="4386">
                  <c:v>0.70652173913043503</c:v>
                </c:pt>
                <c:pt idx="4387">
                  <c:v>0.70656370656370704</c:v>
                </c:pt>
                <c:pt idx="4388">
                  <c:v>0.70658682634730496</c:v>
                </c:pt>
                <c:pt idx="4389">
                  <c:v>0.70658682634730496</c:v>
                </c:pt>
                <c:pt idx="4390">
                  <c:v>0.70658682634730496</c:v>
                </c:pt>
                <c:pt idx="4391">
                  <c:v>0.70663811563169199</c:v>
                </c:pt>
                <c:pt idx="4392">
                  <c:v>0.706666666666667</c:v>
                </c:pt>
                <c:pt idx="4393">
                  <c:v>0.70670391061452498</c:v>
                </c:pt>
                <c:pt idx="4394">
                  <c:v>0.70675105485232104</c:v>
                </c:pt>
                <c:pt idx="4395">
                  <c:v>0.706779661016949</c:v>
                </c:pt>
                <c:pt idx="4396">
                  <c:v>0.706806282722513</c:v>
                </c:pt>
                <c:pt idx="4397">
                  <c:v>0.706806282722513</c:v>
                </c:pt>
                <c:pt idx="4398">
                  <c:v>0.70682730923694803</c:v>
                </c:pt>
                <c:pt idx="4399">
                  <c:v>0.70689655172413801</c:v>
                </c:pt>
                <c:pt idx="4400">
                  <c:v>0.70689655172413801</c:v>
                </c:pt>
                <c:pt idx="4401">
                  <c:v>0.70692717584369402</c:v>
                </c:pt>
                <c:pt idx="4402">
                  <c:v>0.70700636942675099</c:v>
                </c:pt>
                <c:pt idx="4403">
                  <c:v>0.70702702702702702</c:v>
                </c:pt>
                <c:pt idx="4404">
                  <c:v>0.70712401055409002</c:v>
                </c:pt>
                <c:pt idx="4405">
                  <c:v>0.70717131474103601</c:v>
                </c:pt>
                <c:pt idx="4406">
                  <c:v>0.70718232044198903</c:v>
                </c:pt>
                <c:pt idx="4407">
                  <c:v>0.70718232044198903</c:v>
                </c:pt>
                <c:pt idx="4408">
                  <c:v>0.70727432077125296</c:v>
                </c:pt>
                <c:pt idx="4409">
                  <c:v>0.707317073170732</c:v>
                </c:pt>
                <c:pt idx="4410">
                  <c:v>0.707317073170732</c:v>
                </c:pt>
                <c:pt idx="4411">
                  <c:v>0.707317073170732</c:v>
                </c:pt>
                <c:pt idx="4412">
                  <c:v>0.707317073170732</c:v>
                </c:pt>
                <c:pt idx="4413">
                  <c:v>0.707317073170732</c:v>
                </c:pt>
                <c:pt idx="4414">
                  <c:v>0.70740305522914204</c:v>
                </c:pt>
                <c:pt idx="4415">
                  <c:v>0.70747217806041296</c:v>
                </c:pt>
                <c:pt idx="4416">
                  <c:v>0.70749395648670399</c:v>
                </c:pt>
                <c:pt idx="4417">
                  <c:v>0.70754716981132104</c:v>
                </c:pt>
                <c:pt idx="4418">
                  <c:v>0.70757180156657995</c:v>
                </c:pt>
                <c:pt idx="4419">
                  <c:v>0.70758122743682295</c:v>
                </c:pt>
                <c:pt idx="4420">
                  <c:v>0.70779220779220797</c:v>
                </c:pt>
                <c:pt idx="4421">
                  <c:v>0.70802919708029199</c:v>
                </c:pt>
                <c:pt idx="4422">
                  <c:v>0.70804059328649505</c:v>
                </c:pt>
                <c:pt idx="4423">
                  <c:v>0.70809792843691099</c:v>
                </c:pt>
                <c:pt idx="4424">
                  <c:v>0.70814814814814797</c:v>
                </c:pt>
                <c:pt idx="4425">
                  <c:v>0.70822622107969102</c:v>
                </c:pt>
                <c:pt idx="4426">
                  <c:v>0.70826010544815499</c:v>
                </c:pt>
                <c:pt idx="4427">
                  <c:v>0.70827679782903696</c:v>
                </c:pt>
                <c:pt idx="4428">
                  <c:v>0.708296557811121</c:v>
                </c:pt>
                <c:pt idx="4429">
                  <c:v>0.70833333333333304</c:v>
                </c:pt>
                <c:pt idx="4430">
                  <c:v>0.70836653386454196</c:v>
                </c:pt>
                <c:pt idx="4431">
                  <c:v>0.70839064649243499</c:v>
                </c:pt>
                <c:pt idx="4432">
                  <c:v>0.708554857419043</c:v>
                </c:pt>
                <c:pt idx="4433">
                  <c:v>0.70859337493998997</c:v>
                </c:pt>
                <c:pt idx="4434">
                  <c:v>0.70866141732283505</c:v>
                </c:pt>
                <c:pt idx="4435">
                  <c:v>0.70866141732283505</c:v>
                </c:pt>
                <c:pt idx="4436">
                  <c:v>0.70873786407767003</c:v>
                </c:pt>
                <c:pt idx="4437">
                  <c:v>0.708860759493671</c:v>
                </c:pt>
                <c:pt idx="4438">
                  <c:v>0.708860759493671</c:v>
                </c:pt>
                <c:pt idx="4439">
                  <c:v>0.70889894419306199</c:v>
                </c:pt>
                <c:pt idx="4440">
                  <c:v>0.70890410958904104</c:v>
                </c:pt>
                <c:pt idx="4441">
                  <c:v>0.70897832817337503</c:v>
                </c:pt>
                <c:pt idx="4442">
                  <c:v>0.70901639344262302</c:v>
                </c:pt>
                <c:pt idx="4443">
                  <c:v>0.70903954802259905</c:v>
                </c:pt>
                <c:pt idx="4444">
                  <c:v>0.70905923344947697</c:v>
                </c:pt>
                <c:pt idx="4445">
                  <c:v>0.70909090909090899</c:v>
                </c:pt>
                <c:pt idx="4446">
                  <c:v>0.70909090909090899</c:v>
                </c:pt>
                <c:pt idx="4447">
                  <c:v>0.70909090909090899</c:v>
                </c:pt>
                <c:pt idx="4448">
                  <c:v>0.70909090909090899</c:v>
                </c:pt>
                <c:pt idx="4449">
                  <c:v>0.70918367346938804</c:v>
                </c:pt>
                <c:pt idx="4450">
                  <c:v>0.70918367346938804</c:v>
                </c:pt>
                <c:pt idx="4451">
                  <c:v>0.70919881305638</c:v>
                </c:pt>
                <c:pt idx="4452">
                  <c:v>0.70930232558139505</c:v>
                </c:pt>
                <c:pt idx="4453">
                  <c:v>0.70930232558139505</c:v>
                </c:pt>
                <c:pt idx="4454">
                  <c:v>0.70932754880694104</c:v>
                </c:pt>
                <c:pt idx="4455">
                  <c:v>0.70935960591132996</c:v>
                </c:pt>
                <c:pt idx="4456">
                  <c:v>0.70937499999999998</c:v>
                </c:pt>
                <c:pt idx="4457">
                  <c:v>0.70940170940170899</c:v>
                </c:pt>
                <c:pt idx="4458">
                  <c:v>0.70943396226415101</c:v>
                </c:pt>
                <c:pt idx="4459">
                  <c:v>0.70945945945945899</c:v>
                </c:pt>
                <c:pt idx="4460">
                  <c:v>0.709523809523809</c:v>
                </c:pt>
                <c:pt idx="4461">
                  <c:v>0.70960698689956303</c:v>
                </c:pt>
                <c:pt idx="4462">
                  <c:v>0.70962962962963005</c:v>
                </c:pt>
                <c:pt idx="4463">
                  <c:v>0.70967741935483897</c:v>
                </c:pt>
                <c:pt idx="4464">
                  <c:v>0.70967741935483897</c:v>
                </c:pt>
                <c:pt idx="4465">
                  <c:v>0.70967741935483897</c:v>
                </c:pt>
                <c:pt idx="4466">
                  <c:v>0.70975056689342397</c:v>
                </c:pt>
                <c:pt idx="4467">
                  <c:v>0.70975918884664102</c:v>
                </c:pt>
                <c:pt idx="4468">
                  <c:v>0.70990990990990999</c:v>
                </c:pt>
                <c:pt idx="4469">
                  <c:v>0.70992366412213703</c:v>
                </c:pt>
                <c:pt idx="4470">
                  <c:v>0.70993117010816098</c:v>
                </c:pt>
                <c:pt idx="4471">
                  <c:v>0.71</c:v>
                </c:pt>
                <c:pt idx="4472">
                  <c:v>0.71002132196162004</c:v>
                </c:pt>
                <c:pt idx="4473">
                  <c:v>0.71003717472118899</c:v>
                </c:pt>
                <c:pt idx="4474">
                  <c:v>0.71005917159763299</c:v>
                </c:pt>
                <c:pt idx="4475">
                  <c:v>0.71006711409395995</c:v>
                </c:pt>
                <c:pt idx="4476">
                  <c:v>0.71007751937984498</c:v>
                </c:pt>
                <c:pt idx="4477">
                  <c:v>0.71008403361344496</c:v>
                </c:pt>
                <c:pt idx="4478">
                  <c:v>0.71009174311926604</c:v>
                </c:pt>
                <c:pt idx="4479">
                  <c:v>0.71016691957511402</c:v>
                </c:pt>
                <c:pt idx="4480">
                  <c:v>0.71019108280254795</c:v>
                </c:pt>
                <c:pt idx="4481">
                  <c:v>0.71020408163265303</c:v>
                </c:pt>
                <c:pt idx="4482">
                  <c:v>0.71026490066225201</c:v>
                </c:pt>
                <c:pt idx="4483">
                  <c:v>0.71038251366120198</c:v>
                </c:pt>
                <c:pt idx="4484">
                  <c:v>0.71047794117647001</c:v>
                </c:pt>
                <c:pt idx="4485">
                  <c:v>0.71052631578947401</c:v>
                </c:pt>
                <c:pt idx="4486">
                  <c:v>0.71052631578947401</c:v>
                </c:pt>
                <c:pt idx="4487">
                  <c:v>0.71052631578947401</c:v>
                </c:pt>
                <c:pt idx="4488">
                  <c:v>0.71052631578947401</c:v>
                </c:pt>
                <c:pt idx="4489">
                  <c:v>0.71055276381909505</c:v>
                </c:pt>
                <c:pt idx="4490">
                  <c:v>0.71069182389937102</c:v>
                </c:pt>
                <c:pt idx="4491">
                  <c:v>0.71071953010278999</c:v>
                </c:pt>
                <c:pt idx="4492">
                  <c:v>0.71074380165289197</c:v>
                </c:pt>
                <c:pt idx="4493">
                  <c:v>0.71079136690647504</c:v>
                </c:pt>
                <c:pt idx="4494">
                  <c:v>0.71079192546583803</c:v>
                </c:pt>
                <c:pt idx="4495">
                  <c:v>0.71084337349397597</c:v>
                </c:pt>
                <c:pt idx="4496">
                  <c:v>0.71084337349397597</c:v>
                </c:pt>
                <c:pt idx="4497">
                  <c:v>0.71084337349397597</c:v>
                </c:pt>
                <c:pt idx="4498">
                  <c:v>0.71091445427728595</c:v>
                </c:pt>
                <c:pt idx="4499">
                  <c:v>0.7109375</c:v>
                </c:pt>
                <c:pt idx="4500">
                  <c:v>0.71096023278370502</c:v>
                </c:pt>
                <c:pt idx="4501">
                  <c:v>0.71096345514950199</c:v>
                </c:pt>
                <c:pt idx="4502">
                  <c:v>0.71107266435986205</c:v>
                </c:pt>
                <c:pt idx="4503">
                  <c:v>0.71111111111111103</c:v>
                </c:pt>
                <c:pt idx="4504">
                  <c:v>0.71111111111111103</c:v>
                </c:pt>
                <c:pt idx="4505">
                  <c:v>0.71111111111111103</c:v>
                </c:pt>
                <c:pt idx="4506">
                  <c:v>0.71112440191387605</c:v>
                </c:pt>
                <c:pt idx="4507">
                  <c:v>0.71120689655172398</c:v>
                </c:pt>
                <c:pt idx="4508">
                  <c:v>0.71122994652406402</c:v>
                </c:pt>
                <c:pt idx="4509">
                  <c:v>0.71128107074569802</c:v>
                </c:pt>
                <c:pt idx="4510">
                  <c:v>0.71128608923884495</c:v>
                </c:pt>
                <c:pt idx="4511">
                  <c:v>0.71128608923884495</c:v>
                </c:pt>
                <c:pt idx="4512">
                  <c:v>0.71134020618556704</c:v>
                </c:pt>
                <c:pt idx="4513">
                  <c:v>0.71134020618556704</c:v>
                </c:pt>
                <c:pt idx="4514">
                  <c:v>0.71137026239067103</c:v>
                </c:pt>
                <c:pt idx="4515">
                  <c:v>0.711409395973154</c:v>
                </c:pt>
                <c:pt idx="4516">
                  <c:v>0.711433756805808</c:v>
                </c:pt>
                <c:pt idx="4517">
                  <c:v>0.71146245059288504</c:v>
                </c:pt>
                <c:pt idx="4518">
                  <c:v>0.71148184494602495</c:v>
                </c:pt>
                <c:pt idx="4519">
                  <c:v>0.71149674620390502</c:v>
                </c:pt>
                <c:pt idx="4520">
                  <c:v>0.71150442477876097</c:v>
                </c:pt>
                <c:pt idx="4521">
                  <c:v>0.71153846153846101</c:v>
                </c:pt>
                <c:pt idx="4522">
                  <c:v>0.71161825726141104</c:v>
                </c:pt>
                <c:pt idx="4523">
                  <c:v>0.71165644171779097</c:v>
                </c:pt>
                <c:pt idx="4524">
                  <c:v>0.71168437025796705</c:v>
                </c:pt>
                <c:pt idx="4525">
                  <c:v>0.71169686985172997</c:v>
                </c:pt>
                <c:pt idx="4526">
                  <c:v>0.71172962226640202</c:v>
                </c:pt>
                <c:pt idx="4527">
                  <c:v>0.71177944862155396</c:v>
                </c:pt>
                <c:pt idx="4528">
                  <c:v>0.711832061068702</c:v>
                </c:pt>
                <c:pt idx="4529">
                  <c:v>0.71186440677966101</c:v>
                </c:pt>
                <c:pt idx="4530">
                  <c:v>0.71186440677966101</c:v>
                </c:pt>
                <c:pt idx="4531">
                  <c:v>0.71188340807174899</c:v>
                </c:pt>
                <c:pt idx="4532">
                  <c:v>0.71188576228475398</c:v>
                </c:pt>
                <c:pt idx="4533">
                  <c:v>0.71189591078066905</c:v>
                </c:pt>
                <c:pt idx="4534">
                  <c:v>0.71195297191378204</c:v>
                </c:pt>
                <c:pt idx="4535">
                  <c:v>0.71195652173913004</c:v>
                </c:pt>
                <c:pt idx="4536">
                  <c:v>0.71205357142857095</c:v>
                </c:pt>
                <c:pt idx="4537">
                  <c:v>0.71219187208527601</c:v>
                </c:pt>
                <c:pt idx="4538">
                  <c:v>0.712212817412334</c:v>
                </c:pt>
                <c:pt idx="4539">
                  <c:v>0.71230342275670699</c:v>
                </c:pt>
                <c:pt idx="4540">
                  <c:v>0.71232876712328796</c:v>
                </c:pt>
                <c:pt idx="4541">
                  <c:v>0.712643678160919</c:v>
                </c:pt>
                <c:pt idx="4542">
                  <c:v>0.71270036991368702</c:v>
                </c:pt>
                <c:pt idx="4543">
                  <c:v>0.71270718232044195</c:v>
                </c:pt>
                <c:pt idx="4544">
                  <c:v>0.71273122959738799</c:v>
                </c:pt>
                <c:pt idx="4545">
                  <c:v>0.71276595744680804</c:v>
                </c:pt>
                <c:pt idx="4546">
                  <c:v>0.71276595744680804</c:v>
                </c:pt>
                <c:pt idx="4547">
                  <c:v>0.712830957230142</c:v>
                </c:pt>
                <c:pt idx="4548">
                  <c:v>0.71290322580645205</c:v>
                </c:pt>
                <c:pt idx="4549">
                  <c:v>0.71293103448275896</c:v>
                </c:pt>
                <c:pt idx="4550">
                  <c:v>0.71293375394321801</c:v>
                </c:pt>
                <c:pt idx="4551">
                  <c:v>0.71296296296296302</c:v>
                </c:pt>
                <c:pt idx="4552">
                  <c:v>0.71296296296296302</c:v>
                </c:pt>
                <c:pt idx="4553">
                  <c:v>0.71300448430493302</c:v>
                </c:pt>
                <c:pt idx="4554">
                  <c:v>0.71302428256070605</c:v>
                </c:pt>
                <c:pt idx="4555">
                  <c:v>0.713043478260869</c:v>
                </c:pt>
                <c:pt idx="4556">
                  <c:v>0.71308016877637104</c:v>
                </c:pt>
                <c:pt idx="4557">
                  <c:v>0.71309771309771297</c:v>
                </c:pt>
                <c:pt idx="4558">
                  <c:v>0.71327433628318604</c:v>
                </c:pt>
                <c:pt idx="4559">
                  <c:v>0.71330275229357798</c:v>
                </c:pt>
                <c:pt idx="4560">
                  <c:v>0.713307532003572</c:v>
                </c:pt>
                <c:pt idx="4561">
                  <c:v>0.71333333333333304</c:v>
                </c:pt>
                <c:pt idx="4562">
                  <c:v>0.71333333333333304</c:v>
                </c:pt>
                <c:pt idx="4563">
                  <c:v>0.71337579617834401</c:v>
                </c:pt>
                <c:pt idx="4564">
                  <c:v>0.713450292397661</c:v>
                </c:pt>
                <c:pt idx="4565">
                  <c:v>0.71348314606741603</c:v>
                </c:pt>
                <c:pt idx="4566">
                  <c:v>0.71359223300970898</c:v>
                </c:pt>
                <c:pt idx="4567">
                  <c:v>0.713607594936709</c:v>
                </c:pt>
                <c:pt idx="4568">
                  <c:v>0.71361502347417805</c:v>
                </c:pt>
                <c:pt idx="4569">
                  <c:v>0.71361502347417805</c:v>
                </c:pt>
                <c:pt idx="4570">
                  <c:v>0.71363636363636396</c:v>
                </c:pt>
                <c:pt idx="4571">
                  <c:v>0.71363636363636396</c:v>
                </c:pt>
                <c:pt idx="4572">
                  <c:v>0.71367521367521403</c:v>
                </c:pt>
                <c:pt idx="4573">
                  <c:v>0.71370143149284204</c:v>
                </c:pt>
                <c:pt idx="4574">
                  <c:v>0.71396648044692701</c:v>
                </c:pt>
                <c:pt idx="4575">
                  <c:v>0.71403812824956703</c:v>
                </c:pt>
                <c:pt idx="4576">
                  <c:v>0.71405492730209996</c:v>
                </c:pt>
                <c:pt idx="4577">
                  <c:v>0.71407016220294195</c:v>
                </c:pt>
                <c:pt idx="4578">
                  <c:v>0.71416666666666695</c:v>
                </c:pt>
                <c:pt idx="4579">
                  <c:v>0.71428571428571397</c:v>
                </c:pt>
                <c:pt idx="4580">
                  <c:v>0.71428571428571397</c:v>
                </c:pt>
                <c:pt idx="4581">
                  <c:v>0.71428571428571397</c:v>
                </c:pt>
                <c:pt idx="4582">
                  <c:v>0.71428571428571397</c:v>
                </c:pt>
                <c:pt idx="4583">
                  <c:v>0.71428571428571397</c:v>
                </c:pt>
                <c:pt idx="4584">
                  <c:v>0.71428571428571397</c:v>
                </c:pt>
                <c:pt idx="4585">
                  <c:v>0.71428571428571397</c:v>
                </c:pt>
                <c:pt idx="4586">
                  <c:v>0.71428571428571397</c:v>
                </c:pt>
                <c:pt idx="4587">
                  <c:v>0.71428571428571397</c:v>
                </c:pt>
                <c:pt idx="4588">
                  <c:v>0.71428571428571397</c:v>
                </c:pt>
                <c:pt idx="4589">
                  <c:v>0.71428571428571397</c:v>
                </c:pt>
                <c:pt idx="4590">
                  <c:v>0.71428571428571397</c:v>
                </c:pt>
                <c:pt idx="4591">
                  <c:v>0.71428571428571397</c:v>
                </c:pt>
                <c:pt idx="4592">
                  <c:v>0.71428571428571397</c:v>
                </c:pt>
                <c:pt idx="4593">
                  <c:v>0.71433256805510004</c:v>
                </c:pt>
                <c:pt idx="4594">
                  <c:v>0.71438547486033499</c:v>
                </c:pt>
                <c:pt idx="4595">
                  <c:v>0.71444823663253698</c:v>
                </c:pt>
                <c:pt idx="4596">
                  <c:v>0.71446229913473402</c:v>
                </c:pt>
                <c:pt idx="4597">
                  <c:v>0.71446384039900201</c:v>
                </c:pt>
                <c:pt idx="4598">
                  <c:v>0.71446700507614203</c:v>
                </c:pt>
                <c:pt idx="4599">
                  <c:v>0.71450208254449099</c:v>
                </c:pt>
                <c:pt idx="4600">
                  <c:v>0.71454880294659295</c:v>
                </c:pt>
                <c:pt idx="4601">
                  <c:v>0.71455938697318</c:v>
                </c:pt>
                <c:pt idx="4602">
                  <c:v>0.71466666666666701</c:v>
                </c:pt>
                <c:pt idx="4603">
                  <c:v>0.71484375</c:v>
                </c:pt>
                <c:pt idx="4604">
                  <c:v>0.71489621489621502</c:v>
                </c:pt>
                <c:pt idx="4605">
                  <c:v>0.71496437054631801</c:v>
                </c:pt>
                <c:pt idx="4606">
                  <c:v>0.71498257839721302</c:v>
                </c:pt>
                <c:pt idx="4607">
                  <c:v>0.71499999999999997</c:v>
                </c:pt>
                <c:pt idx="4608">
                  <c:v>0.71503957783641203</c:v>
                </c:pt>
                <c:pt idx="4609">
                  <c:v>0.71508379888268203</c:v>
                </c:pt>
                <c:pt idx="4610">
                  <c:v>0.71521035598705496</c:v>
                </c:pt>
                <c:pt idx="4611">
                  <c:v>0.71525679758308203</c:v>
                </c:pt>
                <c:pt idx="4612">
                  <c:v>0.71538461538461495</c:v>
                </c:pt>
                <c:pt idx="4613">
                  <c:v>0.71540469973890297</c:v>
                </c:pt>
                <c:pt idx="4614">
                  <c:v>0.71543086172344705</c:v>
                </c:pt>
                <c:pt idx="4615">
                  <c:v>0.715451577801959</c:v>
                </c:pt>
                <c:pt idx="4616">
                  <c:v>0.71549893842887502</c:v>
                </c:pt>
                <c:pt idx="4617">
                  <c:v>0.71551724137931005</c:v>
                </c:pt>
                <c:pt idx="4618">
                  <c:v>0.71551724137931005</c:v>
                </c:pt>
                <c:pt idx="4619">
                  <c:v>0.71554993678887502</c:v>
                </c:pt>
                <c:pt idx="4620">
                  <c:v>0.71556473829201095</c:v>
                </c:pt>
                <c:pt idx="4621">
                  <c:v>0.71557562076749404</c:v>
                </c:pt>
                <c:pt idx="4622">
                  <c:v>0.71557971014492705</c:v>
                </c:pt>
                <c:pt idx="4623">
                  <c:v>0.71563981042654001</c:v>
                </c:pt>
                <c:pt idx="4624">
                  <c:v>0.71573604060913698</c:v>
                </c:pt>
                <c:pt idx="4625">
                  <c:v>0.71577217962760098</c:v>
                </c:pt>
                <c:pt idx="4626">
                  <c:v>0.71580741371964196</c:v>
                </c:pt>
                <c:pt idx="4627">
                  <c:v>0.715817694369973</c:v>
                </c:pt>
                <c:pt idx="4628">
                  <c:v>0.715935334872979</c:v>
                </c:pt>
                <c:pt idx="4629">
                  <c:v>0.715935334872979</c:v>
                </c:pt>
                <c:pt idx="4630">
                  <c:v>0.71600688468158302</c:v>
                </c:pt>
                <c:pt idx="4631">
                  <c:v>0.71604938271604901</c:v>
                </c:pt>
                <c:pt idx="4632">
                  <c:v>0.71604938271604901</c:v>
                </c:pt>
                <c:pt idx="4633">
                  <c:v>0.71608832807570999</c:v>
                </c:pt>
                <c:pt idx="4634">
                  <c:v>0.71614429331756402</c:v>
                </c:pt>
                <c:pt idx="4635">
                  <c:v>0.71634615384615397</c:v>
                </c:pt>
                <c:pt idx="4636">
                  <c:v>0.71641791044776104</c:v>
                </c:pt>
                <c:pt idx="4637">
                  <c:v>0.71641791044776104</c:v>
                </c:pt>
                <c:pt idx="4638">
                  <c:v>0.716444444444444</c:v>
                </c:pt>
                <c:pt idx="4639">
                  <c:v>0.71649484536082497</c:v>
                </c:pt>
                <c:pt idx="4640">
                  <c:v>0.71656050955413997</c:v>
                </c:pt>
                <c:pt idx="4641">
                  <c:v>0.71664651350261999</c:v>
                </c:pt>
                <c:pt idx="4642">
                  <c:v>0.71666666666666701</c:v>
                </c:pt>
                <c:pt idx="4643">
                  <c:v>0.71670702179176804</c:v>
                </c:pt>
                <c:pt idx="4644">
                  <c:v>0.71674876847290603</c:v>
                </c:pt>
                <c:pt idx="4645">
                  <c:v>0.71678321678321699</c:v>
                </c:pt>
                <c:pt idx="4646">
                  <c:v>0.71691176470588203</c:v>
                </c:pt>
                <c:pt idx="4647">
                  <c:v>0.716923076923077</c:v>
                </c:pt>
                <c:pt idx="4648">
                  <c:v>0.71692745376955902</c:v>
                </c:pt>
                <c:pt idx="4649">
                  <c:v>0.71713147410358602</c:v>
                </c:pt>
                <c:pt idx="4650">
                  <c:v>0.71717171717171702</c:v>
                </c:pt>
                <c:pt idx="4651">
                  <c:v>0.71718749999999998</c:v>
                </c:pt>
                <c:pt idx="4652">
                  <c:v>0.71729957805907196</c:v>
                </c:pt>
                <c:pt idx="4653">
                  <c:v>0.71739130434782605</c:v>
                </c:pt>
                <c:pt idx="4654">
                  <c:v>0.71739130434782605</c:v>
                </c:pt>
                <c:pt idx="4655">
                  <c:v>0.71753986332574005</c:v>
                </c:pt>
                <c:pt idx="4656">
                  <c:v>0.717592592592592</c:v>
                </c:pt>
                <c:pt idx="4657">
                  <c:v>0.71762208067940503</c:v>
                </c:pt>
                <c:pt idx="4658">
                  <c:v>0.71777844853606998</c:v>
                </c:pt>
                <c:pt idx="4659">
                  <c:v>0.71778350515463896</c:v>
                </c:pt>
                <c:pt idx="4660">
                  <c:v>0.71779141104294497</c:v>
                </c:pt>
                <c:pt idx="4661">
                  <c:v>0.71779141104294497</c:v>
                </c:pt>
                <c:pt idx="4662">
                  <c:v>0.71785028790786898</c:v>
                </c:pt>
                <c:pt idx="4663">
                  <c:v>0.71794871794871795</c:v>
                </c:pt>
                <c:pt idx="4664">
                  <c:v>0.71801566579634502</c:v>
                </c:pt>
                <c:pt idx="4665">
                  <c:v>0.71806167400881105</c:v>
                </c:pt>
                <c:pt idx="4666">
                  <c:v>0.718152866242038</c:v>
                </c:pt>
                <c:pt idx="4667">
                  <c:v>0.71821305841924399</c:v>
                </c:pt>
                <c:pt idx="4668">
                  <c:v>0.71825396825396803</c:v>
                </c:pt>
                <c:pt idx="4669">
                  <c:v>0.71830985915492995</c:v>
                </c:pt>
                <c:pt idx="4670">
                  <c:v>0.71830985915492995</c:v>
                </c:pt>
                <c:pt idx="4671">
                  <c:v>0.71846153846153804</c:v>
                </c:pt>
                <c:pt idx="4672">
                  <c:v>0.718518518518518</c:v>
                </c:pt>
                <c:pt idx="4673">
                  <c:v>0.718518518518518</c:v>
                </c:pt>
                <c:pt idx="4674">
                  <c:v>0.718518518518518</c:v>
                </c:pt>
                <c:pt idx="4675">
                  <c:v>0.71853614995536996</c:v>
                </c:pt>
                <c:pt idx="4676">
                  <c:v>0.71860816944024197</c:v>
                </c:pt>
                <c:pt idx="4677">
                  <c:v>0.71864009378663496</c:v>
                </c:pt>
                <c:pt idx="4678">
                  <c:v>0.71871202916160404</c:v>
                </c:pt>
                <c:pt idx="4679">
                  <c:v>0.71875</c:v>
                </c:pt>
                <c:pt idx="4680">
                  <c:v>0.71875</c:v>
                </c:pt>
                <c:pt idx="4681">
                  <c:v>0.71875</c:v>
                </c:pt>
                <c:pt idx="4682">
                  <c:v>0.71880492091388404</c:v>
                </c:pt>
                <c:pt idx="4683">
                  <c:v>0.71886120996441305</c:v>
                </c:pt>
                <c:pt idx="4684">
                  <c:v>0.71889400921658997</c:v>
                </c:pt>
                <c:pt idx="4685">
                  <c:v>0.71891891891891901</c:v>
                </c:pt>
                <c:pt idx="4686">
                  <c:v>0.71900826446280997</c:v>
                </c:pt>
                <c:pt idx="4687">
                  <c:v>0.71904761904761905</c:v>
                </c:pt>
                <c:pt idx="4688">
                  <c:v>0.71910112359550604</c:v>
                </c:pt>
                <c:pt idx="4689">
                  <c:v>0.71910112359550604</c:v>
                </c:pt>
                <c:pt idx="4690">
                  <c:v>0.71911764705882297</c:v>
                </c:pt>
                <c:pt idx="4691">
                  <c:v>0.71913121094912202</c:v>
                </c:pt>
                <c:pt idx="4692">
                  <c:v>0.71914893617021303</c:v>
                </c:pt>
                <c:pt idx="4693">
                  <c:v>0.71917808219178103</c:v>
                </c:pt>
                <c:pt idx="4694">
                  <c:v>0.71924290220820197</c:v>
                </c:pt>
                <c:pt idx="4695">
                  <c:v>0.71927083333333297</c:v>
                </c:pt>
                <c:pt idx="4696">
                  <c:v>0.71929824561403499</c:v>
                </c:pt>
                <c:pt idx="4697">
                  <c:v>0.71932114882506504</c:v>
                </c:pt>
                <c:pt idx="4698">
                  <c:v>0.719387755102041</c:v>
                </c:pt>
                <c:pt idx="4699">
                  <c:v>0.71942446043165498</c:v>
                </c:pt>
                <c:pt idx="4700">
                  <c:v>0.71946308724832198</c:v>
                </c:pt>
                <c:pt idx="4701">
                  <c:v>0.71951219512195097</c:v>
                </c:pt>
                <c:pt idx="4702">
                  <c:v>0.71951219512195097</c:v>
                </c:pt>
                <c:pt idx="4703">
                  <c:v>0.71955028107432795</c:v>
                </c:pt>
                <c:pt idx="4704">
                  <c:v>0.71962616822429903</c:v>
                </c:pt>
                <c:pt idx="4705">
                  <c:v>0.71978021978022</c:v>
                </c:pt>
                <c:pt idx="4706">
                  <c:v>0.71981776765375804</c:v>
                </c:pt>
                <c:pt idx="4707">
                  <c:v>0.71988246816846202</c:v>
                </c:pt>
                <c:pt idx="4708">
                  <c:v>0.719893546240852</c:v>
                </c:pt>
                <c:pt idx="4709">
                  <c:v>0.71989528795811497</c:v>
                </c:pt>
                <c:pt idx="4710">
                  <c:v>0.72</c:v>
                </c:pt>
                <c:pt idx="4711">
                  <c:v>0.72</c:v>
                </c:pt>
                <c:pt idx="4712">
                  <c:v>0.72</c:v>
                </c:pt>
                <c:pt idx="4713">
                  <c:v>0.72006472491909401</c:v>
                </c:pt>
                <c:pt idx="4714">
                  <c:v>0.72008547008546997</c:v>
                </c:pt>
                <c:pt idx="4715">
                  <c:v>0.72010178117048296</c:v>
                </c:pt>
                <c:pt idx="4716">
                  <c:v>0.72010869565217395</c:v>
                </c:pt>
                <c:pt idx="4717">
                  <c:v>0.72023121387283195</c:v>
                </c:pt>
                <c:pt idx="4718">
                  <c:v>0.720268006700167</c:v>
                </c:pt>
                <c:pt idx="4719">
                  <c:v>0.72027972027971998</c:v>
                </c:pt>
                <c:pt idx="4720">
                  <c:v>0.72027972027971998</c:v>
                </c:pt>
                <c:pt idx="4721">
                  <c:v>0.72032520325203198</c:v>
                </c:pt>
                <c:pt idx="4722">
                  <c:v>0.72035794183445201</c:v>
                </c:pt>
                <c:pt idx="4723">
                  <c:v>0.72035794183445201</c:v>
                </c:pt>
                <c:pt idx="4724">
                  <c:v>0.72045454545454501</c:v>
                </c:pt>
                <c:pt idx="4725">
                  <c:v>0.72045454545454501</c:v>
                </c:pt>
                <c:pt idx="4726">
                  <c:v>0.72047244094488205</c:v>
                </c:pt>
                <c:pt idx="4727">
                  <c:v>0.72053872053872103</c:v>
                </c:pt>
                <c:pt idx="4728">
                  <c:v>0.72054088860270404</c:v>
                </c:pt>
                <c:pt idx="4729">
                  <c:v>0.72056921086675296</c:v>
                </c:pt>
                <c:pt idx="4730">
                  <c:v>0.72058823529411797</c:v>
                </c:pt>
                <c:pt idx="4731">
                  <c:v>0.72058823529411797</c:v>
                </c:pt>
                <c:pt idx="4732">
                  <c:v>0.72058823529411797</c:v>
                </c:pt>
                <c:pt idx="4733">
                  <c:v>0.72063492063492096</c:v>
                </c:pt>
                <c:pt idx="4734">
                  <c:v>0.72063758389261701</c:v>
                </c:pt>
                <c:pt idx="4735">
                  <c:v>0.720734908136483</c:v>
                </c:pt>
                <c:pt idx="4736">
                  <c:v>0.72074468085106402</c:v>
                </c:pt>
                <c:pt idx="4737">
                  <c:v>0.72078376487053897</c:v>
                </c:pt>
                <c:pt idx="4738">
                  <c:v>0.72079207920792099</c:v>
                </c:pt>
                <c:pt idx="4739">
                  <c:v>0.72093023255813904</c:v>
                </c:pt>
                <c:pt idx="4740">
                  <c:v>0.72096128170894502</c:v>
                </c:pt>
                <c:pt idx="4741">
                  <c:v>0.72101790763430695</c:v>
                </c:pt>
                <c:pt idx="4742">
                  <c:v>0.72105263157894695</c:v>
                </c:pt>
                <c:pt idx="4743">
                  <c:v>0.72105464272067199</c:v>
                </c:pt>
                <c:pt idx="4744">
                  <c:v>0.72108345534407003</c:v>
                </c:pt>
                <c:pt idx="4745">
                  <c:v>0.72108843537415002</c:v>
                </c:pt>
                <c:pt idx="4746">
                  <c:v>0.72108843537415002</c:v>
                </c:pt>
                <c:pt idx="4747">
                  <c:v>0.72118959107806702</c:v>
                </c:pt>
                <c:pt idx="4748">
                  <c:v>0.72121212121212097</c:v>
                </c:pt>
                <c:pt idx="4749">
                  <c:v>0.72125583368688995</c:v>
                </c:pt>
                <c:pt idx="4750">
                  <c:v>0.72128514056224902</c:v>
                </c:pt>
                <c:pt idx="4751">
                  <c:v>0.72139830508474601</c:v>
                </c:pt>
                <c:pt idx="4752">
                  <c:v>0.72140543234487897</c:v>
                </c:pt>
                <c:pt idx="4753">
                  <c:v>0.72146118721461205</c:v>
                </c:pt>
                <c:pt idx="4754">
                  <c:v>0.72150259067357503</c:v>
                </c:pt>
                <c:pt idx="4755">
                  <c:v>0.721518987341772</c:v>
                </c:pt>
                <c:pt idx="4756">
                  <c:v>0.721518987341772</c:v>
                </c:pt>
                <c:pt idx="4757">
                  <c:v>0.72160000000000002</c:v>
                </c:pt>
                <c:pt idx="4758">
                  <c:v>0.72160356347438703</c:v>
                </c:pt>
                <c:pt idx="4759">
                  <c:v>0.72169811320754695</c:v>
                </c:pt>
                <c:pt idx="4760">
                  <c:v>0.72170439414114496</c:v>
                </c:pt>
                <c:pt idx="4761">
                  <c:v>0.721830985915493</c:v>
                </c:pt>
                <c:pt idx="4762">
                  <c:v>0.72186642268984402</c:v>
                </c:pt>
                <c:pt idx="4763">
                  <c:v>0.72187500000000004</c:v>
                </c:pt>
                <c:pt idx="4764">
                  <c:v>0.72196261682243001</c:v>
                </c:pt>
                <c:pt idx="4765">
                  <c:v>0.72204472843450496</c:v>
                </c:pt>
                <c:pt idx="4766">
                  <c:v>0.72210526315789503</c:v>
                </c:pt>
                <c:pt idx="4767">
                  <c:v>0.72222222222222199</c:v>
                </c:pt>
                <c:pt idx="4768">
                  <c:v>0.72222222222222199</c:v>
                </c:pt>
                <c:pt idx="4769">
                  <c:v>0.72222222222222199</c:v>
                </c:pt>
                <c:pt idx="4770">
                  <c:v>0.72222222222222199</c:v>
                </c:pt>
                <c:pt idx="4771">
                  <c:v>0.72222222222222199</c:v>
                </c:pt>
                <c:pt idx="4772">
                  <c:v>0.72222222222222199</c:v>
                </c:pt>
                <c:pt idx="4773">
                  <c:v>0.72234762979683997</c:v>
                </c:pt>
                <c:pt idx="4774">
                  <c:v>0.72243639167309204</c:v>
                </c:pt>
                <c:pt idx="4775">
                  <c:v>0.72249388753056198</c:v>
                </c:pt>
                <c:pt idx="4776">
                  <c:v>0.72256097560975596</c:v>
                </c:pt>
                <c:pt idx="4777">
                  <c:v>0.72258064516128995</c:v>
                </c:pt>
                <c:pt idx="4778">
                  <c:v>0.72261072261072201</c:v>
                </c:pt>
                <c:pt idx="4779">
                  <c:v>0.72264150943396199</c:v>
                </c:pt>
                <c:pt idx="4780">
                  <c:v>0.72266666666666701</c:v>
                </c:pt>
                <c:pt idx="4781">
                  <c:v>0.72271386430678497</c:v>
                </c:pt>
                <c:pt idx="4782">
                  <c:v>0.722727272727273</c:v>
                </c:pt>
                <c:pt idx="4783">
                  <c:v>0.722727272727273</c:v>
                </c:pt>
                <c:pt idx="4784">
                  <c:v>0.72275862068965502</c:v>
                </c:pt>
                <c:pt idx="4785">
                  <c:v>0.72277227722772297</c:v>
                </c:pt>
                <c:pt idx="4786">
                  <c:v>0.72277227722772297</c:v>
                </c:pt>
                <c:pt idx="4787">
                  <c:v>0.72279260780287502</c:v>
                </c:pt>
                <c:pt idx="4788">
                  <c:v>0.72281776416539001</c:v>
                </c:pt>
                <c:pt idx="4789">
                  <c:v>0.72289156626506001</c:v>
                </c:pt>
                <c:pt idx="4790">
                  <c:v>0.72292191435768305</c:v>
                </c:pt>
                <c:pt idx="4791">
                  <c:v>0.72292191435768305</c:v>
                </c:pt>
                <c:pt idx="4792">
                  <c:v>0.72300469483568097</c:v>
                </c:pt>
                <c:pt idx="4793">
                  <c:v>0.723064644852354</c:v>
                </c:pt>
                <c:pt idx="4794">
                  <c:v>0.72307692307692295</c:v>
                </c:pt>
                <c:pt idx="4795">
                  <c:v>0.72311827956989205</c:v>
                </c:pt>
                <c:pt idx="4796">
                  <c:v>0.72312703583061899</c:v>
                </c:pt>
                <c:pt idx="4797">
                  <c:v>0.72314049586776896</c:v>
                </c:pt>
                <c:pt idx="4798">
                  <c:v>0.72321428571428603</c:v>
                </c:pt>
                <c:pt idx="4799">
                  <c:v>0.72321428571428603</c:v>
                </c:pt>
                <c:pt idx="4800">
                  <c:v>0.72321428571428603</c:v>
                </c:pt>
                <c:pt idx="4801">
                  <c:v>0.72327044025157206</c:v>
                </c:pt>
                <c:pt idx="4802">
                  <c:v>0.72327044025157206</c:v>
                </c:pt>
                <c:pt idx="4803">
                  <c:v>0.72333333333333305</c:v>
                </c:pt>
                <c:pt idx="4804">
                  <c:v>0.72336265884652995</c:v>
                </c:pt>
                <c:pt idx="4805">
                  <c:v>0.72343749999999996</c:v>
                </c:pt>
                <c:pt idx="4806">
                  <c:v>0.72347266881028904</c:v>
                </c:pt>
                <c:pt idx="4807">
                  <c:v>0.72352941176470598</c:v>
                </c:pt>
                <c:pt idx="4808">
                  <c:v>0.72364864864864897</c:v>
                </c:pt>
                <c:pt idx="4809">
                  <c:v>0.72368421052631604</c:v>
                </c:pt>
                <c:pt idx="4810">
                  <c:v>0.723699421965318</c:v>
                </c:pt>
                <c:pt idx="4811">
                  <c:v>0.723706176961603</c:v>
                </c:pt>
                <c:pt idx="4812">
                  <c:v>0.72372372372372396</c:v>
                </c:pt>
                <c:pt idx="4813">
                  <c:v>0.72373081463990496</c:v>
                </c:pt>
                <c:pt idx="4814">
                  <c:v>0.72380952380952401</c:v>
                </c:pt>
                <c:pt idx="4815">
                  <c:v>0.72380952380952401</c:v>
                </c:pt>
                <c:pt idx="4816">
                  <c:v>0.72384937238493696</c:v>
                </c:pt>
                <c:pt idx="4817">
                  <c:v>0.723856209150327</c:v>
                </c:pt>
                <c:pt idx="4818">
                  <c:v>0.72386058981233203</c:v>
                </c:pt>
                <c:pt idx="4819">
                  <c:v>0.72388059701492502</c:v>
                </c:pt>
                <c:pt idx="4820">
                  <c:v>0.72391017173051497</c:v>
                </c:pt>
                <c:pt idx="4821">
                  <c:v>0.72391304347826102</c:v>
                </c:pt>
                <c:pt idx="4822">
                  <c:v>0.723981900452489</c:v>
                </c:pt>
                <c:pt idx="4823">
                  <c:v>0.72400388726919296</c:v>
                </c:pt>
                <c:pt idx="4824">
                  <c:v>0.724007561436673</c:v>
                </c:pt>
                <c:pt idx="4825">
                  <c:v>0.72401433691756301</c:v>
                </c:pt>
                <c:pt idx="4826">
                  <c:v>0.72413793103448298</c:v>
                </c:pt>
                <c:pt idx="4827">
                  <c:v>0.72413793103448298</c:v>
                </c:pt>
                <c:pt idx="4828">
                  <c:v>0.72413793103448298</c:v>
                </c:pt>
                <c:pt idx="4829">
                  <c:v>0.72413793103448298</c:v>
                </c:pt>
                <c:pt idx="4830">
                  <c:v>0.72413793103448298</c:v>
                </c:pt>
                <c:pt idx="4831">
                  <c:v>0.72422062350119898</c:v>
                </c:pt>
                <c:pt idx="4832">
                  <c:v>0.72430830039525695</c:v>
                </c:pt>
                <c:pt idx="4833">
                  <c:v>0.72431077694235602</c:v>
                </c:pt>
                <c:pt idx="4834">
                  <c:v>0.72438162544169604</c:v>
                </c:pt>
                <c:pt idx="4835">
                  <c:v>0.72440944881889802</c:v>
                </c:pt>
                <c:pt idx="4836">
                  <c:v>0.724444444444444</c:v>
                </c:pt>
                <c:pt idx="4837">
                  <c:v>0.72448979591836704</c:v>
                </c:pt>
                <c:pt idx="4838">
                  <c:v>0.72451790633608804</c:v>
                </c:pt>
                <c:pt idx="4839">
                  <c:v>0.72452830188679196</c:v>
                </c:pt>
                <c:pt idx="4840">
                  <c:v>0.72458628841607597</c:v>
                </c:pt>
                <c:pt idx="4841">
                  <c:v>0.724609375</c:v>
                </c:pt>
                <c:pt idx="4842">
                  <c:v>0.72463768115941996</c:v>
                </c:pt>
                <c:pt idx="4843">
                  <c:v>0.72463768115941996</c:v>
                </c:pt>
                <c:pt idx="4844">
                  <c:v>0.72463768115941996</c:v>
                </c:pt>
                <c:pt idx="4845">
                  <c:v>0.72467532467532503</c:v>
                </c:pt>
                <c:pt idx="4846">
                  <c:v>0.72468619246861898</c:v>
                </c:pt>
                <c:pt idx="4847">
                  <c:v>0.72469635627530404</c:v>
                </c:pt>
                <c:pt idx="4848">
                  <c:v>0.72471910112359506</c:v>
                </c:pt>
                <c:pt idx="4849">
                  <c:v>0.72473867595818797</c:v>
                </c:pt>
                <c:pt idx="4850">
                  <c:v>0.72475027746947795</c:v>
                </c:pt>
                <c:pt idx="4851">
                  <c:v>0.72477064220183496</c:v>
                </c:pt>
                <c:pt idx="4852">
                  <c:v>0.72483221476510096</c:v>
                </c:pt>
                <c:pt idx="4853">
                  <c:v>0.72489082969432295</c:v>
                </c:pt>
                <c:pt idx="4854">
                  <c:v>0.72490706319702602</c:v>
                </c:pt>
                <c:pt idx="4855">
                  <c:v>0.72492401215805502</c:v>
                </c:pt>
                <c:pt idx="4856">
                  <c:v>0.72499999999999998</c:v>
                </c:pt>
                <c:pt idx="4857">
                  <c:v>0.72507042253521103</c:v>
                </c:pt>
                <c:pt idx="4858">
                  <c:v>0.72511848341232199</c:v>
                </c:pt>
                <c:pt idx="4859">
                  <c:v>0.72519083969465603</c:v>
                </c:pt>
                <c:pt idx="4860">
                  <c:v>0.72525252525252504</c:v>
                </c:pt>
                <c:pt idx="4861">
                  <c:v>0.72527472527472503</c:v>
                </c:pt>
                <c:pt idx="4862">
                  <c:v>0.72537313432835804</c:v>
                </c:pt>
                <c:pt idx="4863">
                  <c:v>0.72549019607843102</c:v>
                </c:pt>
                <c:pt idx="4864">
                  <c:v>0.72556390977443597</c:v>
                </c:pt>
                <c:pt idx="4865">
                  <c:v>0.72556390977443597</c:v>
                </c:pt>
                <c:pt idx="4866">
                  <c:v>0.72566371681415898</c:v>
                </c:pt>
                <c:pt idx="4867">
                  <c:v>0.72579505300353298</c:v>
                </c:pt>
                <c:pt idx="4868">
                  <c:v>0.72580645161290303</c:v>
                </c:pt>
                <c:pt idx="4869">
                  <c:v>0.72585227272727304</c:v>
                </c:pt>
                <c:pt idx="4870">
                  <c:v>0.725862931465733</c:v>
                </c:pt>
                <c:pt idx="4871">
                  <c:v>0.72588832487309596</c:v>
                </c:pt>
                <c:pt idx="4872">
                  <c:v>0.72588832487309596</c:v>
                </c:pt>
                <c:pt idx="4873">
                  <c:v>0.725895316804408</c:v>
                </c:pt>
                <c:pt idx="4874">
                  <c:v>0.72602739726027399</c:v>
                </c:pt>
                <c:pt idx="4875">
                  <c:v>0.72607260726072598</c:v>
                </c:pt>
                <c:pt idx="4876">
                  <c:v>0.72609400324149098</c:v>
                </c:pt>
                <c:pt idx="4877">
                  <c:v>0.72618588507520199</c:v>
                </c:pt>
                <c:pt idx="4878">
                  <c:v>0.72619047619047605</c:v>
                </c:pt>
                <c:pt idx="4879">
                  <c:v>0.72619047619047605</c:v>
                </c:pt>
                <c:pt idx="4880">
                  <c:v>0.72619047619047605</c:v>
                </c:pt>
                <c:pt idx="4881">
                  <c:v>0.72623574144486702</c:v>
                </c:pt>
                <c:pt idx="4882">
                  <c:v>0.72623574144486702</c:v>
                </c:pt>
                <c:pt idx="4883">
                  <c:v>0.72625698324022303</c:v>
                </c:pt>
                <c:pt idx="4884">
                  <c:v>0.72631578947368403</c:v>
                </c:pt>
                <c:pt idx="4885">
                  <c:v>0.72642857142857098</c:v>
                </c:pt>
                <c:pt idx="4886">
                  <c:v>0.726436781609195</c:v>
                </c:pt>
                <c:pt idx="4887">
                  <c:v>0.72661870503597104</c:v>
                </c:pt>
                <c:pt idx="4888">
                  <c:v>0.72666666666666702</c:v>
                </c:pt>
                <c:pt idx="4889">
                  <c:v>0.72674418604651203</c:v>
                </c:pt>
                <c:pt idx="4890">
                  <c:v>0.72680412371133996</c:v>
                </c:pt>
                <c:pt idx="4891">
                  <c:v>0.72694394213381497</c:v>
                </c:pt>
                <c:pt idx="4892">
                  <c:v>0.726962457337884</c:v>
                </c:pt>
                <c:pt idx="4893">
                  <c:v>0.72705882352941198</c:v>
                </c:pt>
                <c:pt idx="4894">
                  <c:v>0.72710951526032297</c:v>
                </c:pt>
                <c:pt idx="4895">
                  <c:v>0.72727272727272696</c:v>
                </c:pt>
                <c:pt idx="4896">
                  <c:v>0.72727272727272696</c:v>
                </c:pt>
                <c:pt idx="4897">
                  <c:v>0.72727272727272696</c:v>
                </c:pt>
                <c:pt idx="4898">
                  <c:v>0.72727272727272696</c:v>
                </c:pt>
                <c:pt idx="4899">
                  <c:v>0.72727272727272696</c:v>
                </c:pt>
                <c:pt idx="4900">
                  <c:v>0.72727272727272696</c:v>
                </c:pt>
                <c:pt idx="4901">
                  <c:v>0.72727272727272696</c:v>
                </c:pt>
                <c:pt idx="4902">
                  <c:v>0.72727272727272696</c:v>
                </c:pt>
                <c:pt idx="4903">
                  <c:v>0.72730148687124296</c:v>
                </c:pt>
                <c:pt idx="4904">
                  <c:v>0.72756410256410198</c:v>
                </c:pt>
                <c:pt idx="4905">
                  <c:v>0.727574750830565</c:v>
                </c:pt>
                <c:pt idx="4906">
                  <c:v>0.72763419483101399</c:v>
                </c:pt>
                <c:pt idx="4907">
                  <c:v>0.72768878718535501</c:v>
                </c:pt>
                <c:pt idx="4908">
                  <c:v>0.72772277227722804</c:v>
                </c:pt>
                <c:pt idx="4909">
                  <c:v>0.72773393461104796</c:v>
                </c:pt>
                <c:pt idx="4910">
                  <c:v>0.72773536895674296</c:v>
                </c:pt>
                <c:pt idx="4911">
                  <c:v>0.72774869109947604</c:v>
                </c:pt>
                <c:pt idx="4912">
                  <c:v>0.72777777777777797</c:v>
                </c:pt>
                <c:pt idx="4913">
                  <c:v>0.72781065088757402</c:v>
                </c:pt>
                <c:pt idx="4914">
                  <c:v>0.72782258064516103</c:v>
                </c:pt>
                <c:pt idx="4915">
                  <c:v>0.72789115646258495</c:v>
                </c:pt>
                <c:pt idx="4916">
                  <c:v>0.72797089733225495</c:v>
                </c:pt>
                <c:pt idx="4917">
                  <c:v>0.72804532577903702</c:v>
                </c:pt>
                <c:pt idx="4918">
                  <c:v>0.72807017543859598</c:v>
                </c:pt>
                <c:pt idx="4919">
                  <c:v>0.72808132147395199</c:v>
                </c:pt>
                <c:pt idx="4920">
                  <c:v>0.72815533980582503</c:v>
                </c:pt>
                <c:pt idx="4921">
                  <c:v>0.72819100091827405</c:v>
                </c:pt>
                <c:pt idx="4922">
                  <c:v>0.72820512820512795</c:v>
                </c:pt>
                <c:pt idx="4923">
                  <c:v>0.72821576763485496</c:v>
                </c:pt>
                <c:pt idx="4924">
                  <c:v>0.72826086956521696</c:v>
                </c:pt>
                <c:pt idx="4925">
                  <c:v>0.72826086956521696</c:v>
                </c:pt>
                <c:pt idx="4926">
                  <c:v>0.72829763246899704</c:v>
                </c:pt>
                <c:pt idx="4927">
                  <c:v>0.72839506172839497</c:v>
                </c:pt>
                <c:pt idx="4928">
                  <c:v>0.72842639593908598</c:v>
                </c:pt>
                <c:pt idx="4929">
                  <c:v>0.72843450479233196</c:v>
                </c:pt>
                <c:pt idx="4930">
                  <c:v>0.72844827586206895</c:v>
                </c:pt>
                <c:pt idx="4931">
                  <c:v>0.72845070422535196</c:v>
                </c:pt>
                <c:pt idx="4932">
                  <c:v>0.72847682119205304</c:v>
                </c:pt>
                <c:pt idx="4933">
                  <c:v>0.72855591748099902</c:v>
                </c:pt>
                <c:pt idx="4934">
                  <c:v>0.72857142857142798</c:v>
                </c:pt>
                <c:pt idx="4935">
                  <c:v>0.72857142857142798</c:v>
                </c:pt>
                <c:pt idx="4936">
                  <c:v>0.72881355932203395</c:v>
                </c:pt>
                <c:pt idx="4937">
                  <c:v>0.72881355932203395</c:v>
                </c:pt>
                <c:pt idx="4938">
                  <c:v>0.72881355932203395</c:v>
                </c:pt>
                <c:pt idx="4939">
                  <c:v>0.72888283378746599</c:v>
                </c:pt>
                <c:pt idx="4940">
                  <c:v>0.72889610389610404</c:v>
                </c:pt>
                <c:pt idx="4941">
                  <c:v>0.72890025575447603</c:v>
                </c:pt>
                <c:pt idx="4942">
                  <c:v>0.72901678657074298</c:v>
                </c:pt>
                <c:pt idx="4943">
                  <c:v>0.72901921132457004</c:v>
                </c:pt>
                <c:pt idx="4944">
                  <c:v>0.72904483430799205</c:v>
                </c:pt>
                <c:pt idx="4945">
                  <c:v>0.72908366533864499</c:v>
                </c:pt>
                <c:pt idx="4946">
                  <c:v>0.72923076923076902</c:v>
                </c:pt>
                <c:pt idx="4947">
                  <c:v>0.72924187725631795</c:v>
                </c:pt>
                <c:pt idx="4948">
                  <c:v>0.72926829268292703</c:v>
                </c:pt>
                <c:pt idx="4949">
                  <c:v>0.72928176795580102</c:v>
                </c:pt>
                <c:pt idx="4950">
                  <c:v>0.72929120409906101</c:v>
                </c:pt>
                <c:pt idx="4951">
                  <c:v>0.72941176470588198</c:v>
                </c:pt>
                <c:pt idx="4952">
                  <c:v>0.72944297082228104</c:v>
                </c:pt>
                <c:pt idx="4953">
                  <c:v>0.72950819672131095</c:v>
                </c:pt>
                <c:pt idx="4954">
                  <c:v>0.72951096121416503</c:v>
                </c:pt>
                <c:pt idx="4955">
                  <c:v>0.729528535980149</c:v>
                </c:pt>
                <c:pt idx="4956">
                  <c:v>0.72955974842767302</c:v>
                </c:pt>
                <c:pt idx="4957">
                  <c:v>0.72956909361069799</c:v>
                </c:pt>
                <c:pt idx="4958">
                  <c:v>0.72957198443579796</c:v>
                </c:pt>
                <c:pt idx="4959">
                  <c:v>0.72961373390557904</c:v>
                </c:pt>
                <c:pt idx="4960">
                  <c:v>0.72965517241379296</c:v>
                </c:pt>
                <c:pt idx="4961">
                  <c:v>0.72967032967032996</c:v>
                </c:pt>
                <c:pt idx="4962">
                  <c:v>0.72972972972973005</c:v>
                </c:pt>
                <c:pt idx="4963">
                  <c:v>0.72972972972973005</c:v>
                </c:pt>
                <c:pt idx="4964">
                  <c:v>0.72976338729763401</c:v>
                </c:pt>
                <c:pt idx="4965">
                  <c:v>0.72979493365500603</c:v>
                </c:pt>
                <c:pt idx="4966">
                  <c:v>0.72979797979798</c:v>
                </c:pt>
                <c:pt idx="4967">
                  <c:v>0.72985781990521303</c:v>
                </c:pt>
                <c:pt idx="4968">
                  <c:v>0.72989377845220005</c:v>
                </c:pt>
                <c:pt idx="4969">
                  <c:v>0.72989807474518698</c:v>
                </c:pt>
                <c:pt idx="4970">
                  <c:v>0.72998137802607099</c:v>
                </c:pt>
                <c:pt idx="4971">
                  <c:v>0.73001858736059499</c:v>
                </c:pt>
                <c:pt idx="4972">
                  <c:v>0.73006134969325098</c:v>
                </c:pt>
                <c:pt idx="4973">
                  <c:v>0.73008849557522104</c:v>
                </c:pt>
                <c:pt idx="4974">
                  <c:v>0.73015873015873001</c:v>
                </c:pt>
                <c:pt idx="4975">
                  <c:v>0.73015873015873001</c:v>
                </c:pt>
                <c:pt idx="4976">
                  <c:v>0.73023255813953503</c:v>
                </c:pt>
                <c:pt idx="4977">
                  <c:v>0.73035439137133995</c:v>
                </c:pt>
                <c:pt idx="4978">
                  <c:v>0.73039215686274495</c:v>
                </c:pt>
                <c:pt idx="4979">
                  <c:v>0.73041168658698497</c:v>
                </c:pt>
                <c:pt idx="4980">
                  <c:v>0.73043478260869599</c:v>
                </c:pt>
                <c:pt idx="4981">
                  <c:v>0.73051948051948001</c:v>
                </c:pt>
                <c:pt idx="4982">
                  <c:v>0.73060344827586199</c:v>
                </c:pt>
                <c:pt idx="4983">
                  <c:v>0.73063583815028899</c:v>
                </c:pt>
                <c:pt idx="4984">
                  <c:v>0.73076923076923095</c:v>
                </c:pt>
                <c:pt idx="4985">
                  <c:v>0.73076923076923095</c:v>
                </c:pt>
                <c:pt idx="4986">
                  <c:v>0.73076923076923095</c:v>
                </c:pt>
                <c:pt idx="4987">
                  <c:v>0.73092369477911601</c:v>
                </c:pt>
                <c:pt idx="4988">
                  <c:v>0.730941704035874</c:v>
                </c:pt>
                <c:pt idx="4989">
                  <c:v>0.730964467005076</c:v>
                </c:pt>
                <c:pt idx="4990">
                  <c:v>0.73098125689084903</c:v>
                </c:pt>
                <c:pt idx="4991">
                  <c:v>0.73102310231023104</c:v>
                </c:pt>
                <c:pt idx="4992">
                  <c:v>0.73111782477341403</c:v>
                </c:pt>
                <c:pt idx="4993">
                  <c:v>0.73111782477341403</c:v>
                </c:pt>
                <c:pt idx="4994">
                  <c:v>0.73114754098360601</c:v>
                </c:pt>
                <c:pt idx="4995">
                  <c:v>0.73118279569892497</c:v>
                </c:pt>
                <c:pt idx="4996">
                  <c:v>0.73126213592233003</c:v>
                </c:pt>
                <c:pt idx="4997">
                  <c:v>0.731343283582089</c:v>
                </c:pt>
                <c:pt idx="4998">
                  <c:v>0.731343283582089</c:v>
                </c:pt>
                <c:pt idx="4999">
                  <c:v>0.73136427566807305</c:v>
                </c:pt>
                <c:pt idx="5000">
                  <c:v>0.73141486810551604</c:v>
                </c:pt>
                <c:pt idx="5001">
                  <c:v>0.73146622734761102</c:v>
                </c:pt>
                <c:pt idx="5002">
                  <c:v>0.73148148148148096</c:v>
                </c:pt>
                <c:pt idx="5003">
                  <c:v>0.73148148148148096</c:v>
                </c:pt>
                <c:pt idx="5004">
                  <c:v>0.73154362416107399</c:v>
                </c:pt>
                <c:pt idx="5005">
                  <c:v>0.73163841807909602</c:v>
                </c:pt>
                <c:pt idx="5006">
                  <c:v>0.73164556962025296</c:v>
                </c:pt>
                <c:pt idx="5007">
                  <c:v>0.73170731707317105</c:v>
                </c:pt>
                <c:pt idx="5008">
                  <c:v>0.73170731707317105</c:v>
                </c:pt>
                <c:pt idx="5009">
                  <c:v>0.731755424063116</c:v>
                </c:pt>
                <c:pt idx="5010">
                  <c:v>0.73176865046102302</c:v>
                </c:pt>
                <c:pt idx="5011">
                  <c:v>0.73177842565597695</c:v>
                </c:pt>
                <c:pt idx="5012">
                  <c:v>0.73177842565597695</c:v>
                </c:pt>
                <c:pt idx="5013">
                  <c:v>0.73180076628352497</c:v>
                </c:pt>
                <c:pt idx="5014">
                  <c:v>0.73184357541899403</c:v>
                </c:pt>
                <c:pt idx="5015">
                  <c:v>0.73197781885397395</c:v>
                </c:pt>
                <c:pt idx="5016">
                  <c:v>0.73198847262247801</c:v>
                </c:pt>
                <c:pt idx="5017">
                  <c:v>0.73199329983249595</c:v>
                </c:pt>
                <c:pt idx="5018">
                  <c:v>0.73207036535859304</c:v>
                </c:pt>
                <c:pt idx="5019">
                  <c:v>0.73208722741432997</c:v>
                </c:pt>
                <c:pt idx="5020">
                  <c:v>0.73219373219373196</c:v>
                </c:pt>
                <c:pt idx="5021">
                  <c:v>0.73220338983050803</c:v>
                </c:pt>
                <c:pt idx="5022">
                  <c:v>0.73221757322175696</c:v>
                </c:pt>
                <c:pt idx="5023">
                  <c:v>0.73224043715846998</c:v>
                </c:pt>
                <c:pt idx="5024">
                  <c:v>0.73224043715846998</c:v>
                </c:pt>
                <c:pt idx="5025">
                  <c:v>0.73225806451612896</c:v>
                </c:pt>
                <c:pt idx="5026">
                  <c:v>0.73227206946454404</c:v>
                </c:pt>
                <c:pt idx="5027">
                  <c:v>0.73229070837166499</c:v>
                </c:pt>
                <c:pt idx="5028">
                  <c:v>0.73239436619718301</c:v>
                </c:pt>
                <c:pt idx="5029">
                  <c:v>0.73248407643312097</c:v>
                </c:pt>
                <c:pt idx="5030">
                  <c:v>0.73251942286348504</c:v>
                </c:pt>
                <c:pt idx="5031">
                  <c:v>0.73255813953488402</c:v>
                </c:pt>
                <c:pt idx="5032">
                  <c:v>0.73255813953488402</c:v>
                </c:pt>
                <c:pt idx="5033">
                  <c:v>0.73262032085561501</c:v>
                </c:pt>
                <c:pt idx="5034">
                  <c:v>0.73267326732673299</c:v>
                </c:pt>
                <c:pt idx="5035">
                  <c:v>0.73267326732673299</c:v>
                </c:pt>
                <c:pt idx="5036">
                  <c:v>0.73269689737470201</c:v>
                </c:pt>
                <c:pt idx="5037">
                  <c:v>0.73275862068965503</c:v>
                </c:pt>
                <c:pt idx="5038">
                  <c:v>0.73277661795407101</c:v>
                </c:pt>
                <c:pt idx="5039">
                  <c:v>0.73289902280130304</c:v>
                </c:pt>
                <c:pt idx="5040">
                  <c:v>0.73301886792452797</c:v>
                </c:pt>
                <c:pt idx="5041">
                  <c:v>0.73304263565891503</c:v>
                </c:pt>
                <c:pt idx="5042">
                  <c:v>0.73309608540925297</c:v>
                </c:pt>
                <c:pt idx="5043">
                  <c:v>0.733108108108108</c:v>
                </c:pt>
                <c:pt idx="5044">
                  <c:v>0.733307453416149</c:v>
                </c:pt>
                <c:pt idx="5045">
                  <c:v>0.73333333333333295</c:v>
                </c:pt>
                <c:pt idx="5046">
                  <c:v>0.73333333333333295</c:v>
                </c:pt>
                <c:pt idx="5047">
                  <c:v>0.73337998600419896</c:v>
                </c:pt>
                <c:pt idx="5048">
                  <c:v>0.73345935727788303</c:v>
                </c:pt>
                <c:pt idx="5049">
                  <c:v>0.73357664233576603</c:v>
                </c:pt>
                <c:pt idx="5050">
                  <c:v>0.73360655737704905</c:v>
                </c:pt>
                <c:pt idx="5051">
                  <c:v>0.73366477272727304</c:v>
                </c:pt>
                <c:pt idx="5052">
                  <c:v>0.73369565217391297</c:v>
                </c:pt>
                <c:pt idx="5053">
                  <c:v>0.73371104815863997</c:v>
                </c:pt>
                <c:pt idx="5054">
                  <c:v>0.73372781065088699</c:v>
                </c:pt>
                <c:pt idx="5055">
                  <c:v>0.73376623376623396</c:v>
                </c:pt>
                <c:pt idx="5056">
                  <c:v>0.73387096774193505</c:v>
                </c:pt>
                <c:pt idx="5057">
                  <c:v>0.73388773388773398</c:v>
                </c:pt>
                <c:pt idx="5058">
                  <c:v>0.734006734006734</c:v>
                </c:pt>
                <c:pt idx="5059">
                  <c:v>0.734006734006734</c:v>
                </c:pt>
                <c:pt idx="5060">
                  <c:v>0.73416289592760198</c:v>
                </c:pt>
                <c:pt idx="5061">
                  <c:v>0.734177215189873</c:v>
                </c:pt>
                <c:pt idx="5062">
                  <c:v>0.73422897196261705</c:v>
                </c:pt>
                <c:pt idx="5063">
                  <c:v>0.73424657534246596</c:v>
                </c:pt>
                <c:pt idx="5064">
                  <c:v>0.73427331887201697</c:v>
                </c:pt>
                <c:pt idx="5065">
                  <c:v>0.73429084380610399</c:v>
                </c:pt>
                <c:pt idx="5066">
                  <c:v>0.734317343173432</c:v>
                </c:pt>
                <c:pt idx="5067">
                  <c:v>0.734403669724771</c:v>
                </c:pt>
                <c:pt idx="5068">
                  <c:v>0.73443983402489599</c:v>
                </c:pt>
                <c:pt idx="5069">
                  <c:v>0.734486266531027</c:v>
                </c:pt>
                <c:pt idx="5070">
                  <c:v>0.73450134770889497</c:v>
                </c:pt>
                <c:pt idx="5071">
                  <c:v>0.734513274336283</c:v>
                </c:pt>
                <c:pt idx="5072">
                  <c:v>0.734513274336283</c:v>
                </c:pt>
                <c:pt idx="5073">
                  <c:v>0.734513274336283</c:v>
                </c:pt>
                <c:pt idx="5074">
                  <c:v>0.734615384615385</c:v>
                </c:pt>
                <c:pt idx="5075">
                  <c:v>0.73469387755102</c:v>
                </c:pt>
                <c:pt idx="5076">
                  <c:v>0.73469387755102</c:v>
                </c:pt>
                <c:pt idx="5077">
                  <c:v>0.734732824427481</c:v>
                </c:pt>
                <c:pt idx="5078">
                  <c:v>0.73473684210526302</c:v>
                </c:pt>
                <c:pt idx="5079">
                  <c:v>0.73497942386831305</c:v>
                </c:pt>
                <c:pt idx="5080">
                  <c:v>0.73509933774834402</c:v>
                </c:pt>
                <c:pt idx="5081">
                  <c:v>0.735119047619048</c:v>
                </c:pt>
                <c:pt idx="5082">
                  <c:v>0.73517126148705103</c:v>
                </c:pt>
                <c:pt idx="5083">
                  <c:v>0.73518518518518505</c:v>
                </c:pt>
                <c:pt idx="5084">
                  <c:v>0.73524150268336297</c:v>
                </c:pt>
                <c:pt idx="5085">
                  <c:v>0.73529411764705899</c:v>
                </c:pt>
                <c:pt idx="5086">
                  <c:v>0.73540856031128399</c:v>
                </c:pt>
                <c:pt idx="5087">
                  <c:v>0.73541305603697305</c:v>
                </c:pt>
                <c:pt idx="5088">
                  <c:v>0.73549257759784104</c:v>
                </c:pt>
                <c:pt idx="5089">
                  <c:v>0.73557692307692302</c:v>
                </c:pt>
                <c:pt idx="5090">
                  <c:v>0.73561811505507901</c:v>
                </c:pt>
                <c:pt idx="5091">
                  <c:v>0.73563218390804597</c:v>
                </c:pt>
                <c:pt idx="5092">
                  <c:v>0.73563218390804597</c:v>
                </c:pt>
                <c:pt idx="5093">
                  <c:v>0.73566878980891703</c:v>
                </c:pt>
                <c:pt idx="5094">
                  <c:v>0.73568281938325997</c:v>
                </c:pt>
                <c:pt idx="5095">
                  <c:v>0.73568281938325997</c:v>
                </c:pt>
                <c:pt idx="5096">
                  <c:v>0.73568281938325997</c:v>
                </c:pt>
                <c:pt idx="5097">
                  <c:v>0.73568281938325997</c:v>
                </c:pt>
                <c:pt idx="5098">
                  <c:v>0.73570898292501796</c:v>
                </c:pt>
                <c:pt idx="5099">
                  <c:v>0.73572744014733005</c:v>
                </c:pt>
                <c:pt idx="5100">
                  <c:v>0.73573573573573603</c:v>
                </c:pt>
                <c:pt idx="5101">
                  <c:v>0.73574144486691995</c:v>
                </c:pt>
                <c:pt idx="5102">
                  <c:v>0.73578595317725703</c:v>
                </c:pt>
                <c:pt idx="5103">
                  <c:v>0.73581847649918997</c:v>
                </c:pt>
                <c:pt idx="5104">
                  <c:v>0.73584905660377298</c:v>
                </c:pt>
                <c:pt idx="5105">
                  <c:v>0.73593073593073599</c:v>
                </c:pt>
                <c:pt idx="5106">
                  <c:v>0.73595505617977497</c:v>
                </c:pt>
                <c:pt idx="5107">
                  <c:v>0.73605947955390305</c:v>
                </c:pt>
                <c:pt idx="5108">
                  <c:v>0.73622047244094502</c:v>
                </c:pt>
                <c:pt idx="5109">
                  <c:v>0.73626373626373598</c:v>
                </c:pt>
                <c:pt idx="5110">
                  <c:v>0.73626373626373598</c:v>
                </c:pt>
                <c:pt idx="5111">
                  <c:v>0.73637264618434095</c:v>
                </c:pt>
                <c:pt idx="5112">
                  <c:v>0.736383442265795</c:v>
                </c:pt>
                <c:pt idx="5113">
                  <c:v>0.736389684813753</c:v>
                </c:pt>
                <c:pt idx="5114">
                  <c:v>0.73643410852713198</c:v>
                </c:pt>
                <c:pt idx="5115">
                  <c:v>0.73648648648648596</c:v>
                </c:pt>
                <c:pt idx="5116">
                  <c:v>0.73655913978494603</c:v>
                </c:pt>
                <c:pt idx="5117">
                  <c:v>0.73658830620855897</c:v>
                </c:pt>
                <c:pt idx="5118">
                  <c:v>0.73664122137404597</c:v>
                </c:pt>
                <c:pt idx="5119">
                  <c:v>0.73675496688741704</c:v>
                </c:pt>
                <c:pt idx="5120">
                  <c:v>0.73684210526315796</c:v>
                </c:pt>
                <c:pt idx="5121">
                  <c:v>0.73684210526315796</c:v>
                </c:pt>
                <c:pt idx="5122">
                  <c:v>0.73684210526315796</c:v>
                </c:pt>
                <c:pt idx="5123">
                  <c:v>0.73684210526315796</c:v>
                </c:pt>
                <c:pt idx="5124">
                  <c:v>0.73684210526315796</c:v>
                </c:pt>
                <c:pt idx="5125">
                  <c:v>0.73690476190476195</c:v>
                </c:pt>
                <c:pt idx="5126">
                  <c:v>0.736925515055467</c:v>
                </c:pt>
                <c:pt idx="5127">
                  <c:v>0.73703041144901604</c:v>
                </c:pt>
                <c:pt idx="5128">
                  <c:v>0.73710819009100104</c:v>
                </c:pt>
                <c:pt idx="5129">
                  <c:v>0.73713490959666195</c:v>
                </c:pt>
                <c:pt idx="5130">
                  <c:v>0.73718576558929105</c:v>
                </c:pt>
                <c:pt idx="5131">
                  <c:v>0.73726541554959801</c:v>
                </c:pt>
                <c:pt idx="5132">
                  <c:v>0.73731343283582096</c:v>
                </c:pt>
                <c:pt idx="5133">
                  <c:v>0.737349397590361</c:v>
                </c:pt>
                <c:pt idx="5134">
                  <c:v>0.73748473748473697</c:v>
                </c:pt>
                <c:pt idx="5135">
                  <c:v>0.73750000000000004</c:v>
                </c:pt>
                <c:pt idx="5136">
                  <c:v>0.737550471063257</c:v>
                </c:pt>
                <c:pt idx="5137">
                  <c:v>0.73757455268389704</c:v>
                </c:pt>
                <c:pt idx="5138">
                  <c:v>0.73761467889908305</c:v>
                </c:pt>
                <c:pt idx="5139">
                  <c:v>0.73761467889908305</c:v>
                </c:pt>
                <c:pt idx="5140">
                  <c:v>0.73770491803278704</c:v>
                </c:pt>
                <c:pt idx="5141">
                  <c:v>0.73770491803278704</c:v>
                </c:pt>
                <c:pt idx="5142">
                  <c:v>0.73777777777777798</c:v>
                </c:pt>
                <c:pt idx="5143">
                  <c:v>0.73778195488721798</c:v>
                </c:pt>
                <c:pt idx="5144">
                  <c:v>0.73791348600508899</c:v>
                </c:pt>
                <c:pt idx="5145">
                  <c:v>0.73799621928166304</c:v>
                </c:pt>
                <c:pt idx="5146">
                  <c:v>0.73820754716981096</c:v>
                </c:pt>
                <c:pt idx="5147">
                  <c:v>0.73825503355704702</c:v>
                </c:pt>
                <c:pt idx="5148">
                  <c:v>0.73828125</c:v>
                </c:pt>
                <c:pt idx="5149">
                  <c:v>0.73830409356725102</c:v>
                </c:pt>
                <c:pt idx="5150">
                  <c:v>0.73831775700934599</c:v>
                </c:pt>
                <c:pt idx="5151">
                  <c:v>0.73833671399594303</c:v>
                </c:pt>
                <c:pt idx="5152">
                  <c:v>0.73839009287925705</c:v>
                </c:pt>
                <c:pt idx="5153">
                  <c:v>0.73840078973346501</c:v>
                </c:pt>
                <c:pt idx="5154">
                  <c:v>0.73841554559043299</c:v>
                </c:pt>
                <c:pt idx="5155">
                  <c:v>0.73846153846153795</c:v>
                </c:pt>
                <c:pt idx="5156">
                  <c:v>0.73846153846153795</c:v>
                </c:pt>
                <c:pt idx="5157">
                  <c:v>0.73846153846153795</c:v>
                </c:pt>
                <c:pt idx="5158">
                  <c:v>0.73846153846153795</c:v>
                </c:pt>
                <c:pt idx="5159">
                  <c:v>0.73850574712643702</c:v>
                </c:pt>
                <c:pt idx="5160">
                  <c:v>0.73856209150326801</c:v>
                </c:pt>
                <c:pt idx="5161">
                  <c:v>0.73856912318450796</c:v>
                </c:pt>
                <c:pt idx="5162">
                  <c:v>0.73857868020304596</c:v>
                </c:pt>
                <c:pt idx="5163">
                  <c:v>0.73857868020304596</c:v>
                </c:pt>
                <c:pt idx="5164">
                  <c:v>0.73858921161825697</c:v>
                </c:pt>
                <c:pt idx="5165">
                  <c:v>0.73861386138613905</c:v>
                </c:pt>
                <c:pt idx="5166">
                  <c:v>0.73863636363636398</c:v>
                </c:pt>
                <c:pt idx="5167">
                  <c:v>0.73863636363636398</c:v>
                </c:pt>
                <c:pt idx="5168">
                  <c:v>0.73869346733668295</c:v>
                </c:pt>
                <c:pt idx="5169">
                  <c:v>0.73871409028727797</c:v>
                </c:pt>
                <c:pt idx="5170">
                  <c:v>0.738721804511278</c:v>
                </c:pt>
                <c:pt idx="5171">
                  <c:v>0.73873873873873896</c:v>
                </c:pt>
                <c:pt idx="5172">
                  <c:v>0.73873873873873896</c:v>
                </c:pt>
                <c:pt idx="5173">
                  <c:v>0.73873873873873896</c:v>
                </c:pt>
                <c:pt idx="5174">
                  <c:v>0.73878627968337696</c:v>
                </c:pt>
                <c:pt idx="5175">
                  <c:v>0.73878627968337696</c:v>
                </c:pt>
                <c:pt idx="5176">
                  <c:v>0.73878627968337696</c:v>
                </c:pt>
                <c:pt idx="5177">
                  <c:v>0.73883161512027495</c:v>
                </c:pt>
                <c:pt idx="5178">
                  <c:v>0.73883161512027495</c:v>
                </c:pt>
                <c:pt idx="5179">
                  <c:v>0.73892617449664399</c:v>
                </c:pt>
                <c:pt idx="5180">
                  <c:v>0.738927738927739</c:v>
                </c:pt>
                <c:pt idx="5181">
                  <c:v>0.73913043478260898</c:v>
                </c:pt>
                <c:pt idx="5182">
                  <c:v>0.73913043478260898</c:v>
                </c:pt>
                <c:pt idx="5183">
                  <c:v>0.739144419427469</c:v>
                </c:pt>
                <c:pt idx="5184">
                  <c:v>0.73927392739273901</c:v>
                </c:pt>
                <c:pt idx="5185">
                  <c:v>0.73933649289099501</c:v>
                </c:pt>
                <c:pt idx="5186">
                  <c:v>0.73945409429280395</c:v>
                </c:pt>
                <c:pt idx="5187">
                  <c:v>0.73946360153256696</c:v>
                </c:pt>
                <c:pt idx="5188">
                  <c:v>0.73949579831932799</c:v>
                </c:pt>
                <c:pt idx="5189">
                  <c:v>0.73949579831932799</c:v>
                </c:pt>
                <c:pt idx="5190">
                  <c:v>0.73951434878587197</c:v>
                </c:pt>
                <c:pt idx="5191">
                  <c:v>0.73958333333333304</c:v>
                </c:pt>
                <c:pt idx="5192">
                  <c:v>0.73960216998191697</c:v>
                </c:pt>
                <c:pt idx="5193">
                  <c:v>0.73961218836565101</c:v>
                </c:pt>
                <c:pt idx="5194">
                  <c:v>0.73962986598596003</c:v>
                </c:pt>
                <c:pt idx="5195">
                  <c:v>0.73972602739726001</c:v>
                </c:pt>
                <c:pt idx="5196">
                  <c:v>0.73972602739726001</c:v>
                </c:pt>
                <c:pt idx="5197">
                  <c:v>0.73975903614457805</c:v>
                </c:pt>
                <c:pt idx="5198">
                  <c:v>0.73975903614457805</c:v>
                </c:pt>
                <c:pt idx="5199">
                  <c:v>0.73976608187134496</c:v>
                </c:pt>
                <c:pt idx="5200">
                  <c:v>0.73979591836734704</c:v>
                </c:pt>
                <c:pt idx="5201">
                  <c:v>0.73979591836734704</c:v>
                </c:pt>
                <c:pt idx="5202">
                  <c:v>0.73980582524271798</c:v>
                </c:pt>
                <c:pt idx="5203">
                  <c:v>0.739884393063584</c:v>
                </c:pt>
                <c:pt idx="5204">
                  <c:v>0.73989898989898994</c:v>
                </c:pt>
                <c:pt idx="5205">
                  <c:v>0.73992673992673996</c:v>
                </c:pt>
                <c:pt idx="5206">
                  <c:v>0.73997233748271096</c:v>
                </c:pt>
                <c:pt idx="5207">
                  <c:v>0.74</c:v>
                </c:pt>
                <c:pt idx="5208">
                  <c:v>0.74</c:v>
                </c:pt>
                <c:pt idx="5209">
                  <c:v>0.74</c:v>
                </c:pt>
                <c:pt idx="5210">
                  <c:v>0.74007220216606495</c:v>
                </c:pt>
                <c:pt idx="5211">
                  <c:v>0.740088105726872</c:v>
                </c:pt>
                <c:pt idx="5212">
                  <c:v>0.74011299435028199</c:v>
                </c:pt>
                <c:pt idx="5213">
                  <c:v>0.74019607843137303</c:v>
                </c:pt>
                <c:pt idx="5214">
                  <c:v>0.74021352313167199</c:v>
                </c:pt>
                <c:pt idx="5215">
                  <c:v>0.740234375</c:v>
                </c:pt>
                <c:pt idx="5216">
                  <c:v>0.74025974025973995</c:v>
                </c:pt>
                <c:pt idx="5217">
                  <c:v>0.74041297935103201</c:v>
                </c:pt>
                <c:pt idx="5218">
                  <c:v>0.74045801526717603</c:v>
                </c:pt>
                <c:pt idx="5219">
                  <c:v>0.740629685157421</c:v>
                </c:pt>
                <c:pt idx="5220">
                  <c:v>0.74065420560747697</c:v>
                </c:pt>
                <c:pt idx="5221">
                  <c:v>0.74074074074074103</c:v>
                </c:pt>
                <c:pt idx="5222">
                  <c:v>0.74074074074074103</c:v>
                </c:pt>
                <c:pt idx="5223">
                  <c:v>0.74074074074074103</c:v>
                </c:pt>
                <c:pt idx="5224">
                  <c:v>0.74076655052264795</c:v>
                </c:pt>
                <c:pt idx="5225">
                  <c:v>0.74083769633507801</c:v>
                </c:pt>
                <c:pt idx="5226">
                  <c:v>0.740976645435244</c:v>
                </c:pt>
                <c:pt idx="5227">
                  <c:v>0.74108527131782898</c:v>
                </c:pt>
                <c:pt idx="5228">
                  <c:v>0.74109470026064295</c:v>
                </c:pt>
                <c:pt idx="5229">
                  <c:v>0.741127348643006</c:v>
                </c:pt>
                <c:pt idx="5230">
                  <c:v>0.74114441416893695</c:v>
                </c:pt>
                <c:pt idx="5231">
                  <c:v>0.74117647058823499</c:v>
                </c:pt>
                <c:pt idx="5232">
                  <c:v>0.74134245404018795</c:v>
                </c:pt>
                <c:pt idx="5233">
                  <c:v>0.74153846153846203</c:v>
                </c:pt>
                <c:pt idx="5234">
                  <c:v>0.74159292035398205</c:v>
                </c:pt>
                <c:pt idx="5235">
                  <c:v>0.74165341812400598</c:v>
                </c:pt>
                <c:pt idx="5236">
                  <c:v>0.74166666666666703</c:v>
                </c:pt>
                <c:pt idx="5237">
                  <c:v>0.74169741697417002</c:v>
                </c:pt>
                <c:pt idx="5238">
                  <c:v>0.741721854304636</c:v>
                </c:pt>
                <c:pt idx="5239">
                  <c:v>0.74175824175824201</c:v>
                </c:pt>
                <c:pt idx="5240">
                  <c:v>0.74177215189873402</c:v>
                </c:pt>
                <c:pt idx="5241">
                  <c:v>0.74177831912302095</c:v>
                </c:pt>
                <c:pt idx="5242">
                  <c:v>0.74178403755868505</c:v>
                </c:pt>
                <c:pt idx="5243">
                  <c:v>0.74179104477611901</c:v>
                </c:pt>
                <c:pt idx="5244">
                  <c:v>0.74188790560471995</c:v>
                </c:pt>
                <c:pt idx="5245">
                  <c:v>0.74193548387096797</c:v>
                </c:pt>
                <c:pt idx="5246">
                  <c:v>0.74193548387096797</c:v>
                </c:pt>
                <c:pt idx="5247">
                  <c:v>0.74193548387096797</c:v>
                </c:pt>
                <c:pt idx="5248">
                  <c:v>0.74193548387096797</c:v>
                </c:pt>
                <c:pt idx="5249">
                  <c:v>0.74197247706421998</c:v>
                </c:pt>
                <c:pt idx="5250">
                  <c:v>0.74201091192517499</c:v>
                </c:pt>
                <c:pt idx="5251">
                  <c:v>0.74205607476635504</c:v>
                </c:pt>
                <c:pt idx="5252">
                  <c:v>0.74230145867098896</c:v>
                </c:pt>
                <c:pt idx="5253">
                  <c:v>0.74234234234234198</c:v>
                </c:pt>
                <c:pt idx="5254">
                  <c:v>0.74235807860262004</c:v>
                </c:pt>
                <c:pt idx="5255">
                  <c:v>0.74235807860262004</c:v>
                </c:pt>
                <c:pt idx="5256">
                  <c:v>0.74242424242424199</c:v>
                </c:pt>
                <c:pt idx="5257">
                  <c:v>0.74242424242424199</c:v>
                </c:pt>
                <c:pt idx="5258">
                  <c:v>0.74251497005987999</c:v>
                </c:pt>
                <c:pt idx="5259">
                  <c:v>0.74257425742574201</c:v>
                </c:pt>
                <c:pt idx="5260">
                  <c:v>0.74257425742574201</c:v>
                </c:pt>
                <c:pt idx="5261">
                  <c:v>0.74263261296660099</c:v>
                </c:pt>
                <c:pt idx="5262">
                  <c:v>0.74265734265734296</c:v>
                </c:pt>
                <c:pt idx="5263">
                  <c:v>0.74267782426778195</c:v>
                </c:pt>
                <c:pt idx="5264">
                  <c:v>0.74271844660194197</c:v>
                </c:pt>
                <c:pt idx="5265">
                  <c:v>0.74275782155272296</c:v>
                </c:pt>
                <c:pt idx="5266">
                  <c:v>0.74277456647398798</c:v>
                </c:pt>
                <c:pt idx="5267">
                  <c:v>0.74285714285714299</c:v>
                </c:pt>
                <c:pt idx="5268">
                  <c:v>0.74285714285714299</c:v>
                </c:pt>
                <c:pt idx="5269">
                  <c:v>0.74285714285714299</c:v>
                </c:pt>
                <c:pt idx="5270">
                  <c:v>0.74285714285714299</c:v>
                </c:pt>
                <c:pt idx="5271">
                  <c:v>0.74285714285714299</c:v>
                </c:pt>
                <c:pt idx="5272">
                  <c:v>0.74285714285714299</c:v>
                </c:pt>
                <c:pt idx="5273">
                  <c:v>0.74295774647887303</c:v>
                </c:pt>
                <c:pt idx="5274">
                  <c:v>0.74295774647887303</c:v>
                </c:pt>
                <c:pt idx="5275">
                  <c:v>0.74309392265193397</c:v>
                </c:pt>
                <c:pt idx="5276">
                  <c:v>0.74324324324324298</c:v>
                </c:pt>
                <c:pt idx="5277">
                  <c:v>0.74327354260089695</c:v>
                </c:pt>
                <c:pt idx="5278">
                  <c:v>0.74333333333333296</c:v>
                </c:pt>
                <c:pt idx="5279">
                  <c:v>0.74336283185840701</c:v>
                </c:pt>
                <c:pt idx="5280">
                  <c:v>0.74336283185840701</c:v>
                </c:pt>
                <c:pt idx="5281">
                  <c:v>0.74337957124842402</c:v>
                </c:pt>
                <c:pt idx="5282">
                  <c:v>0.74342105263157898</c:v>
                </c:pt>
                <c:pt idx="5283">
                  <c:v>0.74344569288389495</c:v>
                </c:pt>
                <c:pt idx="5284">
                  <c:v>0.74347826086956503</c:v>
                </c:pt>
                <c:pt idx="5285">
                  <c:v>0.74358974358974395</c:v>
                </c:pt>
                <c:pt idx="5286">
                  <c:v>0.74358974358974395</c:v>
                </c:pt>
                <c:pt idx="5287">
                  <c:v>0.743654822335025</c:v>
                </c:pt>
                <c:pt idx="5288">
                  <c:v>0.74369747899159699</c:v>
                </c:pt>
                <c:pt idx="5289">
                  <c:v>0.74371859296482401</c:v>
                </c:pt>
                <c:pt idx="5290">
                  <c:v>0.74374680959673301</c:v>
                </c:pt>
                <c:pt idx="5291">
                  <c:v>0.743859649122807</c:v>
                </c:pt>
                <c:pt idx="5292">
                  <c:v>0.743859649122807</c:v>
                </c:pt>
                <c:pt idx="5293">
                  <c:v>0.74404761904761896</c:v>
                </c:pt>
                <c:pt idx="5294">
                  <c:v>0.74418604651162801</c:v>
                </c:pt>
                <c:pt idx="5295">
                  <c:v>0.74418604651162801</c:v>
                </c:pt>
                <c:pt idx="5296">
                  <c:v>0.74418604651162801</c:v>
                </c:pt>
                <c:pt idx="5297">
                  <c:v>0.74425287356321801</c:v>
                </c:pt>
                <c:pt idx="5298">
                  <c:v>0.744268077601411</c:v>
                </c:pt>
                <c:pt idx="5299">
                  <c:v>0.74430823117337996</c:v>
                </c:pt>
                <c:pt idx="5300">
                  <c:v>0.74432989690721596</c:v>
                </c:pt>
                <c:pt idx="5301">
                  <c:v>0.74436826640548504</c:v>
                </c:pt>
                <c:pt idx="5302">
                  <c:v>0.74437627811860896</c:v>
                </c:pt>
                <c:pt idx="5303">
                  <c:v>0.74442379182156104</c:v>
                </c:pt>
                <c:pt idx="5304">
                  <c:v>0.74444444444444402</c:v>
                </c:pt>
                <c:pt idx="5305">
                  <c:v>0.74449339207048504</c:v>
                </c:pt>
                <c:pt idx="5306">
                  <c:v>0.74452554744525501</c:v>
                </c:pt>
                <c:pt idx="5307">
                  <c:v>0.74452554744525501</c:v>
                </c:pt>
                <c:pt idx="5308">
                  <c:v>0.74454828660436101</c:v>
                </c:pt>
                <c:pt idx="5309">
                  <c:v>0.74456521739130399</c:v>
                </c:pt>
                <c:pt idx="5310">
                  <c:v>0.74456521739130399</c:v>
                </c:pt>
                <c:pt idx="5311">
                  <c:v>0.74462540716612402</c:v>
                </c:pt>
                <c:pt idx="5312">
                  <c:v>0.74463519313304705</c:v>
                </c:pt>
                <c:pt idx="5313">
                  <c:v>0.74468085106382997</c:v>
                </c:pt>
                <c:pt idx="5314">
                  <c:v>0.74468085106382997</c:v>
                </c:pt>
                <c:pt idx="5315">
                  <c:v>0.74474474474474495</c:v>
                </c:pt>
                <c:pt idx="5316">
                  <c:v>0.74484536082474195</c:v>
                </c:pt>
                <c:pt idx="5317">
                  <c:v>0.744881889763779</c:v>
                </c:pt>
                <c:pt idx="5318">
                  <c:v>0.74491392801251899</c:v>
                </c:pt>
                <c:pt idx="5319">
                  <c:v>0.74497991967871502</c:v>
                </c:pt>
                <c:pt idx="5320">
                  <c:v>0.745</c:v>
                </c:pt>
                <c:pt idx="5321">
                  <c:v>0.74504950495049505</c:v>
                </c:pt>
                <c:pt idx="5322">
                  <c:v>0.74509803921568596</c:v>
                </c:pt>
                <c:pt idx="5323">
                  <c:v>0.74509803921568596</c:v>
                </c:pt>
                <c:pt idx="5324">
                  <c:v>0.74509803921568596</c:v>
                </c:pt>
                <c:pt idx="5325">
                  <c:v>0.74528301886792403</c:v>
                </c:pt>
                <c:pt idx="5326">
                  <c:v>0.74528301886792403</c:v>
                </c:pt>
                <c:pt idx="5327">
                  <c:v>0.74534161490683204</c:v>
                </c:pt>
                <c:pt idx="5328">
                  <c:v>0.74542682926829296</c:v>
                </c:pt>
                <c:pt idx="5329">
                  <c:v>0.74545454545454504</c:v>
                </c:pt>
                <c:pt idx="5330">
                  <c:v>0.74545454545454504</c:v>
                </c:pt>
                <c:pt idx="5331">
                  <c:v>0.74545454545454504</c:v>
                </c:pt>
                <c:pt idx="5332">
                  <c:v>0.74546675621222303</c:v>
                </c:pt>
                <c:pt idx="5333">
                  <c:v>0.74550898203592797</c:v>
                </c:pt>
                <c:pt idx="5334">
                  <c:v>0.74558303886925803</c:v>
                </c:pt>
                <c:pt idx="5335">
                  <c:v>0.74570446735395202</c:v>
                </c:pt>
                <c:pt idx="5336">
                  <c:v>0.74576271186440701</c:v>
                </c:pt>
                <c:pt idx="5337">
                  <c:v>0.74580067189249699</c:v>
                </c:pt>
                <c:pt idx="5338">
                  <c:v>0.74581005586592197</c:v>
                </c:pt>
                <c:pt idx="5339">
                  <c:v>0.74590163934426201</c:v>
                </c:pt>
                <c:pt idx="5340">
                  <c:v>0.74590163934426201</c:v>
                </c:pt>
                <c:pt idx="5341">
                  <c:v>0.74592833876221498</c:v>
                </c:pt>
                <c:pt idx="5342">
                  <c:v>0.74598930481283399</c:v>
                </c:pt>
                <c:pt idx="5343">
                  <c:v>0.74603174603174605</c:v>
                </c:pt>
                <c:pt idx="5344">
                  <c:v>0.74607329842931902</c:v>
                </c:pt>
                <c:pt idx="5345">
                  <c:v>0.74621212121212099</c:v>
                </c:pt>
                <c:pt idx="5346">
                  <c:v>0.74626865671641796</c:v>
                </c:pt>
                <c:pt idx="5347">
                  <c:v>0.74628413411683403</c:v>
                </c:pt>
                <c:pt idx="5348">
                  <c:v>0.74630021141648994</c:v>
                </c:pt>
                <c:pt idx="5349">
                  <c:v>0.74634146341463403</c:v>
                </c:pt>
                <c:pt idx="5350">
                  <c:v>0.74637681159420299</c:v>
                </c:pt>
                <c:pt idx="5351">
                  <c:v>0.74647887323943696</c:v>
                </c:pt>
                <c:pt idx="5352">
                  <c:v>0.74647887323943696</c:v>
                </c:pt>
                <c:pt idx="5353">
                  <c:v>0.74647887323943696</c:v>
                </c:pt>
                <c:pt idx="5354">
                  <c:v>0.74652777777777801</c:v>
                </c:pt>
                <c:pt idx="5355">
                  <c:v>0.74657534246575297</c:v>
                </c:pt>
                <c:pt idx="5356">
                  <c:v>0.74657534246575297</c:v>
                </c:pt>
                <c:pt idx="5357">
                  <c:v>0.74666666666666703</c:v>
                </c:pt>
                <c:pt idx="5358">
                  <c:v>0.74671052631578905</c:v>
                </c:pt>
                <c:pt idx="5359">
                  <c:v>0.74696969696969695</c:v>
                </c:pt>
                <c:pt idx="5360">
                  <c:v>0.74698795180722899</c:v>
                </c:pt>
                <c:pt idx="5361">
                  <c:v>0.74698795180722899</c:v>
                </c:pt>
                <c:pt idx="5362">
                  <c:v>0.74698795180722899</c:v>
                </c:pt>
                <c:pt idx="5363">
                  <c:v>0.74698795180722899</c:v>
                </c:pt>
                <c:pt idx="5364">
                  <c:v>0.747058823529412</c:v>
                </c:pt>
                <c:pt idx="5365">
                  <c:v>0.74706413730804</c:v>
                </c:pt>
                <c:pt idx="5366">
                  <c:v>0.74712643678160895</c:v>
                </c:pt>
                <c:pt idx="5367">
                  <c:v>0.74713584288052404</c:v>
                </c:pt>
                <c:pt idx="5368">
                  <c:v>0.74715909090909105</c:v>
                </c:pt>
                <c:pt idx="5369">
                  <c:v>0.747282608695652</c:v>
                </c:pt>
                <c:pt idx="5370">
                  <c:v>0.74736842105263102</c:v>
                </c:pt>
                <c:pt idx="5371">
                  <c:v>0.74740484429065701</c:v>
                </c:pt>
                <c:pt idx="5372">
                  <c:v>0.747435897435897</c:v>
                </c:pt>
                <c:pt idx="5373">
                  <c:v>0.74745762711864405</c:v>
                </c:pt>
                <c:pt idx="5374">
                  <c:v>0.74757281553398103</c:v>
                </c:pt>
                <c:pt idx="5375">
                  <c:v>0.74757281553398103</c:v>
                </c:pt>
                <c:pt idx="5376">
                  <c:v>0.74761904761904796</c:v>
                </c:pt>
                <c:pt idx="5377">
                  <c:v>0.74767864352038804</c:v>
                </c:pt>
                <c:pt idx="5378">
                  <c:v>0.74773960216998203</c:v>
                </c:pt>
                <c:pt idx="5379">
                  <c:v>0.74780426599749095</c:v>
                </c:pt>
                <c:pt idx="5380">
                  <c:v>0.74782608695652197</c:v>
                </c:pt>
                <c:pt idx="5381">
                  <c:v>0.74782608695652197</c:v>
                </c:pt>
                <c:pt idx="5382">
                  <c:v>0.74782608695652197</c:v>
                </c:pt>
                <c:pt idx="5383">
                  <c:v>0.747899159663865</c:v>
                </c:pt>
                <c:pt idx="5384">
                  <c:v>0.74795081967213095</c:v>
                </c:pt>
                <c:pt idx="5385">
                  <c:v>0.74796084828711196</c:v>
                </c:pt>
                <c:pt idx="5386">
                  <c:v>0.748</c:v>
                </c:pt>
                <c:pt idx="5387">
                  <c:v>0.74803149606299202</c:v>
                </c:pt>
                <c:pt idx="5388">
                  <c:v>0.74803149606299202</c:v>
                </c:pt>
                <c:pt idx="5389">
                  <c:v>0.74803836094158704</c:v>
                </c:pt>
                <c:pt idx="5390">
                  <c:v>0.74806201550387597</c:v>
                </c:pt>
                <c:pt idx="5391">
                  <c:v>0.74814814814814801</c:v>
                </c:pt>
                <c:pt idx="5392">
                  <c:v>0.74820143884892099</c:v>
                </c:pt>
                <c:pt idx="5393">
                  <c:v>0.74828060522696005</c:v>
                </c:pt>
                <c:pt idx="5394">
                  <c:v>0.74829931972789099</c:v>
                </c:pt>
                <c:pt idx="5395">
                  <c:v>0.74832214765100702</c:v>
                </c:pt>
                <c:pt idx="5396">
                  <c:v>0.74845995893223805</c:v>
                </c:pt>
                <c:pt idx="5397">
                  <c:v>0.74852071005917198</c:v>
                </c:pt>
                <c:pt idx="5398">
                  <c:v>0.74853801169590595</c:v>
                </c:pt>
                <c:pt idx="5399">
                  <c:v>0.748571428571428</c:v>
                </c:pt>
                <c:pt idx="5400">
                  <c:v>0.74860335195530703</c:v>
                </c:pt>
                <c:pt idx="5401">
                  <c:v>0.74863883847549895</c:v>
                </c:pt>
                <c:pt idx="5402">
                  <c:v>0.74866310160427796</c:v>
                </c:pt>
                <c:pt idx="5403">
                  <c:v>0.74871794871794894</c:v>
                </c:pt>
                <c:pt idx="5404">
                  <c:v>0.74874371859296496</c:v>
                </c:pt>
                <c:pt idx="5405">
                  <c:v>0.74874371859296496</c:v>
                </c:pt>
                <c:pt idx="5406">
                  <c:v>0.74879227053140096</c:v>
                </c:pt>
                <c:pt idx="5407">
                  <c:v>0.74880382775119603</c:v>
                </c:pt>
                <c:pt idx="5408">
                  <c:v>0.74885844748858399</c:v>
                </c:pt>
                <c:pt idx="5409">
                  <c:v>0.74904214559386995</c:v>
                </c:pt>
                <c:pt idx="5410">
                  <c:v>0.74911032028469704</c:v>
                </c:pt>
                <c:pt idx="5411">
                  <c:v>0.74912648497554102</c:v>
                </c:pt>
                <c:pt idx="5412">
                  <c:v>0.74916387959866204</c:v>
                </c:pt>
                <c:pt idx="5413">
                  <c:v>0.74916387959866204</c:v>
                </c:pt>
                <c:pt idx="5414">
                  <c:v>0.74918032786885203</c:v>
                </c:pt>
                <c:pt idx="5415">
                  <c:v>0.749185667752443</c:v>
                </c:pt>
                <c:pt idx="5416">
                  <c:v>0.74919268030139896</c:v>
                </c:pt>
                <c:pt idx="5417">
                  <c:v>0.74920634920634899</c:v>
                </c:pt>
                <c:pt idx="5418">
                  <c:v>0.74921630094043901</c:v>
                </c:pt>
                <c:pt idx="5419">
                  <c:v>0.74932126696832602</c:v>
                </c:pt>
                <c:pt idx="5420">
                  <c:v>0.74938574938574898</c:v>
                </c:pt>
                <c:pt idx="5421">
                  <c:v>0.74948453608247401</c:v>
                </c:pt>
                <c:pt idx="5422">
                  <c:v>0.74954296160877498</c:v>
                </c:pt>
                <c:pt idx="5423">
                  <c:v>0.74962140333165095</c:v>
                </c:pt>
                <c:pt idx="5424">
                  <c:v>0.74968071519795598</c:v>
                </c:pt>
                <c:pt idx="5425">
                  <c:v>0.74975369458128105</c:v>
                </c:pt>
                <c:pt idx="5426">
                  <c:v>0.74979287489643698</c:v>
                </c:pt>
                <c:pt idx="5427">
                  <c:v>0.74984167194426798</c:v>
                </c:pt>
                <c:pt idx="5428">
                  <c:v>0.75</c:v>
                </c:pt>
                <c:pt idx="5429">
                  <c:v>0.75</c:v>
                </c:pt>
                <c:pt idx="5430">
                  <c:v>0.75</c:v>
                </c:pt>
                <c:pt idx="5431">
                  <c:v>0.75</c:v>
                </c:pt>
                <c:pt idx="5432">
                  <c:v>0.75</c:v>
                </c:pt>
                <c:pt idx="5433">
                  <c:v>0.75</c:v>
                </c:pt>
                <c:pt idx="5434">
                  <c:v>0.75</c:v>
                </c:pt>
                <c:pt idx="5435">
                  <c:v>0.75</c:v>
                </c:pt>
                <c:pt idx="5436">
                  <c:v>0.75</c:v>
                </c:pt>
                <c:pt idx="5437">
                  <c:v>0.75</c:v>
                </c:pt>
                <c:pt idx="5438">
                  <c:v>0.75</c:v>
                </c:pt>
                <c:pt idx="5439">
                  <c:v>0.75</c:v>
                </c:pt>
                <c:pt idx="5440">
                  <c:v>0.75</c:v>
                </c:pt>
                <c:pt idx="5441">
                  <c:v>0.75</c:v>
                </c:pt>
                <c:pt idx="5442">
                  <c:v>0.75</c:v>
                </c:pt>
                <c:pt idx="5443">
                  <c:v>0.75</c:v>
                </c:pt>
                <c:pt idx="5444">
                  <c:v>0.75</c:v>
                </c:pt>
                <c:pt idx="5445">
                  <c:v>0.75</c:v>
                </c:pt>
                <c:pt idx="5446">
                  <c:v>0.75</c:v>
                </c:pt>
                <c:pt idx="5447">
                  <c:v>0.75</c:v>
                </c:pt>
                <c:pt idx="5448">
                  <c:v>0.75</c:v>
                </c:pt>
                <c:pt idx="5449">
                  <c:v>0.75</c:v>
                </c:pt>
                <c:pt idx="5450">
                  <c:v>0.75</c:v>
                </c:pt>
                <c:pt idx="5451">
                  <c:v>0.75</c:v>
                </c:pt>
                <c:pt idx="5452">
                  <c:v>0.75</c:v>
                </c:pt>
                <c:pt idx="5453">
                  <c:v>0.75030699959066705</c:v>
                </c:pt>
                <c:pt idx="5454">
                  <c:v>0.750346740638003</c:v>
                </c:pt>
                <c:pt idx="5455">
                  <c:v>0.75036179450072404</c:v>
                </c:pt>
                <c:pt idx="5456">
                  <c:v>0.750385208012327</c:v>
                </c:pt>
                <c:pt idx="5457">
                  <c:v>0.75038759689922496</c:v>
                </c:pt>
                <c:pt idx="5458">
                  <c:v>0.75043327556325801</c:v>
                </c:pt>
                <c:pt idx="5459">
                  <c:v>0.750544662309368</c:v>
                </c:pt>
                <c:pt idx="5460">
                  <c:v>0.75059952038369304</c:v>
                </c:pt>
                <c:pt idx="5461">
                  <c:v>0.75064599483204097</c:v>
                </c:pt>
                <c:pt idx="5462">
                  <c:v>0.75066079295154198</c:v>
                </c:pt>
                <c:pt idx="5463">
                  <c:v>0.75071633237822299</c:v>
                </c:pt>
                <c:pt idx="5464">
                  <c:v>0.75072463768115905</c:v>
                </c:pt>
                <c:pt idx="5465">
                  <c:v>0.75073313782991202</c:v>
                </c:pt>
                <c:pt idx="5466">
                  <c:v>0.75075075075075104</c:v>
                </c:pt>
                <c:pt idx="5467">
                  <c:v>0.75080385852090004</c:v>
                </c:pt>
                <c:pt idx="5468">
                  <c:v>0.75081967213114698</c:v>
                </c:pt>
                <c:pt idx="5469">
                  <c:v>0.75083612040133796</c:v>
                </c:pt>
                <c:pt idx="5470">
                  <c:v>0.750977835723598</c:v>
                </c:pt>
                <c:pt idx="5471">
                  <c:v>0.75098814229249</c:v>
                </c:pt>
                <c:pt idx="5472">
                  <c:v>0.75103163686382401</c:v>
                </c:pt>
                <c:pt idx="5473">
                  <c:v>0.75105485232067504</c:v>
                </c:pt>
                <c:pt idx="5474">
                  <c:v>0.75105485232067504</c:v>
                </c:pt>
                <c:pt idx="5475">
                  <c:v>0.75107296137338997</c:v>
                </c:pt>
                <c:pt idx="5476">
                  <c:v>0.75107296137338997</c:v>
                </c:pt>
                <c:pt idx="5477">
                  <c:v>0.75109170305676798</c:v>
                </c:pt>
                <c:pt idx="5478">
                  <c:v>0.75109170305676798</c:v>
                </c:pt>
                <c:pt idx="5479">
                  <c:v>0.75109170305676798</c:v>
                </c:pt>
                <c:pt idx="5480">
                  <c:v>0.75114155251141501</c:v>
                </c:pt>
                <c:pt idx="5481">
                  <c:v>0.75115919629057204</c:v>
                </c:pt>
                <c:pt idx="5482">
                  <c:v>0.75117370892018798</c:v>
                </c:pt>
                <c:pt idx="5483">
                  <c:v>0.75132275132275095</c:v>
                </c:pt>
                <c:pt idx="5484">
                  <c:v>0.75138121546961301</c:v>
                </c:pt>
                <c:pt idx="5485">
                  <c:v>0.75142314990512304</c:v>
                </c:pt>
                <c:pt idx="5486">
                  <c:v>0.75144508670520205</c:v>
                </c:pt>
                <c:pt idx="5487">
                  <c:v>0.75144508670520205</c:v>
                </c:pt>
                <c:pt idx="5488">
                  <c:v>0.75151515151515103</c:v>
                </c:pt>
                <c:pt idx="5489">
                  <c:v>0.75152439024390205</c:v>
                </c:pt>
                <c:pt idx="5490">
                  <c:v>0.75159235668789803</c:v>
                </c:pt>
                <c:pt idx="5491">
                  <c:v>0.75159235668789803</c:v>
                </c:pt>
                <c:pt idx="5492">
                  <c:v>0.75161290322580598</c:v>
                </c:pt>
                <c:pt idx="5493">
                  <c:v>0.75163398692810401</c:v>
                </c:pt>
                <c:pt idx="5494">
                  <c:v>0.75163398692810401</c:v>
                </c:pt>
                <c:pt idx="5495">
                  <c:v>0.75167785234899298</c:v>
                </c:pt>
                <c:pt idx="5496">
                  <c:v>0.75167785234899298</c:v>
                </c:pt>
                <c:pt idx="5497">
                  <c:v>0.75172413793103399</c:v>
                </c:pt>
                <c:pt idx="5498">
                  <c:v>0.75174825174825199</c:v>
                </c:pt>
                <c:pt idx="5499">
                  <c:v>0.75174825174825199</c:v>
                </c:pt>
                <c:pt idx="5500">
                  <c:v>0.75177304964539005</c:v>
                </c:pt>
                <c:pt idx="5501">
                  <c:v>0.75182481751824803</c:v>
                </c:pt>
                <c:pt idx="5502">
                  <c:v>0.75185185185185199</c:v>
                </c:pt>
                <c:pt idx="5503">
                  <c:v>0.75189873417721498</c:v>
                </c:pt>
                <c:pt idx="5504">
                  <c:v>0.75196232339089497</c:v>
                </c:pt>
                <c:pt idx="5505">
                  <c:v>0.75197472353870398</c:v>
                </c:pt>
                <c:pt idx="5506">
                  <c:v>0.75205254515599296</c:v>
                </c:pt>
                <c:pt idx="5507">
                  <c:v>0.75209643605870002</c:v>
                </c:pt>
                <c:pt idx="5508">
                  <c:v>0.75210792580101204</c:v>
                </c:pt>
                <c:pt idx="5509">
                  <c:v>0.75211864406779705</c:v>
                </c:pt>
                <c:pt idx="5510">
                  <c:v>0.75213675213675202</c:v>
                </c:pt>
                <c:pt idx="5511">
                  <c:v>0.75220458553791902</c:v>
                </c:pt>
                <c:pt idx="5512">
                  <c:v>0.75221238938053103</c:v>
                </c:pt>
                <c:pt idx="5513">
                  <c:v>0.75231481481481499</c:v>
                </c:pt>
                <c:pt idx="5514">
                  <c:v>0.75232198142414897</c:v>
                </c:pt>
                <c:pt idx="5515">
                  <c:v>0.75239923224568095</c:v>
                </c:pt>
                <c:pt idx="5516">
                  <c:v>0.75245098039215697</c:v>
                </c:pt>
                <c:pt idx="5517">
                  <c:v>0.75263157894736799</c:v>
                </c:pt>
                <c:pt idx="5518">
                  <c:v>0.75265017667844503</c:v>
                </c:pt>
                <c:pt idx="5519">
                  <c:v>0.75268817204301097</c:v>
                </c:pt>
                <c:pt idx="5520">
                  <c:v>0.75274725274725296</c:v>
                </c:pt>
                <c:pt idx="5521">
                  <c:v>0.75284090909090895</c:v>
                </c:pt>
                <c:pt idx="5522">
                  <c:v>0.75287958115183196</c:v>
                </c:pt>
                <c:pt idx="5523">
                  <c:v>0.75288303130148304</c:v>
                </c:pt>
                <c:pt idx="5524">
                  <c:v>0.75291375291375295</c:v>
                </c:pt>
                <c:pt idx="5525">
                  <c:v>0.752941176470588</c:v>
                </c:pt>
                <c:pt idx="5526">
                  <c:v>0.75296912114014203</c:v>
                </c:pt>
                <c:pt idx="5527">
                  <c:v>0.75298804780876505</c:v>
                </c:pt>
                <c:pt idx="5528">
                  <c:v>0.75310834813499095</c:v>
                </c:pt>
                <c:pt idx="5529">
                  <c:v>0.75311203319502096</c:v>
                </c:pt>
                <c:pt idx="5530">
                  <c:v>0.75315048183839906</c:v>
                </c:pt>
                <c:pt idx="5531">
                  <c:v>0.75327510917030605</c:v>
                </c:pt>
                <c:pt idx="5532">
                  <c:v>0.75333333333333297</c:v>
                </c:pt>
                <c:pt idx="5533">
                  <c:v>0.75335775335775301</c:v>
                </c:pt>
                <c:pt idx="5534">
                  <c:v>0.75342465753424703</c:v>
                </c:pt>
                <c:pt idx="5535">
                  <c:v>0.75342465753424703</c:v>
                </c:pt>
                <c:pt idx="5536">
                  <c:v>0.75342465753424703</c:v>
                </c:pt>
                <c:pt idx="5537">
                  <c:v>0.75348273773470598</c:v>
                </c:pt>
                <c:pt idx="5538">
                  <c:v>0.75352112676056304</c:v>
                </c:pt>
                <c:pt idx="5539">
                  <c:v>0.75362318840579701</c:v>
                </c:pt>
                <c:pt idx="5540">
                  <c:v>0.75362318840579701</c:v>
                </c:pt>
                <c:pt idx="5541">
                  <c:v>0.75367647058823495</c:v>
                </c:pt>
                <c:pt idx="5542">
                  <c:v>0.75370121130551804</c:v>
                </c:pt>
                <c:pt idx="5543">
                  <c:v>0.75379426644182101</c:v>
                </c:pt>
                <c:pt idx="5544">
                  <c:v>0.75381679389313005</c:v>
                </c:pt>
                <c:pt idx="5545">
                  <c:v>0.75381679389313005</c:v>
                </c:pt>
                <c:pt idx="5546">
                  <c:v>0.75384615384615405</c:v>
                </c:pt>
                <c:pt idx="5547">
                  <c:v>0.75395033860045102</c:v>
                </c:pt>
                <c:pt idx="5548">
                  <c:v>0.75414364640884002</c:v>
                </c:pt>
                <c:pt idx="5549">
                  <c:v>0.75418994413407803</c:v>
                </c:pt>
                <c:pt idx="5550">
                  <c:v>0.75425790754257904</c:v>
                </c:pt>
                <c:pt idx="5551">
                  <c:v>0.75427350427350404</c:v>
                </c:pt>
                <c:pt idx="5552">
                  <c:v>0.75438596491228105</c:v>
                </c:pt>
                <c:pt idx="5553">
                  <c:v>0.75438596491228105</c:v>
                </c:pt>
                <c:pt idx="5554">
                  <c:v>0.75438596491228105</c:v>
                </c:pt>
                <c:pt idx="5555">
                  <c:v>0.75450450450450401</c:v>
                </c:pt>
                <c:pt idx="5556">
                  <c:v>0.75452196382428904</c:v>
                </c:pt>
                <c:pt idx="5557">
                  <c:v>0.75453047775947302</c:v>
                </c:pt>
                <c:pt idx="5558">
                  <c:v>0.75458248472505096</c:v>
                </c:pt>
                <c:pt idx="5559">
                  <c:v>0.75458308693081</c:v>
                </c:pt>
                <c:pt idx="5560">
                  <c:v>0.75464320625610903</c:v>
                </c:pt>
                <c:pt idx="5561">
                  <c:v>0.75471698113207497</c:v>
                </c:pt>
                <c:pt idx="5562">
                  <c:v>0.75478927203065105</c:v>
                </c:pt>
                <c:pt idx="5563">
                  <c:v>0.75480769230769196</c:v>
                </c:pt>
                <c:pt idx="5564">
                  <c:v>0.75480769230769196</c:v>
                </c:pt>
                <c:pt idx="5565">
                  <c:v>0.75483870967741895</c:v>
                </c:pt>
                <c:pt idx="5566">
                  <c:v>0.754874651810585</c:v>
                </c:pt>
                <c:pt idx="5567">
                  <c:v>0.75488454706927199</c:v>
                </c:pt>
                <c:pt idx="5568">
                  <c:v>0.75498575498575504</c:v>
                </c:pt>
                <c:pt idx="5569">
                  <c:v>0.75502392344497604</c:v>
                </c:pt>
                <c:pt idx="5570">
                  <c:v>0.75510204081632604</c:v>
                </c:pt>
                <c:pt idx="5571">
                  <c:v>0.75510204081632604</c:v>
                </c:pt>
                <c:pt idx="5572">
                  <c:v>0.75510204081632604</c:v>
                </c:pt>
                <c:pt idx="5573">
                  <c:v>0.75514018691588802</c:v>
                </c:pt>
                <c:pt idx="5574">
                  <c:v>0.75516224188790604</c:v>
                </c:pt>
                <c:pt idx="5575">
                  <c:v>0.755186721991701</c:v>
                </c:pt>
                <c:pt idx="5576">
                  <c:v>0.75525269733106204</c:v>
                </c:pt>
                <c:pt idx="5577">
                  <c:v>0.75528700906344404</c:v>
                </c:pt>
                <c:pt idx="5578">
                  <c:v>0.75530410183875496</c:v>
                </c:pt>
                <c:pt idx="5579">
                  <c:v>0.75531914893617003</c:v>
                </c:pt>
                <c:pt idx="5580">
                  <c:v>0.75537634408602095</c:v>
                </c:pt>
                <c:pt idx="5581">
                  <c:v>0.75541125541125498</c:v>
                </c:pt>
                <c:pt idx="5582">
                  <c:v>0.75541125541125498</c:v>
                </c:pt>
                <c:pt idx="5583">
                  <c:v>0.755424063116371</c:v>
                </c:pt>
                <c:pt idx="5584">
                  <c:v>0.75546719681908503</c:v>
                </c:pt>
                <c:pt idx="5585">
                  <c:v>0.75547445255474399</c:v>
                </c:pt>
                <c:pt idx="5586">
                  <c:v>0.75549450549450503</c:v>
                </c:pt>
                <c:pt idx="5587">
                  <c:v>0.75555555555555498</c:v>
                </c:pt>
                <c:pt idx="5588">
                  <c:v>0.75555555555555498</c:v>
                </c:pt>
                <c:pt idx="5589">
                  <c:v>0.75560081466395101</c:v>
                </c:pt>
                <c:pt idx="5590">
                  <c:v>0.75566150178784297</c:v>
                </c:pt>
                <c:pt idx="5591">
                  <c:v>0.75568181818181801</c:v>
                </c:pt>
                <c:pt idx="5592">
                  <c:v>0.75569494882799604</c:v>
                </c:pt>
                <c:pt idx="5593">
                  <c:v>0.75575447570332499</c:v>
                </c:pt>
                <c:pt idx="5594">
                  <c:v>0.75578406169665802</c:v>
                </c:pt>
                <c:pt idx="5595">
                  <c:v>0.75578406169665802</c:v>
                </c:pt>
                <c:pt idx="5596">
                  <c:v>0.75581395348837199</c:v>
                </c:pt>
                <c:pt idx="5597">
                  <c:v>0.75588865096359703</c:v>
                </c:pt>
                <c:pt idx="5598">
                  <c:v>0.75590551181102394</c:v>
                </c:pt>
                <c:pt idx="5599">
                  <c:v>0.75595238095238104</c:v>
                </c:pt>
                <c:pt idx="5600">
                  <c:v>0.75605460149713799</c:v>
                </c:pt>
                <c:pt idx="5601">
                  <c:v>0.75609756097560998</c:v>
                </c:pt>
                <c:pt idx="5602">
                  <c:v>0.75609756097560998</c:v>
                </c:pt>
                <c:pt idx="5603">
                  <c:v>0.75612472160356303</c:v>
                </c:pt>
                <c:pt idx="5604">
                  <c:v>0.75614366729678595</c:v>
                </c:pt>
                <c:pt idx="5605">
                  <c:v>0.75614366729678595</c:v>
                </c:pt>
                <c:pt idx="5606">
                  <c:v>0.75618374558303902</c:v>
                </c:pt>
                <c:pt idx="5607">
                  <c:v>0.75619047619047597</c:v>
                </c:pt>
                <c:pt idx="5608">
                  <c:v>0.75620689655172402</c:v>
                </c:pt>
                <c:pt idx="5609">
                  <c:v>0.75621890547263704</c:v>
                </c:pt>
                <c:pt idx="5610">
                  <c:v>0.75624999999999998</c:v>
                </c:pt>
                <c:pt idx="5611">
                  <c:v>0.75630252100840301</c:v>
                </c:pt>
                <c:pt idx="5612">
                  <c:v>0.75632183908046002</c:v>
                </c:pt>
                <c:pt idx="5613">
                  <c:v>0.75641025641025605</c:v>
                </c:pt>
                <c:pt idx="5614">
                  <c:v>0.75657894736842102</c:v>
                </c:pt>
                <c:pt idx="5615">
                  <c:v>0.75663716814159299</c:v>
                </c:pt>
                <c:pt idx="5616">
                  <c:v>0.75665399239543696</c:v>
                </c:pt>
                <c:pt idx="5617">
                  <c:v>0.75668449197860999</c:v>
                </c:pt>
                <c:pt idx="5618">
                  <c:v>0.75672877846790898</c:v>
                </c:pt>
                <c:pt idx="5619">
                  <c:v>0.75675675675675702</c:v>
                </c:pt>
                <c:pt idx="5620">
                  <c:v>0.75696202531645596</c:v>
                </c:pt>
                <c:pt idx="5621">
                  <c:v>0.75700934579439205</c:v>
                </c:pt>
                <c:pt idx="5622">
                  <c:v>0.75700934579439205</c:v>
                </c:pt>
                <c:pt idx="5623">
                  <c:v>0.75706214689265505</c:v>
                </c:pt>
                <c:pt idx="5624">
                  <c:v>0.75714285714285701</c:v>
                </c:pt>
                <c:pt idx="5625">
                  <c:v>0.75714285714285701</c:v>
                </c:pt>
                <c:pt idx="5626">
                  <c:v>0.75721153846153799</c:v>
                </c:pt>
                <c:pt idx="5627">
                  <c:v>0.75722543352601102</c:v>
                </c:pt>
                <c:pt idx="5628">
                  <c:v>0.75724637681159401</c:v>
                </c:pt>
                <c:pt idx="5629">
                  <c:v>0.75728155339805803</c:v>
                </c:pt>
                <c:pt idx="5630">
                  <c:v>0.75728155339805803</c:v>
                </c:pt>
                <c:pt idx="5631">
                  <c:v>0.75735294117647001</c:v>
                </c:pt>
                <c:pt idx="5632">
                  <c:v>0.75739644970414199</c:v>
                </c:pt>
                <c:pt idx="5633">
                  <c:v>0.75742971887550203</c:v>
                </c:pt>
                <c:pt idx="5634">
                  <c:v>0.75744680851063795</c:v>
                </c:pt>
                <c:pt idx="5635">
                  <c:v>0.75747508305647804</c:v>
                </c:pt>
                <c:pt idx="5636">
                  <c:v>0.75757575757575701</c:v>
                </c:pt>
                <c:pt idx="5637">
                  <c:v>0.75757575757575701</c:v>
                </c:pt>
                <c:pt idx="5638">
                  <c:v>0.75763546798029502</c:v>
                </c:pt>
                <c:pt idx="5639">
                  <c:v>0.757692307692308</c:v>
                </c:pt>
                <c:pt idx="5640">
                  <c:v>0.75770925110132203</c:v>
                </c:pt>
                <c:pt idx="5641">
                  <c:v>0.75775193798449603</c:v>
                </c:pt>
                <c:pt idx="5642">
                  <c:v>0.75776397515527905</c:v>
                </c:pt>
                <c:pt idx="5643">
                  <c:v>0.75776397515527905</c:v>
                </c:pt>
                <c:pt idx="5644">
                  <c:v>0.75782414307004498</c:v>
                </c:pt>
                <c:pt idx="5645">
                  <c:v>0.75789473684210495</c:v>
                </c:pt>
                <c:pt idx="5646">
                  <c:v>0.75789473684210495</c:v>
                </c:pt>
                <c:pt idx="5647">
                  <c:v>0.75794085432639602</c:v>
                </c:pt>
                <c:pt idx="5648">
                  <c:v>0.75796178343948994</c:v>
                </c:pt>
                <c:pt idx="5649">
                  <c:v>0.75799086757990897</c:v>
                </c:pt>
                <c:pt idx="5650">
                  <c:v>0.75811688311688297</c:v>
                </c:pt>
                <c:pt idx="5651">
                  <c:v>0.75812274368231003</c:v>
                </c:pt>
                <c:pt idx="5652">
                  <c:v>0.75813953488372099</c:v>
                </c:pt>
                <c:pt idx="5653">
                  <c:v>0.75820895522387999</c:v>
                </c:pt>
                <c:pt idx="5654">
                  <c:v>0.75824175824175799</c:v>
                </c:pt>
                <c:pt idx="5655">
                  <c:v>0.75824175824175799</c:v>
                </c:pt>
                <c:pt idx="5656">
                  <c:v>0.75826972010178095</c:v>
                </c:pt>
                <c:pt idx="5657">
                  <c:v>0.75830258302582998</c:v>
                </c:pt>
                <c:pt idx="5658">
                  <c:v>0.75830815709969801</c:v>
                </c:pt>
                <c:pt idx="5659">
                  <c:v>0.75830815709969801</c:v>
                </c:pt>
                <c:pt idx="5660">
                  <c:v>0.75831873905429104</c:v>
                </c:pt>
                <c:pt idx="5661">
                  <c:v>0.75836972343522502</c:v>
                </c:pt>
                <c:pt idx="5662">
                  <c:v>0.75838926174496601</c:v>
                </c:pt>
                <c:pt idx="5663">
                  <c:v>0.75851393188854499</c:v>
                </c:pt>
                <c:pt idx="5664">
                  <c:v>0.75853018372703396</c:v>
                </c:pt>
                <c:pt idx="5665">
                  <c:v>0.75853018372703396</c:v>
                </c:pt>
                <c:pt idx="5666">
                  <c:v>0.75862068965517204</c:v>
                </c:pt>
                <c:pt idx="5667">
                  <c:v>0.75866949752300095</c:v>
                </c:pt>
                <c:pt idx="5668">
                  <c:v>0.75867507886435304</c:v>
                </c:pt>
                <c:pt idx="5669">
                  <c:v>0.75874547647768398</c:v>
                </c:pt>
                <c:pt idx="5670">
                  <c:v>0.75890985324947602</c:v>
                </c:pt>
                <c:pt idx="5671">
                  <c:v>0.75892857142857095</c:v>
                </c:pt>
                <c:pt idx="5672">
                  <c:v>0.75892857142857095</c:v>
                </c:pt>
                <c:pt idx="5673">
                  <c:v>0.75892857142857095</c:v>
                </c:pt>
                <c:pt idx="5674">
                  <c:v>0.75903614457831303</c:v>
                </c:pt>
                <c:pt idx="5675">
                  <c:v>0.75903614457831303</c:v>
                </c:pt>
                <c:pt idx="5676">
                  <c:v>0.75903614457831303</c:v>
                </c:pt>
                <c:pt idx="5677">
                  <c:v>0.75906735751295296</c:v>
                </c:pt>
                <c:pt idx="5678">
                  <c:v>0.75909090909090904</c:v>
                </c:pt>
                <c:pt idx="5679">
                  <c:v>0.75925925925925897</c:v>
                </c:pt>
                <c:pt idx="5680">
                  <c:v>0.75925925925925897</c:v>
                </c:pt>
                <c:pt idx="5681">
                  <c:v>0.75925925925925897</c:v>
                </c:pt>
                <c:pt idx="5682">
                  <c:v>0.75929549902152604</c:v>
                </c:pt>
                <c:pt idx="5683">
                  <c:v>0.75934579439252303</c:v>
                </c:pt>
                <c:pt idx="5684">
                  <c:v>0.75937904269081502</c:v>
                </c:pt>
                <c:pt idx="5685">
                  <c:v>0.759439050701187</c:v>
                </c:pt>
                <c:pt idx="5686">
                  <c:v>0.75955678670360105</c:v>
                </c:pt>
                <c:pt idx="5687">
                  <c:v>0.75959079283887498</c:v>
                </c:pt>
                <c:pt idx="5688">
                  <c:v>0.75961538461538503</c:v>
                </c:pt>
                <c:pt idx="5689">
                  <c:v>0.75966850828729304</c:v>
                </c:pt>
                <c:pt idx="5690">
                  <c:v>0.75981524249422605</c:v>
                </c:pt>
                <c:pt idx="5691">
                  <c:v>0.75982532751091703</c:v>
                </c:pt>
                <c:pt idx="5692">
                  <c:v>0.75983436853002095</c:v>
                </c:pt>
                <c:pt idx="5693">
                  <c:v>0.759914255091104</c:v>
                </c:pt>
                <c:pt idx="5694">
                  <c:v>0.76</c:v>
                </c:pt>
                <c:pt idx="5695">
                  <c:v>0.76</c:v>
                </c:pt>
                <c:pt idx="5696">
                  <c:v>0.76</c:v>
                </c:pt>
                <c:pt idx="5697">
                  <c:v>0.76</c:v>
                </c:pt>
                <c:pt idx="5698">
                  <c:v>0.76010101010101006</c:v>
                </c:pt>
                <c:pt idx="5699">
                  <c:v>0.760170293282876</c:v>
                </c:pt>
                <c:pt idx="5700">
                  <c:v>0.76023391812865504</c:v>
                </c:pt>
                <c:pt idx="5701">
                  <c:v>0.76027397260273999</c:v>
                </c:pt>
                <c:pt idx="5702">
                  <c:v>0.76027397260273999</c:v>
                </c:pt>
                <c:pt idx="5703">
                  <c:v>0.76033057851239705</c:v>
                </c:pt>
                <c:pt idx="5704">
                  <c:v>0.76033057851239705</c:v>
                </c:pt>
                <c:pt idx="5705">
                  <c:v>0.76038338658146998</c:v>
                </c:pt>
                <c:pt idx="5706">
                  <c:v>0.76039603960395996</c:v>
                </c:pt>
                <c:pt idx="5707">
                  <c:v>0.76041666666666696</c:v>
                </c:pt>
                <c:pt idx="5708">
                  <c:v>0.76047430830039497</c:v>
                </c:pt>
                <c:pt idx="5709">
                  <c:v>0.760479041916168</c:v>
                </c:pt>
                <c:pt idx="5710">
                  <c:v>0.760479041916168</c:v>
                </c:pt>
                <c:pt idx="5711">
                  <c:v>0.76053215077605296</c:v>
                </c:pt>
                <c:pt idx="5712">
                  <c:v>0.76056338028169002</c:v>
                </c:pt>
                <c:pt idx="5713">
                  <c:v>0.76056338028169002</c:v>
                </c:pt>
                <c:pt idx="5714">
                  <c:v>0.76066199872692497</c:v>
                </c:pt>
                <c:pt idx="5715">
                  <c:v>0.76073619631901801</c:v>
                </c:pt>
                <c:pt idx="5716">
                  <c:v>0.76076555023923398</c:v>
                </c:pt>
                <c:pt idx="5717">
                  <c:v>0.76076555023923398</c:v>
                </c:pt>
                <c:pt idx="5718">
                  <c:v>0.76078431372549005</c:v>
                </c:pt>
                <c:pt idx="5719">
                  <c:v>0.76084538375973298</c:v>
                </c:pt>
                <c:pt idx="5720">
                  <c:v>0.76086956521739102</c:v>
                </c:pt>
                <c:pt idx="5721">
                  <c:v>0.76091476091476096</c:v>
                </c:pt>
                <c:pt idx="5722">
                  <c:v>0.76096997690531198</c:v>
                </c:pt>
                <c:pt idx="5723">
                  <c:v>0.761124121779859</c:v>
                </c:pt>
                <c:pt idx="5724">
                  <c:v>0.76116838487972505</c:v>
                </c:pt>
                <c:pt idx="5725">
                  <c:v>0.76126126126126104</c:v>
                </c:pt>
                <c:pt idx="5726">
                  <c:v>0.76136363636363602</c:v>
                </c:pt>
                <c:pt idx="5727">
                  <c:v>0.76136363636363602</c:v>
                </c:pt>
                <c:pt idx="5728">
                  <c:v>0.76144578313252997</c:v>
                </c:pt>
                <c:pt idx="5729">
                  <c:v>0.76146788990825698</c:v>
                </c:pt>
                <c:pt idx="5730">
                  <c:v>0.76153846153846105</c:v>
                </c:pt>
                <c:pt idx="5731">
                  <c:v>0.76180698151950699</c:v>
                </c:pt>
                <c:pt idx="5732">
                  <c:v>0.76182432432432401</c:v>
                </c:pt>
                <c:pt idx="5733">
                  <c:v>0.76190476190476197</c:v>
                </c:pt>
                <c:pt idx="5734">
                  <c:v>0.76190476190476197</c:v>
                </c:pt>
                <c:pt idx="5735">
                  <c:v>0.76190476190476197</c:v>
                </c:pt>
                <c:pt idx="5736">
                  <c:v>0.76195899772209597</c:v>
                </c:pt>
                <c:pt idx="5737">
                  <c:v>0.76207513416815698</c:v>
                </c:pt>
                <c:pt idx="5738">
                  <c:v>0.76213592233009697</c:v>
                </c:pt>
                <c:pt idx="5739">
                  <c:v>0.76213592233009697</c:v>
                </c:pt>
                <c:pt idx="5740">
                  <c:v>0.76213991769547296</c:v>
                </c:pt>
                <c:pt idx="5741">
                  <c:v>0.76215277777777801</c:v>
                </c:pt>
                <c:pt idx="5742">
                  <c:v>0.76223776223776196</c:v>
                </c:pt>
                <c:pt idx="5743">
                  <c:v>0.76237623762376205</c:v>
                </c:pt>
                <c:pt idx="5744">
                  <c:v>0.76237623762376205</c:v>
                </c:pt>
                <c:pt idx="5745">
                  <c:v>0.76237623762376205</c:v>
                </c:pt>
                <c:pt idx="5746">
                  <c:v>0.76237623762376205</c:v>
                </c:pt>
                <c:pt idx="5747">
                  <c:v>0.76239669421487599</c:v>
                </c:pt>
                <c:pt idx="5748">
                  <c:v>0.76244665718349902</c:v>
                </c:pt>
                <c:pt idx="5749">
                  <c:v>0.76247504990019999</c:v>
                </c:pt>
                <c:pt idx="5750">
                  <c:v>0.76254589963280295</c:v>
                </c:pt>
                <c:pt idx="5751">
                  <c:v>0.76255230125522999</c:v>
                </c:pt>
                <c:pt idx="5752">
                  <c:v>0.76255707762557101</c:v>
                </c:pt>
                <c:pt idx="5753">
                  <c:v>0.76260504201680701</c:v>
                </c:pt>
                <c:pt idx="5754">
                  <c:v>0.76271186440677996</c:v>
                </c:pt>
                <c:pt idx="5755">
                  <c:v>0.76274757690686901</c:v>
                </c:pt>
                <c:pt idx="5756">
                  <c:v>0.762820512820513</c:v>
                </c:pt>
                <c:pt idx="5757">
                  <c:v>0.76293103448275901</c:v>
                </c:pt>
                <c:pt idx="5758">
                  <c:v>0.76305970149253699</c:v>
                </c:pt>
                <c:pt idx="5759">
                  <c:v>0.76307796152548102</c:v>
                </c:pt>
                <c:pt idx="5760">
                  <c:v>0.76311605723370401</c:v>
                </c:pt>
                <c:pt idx="5761">
                  <c:v>0.76313181367690797</c:v>
                </c:pt>
                <c:pt idx="5762">
                  <c:v>0.76315789473684204</c:v>
                </c:pt>
                <c:pt idx="5763">
                  <c:v>0.76329331046312199</c:v>
                </c:pt>
                <c:pt idx="5764">
                  <c:v>0.76329331046312199</c:v>
                </c:pt>
                <c:pt idx="5765">
                  <c:v>0.76331360946745597</c:v>
                </c:pt>
                <c:pt idx="5766">
                  <c:v>0.76341463414634103</c:v>
                </c:pt>
                <c:pt idx="5767">
                  <c:v>0.76343381389252896</c:v>
                </c:pt>
                <c:pt idx="5768">
                  <c:v>0.76346604215456704</c:v>
                </c:pt>
                <c:pt idx="5769">
                  <c:v>0.76356589147286802</c:v>
                </c:pt>
                <c:pt idx="5770">
                  <c:v>0.76361386138613896</c:v>
                </c:pt>
                <c:pt idx="5771">
                  <c:v>0.76373626373626402</c:v>
                </c:pt>
                <c:pt idx="5772">
                  <c:v>0.76380368098159501</c:v>
                </c:pt>
                <c:pt idx="5773">
                  <c:v>0.76381909547738702</c:v>
                </c:pt>
                <c:pt idx="5774">
                  <c:v>0.76388888888888895</c:v>
                </c:pt>
                <c:pt idx="5775">
                  <c:v>0.76415094339622602</c:v>
                </c:pt>
                <c:pt idx="5776">
                  <c:v>0.76422764227642304</c:v>
                </c:pt>
                <c:pt idx="5777">
                  <c:v>0.76422764227642304</c:v>
                </c:pt>
                <c:pt idx="5778">
                  <c:v>0.76433121019108297</c:v>
                </c:pt>
                <c:pt idx="5779">
                  <c:v>0.76433121019108297</c:v>
                </c:pt>
                <c:pt idx="5780">
                  <c:v>0.76435045317220496</c:v>
                </c:pt>
                <c:pt idx="5781">
                  <c:v>0.76441917140536098</c:v>
                </c:pt>
                <c:pt idx="5782">
                  <c:v>0.76442307692307698</c:v>
                </c:pt>
                <c:pt idx="5783">
                  <c:v>0.76461038961038996</c:v>
                </c:pt>
                <c:pt idx="5784">
                  <c:v>0.76466480446927398</c:v>
                </c:pt>
                <c:pt idx="5785">
                  <c:v>0.76470588235294101</c:v>
                </c:pt>
                <c:pt idx="5786">
                  <c:v>0.76470588235294101</c:v>
                </c:pt>
                <c:pt idx="5787">
                  <c:v>0.76470588235294101</c:v>
                </c:pt>
                <c:pt idx="5788">
                  <c:v>0.76470588235294101</c:v>
                </c:pt>
                <c:pt idx="5789">
                  <c:v>0.76470588235294101</c:v>
                </c:pt>
                <c:pt idx="5790">
                  <c:v>0.76500000000000001</c:v>
                </c:pt>
                <c:pt idx="5791">
                  <c:v>0.765021459227468</c:v>
                </c:pt>
                <c:pt idx="5792">
                  <c:v>0.76506024096385505</c:v>
                </c:pt>
                <c:pt idx="5793">
                  <c:v>0.76507936507936503</c:v>
                </c:pt>
                <c:pt idx="5794">
                  <c:v>0.76512455516014199</c:v>
                </c:pt>
                <c:pt idx="5795">
                  <c:v>0.76515151515151503</c:v>
                </c:pt>
                <c:pt idx="5796">
                  <c:v>0.76521739130434796</c:v>
                </c:pt>
                <c:pt idx="5797">
                  <c:v>0.76521739130434796</c:v>
                </c:pt>
                <c:pt idx="5798">
                  <c:v>0.76524390243902396</c:v>
                </c:pt>
                <c:pt idx="5799">
                  <c:v>0.76527777777777795</c:v>
                </c:pt>
                <c:pt idx="5800">
                  <c:v>0.76529338327091101</c:v>
                </c:pt>
                <c:pt idx="5801">
                  <c:v>0.76543209876543195</c:v>
                </c:pt>
                <c:pt idx="5802">
                  <c:v>0.76551724137930999</c:v>
                </c:pt>
                <c:pt idx="5803">
                  <c:v>0.76551724137930999</c:v>
                </c:pt>
                <c:pt idx="5804">
                  <c:v>0.76559546313799598</c:v>
                </c:pt>
                <c:pt idx="5805">
                  <c:v>0.765625</c:v>
                </c:pt>
                <c:pt idx="5806">
                  <c:v>0.765625</c:v>
                </c:pt>
                <c:pt idx="5807">
                  <c:v>0.76569037656903804</c:v>
                </c:pt>
                <c:pt idx="5808">
                  <c:v>0.76569297700435002</c:v>
                </c:pt>
                <c:pt idx="5809">
                  <c:v>0.76572327044025101</c:v>
                </c:pt>
                <c:pt idx="5810">
                  <c:v>0.765822784810126</c:v>
                </c:pt>
                <c:pt idx="5811">
                  <c:v>0.76585365853658505</c:v>
                </c:pt>
                <c:pt idx="5812">
                  <c:v>0.76595744680851097</c:v>
                </c:pt>
                <c:pt idx="5813">
                  <c:v>0.76595744680851097</c:v>
                </c:pt>
                <c:pt idx="5814">
                  <c:v>0.76602564102564097</c:v>
                </c:pt>
                <c:pt idx="5815">
                  <c:v>0.76608629825889496</c:v>
                </c:pt>
                <c:pt idx="5816">
                  <c:v>0.76612480335605704</c:v>
                </c:pt>
                <c:pt idx="5817">
                  <c:v>0.76616915422885601</c:v>
                </c:pt>
                <c:pt idx="5818">
                  <c:v>0.76620370370370405</c:v>
                </c:pt>
                <c:pt idx="5819">
                  <c:v>0.76623376623376604</c:v>
                </c:pt>
                <c:pt idx="5820">
                  <c:v>0.76623376623376604</c:v>
                </c:pt>
                <c:pt idx="5821">
                  <c:v>0.76623376623376604</c:v>
                </c:pt>
                <c:pt idx="5822">
                  <c:v>0.76633663366336602</c:v>
                </c:pt>
                <c:pt idx="5823">
                  <c:v>0.76635514018691597</c:v>
                </c:pt>
                <c:pt idx="5824">
                  <c:v>0.76638655462184901</c:v>
                </c:pt>
                <c:pt idx="5825">
                  <c:v>0.76642335766423297</c:v>
                </c:pt>
                <c:pt idx="5826">
                  <c:v>0.76644736842105299</c:v>
                </c:pt>
                <c:pt idx="5827">
                  <c:v>0.76666666666666705</c:v>
                </c:pt>
                <c:pt idx="5828">
                  <c:v>0.76666666666666705</c:v>
                </c:pt>
                <c:pt idx="5829">
                  <c:v>0.76683937823834203</c:v>
                </c:pt>
                <c:pt idx="5830">
                  <c:v>0.76697736351531298</c:v>
                </c:pt>
                <c:pt idx="5831">
                  <c:v>0.76712328767123295</c:v>
                </c:pt>
                <c:pt idx="5832">
                  <c:v>0.76712328767123295</c:v>
                </c:pt>
                <c:pt idx="5833">
                  <c:v>0.76715686274509798</c:v>
                </c:pt>
                <c:pt idx="5834">
                  <c:v>0.767295597484277</c:v>
                </c:pt>
                <c:pt idx="5835">
                  <c:v>0.76732673267326701</c:v>
                </c:pt>
                <c:pt idx="5836">
                  <c:v>0.76744186046511598</c:v>
                </c:pt>
                <c:pt idx="5837">
                  <c:v>0.76744186046511598</c:v>
                </c:pt>
                <c:pt idx="5838">
                  <c:v>0.76744186046511598</c:v>
                </c:pt>
                <c:pt idx="5839">
                  <c:v>0.76748582230623796</c:v>
                </c:pt>
                <c:pt idx="5840">
                  <c:v>0.76750330250990695</c:v>
                </c:pt>
                <c:pt idx="5841">
                  <c:v>0.76756756756756805</c:v>
                </c:pt>
                <c:pt idx="5842">
                  <c:v>0.76760563380281699</c:v>
                </c:pt>
                <c:pt idx="5843">
                  <c:v>0.76760563380281699</c:v>
                </c:pt>
                <c:pt idx="5844">
                  <c:v>0.76764705882352902</c:v>
                </c:pt>
                <c:pt idx="5845">
                  <c:v>0.76767676767676796</c:v>
                </c:pt>
                <c:pt idx="5846">
                  <c:v>0.76777251184834105</c:v>
                </c:pt>
                <c:pt idx="5847">
                  <c:v>0.76785714285714302</c:v>
                </c:pt>
                <c:pt idx="5848">
                  <c:v>0.76785714285714302</c:v>
                </c:pt>
                <c:pt idx="5849">
                  <c:v>0.76790450928382004</c:v>
                </c:pt>
                <c:pt idx="5850">
                  <c:v>0.76800000000000002</c:v>
                </c:pt>
                <c:pt idx="5851">
                  <c:v>0.76801801801801795</c:v>
                </c:pt>
                <c:pt idx="5852">
                  <c:v>0.76802507836990597</c:v>
                </c:pt>
                <c:pt idx="5853">
                  <c:v>0.76811594202898503</c:v>
                </c:pt>
                <c:pt idx="5854">
                  <c:v>0.76816860465116299</c:v>
                </c:pt>
                <c:pt idx="5855">
                  <c:v>0.76829268292682895</c:v>
                </c:pt>
                <c:pt idx="5856">
                  <c:v>0.76833156216790599</c:v>
                </c:pt>
                <c:pt idx="5857">
                  <c:v>0.768421052631579</c:v>
                </c:pt>
                <c:pt idx="5858">
                  <c:v>0.76844783715012699</c:v>
                </c:pt>
                <c:pt idx="5859">
                  <c:v>0.76851851851851805</c:v>
                </c:pt>
                <c:pt idx="5860">
                  <c:v>0.76851851851851805</c:v>
                </c:pt>
                <c:pt idx="5861">
                  <c:v>0.76854599406528201</c:v>
                </c:pt>
                <c:pt idx="5862">
                  <c:v>0.76865671641791</c:v>
                </c:pt>
                <c:pt idx="5863">
                  <c:v>0.76870748299319702</c:v>
                </c:pt>
                <c:pt idx="5864">
                  <c:v>0.76876267748478699</c:v>
                </c:pt>
                <c:pt idx="5865">
                  <c:v>0.76876876876876898</c:v>
                </c:pt>
                <c:pt idx="5866">
                  <c:v>0.76878612716762995</c:v>
                </c:pt>
                <c:pt idx="5867">
                  <c:v>0.76913730255164003</c:v>
                </c:pt>
                <c:pt idx="5868">
                  <c:v>0.76918918918918899</c:v>
                </c:pt>
                <c:pt idx="5869">
                  <c:v>0.76923076923076905</c:v>
                </c:pt>
                <c:pt idx="5870">
                  <c:v>0.76923076923076905</c:v>
                </c:pt>
                <c:pt idx="5871">
                  <c:v>0.76923076923076905</c:v>
                </c:pt>
                <c:pt idx="5872">
                  <c:v>0.76923076923076905</c:v>
                </c:pt>
                <c:pt idx="5873">
                  <c:v>0.76923076923076905</c:v>
                </c:pt>
                <c:pt idx="5874">
                  <c:v>0.76923076923076905</c:v>
                </c:pt>
                <c:pt idx="5875">
                  <c:v>0.76923076923076905</c:v>
                </c:pt>
                <c:pt idx="5876">
                  <c:v>0.76929902395740901</c:v>
                </c:pt>
                <c:pt idx="5877">
                  <c:v>0.76935483870967702</c:v>
                </c:pt>
                <c:pt idx="5878">
                  <c:v>0.76937018577254201</c:v>
                </c:pt>
                <c:pt idx="5879">
                  <c:v>0.76944444444444404</c:v>
                </c:pt>
                <c:pt idx="5880">
                  <c:v>0.76946107784431095</c:v>
                </c:pt>
                <c:pt idx="5881">
                  <c:v>0.76953125</c:v>
                </c:pt>
                <c:pt idx="5882">
                  <c:v>0.769640479360852</c:v>
                </c:pt>
                <c:pt idx="5883">
                  <c:v>0.76966292134831504</c:v>
                </c:pt>
                <c:pt idx="5884">
                  <c:v>0.76967930029154497</c:v>
                </c:pt>
                <c:pt idx="5885">
                  <c:v>0.76973684210526305</c:v>
                </c:pt>
                <c:pt idx="5886">
                  <c:v>0.76973684210526305</c:v>
                </c:pt>
                <c:pt idx="5887">
                  <c:v>0.76982097186700804</c:v>
                </c:pt>
                <c:pt idx="5888">
                  <c:v>0.76992753623188404</c:v>
                </c:pt>
                <c:pt idx="5889">
                  <c:v>0.76993166287015902</c:v>
                </c:pt>
                <c:pt idx="5890">
                  <c:v>0.76993865030674802</c:v>
                </c:pt>
                <c:pt idx="5891">
                  <c:v>0.76995305164319205</c:v>
                </c:pt>
                <c:pt idx="5892">
                  <c:v>0.77003484320557503</c:v>
                </c:pt>
                <c:pt idx="5893">
                  <c:v>0.77008928571428603</c:v>
                </c:pt>
                <c:pt idx="5894">
                  <c:v>0.77011494252873602</c:v>
                </c:pt>
                <c:pt idx="5895">
                  <c:v>0.77013177159589996</c:v>
                </c:pt>
                <c:pt idx="5896">
                  <c:v>0.77015437392795905</c:v>
                </c:pt>
                <c:pt idx="5897">
                  <c:v>0.77018633540372705</c:v>
                </c:pt>
                <c:pt idx="5898">
                  <c:v>0.77018633540372705</c:v>
                </c:pt>
                <c:pt idx="5899">
                  <c:v>0.77030522503879995</c:v>
                </c:pt>
                <c:pt idx="5900">
                  <c:v>0.77033730158730196</c:v>
                </c:pt>
                <c:pt idx="5901">
                  <c:v>0.77034883720930203</c:v>
                </c:pt>
                <c:pt idx="5902">
                  <c:v>0.77035490605428003</c:v>
                </c:pt>
                <c:pt idx="5903">
                  <c:v>0.77036395147313697</c:v>
                </c:pt>
                <c:pt idx="5904">
                  <c:v>0.77040816326530603</c:v>
                </c:pt>
                <c:pt idx="5905">
                  <c:v>0.77042801556420204</c:v>
                </c:pt>
                <c:pt idx="5906">
                  <c:v>0.77042801556420204</c:v>
                </c:pt>
                <c:pt idx="5907">
                  <c:v>0.77049180327868805</c:v>
                </c:pt>
                <c:pt idx="5908">
                  <c:v>0.77049180327868805</c:v>
                </c:pt>
                <c:pt idx="5909">
                  <c:v>0.77049180327868805</c:v>
                </c:pt>
                <c:pt idx="5910">
                  <c:v>0.77053824362606205</c:v>
                </c:pt>
                <c:pt idx="5911">
                  <c:v>0.77055346587856</c:v>
                </c:pt>
                <c:pt idx="5912">
                  <c:v>0.77064220183486198</c:v>
                </c:pt>
                <c:pt idx="5913">
                  <c:v>0.77070063694267499</c:v>
                </c:pt>
                <c:pt idx="5914">
                  <c:v>0.77070063694267499</c:v>
                </c:pt>
                <c:pt idx="5915">
                  <c:v>0.77070063694267499</c:v>
                </c:pt>
                <c:pt idx="5916">
                  <c:v>0.77070063694267499</c:v>
                </c:pt>
                <c:pt idx="5917">
                  <c:v>0.77073170731707297</c:v>
                </c:pt>
                <c:pt idx="5918">
                  <c:v>0.77083333333333304</c:v>
                </c:pt>
                <c:pt idx="5919">
                  <c:v>0.77086092715231802</c:v>
                </c:pt>
                <c:pt idx="5920">
                  <c:v>0.77094972067039103</c:v>
                </c:pt>
                <c:pt idx="5921">
                  <c:v>0.77099236641221403</c:v>
                </c:pt>
                <c:pt idx="5922">
                  <c:v>0.77104642014162095</c:v>
                </c:pt>
                <c:pt idx="5923">
                  <c:v>0.77115987460815005</c:v>
                </c:pt>
                <c:pt idx="5924">
                  <c:v>0.77121067683508104</c:v>
                </c:pt>
                <c:pt idx="5925">
                  <c:v>0.77124183006535896</c:v>
                </c:pt>
                <c:pt idx="5926">
                  <c:v>0.77124183006535896</c:v>
                </c:pt>
                <c:pt idx="5927">
                  <c:v>0.77128116938950997</c:v>
                </c:pt>
                <c:pt idx="5928">
                  <c:v>0.77135171486213805</c:v>
                </c:pt>
                <c:pt idx="5929">
                  <c:v>0.77137870855148305</c:v>
                </c:pt>
                <c:pt idx="5930">
                  <c:v>0.77142857142857102</c:v>
                </c:pt>
                <c:pt idx="5931">
                  <c:v>0.771498771498771</c:v>
                </c:pt>
                <c:pt idx="5932">
                  <c:v>0.77153558052434401</c:v>
                </c:pt>
                <c:pt idx="5933">
                  <c:v>0.77158034528552399</c:v>
                </c:pt>
                <c:pt idx="5934">
                  <c:v>0.771612903225806</c:v>
                </c:pt>
                <c:pt idx="5935">
                  <c:v>0.77164366373902105</c:v>
                </c:pt>
                <c:pt idx="5936">
                  <c:v>0.77168949771689499</c:v>
                </c:pt>
                <c:pt idx="5937">
                  <c:v>0.77177914110429402</c:v>
                </c:pt>
                <c:pt idx="5938">
                  <c:v>0.772020725388601</c:v>
                </c:pt>
                <c:pt idx="5939">
                  <c:v>0.77205882352941202</c:v>
                </c:pt>
                <c:pt idx="5940">
                  <c:v>0.77207977207977196</c:v>
                </c:pt>
                <c:pt idx="5941">
                  <c:v>0.772151898734177</c:v>
                </c:pt>
                <c:pt idx="5942">
                  <c:v>0.77222222222222203</c:v>
                </c:pt>
                <c:pt idx="5943">
                  <c:v>0.77222222222222203</c:v>
                </c:pt>
                <c:pt idx="5944">
                  <c:v>0.77223427331887196</c:v>
                </c:pt>
                <c:pt idx="5945">
                  <c:v>0.77245508982035904</c:v>
                </c:pt>
                <c:pt idx="5946">
                  <c:v>0.772486772486772</c:v>
                </c:pt>
                <c:pt idx="5947">
                  <c:v>0.77251184834123199</c:v>
                </c:pt>
                <c:pt idx="5948">
                  <c:v>0.772519083969466</c:v>
                </c:pt>
                <c:pt idx="5949">
                  <c:v>0.77253218884120201</c:v>
                </c:pt>
                <c:pt idx="5950">
                  <c:v>0.77254901960784295</c:v>
                </c:pt>
                <c:pt idx="5951">
                  <c:v>0.77259475218658902</c:v>
                </c:pt>
                <c:pt idx="5952">
                  <c:v>0.77272727272727304</c:v>
                </c:pt>
                <c:pt idx="5953">
                  <c:v>0.77272727272727304</c:v>
                </c:pt>
                <c:pt idx="5954">
                  <c:v>0.77283372365339598</c:v>
                </c:pt>
                <c:pt idx="5955">
                  <c:v>0.77292576419213999</c:v>
                </c:pt>
                <c:pt idx="5956">
                  <c:v>0.77300613496932502</c:v>
                </c:pt>
                <c:pt idx="5957">
                  <c:v>0.77304964539007104</c:v>
                </c:pt>
                <c:pt idx="5958">
                  <c:v>0.77307692307692299</c:v>
                </c:pt>
                <c:pt idx="5959">
                  <c:v>0.77308707124010501</c:v>
                </c:pt>
                <c:pt idx="5960">
                  <c:v>0.77309007981755995</c:v>
                </c:pt>
                <c:pt idx="5961">
                  <c:v>0.77313432835820906</c:v>
                </c:pt>
                <c:pt idx="5962">
                  <c:v>0.77323420074349403</c:v>
                </c:pt>
                <c:pt idx="5963">
                  <c:v>0.77329192546583803</c:v>
                </c:pt>
                <c:pt idx="5964">
                  <c:v>0.77335640138408301</c:v>
                </c:pt>
                <c:pt idx="5965">
                  <c:v>0.7734375</c:v>
                </c:pt>
                <c:pt idx="5966">
                  <c:v>0.7734375</c:v>
                </c:pt>
                <c:pt idx="5967">
                  <c:v>0.773622047244094</c:v>
                </c:pt>
                <c:pt idx="5968">
                  <c:v>0.77365491651205898</c:v>
                </c:pt>
                <c:pt idx="5969">
                  <c:v>0.77366255144032903</c:v>
                </c:pt>
                <c:pt idx="5970">
                  <c:v>0.77366255144032903</c:v>
                </c:pt>
                <c:pt idx="5971">
                  <c:v>0.77366255144032903</c:v>
                </c:pt>
                <c:pt idx="5972">
                  <c:v>0.77369439071566704</c:v>
                </c:pt>
                <c:pt idx="5973">
                  <c:v>0.773722627737226</c:v>
                </c:pt>
                <c:pt idx="5974">
                  <c:v>0.77374301675977597</c:v>
                </c:pt>
                <c:pt idx="5975">
                  <c:v>0.77376425855513298</c:v>
                </c:pt>
                <c:pt idx="5976">
                  <c:v>0.77380952380952395</c:v>
                </c:pt>
                <c:pt idx="5977">
                  <c:v>0.77388535031847105</c:v>
                </c:pt>
                <c:pt idx="5978">
                  <c:v>0.77419354838709697</c:v>
                </c:pt>
                <c:pt idx="5979">
                  <c:v>0.77430555555555602</c:v>
                </c:pt>
                <c:pt idx="5980">
                  <c:v>0.77435897435897405</c:v>
                </c:pt>
                <c:pt idx="5981">
                  <c:v>0.77441077441077399</c:v>
                </c:pt>
                <c:pt idx="5982">
                  <c:v>0.77443609022556403</c:v>
                </c:pt>
                <c:pt idx="5983">
                  <c:v>0.77454545454545398</c:v>
                </c:pt>
                <c:pt idx="5984">
                  <c:v>0.77464788732394396</c:v>
                </c:pt>
                <c:pt idx="5985">
                  <c:v>0.77464788732394396</c:v>
                </c:pt>
                <c:pt idx="5986">
                  <c:v>0.77469135802469102</c:v>
                </c:pt>
                <c:pt idx="5987">
                  <c:v>0.77488372093023306</c:v>
                </c:pt>
                <c:pt idx="5988">
                  <c:v>0.77494199535962904</c:v>
                </c:pt>
                <c:pt idx="5989">
                  <c:v>0.77496483825597695</c:v>
                </c:pt>
                <c:pt idx="5990">
                  <c:v>0.77500000000000002</c:v>
                </c:pt>
                <c:pt idx="5991">
                  <c:v>0.77500000000000002</c:v>
                </c:pt>
                <c:pt idx="5992">
                  <c:v>0.77500000000000002</c:v>
                </c:pt>
                <c:pt idx="5993">
                  <c:v>0.77502214348981402</c:v>
                </c:pt>
                <c:pt idx="5994">
                  <c:v>0.77510040160642601</c:v>
                </c:pt>
                <c:pt idx="5995">
                  <c:v>0.77513711151736697</c:v>
                </c:pt>
                <c:pt idx="5996">
                  <c:v>0.77528089887640395</c:v>
                </c:pt>
                <c:pt idx="5997">
                  <c:v>0.77533577533577502</c:v>
                </c:pt>
                <c:pt idx="5998">
                  <c:v>0.77541371158392403</c:v>
                </c:pt>
                <c:pt idx="5999">
                  <c:v>0.77543186180422297</c:v>
                </c:pt>
                <c:pt idx="6000">
                  <c:v>0.77551020408163296</c:v>
                </c:pt>
                <c:pt idx="6001">
                  <c:v>0.77551020408163296</c:v>
                </c:pt>
                <c:pt idx="6002">
                  <c:v>0.77551020408163296</c:v>
                </c:pt>
                <c:pt idx="6003">
                  <c:v>0.77551020408163296</c:v>
                </c:pt>
                <c:pt idx="6004">
                  <c:v>0.77564102564102599</c:v>
                </c:pt>
                <c:pt idx="6005">
                  <c:v>0.77566539923954403</c:v>
                </c:pt>
                <c:pt idx="6006">
                  <c:v>0.77580071174377196</c:v>
                </c:pt>
                <c:pt idx="6007">
                  <c:v>0.77586206896551702</c:v>
                </c:pt>
                <c:pt idx="6008">
                  <c:v>0.77589134125636705</c:v>
                </c:pt>
                <c:pt idx="6009">
                  <c:v>0.77595628415300499</c:v>
                </c:pt>
                <c:pt idx="6010">
                  <c:v>0.77600000000000002</c:v>
                </c:pt>
                <c:pt idx="6011">
                  <c:v>0.77604166666666696</c:v>
                </c:pt>
                <c:pt idx="6012">
                  <c:v>0.77606574216743696</c:v>
                </c:pt>
                <c:pt idx="6013">
                  <c:v>0.776173285198556</c:v>
                </c:pt>
                <c:pt idx="6014">
                  <c:v>0.776173285198556</c:v>
                </c:pt>
                <c:pt idx="6015">
                  <c:v>0.77621861152141802</c:v>
                </c:pt>
                <c:pt idx="6016">
                  <c:v>0.77627118644067805</c:v>
                </c:pt>
                <c:pt idx="6017">
                  <c:v>0.77631578947368396</c:v>
                </c:pt>
                <c:pt idx="6018">
                  <c:v>0.77651515151515105</c:v>
                </c:pt>
                <c:pt idx="6019">
                  <c:v>0.77652485904664303</c:v>
                </c:pt>
                <c:pt idx="6020">
                  <c:v>0.77659574468085102</c:v>
                </c:pt>
                <c:pt idx="6021">
                  <c:v>0.77676950998185101</c:v>
                </c:pt>
                <c:pt idx="6022">
                  <c:v>0.77682403433476399</c:v>
                </c:pt>
                <c:pt idx="6023">
                  <c:v>0.77683013503909004</c:v>
                </c:pt>
                <c:pt idx="6024">
                  <c:v>0.77685950413223104</c:v>
                </c:pt>
                <c:pt idx="6025">
                  <c:v>0.77685950413223104</c:v>
                </c:pt>
                <c:pt idx="6026">
                  <c:v>0.77692307692307705</c:v>
                </c:pt>
                <c:pt idx="6027">
                  <c:v>0.77692307692307705</c:v>
                </c:pt>
                <c:pt idx="6028">
                  <c:v>0.77694610778443096</c:v>
                </c:pt>
                <c:pt idx="6029">
                  <c:v>0.77699115044247802</c:v>
                </c:pt>
                <c:pt idx="6030">
                  <c:v>0.77702702702702697</c:v>
                </c:pt>
                <c:pt idx="6031">
                  <c:v>0.77720207253885998</c:v>
                </c:pt>
                <c:pt idx="6032">
                  <c:v>0.77724358974358998</c:v>
                </c:pt>
                <c:pt idx="6033">
                  <c:v>0.77734375</c:v>
                </c:pt>
                <c:pt idx="6034">
                  <c:v>0.77741935483871005</c:v>
                </c:pt>
                <c:pt idx="6035">
                  <c:v>0.77755511022044099</c:v>
                </c:pt>
                <c:pt idx="6036">
                  <c:v>0.77777777777777801</c:v>
                </c:pt>
                <c:pt idx="6037">
                  <c:v>0.77777777777777801</c:v>
                </c:pt>
                <c:pt idx="6038">
                  <c:v>0.77777777777777801</c:v>
                </c:pt>
                <c:pt idx="6039">
                  <c:v>0.77777777777777801</c:v>
                </c:pt>
                <c:pt idx="6040">
                  <c:v>0.77777777777777801</c:v>
                </c:pt>
                <c:pt idx="6041">
                  <c:v>0.77777777777777801</c:v>
                </c:pt>
                <c:pt idx="6042">
                  <c:v>0.77777777777777801</c:v>
                </c:pt>
                <c:pt idx="6043">
                  <c:v>0.77777777777777801</c:v>
                </c:pt>
                <c:pt idx="6044">
                  <c:v>0.77777777777777801</c:v>
                </c:pt>
                <c:pt idx="6045">
                  <c:v>0.77777777777777801</c:v>
                </c:pt>
                <c:pt idx="6046">
                  <c:v>0.77777777777777801</c:v>
                </c:pt>
                <c:pt idx="6047">
                  <c:v>0.77777777777777801</c:v>
                </c:pt>
                <c:pt idx="6048">
                  <c:v>0.77777777777777801</c:v>
                </c:pt>
                <c:pt idx="6049">
                  <c:v>0.77791718946047705</c:v>
                </c:pt>
                <c:pt idx="6050">
                  <c:v>0.77800829875518696</c:v>
                </c:pt>
                <c:pt idx="6051">
                  <c:v>0.77815699658703097</c:v>
                </c:pt>
                <c:pt idx="6052">
                  <c:v>0.77825159914712105</c:v>
                </c:pt>
                <c:pt idx="6053">
                  <c:v>0.77830188679245305</c:v>
                </c:pt>
                <c:pt idx="6054">
                  <c:v>0.77846153846153798</c:v>
                </c:pt>
                <c:pt idx="6055">
                  <c:v>0.77850162866449502</c:v>
                </c:pt>
                <c:pt idx="6056">
                  <c:v>0.77857142857142903</c:v>
                </c:pt>
                <c:pt idx="6057">
                  <c:v>0.77862595419847302</c:v>
                </c:pt>
                <c:pt idx="6058">
                  <c:v>0.77862595419847302</c:v>
                </c:pt>
                <c:pt idx="6059">
                  <c:v>0.77864427114577095</c:v>
                </c:pt>
                <c:pt idx="6060">
                  <c:v>0.77865612648221305</c:v>
                </c:pt>
                <c:pt idx="6061">
                  <c:v>0.77868852459016402</c:v>
                </c:pt>
                <c:pt idx="6062">
                  <c:v>0.77871148459383699</c:v>
                </c:pt>
                <c:pt idx="6063">
                  <c:v>0.77876106194690298</c:v>
                </c:pt>
                <c:pt idx="6064">
                  <c:v>0.77876106194690298</c:v>
                </c:pt>
                <c:pt idx="6065">
                  <c:v>0.77884615384615397</c:v>
                </c:pt>
                <c:pt idx="6066">
                  <c:v>0.77894736842105305</c:v>
                </c:pt>
                <c:pt idx="6067">
                  <c:v>0.77906976744185996</c:v>
                </c:pt>
                <c:pt idx="6068">
                  <c:v>0.77914110429447903</c:v>
                </c:pt>
                <c:pt idx="6069">
                  <c:v>0.77917981072555198</c:v>
                </c:pt>
                <c:pt idx="6070">
                  <c:v>0.77922077922077904</c:v>
                </c:pt>
                <c:pt idx="6071">
                  <c:v>0.77922077922077904</c:v>
                </c:pt>
                <c:pt idx="6072">
                  <c:v>0.77924528301886797</c:v>
                </c:pt>
                <c:pt idx="6073">
                  <c:v>0.77927927927927898</c:v>
                </c:pt>
                <c:pt idx="6074">
                  <c:v>0.77931034482758599</c:v>
                </c:pt>
                <c:pt idx="6075">
                  <c:v>0.77938144329896897</c:v>
                </c:pt>
                <c:pt idx="6076">
                  <c:v>0.77942998760842597</c:v>
                </c:pt>
                <c:pt idx="6077">
                  <c:v>0.77952755905511795</c:v>
                </c:pt>
                <c:pt idx="6078">
                  <c:v>0.77954144620811305</c:v>
                </c:pt>
                <c:pt idx="6079">
                  <c:v>0.77954545454545399</c:v>
                </c:pt>
                <c:pt idx="6080">
                  <c:v>0.77958740499457102</c:v>
                </c:pt>
                <c:pt idx="6081">
                  <c:v>0.77966101694915202</c:v>
                </c:pt>
                <c:pt idx="6082">
                  <c:v>0.77971473851030104</c:v>
                </c:pt>
                <c:pt idx="6083">
                  <c:v>0.77972709551656905</c:v>
                </c:pt>
                <c:pt idx="6084">
                  <c:v>0.77976190476190499</c:v>
                </c:pt>
                <c:pt idx="6085">
                  <c:v>0.77981651376146799</c:v>
                </c:pt>
                <c:pt idx="6086">
                  <c:v>0.77981651376146799</c:v>
                </c:pt>
                <c:pt idx="6087">
                  <c:v>0.77995110024449898</c:v>
                </c:pt>
                <c:pt idx="6088">
                  <c:v>0.78</c:v>
                </c:pt>
                <c:pt idx="6089">
                  <c:v>0.78</c:v>
                </c:pt>
                <c:pt idx="6090">
                  <c:v>0.78</c:v>
                </c:pt>
                <c:pt idx="6091">
                  <c:v>0.780068728522337</c:v>
                </c:pt>
                <c:pt idx="6092">
                  <c:v>0.78020134228187898</c:v>
                </c:pt>
                <c:pt idx="6093">
                  <c:v>0.78021289918597403</c:v>
                </c:pt>
                <c:pt idx="6094">
                  <c:v>0.78021978021978</c:v>
                </c:pt>
                <c:pt idx="6095">
                  <c:v>0.78021978021978</c:v>
                </c:pt>
                <c:pt idx="6096">
                  <c:v>0.780287474332649</c:v>
                </c:pt>
                <c:pt idx="6097">
                  <c:v>0.78040540540540504</c:v>
                </c:pt>
                <c:pt idx="6098">
                  <c:v>0.78048780487804903</c:v>
                </c:pt>
                <c:pt idx="6099">
                  <c:v>0.78063241106719405</c:v>
                </c:pt>
                <c:pt idx="6100">
                  <c:v>0.78064516129032202</c:v>
                </c:pt>
                <c:pt idx="6101">
                  <c:v>0.78065241844769395</c:v>
                </c:pt>
                <c:pt idx="6102">
                  <c:v>0.78073089700996701</c:v>
                </c:pt>
                <c:pt idx="6103">
                  <c:v>0.78074866310160396</c:v>
                </c:pt>
                <c:pt idx="6104">
                  <c:v>0.78078078078078095</c:v>
                </c:pt>
                <c:pt idx="6105">
                  <c:v>0.78078078078078095</c:v>
                </c:pt>
                <c:pt idx="6106">
                  <c:v>0.78082191780821897</c:v>
                </c:pt>
                <c:pt idx="6107">
                  <c:v>0.78097622027534397</c:v>
                </c:pt>
                <c:pt idx="6108">
                  <c:v>0.78100263852242702</c:v>
                </c:pt>
                <c:pt idx="6109">
                  <c:v>0.78102189781021902</c:v>
                </c:pt>
                <c:pt idx="6110">
                  <c:v>0.78114478114478103</c:v>
                </c:pt>
                <c:pt idx="6111">
                  <c:v>0.78130841121495298</c:v>
                </c:pt>
                <c:pt idx="6112">
                  <c:v>0.78136882129277596</c:v>
                </c:pt>
                <c:pt idx="6113">
                  <c:v>0.78145695364238399</c:v>
                </c:pt>
                <c:pt idx="6114">
                  <c:v>0.78147268408551096</c:v>
                </c:pt>
                <c:pt idx="6115">
                  <c:v>0.78149100257069404</c:v>
                </c:pt>
                <c:pt idx="6116">
                  <c:v>0.78169014084507005</c:v>
                </c:pt>
                <c:pt idx="6117">
                  <c:v>0.78181818181818197</c:v>
                </c:pt>
                <c:pt idx="6118">
                  <c:v>0.78181818181818197</c:v>
                </c:pt>
                <c:pt idx="6119">
                  <c:v>0.781844802342606</c:v>
                </c:pt>
                <c:pt idx="6120">
                  <c:v>0.78187403993855598</c:v>
                </c:pt>
                <c:pt idx="6121">
                  <c:v>0.78199052132701397</c:v>
                </c:pt>
                <c:pt idx="6122">
                  <c:v>0.78205128205128205</c:v>
                </c:pt>
                <c:pt idx="6123">
                  <c:v>0.78212290502793302</c:v>
                </c:pt>
                <c:pt idx="6124">
                  <c:v>0.78217821782178198</c:v>
                </c:pt>
                <c:pt idx="6125">
                  <c:v>0.78222222222222204</c:v>
                </c:pt>
                <c:pt idx="6126">
                  <c:v>0.78222222222222204</c:v>
                </c:pt>
                <c:pt idx="6127">
                  <c:v>0.78229665071770305</c:v>
                </c:pt>
                <c:pt idx="6128">
                  <c:v>0.78229665071770305</c:v>
                </c:pt>
                <c:pt idx="6129">
                  <c:v>0.78231292517006801</c:v>
                </c:pt>
                <c:pt idx="6130">
                  <c:v>0.78238341968911895</c:v>
                </c:pt>
                <c:pt idx="6131">
                  <c:v>0.78241758241758197</c:v>
                </c:pt>
                <c:pt idx="6132">
                  <c:v>0.78242677824267803</c:v>
                </c:pt>
                <c:pt idx="6133">
                  <c:v>0.78245614035087696</c:v>
                </c:pt>
                <c:pt idx="6134">
                  <c:v>0.78249999999999997</c:v>
                </c:pt>
                <c:pt idx="6135">
                  <c:v>0.78254545454545399</c:v>
                </c:pt>
                <c:pt idx="6136">
                  <c:v>0.78260869565217395</c:v>
                </c:pt>
                <c:pt idx="6137">
                  <c:v>0.78260869565217395</c:v>
                </c:pt>
                <c:pt idx="6138">
                  <c:v>0.78269617706237404</c:v>
                </c:pt>
                <c:pt idx="6139">
                  <c:v>0.78282828282828298</c:v>
                </c:pt>
                <c:pt idx="6140">
                  <c:v>0.78289473684210498</c:v>
                </c:pt>
                <c:pt idx="6141">
                  <c:v>0.78290993071593495</c:v>
                </c:pt>
                <c:pt idx="6142">
                  <c:v>0.78294573643410803</c:v>
                </c:pt>
                <c:pt idx="6143">
                  <c:v>0.78297872340425501</c:v>
                </c:pt>
                <c:pt idx="6144">
                  <c:v>0.78300180831826405</c:v>
                </c:pt>
                <c:pt idx="6145">
                  <c:v>0.78301886792452802</c:v>
                </c:pt>
                <c:pt idx="6146">
                  <c:v>0.78301886792452802</c:v>
                </c:pt>
                <c:pt idx="6147">
                  <c:v>0.78301886792452802</c:v>
                </c:pt>
                <c:pt idx="6148">
                  <c:v>0.78301886792452802</c:v>
                </c:pt>
                <c:pt idx="6149">
                  <c:v>0.78313253012048201</c:v>
                </c:pt>
                <c:pt idx="6150">
                  <c:v>0.78317152103559895</c:v>
                </c:pt>
                <c:pt idx="6151">
                  <c:v>0.78319327731092403</c:v>
                </c:pt>
                <c:pt idx="6152">
                  <c:v>0.78335949764521196</c:v>
                </c:pt>
                <c:pt idx="6153">
                  <c:v>0.78338590956887499</c:v>
                </c:pt>
                <c:pt idx="6154">
                  <c:v>0.78358208955223896</c:v>
                </c:pt>
                <c:pt idx="6155">
                  <c:v>0.783625730994152</c:v>
                </c:pt>
                <c:pt idx="6156">
                  <c:v>0.783625730994152</c:v>
                </c:pt>
                <c:pt idx="6157">
                  <c:v>0.78378378378378399</c:v>
                </c:pt>
                <c:pt idx="6158">
                  <c:v>0.78378378378378399</c:v>
                </c:pt>
                <c:pt idx="6159">
                  <c:v>0.78401997503121101</c:v>
                </c:pt>
                <c:pt idx="6160">
                  <c:v>0.78401997503121101</c:v>
                </c:pt>
                <c:pt idx="6161">
                  <c:v>0.78402366863905304</c:v>
                </c:pt>
                <c:pt idx="6162">
                  <c:v>0.78409090909090895</c:v>
                </c:pt>
                <c:pt idx="6163">
                  <c:v>0.78414096916299503</c:v>
                </c:pt>
                <c:pt idx="6164">
                  <c:v>0.78425196850393697</c:v>
                </c:pt>
                <c:pt idx="6165">
                  <c:v>0.78429602888086603</c:v>
                </c:pt>
                <c:pt idx="6166">
                  <c:v>0.78431372549019596</c:v>
                </c:pt>
                <c:pt idx="6167">
                  <c:v>0.78431372549019596</c:v>
                </c:pt>
                <c:pt idx="6168">
                  <c:v>0.78438661710037205</c:v>
                </c:pt>
                <c:pt idx="6169">
                  <c:v>0.78438899552143304</c:v>
                </c:pt>
                <c:pt idx="6170">
                  <c:v>0.78440366972477105</c:v>
                </c:pt>
                <c:pt idx="6171">
                  <c:v>0.78443113772455098</c:v>
                </c:pt>
                <c:pt idx="6172">
                  <c:v>0.78448275862068995</c:v>
                </c:pt>
                <c:pt idx="6173">
                  <c:v>0.78461538461538505</c:v>
                </c:pt>
                <c:pt idx="6174">
                  <c:v>0.78466076696165199</c:v>
                </c:pt>
                <c:pt idx="6175">
                  <c:v>0.78469750889679701</c:v>
                </c:pt>
                <c:pt idx="6176">
                  <c:v>0.78472222222222199</c:v>
                </c:pt>
                <c:pt idx="6177">
                  <c:v>0.78478964401294504</c:v>
                </c:pt>
                <c:pt idx="6178">
                  <c:v>0.78497409326424905</c:v>
                </c:pt>
                <c:pt idx="6179">
                  <c:v>0.78500986193293898</c:v>
                </c:pt>
                <c:pt idx="6180">
                  <c:v>0.78504672897196304</c:v>
                </c:pt>
                <c:pt idx="6181">
                  <c:v>0.78512396694214903</c:v>
                </c:pt>
                <c:pt idx="6182">
                  <c:v>0.78516057585825005</c:v>
                </c:pt>
                <c:pt idx="6183">
                  <c:v>0.78518518518518499</c:v>
                </c:pt>
                <c:pt idx="6184">
                  <c:v>0.785263157894737</c:v>
                </c:pt>
                <c:pt idx="6185">
                  <c:v>0.78531073446327704</c:v>
                </c:pt>
                <c:pt idx="6186">
                  <c:v>0.78531073446327704</c:v>
                </c:pt>
                <c:pt idx="6187">
                  <c:v>0.78545454545454496</c:v>
                </c:pt>
                <c:pt idx="6188">
                  <c:v>0.78547854785478499</c:v>
                </c:pt>
                <c:pt idx="6189">
                  <c:v>0.78554216867469895</c:v>
                </c:pt>
                <c:pt idx="6190">
                  <c:v>0.78571428571428603</c:v>
                </c:pt>
                <c:pt idx="6191">
                  <c:v>0.78571428571428603</c:v>
                </c:pt>
                <c:pt idx="6192">
                  <c:v>0.78571428571428603</c:v>
                </c:pt>
                <c:pt idx="6193">
                  <c:v>0.78571428571428603</c:v>
                </c:pt>
                <c:pt idx="6194">
                  <c:v>0.78571428571428603</c:v>
                </c:pt>
                <c:pt idx="6195">
                  <c:v>0.785813630041725</c:v>
                </c:pt>
                <c:pt idx="6196">
                  <c:v>0.78588516746411496</c:v>
                </c:pt>
                <c:pt idx="6197">
                  <c:v>0.78591549295774599</c:v>
                </c:pt>
                <c:pt idx="6198">
                  <c:v>0.785953177257525</c:v>
                </c:pt>
                <c:pt idx="6199">
                  <c:v>0.78608515057113204</c:v>
                </c:pt>
                <c:pt idx="6200">
                  <c:v>0.78613569321533905</c:v>
                </c:pt>
                <c:pt idx="6201">
                  <c:v>0.78620689655172404</c:v>
                </c:pt>
                <c:pt idx="6202">
                  <c:v>0.78620689655172404</c:v>
                </c:pt>
                <c:pt idx="6203">
                  <c:v>0.78623188405797095</c:v>
                </c:pt>
                <c:pt idx="6204">
                  <c:v>0.78629032258064502</c:v>
                </c:pt>
                <c:pt idx="6205">
                  <c:v>0.78636363636363604</c:v>
                </c:pt>
                <c:pt idx="6206">
                  <c:v>0.78640776699029102</c:v>
                </c:pt>
                <c:pt idx="6207">
                  <c:v>0.78640776699029102</c:v>
                </c:pt>
                <c:pt idx="6208">
                  <c:v>0.78640776699029102</c:v>
                </c:pt>
                <c:pt idx="6209">
                  <c:v>0.78645833333333304</c:v>
                </c:pt>
                <c:pt idx="6210">
                  <c:v>0.78651685393258397</c:v>
                </c:pt>
                <c:pt idx="6211">
                  <c:v>0.78651685393258397</c:v>
                </c:pt>
                <c:pt idx="6212">
                  <c:v>0.78656716417910399</c:v>
                </c:pt>
                <c:pt idx="6213">
                  <c:v>0.78678678678678704</c:v>
                </c:pt>
                <c:pt idx="6214">
                  <c:v>0.78684210526315801</c:v>
                </c:pt>
                <c:pt idx="6215">
                  <c:v>0.786885245901639</c:v>
                </c:pt>
                <c:pt idx="6216">
                  <c:v>0.78698224852070997</c:v>
                </c:pt>
                <c:pt idx="6217">
                  <c:v>0.78703703703703698</c:v>
                </c:pt>
                <c:pt idx="6218">
                  <c:v>0.78714859437750995</c:v>
                </c:pt>
                <c:pt idx="6219">
                  <c:v>0.78723404255319096</c:v>
                </c:pt>
                <c:pt idx="6220">
                  <c:v>0.78723404255319096</c:v>
                </c:pt>
                <c:pt idx="6221">
                  <c:v>0.787286063569682</c:v>
                </c:pt>
                <c:pt idx="6222">
                  <c:v>0.78730158730158695</c:v>
                </c:pt>
                <c:pt idx="6223">
                  <c:v>0.78734622144112498</c:v>
                </c:pt>
                <c:pt idx="6224">
                  <c:v>0.78737541528239197</c:v>
                </c:pt>
                <c:pt idx="6225">
                  <c:v>0.78738115816767495</c:v>
                </c:pt>
                <c:pt idx="6226">
                  <c:v>0.78743961352656999</c:v>
                </c:pt>
                <c:pt idx="6227">
                  <c:v>0.78746594005449599</c:v>
                </c:pt>
                <c:pt idx="6228">
                  <c:v>0.78747628083491505</c:v>
                </c:pt>
                <c:pt idx="6229">
                  <c:v>0.78751013787510105</c:v>
                </c:pt>
                <c:pt idx="6230">
                  <c:v>0.787610619469026</c:v>
                </c:pt>
                <c:pt idx="6231">
                  <c:v>0.787610619469026</c:v>
                </c:pt>
                <c:pt idx="6232">
                  <c:v>0.787610619469026</c:v>
                </c:pt>
                <c:pt idx="6233">
                  <c:v>0.78776978417266197</c:v>
                </c:pt>
                <c:pt idx="6234">
                  <c:v>0.78781038374717804</c:v>
                </c:pt>
                <c:pt idx="6235">
                  <c:v>0.78781512605042003</c:v>
                </c:pt>
                <c:pt idx="6236">
                  <c:v>0.78787878787878796</c:v>
                </c:pt>
                <c:pt idx="6237">
                  <c:v>0.78787878787878796</c:v>
                </c:pt>
                <c:pt idx="6238">
                  <c:v>0.78804347826086896</c:v>
                </c:pt>
                <c:pt idx="6239">
                  <c:v>0.78807947019867497</c:v>
                </c:pt>
                <c:pt idx="6240">
                  <c:v>0.78813559322033899</c:v>
                </c:pt>
                <c:pt idx="6241">
                  <c:v>0.78813559322033899</c:v>
                </c:pt>
                <c:pt idx="6242">
                  <c:v>0.78815196394076004</c:v>
                </c:pt>
                <c:pt idx="6243">
                  <c:v>0.78818998716302902</c:v>
                </c:pt>
                <c:pt idx="6244">
                  <c:v>0.78823529411764703</c:v>
                </c:pt>
                <c:pt idx="6245">
                  <c:v>0.78823529411764703</c:v>
                </c:pt>
                <c:pt idx="6246">
                  <c:v>0.78832116788321205</c:v>
                </c:pt>
                <c:pt idx="6247">
                  <c:v>0.78832116788321205</c:v>
                </c:pt>
                <c:pt idx="6248">
                  <c:v>0.78837209302325595</c:v>
                </c:pt>
                <c:pt idx="6249">
                  <c:v>0.78846153846153799</c:v>
                </c:pt>
                <c:pt idx="6250">
                  <c:v>0.78846153846153799</c:v>
                </c:pt>
                <c:pt idx="6251">
                  <c:v>0.78846153846153799</c:v>
                </c:pt>
                <c:pt idx="6252">
                  <c:v>0.78857142857142903</c:v>
                </c:pt>
                <c:pt idx="6253">
                  <c:v>0.78859857482185303</c:v>
                </c:pt>
                <c:pt idx="6254">
                  <c:v>0.78861788617886197</c:v>
                </c:pt>
                <c:pt idx="6255">
                  <c:v>0.78870967741935505</c:v>
                </c:pt>
                <c:pt idx="6256">
                  <c:v>0.78873239436619702</c:v>
                </c:pt>
                <c:pt idx="6257">
                  <c:v>0.78893442622950805</c:v>
                </c:pt>
                <c:pt idx="6258">
                  <c:v>0.78899082568807299</c:v>
                </c:pt>
                <c:pt idx="6259">
                  <c:v>0.78903654485049801</c:v>
                </c:pt>
                <c:pt idx="6260">
                  <c:v>0.78904665314401601</c:v>
                </c:pt>
                <c:pt idx="6261">
                  <c:v>0.7890625</c:v>
                </c:pt>
                <c:pt idx="6262">
                  <c:v>0.78910369068541297</c:v>
                </c:pt>
                <c:pt idx="6263">
                  <c:v>0.78923766816143504</c:v>
                </c:pt>
                <c:pt idx="6264">
                  <c:v>0.78927203065134099</c:v>
                </c:pt>
                <c:pt idx="6265">
                  <c:v>0.78928987194412104</c:v>
                </c:pt>
                <c:pt idx="6266">
                  <c:v>0.78935185185185197</c:v>
                </c:pt>
                <c:pt idx="6267">
                  <c:v>0.78935698447893599</c:v>
                </c:pt>
                <c:pt idx="6268">
                  <c:v>0.78947368421052599</c:v>
                </c:pt>
                <c:pt idx="6269">
                  <c:v>0.78947368421052599</c:v>
                </c:pt>
                <c:pt idx="6270">
                  <c:v>0.78947368421052599</c:v>
                </c:pt>
                <c:pt idx="6271">
                  <c:v>0.78947368421052599</c:v>
                </c:pt>
                <c:pt idx="6272">
                  <c:v>0.78947368421052599</c:v>
                </c:pt>
                <c:pt idx="6273">
                  <c:v>0.78947368421052599</c:v>
                </c:pt>
                <c:pt idx="6274">
                  <c:v>0.78947368421052599</c:v>
                </c:pt>
                <c:pt idx="6275">
                  <c:v>0.78956999085086899</c:v>
                </c:pt>
                <c:pt idx="6276">
                  <c:v>0.789592760180995</c:v>
                </c:pt>
                <c:pt idx="6277">
                  <c:v>0.78964667214461803</c:v>
                </c:pt>
                <c:pt idx="6278">
                  <c:v>0.78966789667896697</c:v>
                </c:pt>
                <c:pt idx="6279">
                  <c:v>0.78969957081545095</c:v>
                </c:pt>
                <c:pt idx="6280">
                  <c:v>0.78980891719745205</c:v>
                </c:pt>
                <c:pt idx="6281">
                  <c:v>0.78980891719745205</c:v>
                </c:pt>
                <c:pt idx="6282">
                  <c:v>0.78982300884955703</c:v>
                </c:pt>
                <c:pt idx="6283">
                  <c:v>0.78995433789954295</c:v>
                </c:pt>
                <c:pt idx="6284">
                  <c:v>0.79003021148036201</c:v>
                </c:pt>
                <c:pt idx="6285">
                  <c:v>0.79007633587786297</c:v>
                </c:pt>
                <c:pt idx="6286">
                  <c:v>0.79009433962264097</c:v>
                </c:pt>
                <c:pt idx="6287">
                  <c:v>0.79015544041450803</c:v>
                </c:pt>
                <c:pt idx="6288">
                  <c:v>0.79017857142857095</c:v>
                </c:pt>
                <c:pt idx="6289">
                  <c:v>0.79032258064516103</c:v>
                </c:pt>
                <c:pt idx="6290">
                  <c:v>0.79032258064516103</c:v>
                </c:pt>
                <c:pt idx="6291">
                  <c:v>0.79032258064516103</c:v>
                </c:pt>
                <c:pt idx="6292">
                  <c:v>0.79038854805726</c:v>
                </c:pt>
                <c:pt idx="6293">
                  <c:v>0.79041916167664705</c:v>
                </c:pt>
                <c:pt idx="6294">
                  <c:v>0.79051383399209496</c:v>
                </c:pt>
                <c:pt idx="6295">
                  <c:v>0.79061371841155204</c:v>
                </c:pt>
                <c:pt idx="6296">
                  <c:v>0.79062500000000002</c:v>
                </c:pt>
                <c:pt idx="6297">
                  <c:v>0.79066022544283399</c:v>
                </c:pt>
                <c:pt idx="6298">
                  <c:v>0.79069767441860495</c:v>
                </c:pt>
                <c:pt idx="6299">
                  <c:v>0.79080459770114897</c:v>
                </c:pt>
                <c:pt idx="6300">
                  <c:v>0.79082321187584304</c:v>
                </c:pt>
                <c:pt idx="6301">
                  <c:v>0.790874524714829</c:v>
                </c:pt>
                <c:pt idx="6302">
                  <c:v>0.79090242112986098</c:v>
                </c:pt>
                <c:pt idx="6303">
                  <c:v>0.79093198992443303</c:v>
                </c:pt>
                <c:pt idx="6304">
                  <c:v>0.79095563139931702</c:v>
                </c:pt>
                <c:pt idx="6305">
                  <c:v>0.79108838568298001</c:v>
                </c:pt>
                <c:pt idx="6306">
                  <c:v>0.791139240506329</c:v>
                </c:pt>
                <c:pt idx="6307">
                  <c:v>0.79118773946360099</c:v>
                </c:pt>
                <c:pt idx="6308">
                  <c:v>0.79132569558101495</c:v>
                </c:pt>
                <c:pt idx="6309">
                  <c:v>0.79148936170212802</c:v>
                </c:pt>
                <c:pt idx="6310">
                  <c:v>0.79148936170212802</c:v>
                </c:pt>
                <c:pt idx="6311">
                  <c:v>0.79155672823219003</c:v>
                </c:pt>
                <c:pt idx="6312">
                  <c:v>0.79160419790104897</c:v>
                </c:pt>
                <c:pt idx="6313">
                  <c:v>0.791619479048698</c:v>
                </c:pt>
                <c:pt idx="6314">
                  <c:v>0.79166666666666696</c:v>
                </c:pt>
                <c:pt idx="6315">
                  <c:v>0.79166666666666696</c:v>
                </c:pt>
                <c:pt idx="6316">
                  <c:v>0.79166666666666696</c:v>
                </c:pt>
                <c:pt idx="6317">
                  <c:v>0.79166666666666696</c:v>
                </c:pt>
                <c:pt idx="6318">
                  <c:v>0.79166666666666696</c:v>
                </c:pt>
                <c:pt idx="6319">
                  <c:v>0.79182156133828996</c:v>
                </c:pt>
                <c:pt idx="6320">
                  <c:v>0.79187817258883197</c:v>
                </c:pt>
                <c:pt idx="6321">
                  <c:v>0.79203539823008795</c:v>
                </c:pt>
                <c:pt idx="6322">
                  <c:v>0.79207920792079201</c:v>
                </c:pt>
                <c:pt idx="6323">
                  <c:v>0.79211469534050205</c:v>
                </c:pt>
                <c:pt idx="6324">
                  <c:v>0.79217603911980405</c:v>
                </c:pt>
                <c:pt idx="6325">
                  <c:v>0.79220779220779203</c:v>
                </c:pt>
                <c:pt idx="6326">
                  <c:v>0.79230769230769205</c:v>
                </c:pt>
                <c:pt idx="6327">
                  <c:v>0.79245283018867896</c:v>
                </c:pt>
                <c:pt idx="6328">
                  <c:v>0.792682926829268</c:v>
                </c:pt>
                <c:pt idx="6329">
                  <c:v>0.792682926829268</c:v>
                </c:pt>
                <c:pt idx="6330">
                  <c:v>0.79289940828402405</c:v>
                </c:pt>
                <c:pt idx="6331">
                  <c:v>0.79295154185021999</c:v>
                </c:pt>
                <c:pt idx="6332">
                  <c:v>0.79295774647887296</c:v>
                </c:pt>
                <c:pt idx="6333">
                  <c:v>0.79310344827586199</c:v>
                </c:pt>
                <c:pt idx="6334">
                  <c:v>0.79310344827586199</c:v>
                </c:pt>
                <c:pt idx="6335">
                  <c:v>0.79313632030505199</c:v>
                </c:pt>
                <c:pt idx="6336">
                  <c:v>0.79327521793275202</c:v>
                </c:pt>
                <c:pt idx="6337">
                  <c:v>0.79334098737083802</c:v>
                </c:pt>
                <c:pt idx="6338">
                  <c:v>0.79347826086956497</c:v>
                </c:pt>
                <c:pt idx="6339">
                  <c:v>0.793548387096774</c:v>
                </c:pt>
                <c:pt idx="6340">
                  <c:v>0.79356568364611202</c:v>
                </c:pt>
                <c:pt idx="6341">
                  <c:v>0.79357798165137605</c:v>
                </c:pt>
                <c:pt idx="6342">
                  <c:v>0.793604651162791</c:v>
                </c:pt>
                <c:pt idx="6343">
                  <c:v>0.79361702127659595</c:v>
                </c:pt>
                <c:pt idx="6344">
                  <c:v>0.79362416107382505</c:v>
                </c:pt>
                <c:pt idx="6345">
                  <c:v>0.79365079365079405</c:v>
                </c:pt>
                <c:pt idx="6346">
                  <c:v>0.79365079365079405</c:v>
                </c:pt>
                <c:pt idx="6347">
                  <c:v>0.79365079365079405</c:v>
                </c:pt>
                <c:pt idx="6348">
                  <c:v>0.79365079365079405</c:v>
                </c:pt>
                <c:pt idx="6349">
                  <c:v>0.79365079365079405</c:v>
                </c:pt>
                <c:pt idx="6350">
                  <c:v>0.793682132280355</c:v>
                </c:pt>
                <c:pt idx="6351">
                  <c:v>0.79373848987108597</c:v>
                </c:pt>
                <c:pt idx="6352">
                  <c:v>0.79381443298969101</c:v>
                </c:pt>
                <c:pt idx="6353">
                  <c:v>0.79384615384615398</c:v>
                </c:pt>
                <c:pt idx="6354">
                  <c:v>0.79389032020610995</c:v>
                </c:pt>
                <c:pt idx="6355">
                  <c:v>0.79389312977099202</c:v>
                </c:pt>
                <c:pt idx="6356">
                  <c:v>0.79389312977099202</c:v>
                </c:pt>
                <c:pt idx="6357">
                  <c:v>0.79392971246006405</c:v>
                </c:pt>
                <c:pt idx="6358">
                  <c:v>0.79400260756192997</c:v>
                </c:pt>
                <c:pt idx="6359">
                  <c:v>0.79411764705882304</c:v>
                </c:pt>
                <c:pt idx="6360">
                  <c:v>0.79420084865629403</c:v>
                </c:pt>
                <c:pt idx="6361">
                  <c:v>0.79422382671480096</c:v>
                </c:pt>
                <c:pt idx="6362">
                  <c:v>0.79439252336448596</c:v>
                </c:pt>
                <c:pt idx="6363">
                  <c:v>0.79444444444444395</c:v>
                </c:pt>
                <c:pt idx="6364">
                  <c:v>0.79446640316205497</c:v>
                </c:pt>
                <c:pt idx="6365">
                  <c:v>0.79452054794520499</c:v>
                </c:pt>
                <c:pt idx="6366">
                  <c:v>0.79455977093772401</c:v>
                </c:pt>
                <c:pt idx="6367">
                  <c:v>0.79464285714285698</c:v>
                </c:pt>
                <c:pt idx="6368">
                  <c:v>0.79470198675496695</c:v>
                </c:pt>
                <c:pt idx="6369">
                  <c:v>0.79472140762463295</c:v>
                </c:pt>
                <c:pt idx="6370">
                  <c:v>0.79491833030852999</c:v>
                </c:pt>
                <c:pt idx="6371">
                  <c:v>0.794973544973545</c:v>
                </c:pt>
                <c:pt idx="6372">
                  <c:v>0.79500000000000004</c:v>
                </c:pt>
                <c:pt idx="6373">
                  <c:v>0.79512195121951201</c:v>
                </c:pt>
                <c:pt idx="6374">
                  <c:v>0.79512195121951201</c:v>
                </c:pt>
                <c:pt idx="6375">
                  <c:v>0.79545454545454497</c:v>
                </c:pt>
                <c:pt idx="6376">
                  <c:v>0.79545454545454497</c:v>
                </c:pt>
                <c:pt idx="6377">
                  <c:v>0.79554655870445301</c:v>
                </c:pt>
                <c:pt idx="6378">
                  <c:v>0.79559118236472903</c:v>
                </c:pt>
                <c:pt idx="6379">
                  <c:v>0.79576399394856301</c:v>
                </c:pt>
                <c:pt idx="6380">
                  <c:v>0.79579929988331399</c:v>
                </c:pt>
                <c:pt idx="6381">
                  <c:v>0.79583333333333295</c:v>
                </c:pt>
                <c:pt idx="6382">
                  <c:v>0.79591836734693899</c:v>
                </c:pt>
                <c:pt idx="6383">
                  <c:v>0.79591836734693899</c:v>
                </c:pt>
                <c:pt idx="6384">
                  <c:v>0.79591836734693899</c:v>
                </c:pt>
                <c:pt idx="6385">
                  <c:v>0.79591836734693899</c:v>
                </c:pt>
                <c:pt idx="6386">
                  <c:v>0.79621280432822406</c:v>
                </c:pt>
                <c:pt idx="6387">
                  <c:v>0.79629629629629595</c:v>
                </c:pt>
                <c:pt idx="6388">
                  <c:v>0.79634464751958201</c:v>
                </c:pt>
                <c:pt idx="6389">
                  <c:v>0.79640718562874202</c:v>
                </c:pt>
                <c:pt idx="6390">
                  <c:v>0.79656652360515001</c:v>
                </c:pt>
                <c:pt idx="6391">
                  <c:v>0.79659949622166204</c:v>
                </c:pt>
                <c:pt idx="6392">
                  <c:v>0.79661016949152497</c:v>
                </c:pt>
                <c:pt idx="6393">
                  <c:v>0.79661016949152497</c:v>
                </c:pt>
                <c:pt idx="6394">
                  <c:v>0.79664570230608001</c:v>
                </c:pt>
                <c:pt idx="6395">
                  <c:v>0.79672131147541003</c:v>
                </c:pt>
                <c:pt idx="6396">
                  <c:v>0.79672578444747599</c:v>
                </c:pt>
                <c:pt idx="6397">
                  <c:v>0.79674796747967502</c:v>
                </c:pt>
                <c:pt idx="6398">
                  <c:v>0.796764408493428</c:v>
                </c:pt>
                <c:pt idx="6399">
                  <c:v>0.79684763572679496</c:v>
                </c:pt>
                <c:pt idx="6400">
                  <c:v>0.79685039370078703</c:v>
                </c:pt>
                <c:pt idx="6401">
                  <c:v>0.796875</c:v>
                </c:pt>
                <c:pt idx="6402">
                  <c:v>0.79704797047970499</c:v>
                </c:pt>
                <c:pt idx="6403">
                  <c:v>0.79710144927536197</c:v>
                </c:pt>
                <c:pt idx="6404">
                  <c:v>0.79710144927536197</c:v>
                </c:pt>
                <c:pt idx="6405">
                  <c:v>0.79710144927536197</c:v>
                </c:pt>
                <c:pt idx="6406">
                  <c:v>0.79714285714285704</c:v>
                </c:pt>
                <c:pt idx="6407">
                  <c:v>0.79723502304147498</c:v>
                </c:pt>
                <c:pt idx="6408">
                  <c:v>0.79746835443038</c:v>
                </c:pt>
                <c:pt idx="6409">
                  <c:v>0.79746835443038</c:v>
                </c:pt>
                <c:pt idx="6410">
                  <c:v>0.79746835443038</c:v>
                </c:pt>
                <c:pt idx="6411">
                  <c:v>0.79752066115702502</c:v>
                </c:pt>
                <c:pt idx="6412">
                  <c:v>0.797752808988764</c:v>
                </c:pt>
                <c:pt idx="6413">
                  <c:v>0.79780564263322895</c:v>
                </c:pt>
                <c:pt idx="6414">
                  <c:v>0.79797979797979801</c:v>
                </c:pt>
                <c:pt idx="6415">
                  <c:v>0.79801980198019795</c:v>
                </c:pt>
                <c:pt idx="6416">
                  <c:v>0.79807692307692302</c:v>
                </c:pt>
                <c:pt idx="6417">
                  <c:v>0.79812206572769895</c:v>
                </c:pt>
                <c:pt idx="6418">
                  <c:v>0.798165137614679</c:v>
                </c:pt>
                <c:pt idx="6419">
                  <c:v>0.798165137614679</c:v>
                </c:pt>
                <c:pt idx="6420">
                  <c:v>0.79824561403508798</c:v>
                </c:pt>
                <c:pt idx="6421">
                  <c:v>0.79824561403508798</c:v>
                </c:pt>
                <c:pt idx="6422">
                  <c:v>0.79824561403508798</c:v>
                </c:pt>
                <c:pt idx="6423">
                  <c:v>0.79829545454545403</c:v>
                </c:pt>
                <c:pt idx="6424">
                  <c:v>0.79831932773109204</c:v>
                </c:pt>
                <c:pt idx="6425">
                  <c:v>0.79838709677419295</c:v>
                </c:pt>
                <c:pt idx="6426">
                  <c:v>0.79848866498740501</c:v>
                </c:pt>
                <c:pt idx="6427">
                  <c:v>0.79850746268656703</c:v>
                </c:pt>
                <c:pt idx="6428">
                  <c:v>0.79854809437386598</c:v>
                </c:pt>
                <c:pt idx="6429">
                  <c:v>0.79861111111111105</c:v>
                </c:pt>
                <c:pt idx="6430">
                  <c:v>0.79862306368330505</c:v>
                </c:pt>
                <c:pt idx="6431">
                  <c:v>0.798785117691724</c:v>
                </c:pt>
                <c:pt idx="6432">
                  <c:v>0.79881656804733703</c:v>
                </c:pt>
                <c:pt idx="6433">
                  <c:v>0.79887218045112796</c:v>
                </c:pt>
                <c:pt idx="6434">
                  <c:v>0.79888268156424602</c:v>
                </c:pt>
                <c:pt idx="6435">
                  <c:v>0.79889807162534399</c:v>
                </c:pt>
                <c:pt idx="6436">
                  <c:v>0.79891304347826098</c:v>
                </c:pt>
                <c:pt idx="6437">
                  <c:v>0.79896907216494795</c:v>
                </c:pt>
                <c:pt idx="6438">
                  <c:v>0.79896907216494795</c:v>
                </c:pt>
                <c:pt idx="6439">
                  <c:v>0.79898218829516499</c:v>
                </c:pt>
                <c:pt idx="6440">
                  <c:v>0.79901960784313697</c:v>
                </c:pt>
                <c:pt idx="6441">
                  <c:v>0.79912663755458502</c:v>
                </c:pt>
                <c:pt idx="6442">
                  <c:v>0.79933110367893001</c:v>
                </c:pt>
                <c:pt idx="6443">
                  <c:v>0.79939209726443805</c:v>
                </c:pt>
                <c:pt idx="6444">
                  <c:v>0.79939209726443805</c:v>
                </c:pt>
                <c:pt idx="6445">
                  <c:v>0.79943502824858703</c:v>
                </c:pt>
                <c:pt idx="6446">
                  <c:v>0.79966611018363898</c:v>
                </c:pt>
                <c:pt idx="6447">
                  <c:v>0.8</c:v>
                </c:pt>
                <c:pt idx="6448">
                  <c:v>0.8</c:v>
                </c:pt>
                <c:pt idx="6449">
                  <c:v>0.8</c:v>
                </c:pt>
                <c:pt idx="6450">
                  <c:v>0.8</c:v>
                </c:pt>
                <c:pt idx="6451">
                  <c:v>0.8</c:v>
                </c:pt>
                <c:pt idx="6452">
                  <c:v>0.8</c:v>
                </c:pt>
                <c:pt idx="6453">
                  <c:v>0.8</c:v>
                </c:pt>
                <c:pt idx="6454">
                  <c:v>0.8</c:v>
                </c:pt>
                <c:pt idx="6455">
                  <c:v>0.8</c:v>
                </c:pt>
                <c:pt idx="6456">
                  <c:v>0.8</c:v>
                </c:pt>
                <c:pt idx="6457">
                  <c:v>0.8</c:v>
                </c:pt>
                <c:pt idx="6458">
                  <c:v>0.8</c:v>
                </c:pt>
                <c:pt idx="6459">
                  <c:v>0.8</c:v>
                </c:pt>
                <c:pt idx="6460">
                  <c:v>0.8</c:v>
                </c:pt>
                <c:pt idx="6461">
                  <c:v>0.8</c:v>
                </c:pt>
                <c:pt idx="6462">
                  <c:v>0.8</c:v>
                </c:pt>
                <c:pt idx="6463">
                  <c:v>0.80017528483786104</c:v>
                </c:pt>
                <c:pt idx="6464">
                  <c:v>0.80019120458891002</c:v>
                </c:pt>
                <c:pt idx="6465">
                  <c:v>0.80033557046979897</c:v>
                </c:pt>
                <c:pt idx="6466">
                  <c:v>0.80049413218035803</c:v>
                </c:pt>
                <c:pt idx="6467">
                  <c:v>0.80050505050505005</c:v>
                </c:pt>
                <c:pt idx="6468">
                  <c:v>0.80065359477124198</c:v>
                </c:pt>
                <c:pt idx="6469">
                  <c:v>0.80071174377224197</c:v>
                </c:pt>
                <c:pt idx="6470">
                  <c:v>0.80076628352490398</c:v>
                </c:pt>
                <c:pt idx="6471">
                  <c:v>0.80086580086580095</c:v>
                </c:pt>
                <c:pt idx="6472">
                  <c:v>0.80088495575221197</c:v>
                </c:pt>
                <c:pt idx="6473">
                  <c:v>0.80094786729857803</c:v>
                </c:pt>
                <c:pt idx="6474">
                  <c:v>0.80104712041884796</c:v>
                </c:pt>
                <c:pt idx="6475">
                  <c:v>0.801056338028169</c:v>
                </c:pt>
                <c:pt idx="6476">
                  <c:v>0.80108499095840902</c:v>
                </c:pt>
                <c:pt idx="6477">
                  <c:v>0.80113636363636398</c:v>
                </c:pt>
                <c:pt idx="6478">
                  <c:v>0.80124223602484501</c:v>
                </c:pt>
                <c:pt idx="6479">
                  <c:v>0.80131004366812197</c:v>
                </c:pt>
                <c:pt idx="6480">
                  <c:v>0.80132450331125804</c:v>
                </c:pt>
                <c:pt idx="6481">
                  <c:v>0.80133185349611502</c:v>
                </c:pt>
                <c:pt idx="6482">
                  <c:v>0.80149812734082404</c:v>
                </c:pt>
                <c:pt idx="6483">
                  <c:v>0.80152671755725202</c:v>
                </c:pt>
                <c:pt idx="6484">
                  <c:v>0.80165289256198302</c:v>
                </c:pt>
                <c:pt idx="6485">
                  <c:v>0.80168776371308004</c:v>
                </c:pt>
                <c:pt idx="6486">
                  <c:v>0.80174927113702599</c:v>
                </c:pt>
                <c:pt idx="6487">
                  <c:v>0.80176440062273002</c:v>
                </c:pt>
                <c:pt idx="6488">
                  <c:v>0.80180180180180205</c:v>
                </c:pt>
                <c:pt idx="6489">
                  <c:v>0.80180180180180205</c:v>
                </c:pt>
                <c:pt idx="6490">
                  <c:v>0.80181543116490195</c:v>
                </c:pt>
                <c:pt idx="6491">
                  <c:v>0.80188679245283001</c:v>
                </c:pt>
                <c:pt idx="6492">
                  <c:v>0.80198019801980203</c:v>
                </c:pt>
                <c:pt idx="6493">
                  <c:v>0.80198019801980203</c:v>
                </c:pt>
                <c:pt idx="6494">
                  <c:v>0.80204778156996603</c:v>
                </c:pt>
                <c:pt idx="6495">
                  <c:v>0.80219780219780201</c:v>
                </c:pt>
                <c:pt idx="6496">
                  <c:v>0.80219780219780201</c:v>
                </c:pt>
                <c:pt idx="6497">
                  <c:v>0.80226415094339598</c:v>
                </c:pt>
                <c:pt idx="6498">
                  <c:v>0.80236486486486502</c:v>
                </c:pt>
                <c:pt idx="6499">
                  <c:v>0.80253623188405798</c:v>
                </c:pt>
                <c:pt idx="6500">
                  <c:v>0.802734375</c:v>
                </c:pt>
                <c:pt idx="6501">
                  <c:v>0.80281690140845097</c:v>
                </c:pt>
                <c:pt idx="6502">
                  <c:v>0.80284552845528501</c:v>
                </c:pt>
                <c:pt idx="6503">
                  <c:v>0.802874743326489</c:v>
                </c:pt>
                <c:pt idx="6504">
                  <c:v>0.80288461538461497</c:v>
                </c:pt>
                <c:pt idx="6505">
                  <c:v>0.80291970802919699</c:v>
                </c:pt>
                <c:pt idx="6506">
                  <c:v>0.802955665024631</c:v>
                </c:pt>
                <c:pt idx="6507">
                  <c:v>0.80299251870324195</c:v>
                </c:pt>
                <c:pt idx="6508">
                  <c:v>0.80303030303030298</c:v>
                </c:pt>
                <c:pt idx="6509">
                  <c:v>0.80303030303030298</c:v>
                </c:pt>
                <c:pt idx="6510">
                  <c:v>0.80309627479438805</c:v>
                </c:pt>
                <c:pt idx="6511">
                  <c:v>0.80310880829015496</c:v>
                </c:pt>
                <c:pt idx="6512">
                  <c:v>0.80323450134770902</c:v>
                </c:pt>
                <c:pt idx="6513">
                  <c:v>0.80327868852458995</c:v>
                </c:pt>
                <c:pt idx="6514">
                  <c:v>0.80337078651685401</c:v>
                </c:pt>
                <c:pt idx="6515">
                  <c:v>0.80341880341880301</c:v>
                </c:pt>
                <c:pt idx="6516">
                  <c:v>0.80341880341880301</c:v>
                </c:pt>
                <c:pt idx="6517">
                  <c:v>0.80341880341880301</c:v>
                </c:pt>
                <c:pt idx="6518">
                  <c:v>0.803446418955304</c:v>
                </c:pt>
                <c:pt idx="6519">
                  <c:v>0.80346820809248498</c:v>
                </c:pt>
                <c:pt idx="6520">
                  <c:v>0.80357142857142905</c:v>
                </c:pt>
                <c:pt idx="6521">
                  <c:v>0.80365296803652997</c:v>
                </c:pt>
                <c:pt idx="6522">
                  <c:v>0.80368098159509205</c:v>
                </c:pt>
                <c:pt idx="6523">
                  <c:v>0.80373831775700899</c:v>
                </c:pt>
                <c:pt idx="6524">
                  <c:v>0.80376344086021501</c:v>
                </c:pt>
                <c:pt idx="6525">
                  <c:v>0.80379746835443</c:v>
                </c:pt>
                <c:pt idx="6526">
                  <c:v>0.80379746835443</c:v>
                </c:pt>
                <c:pt idx="6527">
                  <c:v>0.80379746835443</c:v>
                </c:pt>
                <c:pt idx="6528">
                  <c:v>0.80387685290763999</c:v>
                </c:pt>
                <c:pt idx="6529">
                  <c:v>0.80392156862745101</c:v>
                </c:pt>
                <c:pt idx="6530">
                  <c:v>0.80392156862745101</c:v>
                </c:pt>
                <c:pt idx="6531">
                  <c:v>0.80392156862745101</c:v>
                </c:pt>
                <c:pt idx="6532">
                  <c:v>0.80392156862745101</c:v>
                </c:pt>
                <c:pt idx="6533">
                  <c:v>0.80392156862745101</c:v>
                </c:pt>
                <c:pt idx="6534">
                  <c:v>0.80397022332506196</c:v>
                </c:pt>
                <c:pt idx="6535">
                  <c:v>0.80402010050251305</c:v>
                </c:pt>
                <c:pt idx="6536">
                  <c:v>0.80406654343807804</c:v>
                </c:pt>
                <c:pt idx="6537">
                  <c:v>0.804100227790433</c:v>
                </c:pt>
                <c:pt idx="6538">
                  <c:v>0.80412371134020599</c:v>
                </c:pt>
                <c:pt idx="6539">
                  <c:v>0.80412371134020599</c:v>
                </c:pt>
                <c:pt idx="6540">
                  <c:v>0.80419580419580405</c:v>
                </c:pt>
                <c:pt idx="6541">
                  <c:v>0.80434782608695599</c:v>
                </c:pt>
                <c:pt idx="6542">
                  <c:v>0.80439121756486998</c:v>
                </c:pt>
                <c:pt idx="6543">
                  <c:v>0.80457746478873204</c:v>
                </c:pt>
                <c:pt idx="6544">
                  <c:v>0.8046875</c:v>
                </c:pt>
                <c:pt idx="6545">
                  <c:v>0.80481927710843404</c:v>
                </c:pt>
                <c:pt idx="6546">
                  <c:v>0.80487804878048796</c:v>
                </c:pt>
                <c:pt idx="6547">
                  <c:v>0.80487804878048796</c:v>
                </c:pt>
                <c:pt idx="6548">
                  <c:v>0.80487804878048796</c:v>
                </c:pt>
                <c:pt idx="6549">
                  <c:v>0.80493273542600896</c:v>
                </c:pt>
                <c:pt idx="6550">
                  <c:v>0.80519480519480502</c:v>
                </c:pt>
                <c:pt idx="6551">
                  <c:v>0.80530973451327403</c:v>
                </c:pt>
                <c:pt idx="6552">
                  <c:v>0.80530973451327403</c:v>
                </c:pt>
                <c:pt idx="6553">
                  <c:v>0.80533333333333301</c:v>
                </c:pt>
                <c:pt idx="6554">
                  <c:v>0.80534351145038197</c:v>
                </c:pt>
                <c:pt idx="6555">
                  <c:v>0.80541455160744502</c:v>
                </c:pt>
                <c:pt idx="6556">
                  <c:v>0.80545163014430798</c:v>
                </c:pt>
                <c:pt idx="6557">
                  <c:v>0.80569514237855899</c:v>
                </c:pt>
                <c:pt idx="6558">
                  <c:v>0.80569948186528495</c:v>
                </c:pt>
                <c:pt idx="6559">
                  <c:v>0.805755395683453</c:v>
                </c:pt>
                <c:pt idx="6560">
                  <c:v>0.80588235294117605</c:v>
                </c:pt>
                <c:pt idx="6561">
                  <c:v>0.80597014925373101</c:v>
                </c:pt>
                <c:pt idx="6562">
                  <c:v>0.80597014925373101</c:v>
                </c:pt>
                <c:pt idx="6563">
                  <c:v>0.80597014925373101</c:v>
                </c:pt>
                <c:pt idx="6564">
                  <c:v>0.80597014925373101</c:v>
                </c:pt>
                <c:pt idx="6565">
                  <c:v>0.80597014925373101</c:v>
                </c:pt>
                <c:pt idx="6566">
                  <c:v>0.806034482758621</c:v>
                </c:pt>
                <c:pt idx="6567">
                  <c:v>0.806034482758621</c:v>
                </c:pt>
                <c:pt idx="6568">
                  <c:v>0.80606060606060603</c:v>
                </c:pt>
                <c:pt idx="6569">
                  <c:v>0.80612244897959195</c:v>
                </c:pt>
                <c:pt idx="6570">
                  <c:v>0.80612244897959195</c:v>
                </c:pt>
                <c:pt idx="6571">
                  <c:v>0.80616740088105698</c:v>
                </c:pt>
                <c:pt idx="6572">
                  <c:v>0.806201550387597</c:v>
                </c:pt>
                <c:pt idx="6573">
                  <c:v>0.80622837370242195</c:v>
                </c:pt>
                <c:pt idx="6574">
                  <c:v>0.80641106222501602</c:v>
                </c:pt>
                <c:pt idx="6575">
                  <c:v>0.80645161290322598</c:v>
                </c:pt>
                <c:pt idx="6576">
                  <c:v>0.80645161290322598</c:v>
                </c:pt>
                <c:pt idx="6577">
                  <c:v>0.80645161290322598</c:v>
                </c:pt>
                <c:pt idx="6578">
                  <c:v>0.80651340996168597</c:v>
                </c:pt>
                <c:pt idx="6579">
                  <c:v>0.80661577608142498</c:v>
                </c:pt>
                <c:pt idx="6580">
                  <c:v>0.80662983425414403</c:v>
                </c:pt>
                <c:pt idx="6581">
                  <c:v>0.80672268907563005</c:v>
                </c:pt>
                <c:pt idx="6582">
                  <c:v>0.80672268907563005</c:v>
                </c:pt>
                <c:pt idx="6583">
                  <c:v>0.80677966101694898</c:v>
                </c:pt>
                <c:pt idx="6584">
                  <c:v>0.80681818181818199</c:v>
                </c:pt>
                <c:pt idx="6585">
                  <c:v>0.80693069306930698</c:v>
                </c:pt>
                <c:pt idx="6586">
                  <c:v>0.80701754385964897</c:v>
                </c:pt>
                <c:pt idx="6587">
                  <c:v>0.80701754385964897</c:v>
                </c:pt>
                <c:pt idx="6588">
                  <c:v>0.80708661417322802</c:v>
                </c:pt>
                <c:pt idx="6589">
                  <c:v>0.80726698262243302</c:v>
                </c:pt>
                <c:pt idx="6590">
                  <c:v>0.80729166666666696</c:v>
                </c:pt>
                <c:pt idx="6591">
                  <c:v>0.807339449541284</c:v>
                </c:pt>
                <c:pt idx="6592">
                  <c:v>0.80740740740740702</c:v>
                </c:pt>
                <c:pt idx="6593">
                  <c:v>0.80743243243243201</c:v>
                </c:pt>
                <c:pt idx="6594">
                  <c:v>0.80753138075313802</c:v>
                </c:pt>
                <c:pt idx="6595">
                  <c:v>0.807726075504829</c:v>
                </c:pt>
                <c:pt idx="6596">
                  <c:v>0.80778708723509096</c:v>
                </c:pt>
                <c:pt idx="6597">
                  <c:v>0.80780780780780803</c:v>
                </c:pt>
                <c:pt idx="6598">
                  <c:v>0.80786026200873395</c:v>
                </c:pt>
                <c:pt idx="6599">
                  <c:v>0.80804387568555802</c:v>
                </c:pt>
                <c:pt idx="6600">
                  <c:v>0.80821917808219201</c:v>
                </c:pt>
                <c:pt idx="6601">
                  <c:v>0.80851063829787195</c:v>
                </c:pt>
                <c:pt idx="6602">
                  <c:v>0.80851063829787195</c:v>
                </c:pt>
                <c:pt idx="6603">
                  <c:v>0.80851063829787195</c:v>
                </c:pt>
                <c:pt idx="6604">
                  <c:v>0.80851063829787195</c:v>
                </c:pt>
                <c:pt idx="6605">
                  <c:v>0.80864197530864201</c:v>
                </c:pt>
                <c:pt idx="6606">
                  <c:v>0.80882352941176505</c:v>
                </c:pt>
                <c:pt idx="6607">
                  <c:v>0.80882352941176505</c:v>
                </c:pt>
                <c:pt idx="6608">
                  <c:v>0.80888888888888899</c:v>
                </c:pt>
                <c:pt idx="6609">
                  <c:v>0.80891719745222901</c:v>
                </c:pt>
                <c:pt idx="6610">
                  <c:v>0.80895522388059704</c:v>
                </c:pt>
                <c:pt idx="6611">
                  <c:v>0.80898876404494402</c:v>
                </c:pt>
                <c:pt idx="6612">
                  <c:v>0.80898876404494402</c:v>
                </c:pt>
                <c:pt idx="6613">
                  <c:v>0.80899908172635404</c:v>
                </c:pt>
                <c:pt idx="6614">
                  <c:v>0.80904522613065299</c:v>
                </c:pt>
                <c:pt idx="6615">
                  <c:v>0.80916030534351102</c:v>
                </c:pt>
                <c:pt idx="6616">
                  <c:v>0.80916030534351102</c:v>
                </c:pt>
                <c:pt idx="6617">
                  <c:v>0.80919395465995003</c:v>
                </c:pt>
                <c:pt idx="6618">
                  <c:v>0.80928689883913796</c:v>
                </c:pt>
                <c:pt idx="6619">
                  <c:v>0.80935251798561103</c:v>
                </c:pt>
                <c:pt idx="6620">
                  <c:v>0.80949105914718</c:v>
                </c:pt>
                <c:pt idx="6621">
                  <c:v>0.80952380952380898</c:v>
                </c:pt>
                <c:pt idx="6622">
                  <c:v>0.80952380952380898</c:v>
                </c:pt>
                <c:pt idx="6623">
                  <c:v>0.80968096809681001</c:v>
                </c:pt>
                <c:pt idx="6624">
                  <c:v>0.80968280467445697</c:v>
                </c:pt>
                <c:pt idx="6625">
                  <c:v>0.809756097560976</c:v>
                </c:pt>
                <c:pt idx="6626">
                  <c:v>0.80979827089337197</c:v>
                </c:pt>
                <c:pt idx="6627">
                  <c:v>0.80982367758186402</c:v>
                </c:pt>
                <c:pt idx="6628">
                  <c:v>0.80985915492957705</c:v>
                </c:pt>
                <c:pt idx="6629">
                  <c:v>0.80991735537190102</c:v>
                </c:pt>
                <c:pt idx="6630">
                  <c:v>0.80994280686317599</c:v>
                </c:pt>
                <c:pt idx="6631">
                  <c:v>0.80998914223669904</c:v>
                </c:pt>
                <c:pt idx="6632">
                  <c:v>0.81</c:v>
                </c:pt>
                <c:pt idx="6633">
                  <c:v>0.81002638522427395</c:v>
                </c:pt>
                <c:pt idx="6634">
                  <c:v>0.81005586592178802</c:v>
                </c:pt>
                <c:pt idx="6635">
                  <c:v>0.810126582278481</c:v>
                </c:pt>
                <c:pt idx="6636">
                  <c:v>0.81034482758620696</c:v>
                </c:pt>
                <c:pt idx="6637">
                  <c:v>0.81034482758620696</c:v>
                </c:pt>
                <c:pt idx="6638">
                  <c:v>0.81037567084078699</c:v>
                </c:pt>
                <c:pt idx="6639">
                  <c:v>0.81057268722467002</c:v>
                </c:pt>
                <c:pt idx="6640">
                  <c:v>0.81058020477815695</c:v>
                </c:pt>
                <c:pt idx="6641">
                  <c:v>0.810606060606061</c:v>
                </c:pt>
                <c:pt idx="6642">
                  <c:v>0.81065088757396397</c:v>
                </c:pt>
                <c:pt idx="6643">
                  <c:v>0.81081081081081097</c:v>
                </c:pt>
                <c:pt idx="6644">
                  <c:v>0.81081081081081097</c:v>
                </c:pt>
                <c:pt idx="6645">
                  <c:v>0.81090909090909102</c:v>
                </c:pt>
                <c:pt idx="6646">
                  <c:v>0.81092012133468105</c:v>
                </c:pt>
                <c:pt idx="6647">
                  <c:v>0.81100917431192698</c:v>
                </c:pt>
                <c:pt idx="6648">
                  <c:v>0.81102362204724399</c:v>
                </c:pt>
                <c:pt idx="6649">
                  <c:v>0.81111111111111101</c:v>
                </c:pt>
                <c:pt idx="6650">
                  <c:v>0.81119791666666696</c:v>
                </c:pt>
                <c:pt idx="6651">
                  <c:v>0.81125827814569496</c:v>
                </c:pt>
                <c:pt idx="6652">
                  <c:v>0.81147540983606603</c:v>
                </c:pt>
                <c:pt idx="6653">
                  <c:v>0.81147540983606603</c:v>
                </c:pt>
                <c:pt idx="6654">
                  <c:v>0.81147540983606603</c:v>
                </c:pt>
                <c:pt idx="6655">
                  <c:v>0.81164383561643805</c:v>
                </c:pt>
                <c:pt idx="6656">
                  <c:v>0.81168831168831201</c:v>
                </c:pt>
                <c:pt idx="6657">
                  <c:v>0.81188118811881205</c:v>
                </c:pt>
                <c:pt idx="6658">
                  <c:v>0.81189903846153799</c:v>
                </c:pt>
                <c:pt idx="6659">
                  <c:v>0.81203007518796999</c:v>
                </c:pt>
                <c:pt idx="6660">
                  <c:v>0.81208053691275195</c:v>
                </c:pt>
                <c:pt idx="6661">
                  <c:v>0.81215469613259705</c:v>
                </c:pt>
                <c:pt idx="6662">
                  <c:v>0.81225554106910003</c:v>
                </c:pt>
                <c:pt idx="6663">
                  <c:v>0.81231671554252205</c:v>
                </c:pt>
                <c:pt idx="6664">
                  <c:v>0.81242672919109005</c:v>
                </c:pt>
                <c:pt idx="6665">
                  <c:v>0.8125</c:v>
                </c:pt>
                <c:pt idx="6666">
                  <c:v>0.8125</c:v>
                </c:pt>
                <c:pt idx="6667">
                  <c:v>0.81264236902050102</c:v>
                </c:pt>
                <c:pt idx="6668">
                  <c:v>0.81272084805653699</c:v>
                </c:pt>
                <c:pt idx="6669">
                  <c:v>0.81283422459892996</c:v>
                </c:pt>
                <c:pt idx="6670">
                  <c:v>0.81283422459892996</c:v>
                </c:pt>
                <c:pt idx="6671">
                  <c:v>0.81286549707602296</c:v>
                </c:pt>
                <c:pt idx="6672">
                  <c:v>0.81286549707602296</c:v>
                </c:pt>
                <c:pt idx="6673">
                  <c:v>0.81289308176100605</c:v>
                </c:pt>
                <c:pt idx="6674">
                  <c:v>0.81307339449541305</c:v>
                </c:pt>
                <c:pt idx="6675">
                  <c:v>0.81310211946050104</c:v>
                </c:pt>
                <c:pt idx="6676">
                  <c:v>0.813148788927336</c:v>
                </c:pt>
                <c:pt idx="6677">
                  <c:v>0.81318681318681296</c:v>
                </c:pt>
                <c:pt idx="6678">
                  <c:v>0.81318681318681296</c:v>
                </c:pt>
                <c:pt idx="6679">
                  <c:v>0.81338028169014098</c:v>
                </c:pt>
                <c:pt idx="6680">
                  <c:v>0.81341107871720097</c:v>
                </c:pt>
                <c:pt idx="6681">
                  <c:v>0.81349206349206304</c:v>
                </c:pt>
                <c:pt idx="6682">
                  <c:v>0.81350954478707804</c:v>
                </c:pt>
                <c:pt idx="6683">
                  <c:v>0.81359223300970895</c:v>
                </c:pt>
                <c:pt idx="6684">
                  <c:v>0.81366459627329202</c:v>
                </c:pt>
                <c:pt idx="6685">
                  <c:v>0.81368821292775695</c:v>
                </c:pt>
                <c:pt idx="6686">
                  <c:v>0.81372549019607798</c:v>
                </c:pt>
                <c:pt idx="6687">
                  <c:v>0.81375358166189105</c:v>
                </c:pt>
                <c:pt idx="6688">
                  <c:v>0.81379310344827605</c:v>
                </c:pt>
                <c:pt idx="6689">
                  <c:v>0.81382978723404198</c:v>
                </c:pt>
                <c:pt idx="6690">
                  <c:v>0.81395348837209303</c:v>
                </c:pt>
                <c:pt idx="6691">
                  <c:v>0.81402439024390205</c:v>
                </c:pt>
                <c:pt idx="6692">
                  <c:v>0.814180929095355</c:v>
                </c:pt>
                <c:pt idx="6693">
                  <c:v>0.81432748538011701</c:v>
                </c:pt>
                <c:pt idx="6694">
                  <c:v>0.81434599156118104</c:v>
                </c:pt>
                <c:pt idx="6695">
                  <c:v>0.81443298969072198</c:v>
                </c:pt>
                <c:pt idx="6696">
                  <c:v>0.81445783132530103</c:v>
                </c:pt>
                <c:pt idx="6697">
                  <c:v>0.81454545454545502</c:v>
                </c:pt>
                <c:pt idx="6698">
                  <c:v>0.81455805892547695</c:v>
                </c:pt>
                <c:pt idx="6699">
                  <c:v>0.81481481481481499</c:v>
                </c:pt>
                <c:pt idx="6700">
                  <c:v>0.81481481481481499</c:v>
                </c:pt>
                <c:pt idx="6701">
                  <c:v>0.81481481481481499</c:v>
                </c:pt>
                <c:pt idx="6702">
                  <c:v>0.81481481481481499</c:v>
                </c:pt>
                <c:pt idx="6703">
                  <c:v>0.81481481481481499</c:v>
                </c:pt>
                <c:pt idx="6704">
                  <c:v>0.81501340482573703</c:v>
                </c:pt>
                <c:pt idx="6705">
                  <c:v>0.81520692974013498</c:v>
                </c:pt>
                <c:pt idx="6706">
                  <c:v>0.81538461538461504</c:v>
                </c:pt>
                <c:pt idx="6707">
                  <c:v>0.81538461538461504</c:v>
                </c:pt>
                <c:pt idx="6708">
                  <c:v>0.81538461538461504</c:v>
                </c:pt>
                <c:pt idx="6709">
                  <c:v>0.81546811397557695</c:v>
                </c:pt>
                <c:pt idx="6710">
                  <c:v>0.81592039800994998</c:v>
                </c:pt>
                <c:pt idx="6711">
                  <c:v>0.81615598885793905</c:v>
                </c:pt>
                <c:pt idx="6712">
                  <c:v>0.81617647058823495</c:v>
                </c:pt>
                <c:pt idx="6713">
                  <c:v>0.81619937694704003</c:v>
                </c:pt>
                <c:pt idx="6714">
                  <c:v>0.81626506024096401</c:v>
                </c:pt>
                <c:pt idx="6715">
                  <c:v>0.81632653061224503</c:v>
                </c:pt>
                <c:pt idx="6716">
                  <c:v>0.81642512077294704</c:v>
                </c:pt>
                <c:pt idx="6717">
                  <c:v>0.81649484536082495</c:v>
                </c:pt>
                <c:pt idx="6718">
                  <c:v>0.81651376146789001</c:v>
                </c:pt>
                <c:pt idx="6719">
                  <c:v>0.81651376146789001</c:v>
                </c:pt>
                <c:pt idx="6720">
                  <c:v>0.81666666666666698</c:v>
                </c:pt>
                <c:pt idx="6721">
                  <c:v>0.81666666666666698</c:v>
                </c:pt>
                <c:pt idx="6722">
                  <c:v>0.81679389312977102</c:v>
                </c:pt>
                <c:pt idx="6723">
                  <c:v>0.81679389312977102</c:v>
                </c:pt>
                <c:pt idx="6724">
                  <c:v>0.81679389312977102</c:v>
                </c:pt>
                <c:pt idx="6725">
                  <c:v>0.816831683168317</c:v>
                </c:pt>
                <c:pt idx="6726">
                  <c:v>0.81684981684981695</c:v>
                </c:pt>
                <c:pt idx="6727">
                  <c:v>0.81690140845070403</c:v>
                </c:pt>
                <c:pt idx="6728">
                  <c:v>0.81690140845070403</c:v>
                </c:pt>
                <c:pt idx="6729">
                  <c:v>0.81690140845070403</c:v>
                </c:pt>
                <c:pt idx="6730">
                  <c:v>0.81693989071038198</c:v>
                </c:pt>
                <c:pt idx="6731">
                  <c:v>0.81696428571428603</c:v>
                </c:pt>
                <c:pt idx="6732">
                  <c:v>0.81712062256809304</c:v>
                </c:pt>
                <c:pt idx="6733">
                  <c:v>0.817155756207675</c:v>
                </c:pt>
                <c:pt idx="6734">
                  <c:v>0.81724137931034502</c:v>
                </c:pt>
                <c:pt idx="6735">
                  <c:v>0.81731784582893297</c:v>
                </c:pt>
                <c:pt idx="6736">
                  <c:v>0.817320703653586</c:v>
                </c:pt>
                <c:pt idx="6737">
                  <c:v>0.81749049429657805</c:v>
                </c:pt>
                <c:pt idx="6738">
                  <c:v>0.81757877280265301</c:v>
                </c:pt>
                <c:pt idx="6739">
                  <c:v>0.81764705882352895</c:v>
                </c:pt>
                <c:pt idx="6740">
                  <c:v>0.81767955801104997</c:v>
                </c:pt>
                <c:pt idx="6741">
                  <c:v>0.81780250347705097</c:v>
                </c:pt>
                <c:pt idx="6742">
                  <c:v>0.81781376518218596</c:v>
                </c:pt>
                <c:pt idx="6743">
                  <c:v>0.81782945736434098</c:v>
                </c:pt>
                <c:pt idx="6744">
                  <c:v>0.81782945736434098</c:v>
                </c:pt>
                <c:pt idx="6745">
                  <c:v>0.81803278688524605</c:v>
                </c:pt>
                <c:pt idx="6746">
                  <c:v>0.81805359661495103</c:v>
                </c:pt>
                <c:pt idx="6747">
                  <c:v>0.81806930693069302</c:v>
                </c:pt>
                <c:pt idx="6748">
                  <c:v>0.81810766721044004</c:v>
                </c:pt>
                <c:pt idx="6749">
                  <c:v>0.81818181818181801</c:v>
                </c:pt>
                <c:pt idx="6750">
                  <c:v>0.81818181818181801</c:v>
                </c:pt>
                <c:pt idx="6751">
                  <c:v>0.81818181818181801</c:v>
                </c:pt>
                <c:pt idx="6752">
                  <c:v>0.81818181818181801</c:v>
                </c:pt>
                <c:pt idx="6753">
                  <c:v>0.81818181818181801</c:v>
                </c:pt>
                <c:pt idx="6754">
                  <c:v>0.81818181818181801</c:v>
                </c:pt>
                <c:pt idx="6755">
                  <c:v>0.81818181818181801</c:v>
                </c:pt>
                <c:pt idx="6756">
                  <c:v>0.81818181818181801</c:v>
                </c:pt>
                <c:pt idx="6757">
                  <c:v>0.81818181818181801</c:v>
                </c:pt>
                <c:pt idx="6758">
                  <c:v>0.81818181818181801</c:v>
                </c:pt>
                <c:pt idx="6759">
                  <c:v>0.81818181818181801</c:v>
                </c:pt>
                <c:pt idx="6760">
                  <c:v>0.81830985915493004</c:v>
                </c:pt>
                <c:pt idx="6761">
                  <c:v>0.81861575178997603</c:v>
                </c:pt>
                <c:pt idx="6762">
                  <c:v>0.81884057971014501</c:v>
                </c:pt>
                <c:pt idx="6763">
                  <c:v>0.81884057971014501</c:v>
                </c:pt>
                <c:pt idx="6764">
                  <c:v>0.819095477386935</c:v>
                </c:pt>
                <c:pt idx="6765">
                  <c:v>0.81921979067554695</c:v>
                </c:pt>
                <c:pt idx="6766">
                  <c:v>0.81947162426614495</c:v>
                </c:pt>
                <c:pt idx="6767">
                  <c:v>0.81950207468879699</c:v>
                </c:pt>
                <c:pt idx="6768">
                  <c:v>0.81951219512195095</c:v>
                </c:pt>
                <c:pt idx="6769">
                  <c:v>0.81952117863720098</c:v>
                </c:pt>
                <c:pt idx="6770">
                  <c:v>0.81954887218045103</c:v>
                </c:pt>
                <c:pt idx="6771">
                  <c:v>0.81967213114754101</c:v>
                </c:pt>
                <c:pt idx="6772">
                  <c:v>0.81967213114754101</c:v>
                </c:pt>
                <c:pt idx="6773">
                  <c:v>0.81978798586572399</c:v>
                </c:pt>
                <c:pt idx="6774">
                  <c:v>0.81981981981981999</c:v>
                </c:pt>
                <c:pt idx="6775">
                  <c:v>0.81981981981981999</c:v>
                </c:pt>
                <c:pt idx="6776">
                  <c:v>0.81981981981981999</c:v>
                </c:pt>
                <c:pt idx="6777">
                  <c:v>0.81983805668016196</c:v>
                </c:pt>
                <c:pt idx="6778">
                  <c:v>0.82</c:v>
                </c:pt>
                <c:pt idx="6779">
                  <c:v>0.82</c:v>
                </c:pt>
                <c:pt idx="6780">
                  <c:v>0.82004089979550099</c:v>
                </c:pt>
                <c:pt idx="6781">
                  <c:v>0.82005899705014695</c:v>
                </c:pt>
                <c:pt idx="6782">
                  <c:v>0.8203125</c:v>
                </c:pt>
                <c:pt idx="6783">
                  <c:v>0.8203125</c:v>
                </c:pt>
                <c:pt idx="6784">
                  <c:v>0.820359281437126</c:v>
                </c:pt>
                <c:pt idx="6785">
                  <c:v>0.82048040455120097</c:v>
                </c:pt>
                <c:pt idx="6786">
                  <c:v>0.82051282051282004</c:v>
                </c:pt>
                <c:pt idx="6787">
                  <c:v>0.82051282051282004</c:v>
                </c:pt>
                <c:pt idx="6788">
                  <c:v>0.820721769499418</c:v>
                </c:pt>
                <c:pt idx="6789">
                  <c:v>0.820754716981132</c:v>
                </c:pt>
                <c:pt idx="6790">
                  <c:v>0.820754716981132</c:v>
                </c:pt>
                <c:pt idx="6791">
                  <c:v>0.820754716981132</c:v>
                </c:pt>
                <c:pt idx="6792">
                  <c:v>0.82094594594594605</c:v>
                </c:pt>
                <c:pt idx="6793">
                  <c:v>0.82105263157894703</c:v>
                </c:pt>
                <c:pt idx="6794">
                  <c:v>0.82120582120582097</c:v>
                </c:pt>
                <c:pt idx="6795">
                  <c:v>0.82142857142857095</c:v>
                </c:pt>
                <c:pt idx="6796">
                  <c:v>0.82142857142857095</c:v>
                </c:pt>
                <c:pt idx="6797">
                  <c:v>0.82142857142857095</c:v>
                </c:pt>
                <c:pt idx="6798">
                  <c:v>0.82142857142857095</c:v>
                </c:pt>
                <c:pt idx="6799">
                  <c:v>0.82156133828996303</c:v>
                </c:pt>
                <c:pt idx="6800">
                  <c:v>0.82159624413145504</c:v>
                </c:pt>
                <c:pt idx="6801">
                  <c:v>0.82170542635658905</c:v>
                </c:pt>
                <c:pt idx="6802">
                  <c:v>0.82191780821917804</c:v>
                </c:pt>
                <c:pt idx="6803">
                  <c:v>0.82191780821917804</c:v>
                </c:pt>
                <c:pt idx="6804">
                  <c:v>0.82191780821917804</c:v>
                </c:pt>
                <c:pt idx="6805">
                  <c:v>0.82222222222222197</c:v>
                </c:pt>
                <c:pt idx="6806">
                  <c:v>0.82223847841989794</c:v>
                </c:pt>
                <c:pt idx="6807">
                  <c:v>0.822277847309136</c:v>
                </c:pt>
                <c:pt idx="6808">
                  <c:v>0.82233502538071102</c:v>
                </c:pt>
                <c:pt idx="6809">
                  <c:v>0.82233502538071102</c:v>
                </c:pt>
                <c:pt idx="6810">
                  <c:v>0.82246376811594202</c:v>
                </c:pt>
                <c:pt idx="6811">
                  <c:v>0.82253521126760598</c:v>
                </c:pt>
                <c:pt idx="6812">
                  <c:v>0.82258064516129004</c:v>
                </c:pt>
                <c:pt idx="6813">
                  <c:v>0.822605169792195</c:v>
                </c:pt>
                <c:pt idx="6814">
                  <c:v>0.822784810126582</c:v>
                </c:pt>
                <c:pt idx="6815">
                  <c:v>0.82287188306104897</c:v>
                </c:pt>
                <c:pt idx="6816">
                  <c:v>0.82302405498281805</c:v>
                </c:pt>
                <c:pt idx="6817">
                  <c:v>0.82307692307692304</c:v>
                </c:pt>
                <c:pt idx="6818">
                  <c:v>0.82307692307692304</c:v>
                </c:pt>
                <c:pt idx="6819">
                  <c:v>0.82316258351893101</c:v>
                </c:pt>
                <c:pt idx="6820">
                  <c:v>0.82317073170731703</c:v>
                </c:pt>
                <c:pt idx="6821">
                  <c:v>0.82320441988950299</c:v>
                </c:pt>
                <c:pt idx="6822">
                  <c:v>0.82323232323232298</c:v>
                </c:pt>
                <c:pt idx="6823">
                  <c:v>0.82341650671785005</c:v>
                </c:pt>
                <c:pt idx="6824">
                  <c:v>0.82345013477088902</c:v>
                </c:pt>
                <c:pt idx="6825">
                  <c:v>0.82352941176470595</c:v>
                </c:pt>
                <c:pt idx="6826">
                  <c:v>0.82352941176470595</c:v>
                </c:pt>
                <c:pt idx="6827">
                  <c:v>0.82352941176470595</c:v>
                </c:pt>
                <c:pt idx="6828">
                  <c:v>0.82379862700228801</c:v>
                </c:pt>
                <c:pt idx="6829">
                  <c:v>0.82389937106918198</c:v>
                </c:pt>
                <c:pt idx="6830">
                  <c:v>0.82402234636871496</c:v>
                </c:pt>
                <c:pt idx="6831">
                  <c:v>0.82417582417582402</c:v>
                </c:pt>
                <c:pt idx="6832">
                  <c:v>0.82428115015974401</c:v>
                </c:pt>
                <c:pt idx="6833">
                  <c:v>0.82442748091603102</c:v>
                </c:pt>
                <c:pt idx="6834">
                  <c:v>0.82446808510638303</c:v>
                </c:pt>
                <c:pt idx="6835">
                  <c:v>0.82446808510638303</c:v>
                </c:pt>
                <c:pt idx="6836">
                  <c:v>0.82448979591836702</c:v>
                </c:pt>
                <c:pt idx="6837">
                  <c:v>0.82456140350877205</c:v>
                </c:pt>
                <c:pt idx="6838">
                  <c:v>0.82456140350877205</c:v>
                </c:pt>
                <c:pt idx="6839">
                  <c:v>0.82456140350877205</c:v>
                </c:pt>
                <c:pt idx="6840">
                  <c:v>0.82456140350877205</c:v>
                </c:pt>
                <c:pt idx="6841">
                  <c:v>0.82465753424657495</c:v>
                </c:pt>
                <c:pt idx="6842">
                  <c:v>0.82525951557093402</c:v>
                </c:pt>
                <c:pt idx="6843">
                  <c:v>0.82527881040892204</c:v>
                </c:pt>
                <c:pt idx="6844">
                  <c:v>0.82531645569620204</c:v>
                </c:pt>
                <c:pt idx="6845">
                  <c:v>0.82539682539682502</c:v>
                </c:pt>
                <c:pt idx="6846">
                  <c:v>0.82539682539682502</c:v>
                </c:pt>
                <c:pt idx="6847">
                  <c:v>0.82554517133956395</c:v>
                </c:pt>
                <c:pt idx="6848">
                  <c:v>0.825806451612903</c:v>
                </c:pt>
                <c:pt idx="6849">
                  <c:v>0.82582582582582598</c:v>
                </c:pt>
                <c:pt idx="6850">
                  <c:v>0.82597730138713699</c:v>
                </c:pt>
                <c:pt idx="6851">
                  <c:v>0.82608695652173902</c:v>
                </c:pt>
                <c:pt idx="6852">
                  <c:v>0.82608695652173902</c:v>
                </c:pt>
                <c:pt idx="6853">
                  <c:v>0.82608695652173902</c:v>
                </c:pt>
                <c:pt idx="6854">
                  <c:v>0.82622950819672103</c:v>
                </c:pt>
                <c:pt idx="6855">
                  <c:v>0.82626262626262603</c:v>
                </c:pt>
                <c:pt idx="6856">
                  <c:v>0.82637362637362599</c:v>
                </c:pt>
                <c:pt idx="6857">
                  <c:v>0.826446280991736</c:v>
                </c:pt>
                <c:pt idx="6858">
                  <c:v>0.82653061224489799</c:v>
                </c:pt>
                <c:pt idx="6859">
                  <c:v>0.82666666666666699</c:v>
                </c:pt>
                <c:pt idx="6860">
                  <c:v>0.82677165354330695</c:v>
                </c:pt>
                <c:pt idx="6861">
                  <c:v>0.82677165354330695</c:v>
                </c:pt>
                <c:pt idx="6862">
                  <c:v>0.82692307692307698</c:v>
                </c:pt>
                <c:pt idx="6863">
                  <c:v>0.82692307692307698</c:v>
                </c:pt>
                <c:pt idx="6864">
                  <c:v>0.82696177062374199</c:v>
                </c:pt>
                <c:pt idx="6865">
                  <c:v>0.82697622996130504</c:v>
                </c:pt>
                <c:pt idx="6866">
                  <c:v>0.82704402515723296</c:v>
                </c:pt>
                <c:pt idx="6867">
                  <c:v>0.82710280373831802</c:v>
                </c:pt>
                <c:pt idx="6868">
                  <c:v>0.82714054927302105</c:v>
                </c:pt>
                <c:pt idx="6869">
                  <c:v>0.82716049382715995</c:v>
                </c:pt>
                <c:pt idx="6870">
                  <c:v>0.82716049382715995</c:v>
                </c:pt>
                <c:pt idx="6871">
                  <c:v>0.82739726027397298</c:v>
                </c:pt>
                <c:pt idx="6872">
                  <c:v>0.82745098039215703</c:v>
                </c:pt>
                <c:pt idx="6873">
                  <c:v>0.82745098039215703</c:v>
                </c:pt>
                <c:pt idx="6874">
                  <c:v>0.82746478873239404</c:v>
                </c:pt>
                <c:pt idx="6875">
                  <c:v>0.82758620689655205</c:v>
                </c:pt>
                <c:pt idx="6876">
                  <c:v>0.82758620689655205</c:v>
                </c:pt>
                <c:pt idx="6877">
                  <c:v>0.82777777777777795</c:v>
                </c:pt>
                <c:pt idx="6878">
                  <c:v>0.82781456953642396</c:v>
                </c:pt>
                <c:pt idx="6879">
                  <c:v>0.82788671023965099</c:v>
                </c:pt>
                <c:pt idx="6880">
                  <c:v>0.82801664355062399</c:v>
                </c:pt>
                <c:pt idx="6881">
                  <c:v>0.82802547770700596</c:v>
                </c:pt>
                <c:pt idx="6882">
                  <c:v>0.828125</c:v>
                </c:pt>
                <c:pt idx="6883">
                  <c:v>0.828125</c:v>
                </c:pt>
                <c:pt idx="6884">
                  <c:v>0.82819383259911905</c:v>
                </c:pt>
                <c:pt idx="6885">
                  <c:v>0.82821387940841895</c:v>
                </c:pt>
                <c:pt idx="6886">
                  <c:v>0.828402366863905</c:v>
                </c:pt>
                <c:pt idx="6887">
                  <c:v>0.82846715328467202</c:v>
                </c:pt>
                <c:pt idx="6888">
                  <c:v>0.82857142857142896</c:v>
                </c:pt>
                <c:pt idx="6889">
                  <c:v>0.82857142857142896</c:v>
                </c:pt>
                <c:pt idx="6890">
                  <c:v>0.82857142857142896</c:v>
                </c:pt>
                <c:pt idx="6891">
                  <c:v>0.82870370370370405</c:v>
                </c:pt>
                <c:pt idx="6892">
                  <c:v>0.82886597938144302</c:v>
                </c:pt>
                <c:pt idx="6893">
                  <c:v>0.82889733840304203</c:v>
                </c:pt>
                <c:pt idx="6894">
                  <c:v>0.82894736842105299</c:v>
                </c:pt>
                <c:pt idx="6895">
                  <c:v>0.82894736842105299</c:v>
                </c:pt>
                <c:pt idx="6896">
                  <c:v>0.82899628252788105</c:v>
                </c:pt>
                <c:pt idx="6897">
                  <c:v>0.829059829059829</c:v>
                </c:pt>
                <c:pt idx="6898">
                  <c:v>0.82926829268292701</c:v>
                </c:pt>
                <c:pt idx="6899">
                  <c:v>0.82926829268292701</c:v>
                </c:pt>
                <c:pt idx="6900">
                  <c:v>0.82926829268292701</c:v>
                </c:pt>
                <c:pt idx="6901">
                  <c:v>0.82926829268292701</c:v>
                </c:pt>
                <c:pt idx="6902">
                  <c:v>0.82932166301969401</c:v>
                </c:pt>
                <c:pt idx="6903">
                  <c:v>0.82933333333333303</c:v>
                </c:pt>
                <c:pt idx="6904">
                  <c:v>0.82940108892922004</c:v>
                </c:pt>
                <c:pt idx="6905">
                  <c:v>0.829571106094808</c:v>
                </c:pt>
                <c:pt idx="6906">
                  <c:v>0.82962962962963005</c:v>
                </c:pt>
                <c:pt idx="6907">
                  <c:v>0.82978723404255295</c:v>
                </c:pt>
                <c:pt idx="6908">
                  <c:v>0.82985074626865696</c:v>
                </c:pt>
                <c:pt idx="6909">
                  <c:v>0.83</c:v>
                </c:pt>
                <c:pt idx="6910">
                  <c:v>0.83018867924528295</c:v>
                </c:pt>
                <c:pt idx="6911">
                  <c:v>0.83018867924528295</c:v>
                </c:pt>
                <c:pt idx="6912">
                  <c:v>0.83018867924528295</c:v>
                </c:pt>
                <c:pt idx="6913">
                  <c:v>0.830232558139535</c:v>
                </c:pt>
                <c:pt idx="6914">
                  <c:v>0.83037974683544302</c:v>
                </c:pt>
                <c:pt idx="6915">
                  <c:v>0.83039647577092501</c:v>
                </c:pt>
                <c:pt idx="6916">
                  <c:v>0.83040935672514604</c:v>
                </c:pt>
                <c:pt idx="6917">
                  <c:v>0.83046683046683001</c:v>
                </c:pt>
                <c:pt idx="6918">
                  <c:v>0.83050847457627097</c:v>
                </c:pt>
                <c:pt idx="6919">
                  <c:v>0.830578512396694</c:v>
                </c:pt>
                <c:pt idx="6920">
                  <c:v>0.83058470764617698</c:v>
                </c:pt>
                <c:pt idx="6921">
                  <c:v>0.83068783068783103</c:v>
                </c:pt>
                <c:pt idx="6922">
                  <c:v>0.83070866141732302</c:v>
                </c:pt>
                <c:pt idx="6923">
                  <c:v>0.83094555873925502</c:v>
                </c:pt>
                <c:pt idx="6924">
                  <c:v>0.83098591549295797</c:v>
                </c:pt>
                <c:pt idx="6925">
                  <c:v>0.83146067415730296</c:v>
                </c:pt>
                <c:pt idx="6926">
                  <c:v>0.83150984682713303</c:v>
                </c:pt>
                <c:pt idx="6927">
                  <c:v>0.83157894736842097</c:v>
                </c:pt>
                <c:pt idx="6928">
                  <c:v>0.83163265306122403</c:v>
                </c:pt>
                <c:pt idx="6929">
                  <c:v>0.83168316831683198</c:v>
                </c:pt>
                <c:pt idx="6930">
                  <c:v>0.83173076923076905</c:v>
                </c:pt>
                <c:pt idx="6931">
                  <c:v>0.83181818181818201</c:v>
                </c:pt>
                <c:pt idx="6932">
                  <c:v>0.83182640144665498</c:v>
                </c:pt>
                <c:pt idx="6933">
                  <c:v>0.83185840707964598</c:v>
                </c:pt>
                <c:pt idx="6934">
                  <c:v>0.83246073298429302</c:v>
                </c:pt>
                <c:pt idx="6935">
                  <c:v>0.83258928571428603</c:v>
                </c:pt>
                <c:pt idx="6936">
                  <c:v>0.832635983263598</c:v>
                </c:pt>
                <c:pt idx="6937">
                  <c:v>0.83274523641496101</c:v>
                </c:pt>
                <c:pt idx="6938">
                  <c:v>0.83285917496443795</c:v>
                </c:pt>
                <c:pt idx="6939">
                  <c:v>0.83295711060948097</c:v>
                </c:pt>
                <c:pt idx="6940">
                  <c:v>0.83333333333333304</c:v>
                </c:pt>
                <c:pt idx="6941">
                  <c:v>0.83333333333333304</c:v>
                </c:pt>
                <c:pt idx="6942">
                  <c:v>0.83333333333333304</c:v>
                </c:pt>
                <c:pt idx="6943">
                  <c:v>0.83333333333333304</c:v>
                </c:pt>
                <c:pt idx="6944">
                  <c:v>0.83333333333333304</c:v>
                </c:pt>
                <c:pt idx="6945">
                  <c:v>0.83333333333333304</c:v>
                </c:pt>
                <c:pt idx="6946">
                  <c:v>0.83353884093711506</c:v>
                </c:pt>
                <c:pt idx="6947">
                  <c:v>0.83362831858407105</c:v>
                </c:pt>
                <c:pt idx="6948">
                  <c:v>0.83371298405466998</c:v>
                </c:pt>
                <c:pt idx="6949">
                  <c:v>0.83377308707123998</c:v>
                </c:pt>
                <c:pt idx="6950">
                  <c:v>0.83389830508474605</c:v>
                </c:pt>
                <c:pt idx="6951">
                  <c:v>0.83406113537117899</c:v>
                </c:pt>
                <c:pt idx="6952">
                  <c:v>0.83418367346938804</c:v>
                </c:pt>
                <c:pt idx="6953">
                  <c:v>0.83431952662721898</c:v>
                </c:pt>
                <c:pt idx="6954">
                  <c:v>0.83435582822085896</c:v>
                </c:pt>
                <c:pt idx="6955">
                  <c:v>0.83440514469453397</c:v>
                </c:pt>
                <c:pt idx="6956">
                  <c:v>0.83443708609271505</c:v>
                </c:pt>
                <c:pt idx="6957">
                  <c:v>0.83443708609271505</c:v>
                </c:pt>
                <c:pt idx="6958">
                  <c:v>0.83458646616541299</c:v>
                </c:pt>
                <c:pt idx="6959">
                  <c:v>0.83461538461538498</c:v>
                </c:pt>
                <c:pt idx="6960">
                  <c:v>0.83466135458167301</c:v>
                </c:pt>
                <c:pt idx="6961">
                  <c:v>0.83467741935483897</c:v>
                </c:pt>
                <c:pt idx="6962">
                  <c:v>0.83468834688346905</c:v>
                </c:pt>
                <c:pt idx="6963">
                  <c:v>0.83495145631068002</c:v>
                </c:pt>
                <c:pt idx="6964">
                  <c:v>0.83495145631068002</c:v>
                </c:pt>
                <c:pt idx="6965">
                  <c:v>0.83501683501683499</c:v>
                </c:pt>
                <c:pt idx="6966">
                  <c:v>0.83529411764705896</c:v>
                </c:pt>
                <c:pt idx="6967">
                  <c:v>0.83561643835616395</c:v>
                </c:pt>
                <c:pt idx="6968">
                  <c:v>0.83561643835616395</c:v>
                </c:pt>
                <c:pt idx="6969">
                  <c:v>0.83566433566433596</c:v>
                </c:pt>
                <c:pt idx="6970">
                  <c:v>0.83571428571428596</c:v>
                </c:pt>
                <c:pt idx="6971">
                  <c:v>0.83582089552238803</c:v>
                </c:pt>
                <c:pt idx="6972">
                  <c:v>0.83589743589743604</c:v>
                </c:pt>
                <c:pt idx="6973">
                  <c:v>0.83597883597883604</c:v>
                </c:pt>
                <c:pt idx="6974">
                  <c:v>0.83606557377049195</c:v>
                </c:pt>
                <c:pt idx="6975">
                  <c:v>0.83614457831325295</c:v>
                </c:pt>
                <c:pt idx="6976">
                  <c:v>0.83618763961280695</c:v>
                </c:pt>
                <c:pt idx="6977">
                  <c:v>0.83623693379790898</c:v>
                </c:pt>
                <c:pt idx="6978">
                  <c:v>0.83629893238434205</c:v>
                </c:pt>
                <c:pt idx="6979">
                  <c:v>0.83636363636363598</c:v>
                </c:pt>
                <c:pt idx="6980">
                  <c:v>0.83646112600536204</c:v>
                </c:pt>
                <c:pt idx="6981">
                  <c:v>0.83652173913043504</c:v>
                </c:pt>
                <c:pt idx="6982">
                  <c:v>0.83660130718954195</c:v>
                </c:pt>
                <c:pt idx="6983">
                  <c:v>0.83673469387755095</c:v>
                </c:pt>
                <c:pt idx="6984">
                  <c:v>0.83684210526315805</c:v>
                </c:pt>
                <c:pt idx="6985">
                  <c:v>0.83687943262411302</c:v>
                </c:pt>
                <c:pt idx="6986">
                  <c:v>0.83695652173913004</c:v>
                </c:pt>
                <c:pt idx="6987">
                  <c:v>0.83709016393442603</c:v>
                </c:pt>
                <c:pt idx="6988">
                  <c:v>0.83712984054669703</c:v>
                </c:pt>
                <c:pt idx="6989">
                  <c:v>0.83746898263027303</c:v>
                </c:pt>
                <c:pt idx="6990">
                  <c:v>0.83750000000000002</c:v>
                </c:pt>
                <c:pt idx="6991">
                  <c:v>0.83760683760683796</c:v>
                </c:pt>
                <c:pt idx="6992">
                  <c:v>0.837662337662338</c:v>
                </c:pt>
                <c:pt idx="6993">
                  <c:v>0.83769633507853403</c:v>
                </c:pt>
                <c:pt idx="6994">
                  <c:v>0.83774834437086099</c:v>
                </c:pt>
                <c:pt idx="6995">
                  <c:v>0.83783783783783805</c:v>
                </c:pt>
                <c:pt idx="6996">
                  <c:v>0.83792048929663598</c:v>
                </c:pt>
                <c:pt idx="6997">
                  <c:v>0.83832335329341301</c:v>
                </c:pt>
                <c:pt idx="6998">
                  <c:v>0.83838383838383801</c:v>
                </c:pt>
                <c:pt idx="6999">
                  <c:v>0.83847980997624705</c:v>
                </c:pt>
                <c:pt idx="7000">
                  <c:v>0.83856502242152497</c:v>
                </c:pt>
                <c:pt idx="7001">
                  <c:v>0.83870967741935498</c:v>
                </c:pt>
                <c:pt idx="7002">
                  <c:v>0.83870967741935498</c:v>
                </c:pt>
                <c:pt idx="7003">
                  <c:v>0.83870967741935498</c:v>
                </c:pt>
                <c:pt idx="7004">
                  <c:v>0.83892617449664397</c:v>
                </c:pt>
                <c:pt idx="7005">
                  <c:v>0.83908045977011503</c:v>
                </c:pt>
                <c:pt idx="7006">
                  <c:v>0.839416058394161</c:v>
                </c:pt>
                <c:pt idx="7007">
                  <c:v>0.83957219251336901</c:v>
                </c:pt>
                <c:pt idx="7008">
                  <c:v>0.83957219251336901</c:v>
                </c:pt>
                <c:pt idx="7009">
                  <c:v>0.83963691376701999</c:v>
                </c:pt>
                <c:pt idx="7010">
                  <c:v>0.83969465648855002</c:v>
                </c:pt>
                <c:pt idx="7011">
                  <c:v>0.83974358974358998</c:v>
                </c:pt>
                <c:pt idx="7012">
                  <c:v>0.83982683982684003</c:v>
                </c:pt>
                <c:pt idx="7013">
                  <c:v>0.84</c:v>
                </c:pt>
                <c:pt idx="7014">
                  <c:v>0.84</c:v>
                </c:pt>
                <c:pt idx="7015">
                  <c:v>0.84</c:v>
                </c:pt>
                <c:pt idx="7016">
                  <c:v>0.84014869888475796</c:v>
                </c:pt>
                <c:pt idx="7017">
                  <c:v>0.84027777777777801</c:v>
                </c:pt>
                <c:pt idx="7018">
                  <c:v>0.84039087947882696</c:v>
                </c:pt>
                <c:pt idx="7019">
                  <c:v>0.840425531914894</c:v>
                </c:pt>
                <c:pt idx="7020">
                  <c:v>0.840501792114695</c:v>
                </c:pt>
                <c:pt idx="7021">
                  <c:v>0.84057971014492705</c:v>
                </c:pt>
                <c:pt idx="7022">
                  <c:v>0.84057971014492705</c:v>
                </c:pt>
                <c:pt idx="7023">
                  <c:v>0.84070796460177</c:v>
                </c:pt>
                <c:pt idx="7024">
                  <c:v>0.84076433121019101</c:v>
                </c:pt>
                <c:pt idx="7025">
                  <c:v>0.84076433121019101</c:v>
                </c:pt>
                <c:pt idx="7026">
                  <c:v>0.840816326530612</c:v>
                </c:pt>
                <c:pt idx="7027">
                  <c:v>0.84103720405862503</c:v>
                </c:pt>
                <c:pt idx="7028">
                  <c:v>0.841191066997519</c:v>
                </c:pt>
                <c:pt idx="7029">
                  <c:v>0.84121621621621601</c:v>
                </c:pt>
                <c:pt idx="7030">
                  <c:v>0.84125379170879699</c:v>
                </c:pt>
                <c:pt idx="7031">
                  <c:v>0.84126984126984095</c:v>
                </c:pt>
                <c:pt idx="7032">
                  <c:v>0.84126984126984095</c:v>
                </c:pt>
                <c:pt idx="7033">
                  <c:v>0.84164588528678297</c:v>
                </c:pt>
                <c:pt idx="7034">
                  <c:v>0.84172661870503596</c:v>
                </c:pt>
                <c:pt idx="7035">
                  <c:v>0.84181675802662503</c:v>
                </c:pt>
                <c:pt idx="7036">
                  <c:v>0.84189189189189195</c:v>
                </c:pt>
                <c:pt idx="7037">
                  <c:v>0.84210526315789502</c:v>
                </c:pt>
                <c:pt idx="7038">
                  <c:v>0.84210526315789502</c:v>
                </c:pt>
                <c:pt idx="7039">
                  <c:v>0.84210526315789502</c:v>
                </c:pt>
                <c:pt idx="7040">
                  <c:v>0.84210526315789502</c:v>
                </c:pt>
                <c:pt idx="7041">
                  <c:v>0.84210526315789502</c:v>
                </c:pt>
                <c:pt idx="7042">
                  <c:v>0.84210526315789502</c:v>
                </c:pt>
                <c:pt idx="7043">
                  <c:v>0.84210526315789502</c:v>
                </c:pt>
                <c:pt idx="7044">
                  <c:v>0.84217506631299699</c:v>
                </c:pt>
                <c:pt idx="7045">
                  <c:v>0.84246575342465801</c:v>
                </c:pt>
                <c:pt idx="7046">
                  <c:v>0.84251968503937003</c:v>
                </c:pt>
                <c:pt idx="7047">
                  <c:v>0.84263959390862897</c:v>
                </c:pt>
                <c:pt idx="7048">
                  <c:v>0.84269662921348298</c:v>
                </c:pt>
                <c:pt idx="7049">
                  <c:v>0.84269662921348298</c:v>
                </c:pt>
                <c:pt idx="7050">
                  <c:v>0.842741935483871</c:v>
                </c:pt>
                <c:pt idx="7051">
                  <c:v>0.84285714285714297</c:v>
                </c:pt>
                <c:pt idx="7052">
                  <c:v>0.84293193717277504</c:v>
                </c:pt>
                <c:pt idx="7053">
                  <c:v>0.84294871794871795</c:v>
                </c:pt>
                <c:pt idx="7054">
                  <c:v>0.84328358208955201</c:v>
                </c:pt>
                <c:pt idx="7055">
                  <c:v>0.84328358208955201</c:v>
                </c:pt>
                <c:pt idx="7056">
                  <c:v>0.84343434343434298</c:v>
                </c:pt>
                <c:pt idx="7057">
                  <c:v>0.84355828220858897</c:v>
                </c:pt>
                <c:pt idx="7058">
                  <c:v>0.84360189573459698</c:v>
                </c:pt>
                <c:pt idx="7059">
                  <c:v>0.84375</c:v>
                </c:pt>
                <c:pt idx="7060">
                  <c:v>0.84389140271493202</c:v>
                </c:pt>
                <c:pt idx="7061">
                  <c:v>0.84393063583814998</c:v>
                </c:pt>
                <c:pt idx="7062">
                  <c:v>0.844106463878327</c:v>
                </c:pt>
                <c:pt idx="7063">
                  <c:v>0.84412955465587003</c:v>
                </c:pt>
                <c:pt idx="7064">
                  <c:v>0.84415584415584399</c:v>
                </c:pt>
                <c:pt idx="7065">
                  <c:v>0.844327176781003</c:v>
                </c:pt>
                <c:pt idx="7066">
                  <c:v>0.84453781512604997</c:v>
                </c:pt>
                <c:pt idx="7067">
                  <c:v>0.84456928838951295</c:v>
                </c:pt>
                <c:pt idx="7068">
                  <c:v>0.84466019417475702</c:v>
                </c:pt>
                <c:pt idx="7069">
                  <c:v>0.84468524251805999</c:v>
                </c:pt>
                <c:pt idx="7070">
                  <c:v>0.84470588235294097</c:v>
                </c:pt>
                <c:pt idx="7071">
                  <c:v>0.84482758620689702</c:v>
                </c:pt>
                <c:pt idx="7072">
                  <c:v>0.84485981308411195</c:v>
                </c:pt>
                <c:pt idx="7073">
                  <c:v>0.84496124031007702</c:v>
                </c:pt>
                <c:pt idx="7074">
                  <c:v>0.84501845018450195</c:v>
                </c:pt>
                <c:pt idx="7075">
                  <c:v>0.84509202453987697</c:v>
                </c:pt>
                <c:pt idx="7076">
                  <c:v>0.84513274336283195</c:v>
                </c:pt>
                <c:pt idx="7077">
                  <c:v>0.84515195369030405</c:v>
                </c:pt>
                <c:pt idx="7078">
                  <c:v>0.84518828451882799</c:v>
                </c:pt>
                <c:pt idx="7079">
                  <c:v>0.84528301886792501</c:v>
                </c:pt>
                <c:pt idx="7080">
                  <c:v>0.84530386740331498</c:v>
                </c:pt>
                <c:pt idx="7081">
                  <c:v>0.84545454545454501</c:v>
                </c:pt>
                <c:pt idx="7082">
                  <c:v>0.84558823529411797</c:v>
                </c:pt>
                <c:pt idx="7083">
                  <c:v>0.845605700712589</c:v>
                </c:pt>
                <c:pt idx="7084">
                  <c:v>0.84562211981566804</c:v>
                </c:pt>
                <c:pt idx="7085">
                  <c:v>0.84563758389261701</c:v>
                </c:pt>
                <c:pt idx="7086">
                  <c:v>0.84571428571428597</c:v>
                </c:pt>
                <c:pt idx="7087">
                  <c:v>0.84582441113490403</c:v>
                </c:pt>
                <c:pt idx="7088">
                  <c:v>0.84615384615384603</c:v>
                </c:pt>
                <c:pt idx="7089">
                  <c:v>0.84634146341463401</c:v>
                </c:pt>
                <c:pt idx="7090">
                  <c:v>0.84645669291338599</c:v>
                </c:pt>
                <c:pt idx="7091">
                  <c:v>0.84659090909090895</c:v>
                </c:pt>
                <c:pt idx="7092">
                  <c:v>0.84688090737240096</c:v>
                </c:pt>
                <c:pt idx="7093">
                  <c:v>0.84701492537313405</c:v>
                </c:pt>
                <c:pt idx="7094">
                  <c:v>0.84713375796178303</c:v>
                </c:pt>
                <c:pt idx="7095">
                  <c:v>0.84713375796178303</c:v>
                </c:pt>
                <c:pt idx="7096">
                  <c:v>0.84722222222222199</c:v>
                </c:pt>
                <c:pt idx="7097">
                  <c:v>0.84722222222222199</c:v>
                </c:pt>
                <c:pt idx="7098">
                  <c:v>0.84732824427480902</c:v>
                </c:pt>
                <c:pt idx="7099">
                  <c:v>0.84740259740259705</c:v>
                </c:pt>
                <c:pt idx="7100">
                  <c:v>0.84741784037558698</c:v>
                </c:pt>
                <c:pt idx="7101">
                  <c:v>0.84745762711864403</c:v>
                </c:pt>
                <c:pt idx="7102">
                  <c:v>0.84756097560975596</c:v>
                </c:pt>
                <c:pt idx="7103">
                  <c:v>0.84761904761904805</c:v>
                </c:pt>
                <c:pt idx="7104">
                  <c:v>0.84771573604060901</c:v>
                </c:pt>
                <c:pt idx="7105">
                  <c:v>0.84788029925187003</c:v>
                </c:pt>
                <c:pt idx="7106">
                  <c:v>0.84792626728110598</c:v>
                </c:pt>
                <c:pt idx="7107">
                  <c:v>0.847942754919499</c:v>
                </c:pt>
                <c:pt idx="7108">
                  <c:v>0.84817813765182204</c:v>
                </c:pt>
                <c:pt idx="7109">
                  <c:v>0.84848484848484795</c:v>
                </c:pt>
                <c:pt idx="7110">
                  <c:v>0.84868421052631604</c:v>
                </c:pt>
                <c:pt idx="7111">
                  <c:v>0.84873949579831898</c:v>
                </c:pt>
                <c:pt idx="7112">
                  <c:v>0.84892086330935301</c:v>
                </c:pt>
                <c:pt idx="7113">
                  <c:v>0.84912280701754395</c:v>
                </c:pt>
                <c:pt idx="7114">
                  <c:v>0.84913793103448298</c:v>
                </c:pt>
                <c:pt idx="7115">
                  <c:v>0.84920634920634896</c:v>
                </c:pt>
                <c:pt idx="7116">
                  <c:v>0.84922394678492197</c:v>
                </c:pt>
                <c:pt idx="7117">
                  <c:v>0.84922394678492197</c:v>
                </c:pt>
                <c:pt idx="7118">
                  <c:v>0.84931506849315097</c:v>
                </c:pt>
                <c:pt idx="7119">
                  <c:v>0.84984025559105403</c:v>
                </c:pt>
                <c:pt idx="7120">
                  <c:v>0.85</c:v>
                </c:pt>
                <c:pt idx="7121">
                  <c:v>0.85</c:v>
                </c:pt>
                <c:pt idx="7122">
                  <c:v>0.85</c:v>
                </c:pt>
                <c:pt idx="7123">
                  <c:v>0.85</c:v>
                </c:pt>
                <c:pt idx="7124">
                  <c:v>0.85024154589372003</c:v>
                </c:pt>
                <c:pt idx="7125">
                  <c:v>0.85034013605442205</c:v>
                </c:pt>
                <c:pt idx="7126">
                  <c:v>0.85037878787878796</c:v>
                </c:pt>
                <c:pt idx="7127">
                  <c:v>0.85049019607843102</c:v>
                </c:pt>
                <c:pt idx="7128">
                  <c:v>0.85057471264367801</c:v>
                </c:pt>
                <c:pt idx="7129">
                  <c:v>0.85067873303167396</c:v>
                </c:pt>
                <c:pt idx="7130">
                  <c:v>0.85067873303167396</c:v>
                </c:pt>
                <c:pt idx="7131">
                  <c:v>0.85086342229199396</c:v>
                </c:pt>
                <c:pt idx="7132">
                  <c:v>0.85087719298245601</c:v>
                </c:pt>
                <c:pt idx="7133">
                  <c:v>0.85100286532951297</c:v>
                </c:pt>
                <c:pt idx="7134">
                  <c:v>0.85105067985166905</c:v>
                </c:pt>
                <c:pt idx="7135">
                  <c:v>0.85106382978723405</c:v>
                </c:pt>
                <c:pt idx="7136">
                  <c:v>0.85106382978723405</c:v>
                </c:pt>
                <c:pt idx="7137">
                  <c:v>0.85123966942148799</c:v>
                </c:pt>
                <c:pt idx="7138">
                  <c:v>0.85135135135135098</c:v>
                </c:pt>
                <c:pt idx="7139">
                  <c:v>0.85142857142857098</c:v>
                </c:pt>
                <c:pt idx="7140">
                  <c:v>0.85148514851485102</c:v>
                </c:pt>
                <c:pt idx="7141">
                  <c:v>0.851515151515152</c:v>
                </c:pt>
                <c:pt idx="7142">
                  <c:v>0.8515625</c:v>
                </c:pt>
                <c:pt idx="7143">
                  <c:v>0.85157699443413704</c:v>
                </c:pt>
                <c:pt idx="7144">
                  <c:v>0.85185185185185197</c:v>
                </c:pt>
                <c:pt idx="7145">
                  <c:v>0.85185185185185197</c:v>
                </c:pt>
                <c:pt idx="7146">
                  <c:v>0.85185185185185197</c:v>
                </c:pt>
                <c:pt idx="7147">
                  <c:v>0.85185185185185197</c:v>
                </c:pt>
                <c:pt idx="7148">
                  <c:v>0.85227272727272696</c:v>
                </c:pt>
                <c:pt idx="7149">
                  <c:v>0.85230769230769199</c:v>
                </c:pt>
                <c:pt idx="7150">
                  <c:v>0.85245901639344301</c:v>
                </c:pt>
                <c:pt idx="7151">
                  <c:v>0.85249457700650699</c:v>
                </c:pt>
                <c:pt idx="7152">
                  <c:v>0.85273159144893096</c:v>
                </c:pt>
                <c:pt idx="7153">
                  <c:v>0.85294117647058798</c:v>
                </c:pt>
                <c:pt idx="7154">
                  <c:v>0.85308056872037896</c:v>
                </c:pt>
                <c:pt idx="7155">
                  <c:v>0.85326086956521696</c:v>
                </c:pt>
                <c:pt idx="7156">
                  <c:v>0.85344827586206895</c:v>
                </c:pt>
                <c:pt idx="7157">
                  <c:v>0.85384615384615403</c:v>
                </c:pt>
                <c:pt idx="7158">
                  <c:v>0.85411140583554401</c:v>
                </c:pt>
                <c:pt idx="7159">
                  <c:v>0.85416666666666696</c:v>
                </c:pt>
                <c:pt idx="7160">
                  <c:v>0.854243542435424</c:v>
                </c:pt>
                <c:pt idx="7161">
                  <c:v>0.85426008968609901</c:v>
                </c:pt>
                <c:pt idx="7162">
                  <c:v>0.85436893203883502</c:v>
                </c:pt>
                <c:pt idx="7163">
                  <c:v>0.85454545454545405</c:v>
                </c:pt>
                <c:pt idx="7164">
                  <c:v>0.85454545454545405</c:v>
                </c:pt>
                <c:pt idx="7165">
                  <c:v>0.85454545454545405</c:v>
                </c:pt>
                <c:pt idx="7166">
                  <c:v>0.854771784232365</c:v>
                </c:pt>
                <c:pt idx="7167">
                  <c:v>0.85483870967741904</c:v>
                </c:pt>
                <c:pt idx="7168">
                  <c:v>0.85492227979274604</c:v>
                </c:pt>
                <c:pt idx="7169">
                  <c:v>0.855036855036855</c:v>
                </c:pt>
                <c:pt idx="7170">
                  <c:v>0.85507246376811596</c:v>
                </c:pt>
                <c:pt idx="7171">
                  <c:v>0.85507246376811596</c:v>
                </c:pt>
                <c:pt idx="7172">
                  <c:v>0.85517241379310305</c:v>
                </c:pt>
                <c:pt idx="7173">
                  <c:v>0.85526315789473695</c:v>
                </c:pt>
                <c:pt idx="7174">
                  <c:v>0.85526315789473695</c:v>
                </c:pt>
                <c:pt idx="7175">
                  <c:v>0.85546875</c:v>
                </c:pt>
                <c:pt idx="7176">
                  <c:v>0.85561497326203195</c:v>
                </c:pt>
                <c:pt idx="7177">
                  <c:v>0.85574572127139403</c:v>
                </c:pt>
                <c:pt idx="7178">
                  <c:v>0.855932203389831</c:v>
                </c:pt>
                <c:pt idx="7179">
                  <c:v>0.85599999999999998</c:v>
                </c:pt>
                <c:pt idx="7180">
                  <c:v>0.85599999999999998</c:v>
                </c:pt>
                <c:pt idx="7181">
                  <c:v>0.85611510791366896</c:v>
                </c:pt>
                <c:pt idx="7182">
                  <c:v>0.856194690265487</c:v>
                </c:pt>
                <c:pt idx="7183">
                  <c:v>0.85628742514970102</c:v>
                </c:pt>
                <c:pt idx="7184">
                  <c:v>0.856573705179283</c:v>
                </c:pt>
                <c:pt idx="7185">
                  <c:v>0.85660377358490603</c:v>
                </c:pt>
                <c:pt idx="7186">
                  <c:v>0.85668789808917201</c:v>
                </c:pt>
                <c:pt idx="7187">
                  <c:v>0.85679611650485399</c:v>
                </c:pt>
                <c:pt idx="7188">
                  <c:v>0.85714285714285698</c:v>
                </c:pt>
                <c:pt idx="7189">
                  <c:v>0.85714285714285698</c:v>
                </c:pt>
                <c:pt idx="7190">
                  <c:v>0.85714285714285698</c:v>
                </c:pt>
                <c:pt idx="7191">
                  <c:v>0.85714285714285698</c:v>
                </c:pt>
                <c:pt idx="7192">
                  <c:v>0.85714285714285698</c:v>
                </c:pt>
                <c:pt idx="7193">
                  <c:v>0.85714285714285698</c:v>
                </c:pt>
                <c:pt idx="7194">
                  <c:v>0.85714285714285698</c:v>
                </c:pt>
                <c:pt idx="7195">
                  <c:v>0.85714285714285698</c:v>
                </c:pt>
                <c:pt idx="7196">
                  <c:v>0.85714285714285698</c:v>
                </c:pt>
                <c:pt idx="7197">
                  <c:v>0.85714285714285698</c:v>
                </c:pt>
                <c:pt idx="7198">
                  <c:v>0.85714285714285698</c:v>
                </c:pt>
                <c:pt idx="7199">
                  <c:v>0.85750000000000004</c:v>
                </c:pt>
                <c:pt idx="7200">
                  <c:v>0.85766423357664201</c:v>
                </c:pt>
                <c:pt idx="7201">
                  <c:v>0.85770750988142297</c:v>
                </c:pt>
                <c:pt idx="7202">
                  <c:v>0.85781990521327001</c:v>
                </c:pt>
                <c:pt idx="7203">
                  <c:v>0.85786802030456799</c:v>
                </c:pt>
                <c:pt idx="7204">
                  <c:v>0.85798816568047298</c:v>
                </c:pt>
                <c:pt idx="7205">
                  <c:v>0.85802469135802495</c:v>
                </c:pt>
                <c:pt idx="7206">
                  <c:v>0.85806451612903201</c:v>
                </c:pt>
                <c:pt idx="7207">
                  <c:v>0.85809312638580904</c:v>
                </c:pt>
                <c:pt idx="7208">
                  <c:v>0.858108108108108</c:v>
                </c:pt>
                <c:pt idx="7209">
                  <c:v>0.85815602836879401</c:v>
                </c:pt>
                <c:pt idx="7210">
                  <c:v>0.85833333333333295</c:v>
                </c:pt>
                <c:pt idx="7211">
                  <c:v>0.85835095137420703</c:v>
                </c:pt>
                <c:pt idx="7212">
                  <c:v>0.85875706214689296</c:v>
                </c:pt>
                <c:pt idx="7213">
                  <c:v>0.85887096774193505</c:v>
                </c:pt>
                <c:pt idx="7214">
                  <c:v>0.85887096774193505</c:v>
                </c:pt>
                <c:pt idx="7215">
                  <c:v>0.85897435897435903</c:v>
                </c:pt>
                <c:pt idx="7216">
                  <c:v>0.85915492957746498</c:v>
                </c:pt>
                <c:pt idx="7217">
                  <c:v>0.85950413223140498</c:v>
                </c:pt>
                <c:pt idx="7218">
                  <c:v>0.859649122807017</c:v>
                </c:pt>
                <c:pt idx="7219">
                  <c:v>0.859649122807017</c:v>
                </c:pt>
                <c:pt idx="7220">
                  <c:v>0.85984848484848497</c:v>
                </c:pt>
                <c:pt idx="7221">
                  <c:v>0.86</c:v>
                </c:pt>
                <c:pt idx="7222">
                  <c:v>0.86021505376344098</c:v>
                </c:pt>
                <c:pt idx="7223">
                  <c:v>0.86057692307692302</c:v>
                </c:pt>
                <c:pt idx="7224">
                  <c:v>0.86080586080586097</c:v>
                </c:pt>
                <c:pt idx="7225">
                  <c:v>0.860869565217391</c:v>
                </c:pt>
                <c:pt idx="7226">
                  <c:v>0.86092715231788097</c:v>
                </c:pt>
                <c:pt idx="7227">
                  <c:v>0.86092715231788097</c:v>
                </c:pt>
                <c:pt idx="7228">
                  <c:v>0.86111111111111105</c:v>
                </c:pt>
                <c:pt idx="7229">
                  <c:v>0.86111111111111105</c:v>
                </c:pt>
                <c:pt idx="7230">
                  <c:v>0.86127167630057799</c:v>
                </c:pt>
                <c:pt idx="7231">
                  <c:v>0.86138613861386104</c:v>
                </c:pt>
                <c:pt idx="7232">
                  <c:v>0.861618798955613</c:v>
                </c:pt>
                <c:pt idx="7233">
                  <c:v>0.86170212765957399</c:v>
                </c:pt>
                <c:pt idx="7234">
                  <c:v>0.86175115207373298</c:v>
                </c:pt>
                <c:pt idx="7235">
                  <c:v>0.861788617886179</c:v>
                </c:pt>
                <c:pt idx="7236">
                  <c:v>0.861788617886179</c:v>
                </c:pt>
                <c:pt idx="7237">
                  <c:v>0.861788617886179</c:v>
                </c:pt>
                <c:pt idx="7238">
                  <c:v>0.86184210526315796</c:v>
                </c:pt>
                <c:pt idx="7239">
                  <c:v>0.86186186186186198</c:v>
                </c:pt>
                <c:pt idx="7240">
                  <c:v>0.86206896551724099</c:v>
                </c:pt>
                <c:pt idx="7241">
                  <c:v>0.862222222222222</c:v>
                </c:pt>
                <c:pt idx="7242">
                  <c:v>0.86232558139534898</c:v>
                </c:pt>
                <c:pt idx="7243">
                  <c:v>0.86238532110091703</c:v>
                </c:pt>
                <c:pt idx="7244">
                  <c:v>0.86248561565017301</c:v>
                </c:pt>
                <c:pt idx="7245">
                  <c:v>0.86250000000000004</c:v>
                </c:pt>
                <c:pt idx="7246">
                  <c:v>0.86259541984732802</c:v>
                </c:pt>
                <c:pt idx="7247">
                  <c:v>0.86259541984732802</c:v>
                </c:pt>
                <c:pt idx="7248">
                  <c:v>0.86283185840707999</c:v>
                </c:pt>
                <c:pt idx="7249">
                  <c:v>0.86285714285714299</c:v>
                </c:pt>
                <c:pt idx="7250">
                  <c:v>0.863125638406537</c:v>
                </c:pt>
                <c:pt idx="7251">
                  <c:v>0.86324786324786296</c:v>
                </c:pt>
                <c:pt idx="7252">
                  <c:v>0.86330935251798602</c:v>
                </c:pt>
                <c:pt idx="7253">
                  <c:v>0.86363636363636398</c:v>
                </c:pt>
                <c:pt idx="7254">
                  <c:v>0.86363636363636398</c:v>
                </c:pt>
                <c:pt idx="7255">
                  <c:v>0.86363636363636398</c:v>
                </c:pt>
                <c:pt idx="7256">
                  <c:v>0.86363636363636398</c:v>
                </c:pt>
                <c:pt idx="7257">
                  <c:v>0.86363636363636398</c:v>
                </c:pt>
                <c:pt idx="7258">
                  <c:v>0.86363636363636398</c:v>
                </c:pt>
                <c:pt idx="7259">
                  <c:v>0.86363636363636398</c:v>
                </c:pt>
                <c:pt idx="7260">
                  <c:v>0.86372360844529705</c:v>
                </c:pt>
                <c:pt idx="7261">
                  <c:v>0.863849765258216</c:v>
                </c:pt>
                <c:pt idx="7262">
                  <c:v>0.86394557823129203</c:v>
                </c:pt>
                <c:pt idx="7263">
                  <c:v>0.86399999999999999</c:v>
                </c:pt>
                <c:pt idx="7264">
                  <c:v>0.86411149825783995</c:v>
                </c:pt>
                <c:pt idx="7265">
                  <c:v>0.86440677966101698</c:v>
                </c:pt>
                <c:pt idx="7266">
                  <c:v>0.86440677966101698</c:v>
                </c:pt>
                <c:pt idx="7267">
                  <c:v>0.86451612903225805</c:v>
                </c:pt>
                <c:pt idx="7268">
                  <c:v>0.86458333333333304</c:v>
                </c:pt>
                <c:pt idx="7269">
                  <c:v>0.86458333333333304</c:v>
                </c:pt>
                <c:pt idx="7270">
                  <c:v>0.86468646864686505</c:v>
                </c:pt>
                <c:pt idx="7271">
                  <c:v>0.86491935483870996</c:v>
                </c:pt>
                <c:pt idx="7272">
                  <c:v>0.86511627906976696</c:v>
                </c:pt>
                <c:pt idx="7273">
                  <c:v>0.86516853932584303</c:v>
                </c:pt>
                <c:pt idx="7274">
                  <c:v>0.86516853932584303</c:v>
                </c:pt>
                <c:pt idx="7275">
                  <c:v>0.86538461538461497</c:v>
                </c:pt>
                <c:pt idx="7276">
                  <c:v>0.86538461538461497</c:v>
                </c:pt>
                <c:pt idx="7277">
                  <c:v>0.86554621848739499</c:v>
                </c:pt>
                <c:pt idx="7278">
                  <c:v>0.865728900255754</c:v>
                </c:pt>
                <c:pt idx="7279">
                  <c:v>0.865771812080537</c:v>
                </c:pt>
                <c:pt idx="7280">
                  <c:v>0.86578171091445399</c:v>
                </c:pt>
                <c:pt idx="7281">
                  <c:v>0.865979381443299</c:v>
                </c:pt>
                <c:pt idx="7282">
                  <c:v>0.86627906976744196</c:v>
                </c:pt>
                <c:pt idx="7283">
                  <c:v>0.86637931034482796</c:v>
                </c:pt>
                <c:pt idx="7284">
                  <c:v>0.86666666666666703</c:v>
                </c:pt>
                <c:pt idx="7285">
                  <c:v>0.86666666666666703</c:v>
                </c:pt>
                <c:pt idx="7286">
                  <c:v>0.86666666666666703</c:v>
                </c:pt>
                <c:pt idx="7287">
                  <c:v>0.86666666666666703</c:v>
                </c:pt>
                <c:pt idx="7288">
                  <c:v>0.86682808716707005</c:v>
                </c:pt>
                <c:pt idx="7289">
                  <c:v>0.866863905325444</c:v>
                </c:pt>
                <c:pt idx="7290">
                  <c:v>0.86688311688311703</c:v>
                </c:pt>
                <c:pt idx="7291">
                  <c:v>0.86734693877550995</c:v>
                </c:pt>
                <c:pt idx="7292">
                  <c:v>0.86742424242424199</c:v>
                </c:pt>
                <c:pt idx="7293">
                  <c:v>0.86752136752136699</c:v>
                </c:pt>
                <c:pt idx="7294">
                  <c:v>0.86764705882352899</c:v>
                </c:pt>
                <c:pt idx="7295">
                  <c:v>0.86773255813953498</c:v>
                </c:pt>
                <c:pt idx="7296">
                  <c:v>0.86784741144414201</c:v>
                </c:pt>
                <c:pt idx="7297">
                  <c:v>0.86786786786786796</c:v>
                </c:pt>
                <c:pt idx="7298">
                  <c:v>0.86805555555555602</c:v>
                </c:pt>
                <c:pt idx="7299">
                  <c:v>0.86809815950920199</c:v>
                </c:pt>
                <c:pt idx="7300">
                  <c:v>0.86821705426356599</c:v>
                </c:pt>
                <c:pt idx="7301">
                  <c:v>0.86830357142857095</c:v>
                </c:pt>
                <c:pt idx="7302">
                  <c:v>0.86896551724137905</c:v>
                </c:pt>
                <c:pt idx="7303">
                  <c:v>0.86912751677852296</c:v>
                </c:pt>
                <c:pt idx="7304">
                  <c:v>0.86915887850467299</c:v>
                </c:pt>
                <c:pt idx="7305">
                  <c:v>0.86934673366834203</c:v>
                </c:pt>
                <c:pt idx="7306">
                  <c:v>0.87012987012986998</c:v>
                </c:pt>
                <c:pt idx="7307">
                  <c:v>0.87022900763358801</c:v>
                </c:pt>
                <c:pt idx="7308">
                  <c:v>0.87037037037037002</c:v>
                </c:pt>
                <c:pt idx="7309">
                  <c:v>0.87043189368770801</c:v>
                </c:pt>
                <c:pt idx="7310">
                  <c:v>0.87052341597796101</c:v>
                </c:pt>
                <c:pt idx="7311">
                  <c:v>0.87078651685393305</c:v>
                </c:pt>
                <c:pt idx="7312">
                  <c:v>0.87096774193548399</c:v>
                </c:pt>
                <c:pt idx="7313">
                  <c:v>0.87096774193548399</c:v>
                </c:pt>
                <c:pt idx="7314">
                  <c:v>0.87114845938375296</c:v>
                </c:pt>
                <c:pt idx="7315">
                  <c:v>0.871244635193133</c:v>
                </c:pt>
                <c:pt idx="7316">
                  <c:v>0.871244635193133</c:v>
                </c:pt>
                <c:pt idx="7317">
                  <c:v>0.87134502923976598</c:v>
                </c:pt>
                <c:pt idx="7318">
                  <c:v>0.87148594377510002</c:v>
                </c:pt>
                <c:pt idx="7319">
                  <c:v>0.87165775401069501</c:v>
                </c:pt>
                <c:pt idx="7320">
                  <c:v>0.872</c:v>
                </c:pt>
                <c:pt idx="7321">
                  <c:v>0.87203791469194303</c:v>
                </c:pt>
                <c:pt idx="7322">
                  <c:v>0.87207872078720805</c:v>
                </c:pt>
                <c:pt idx="7323">
                  <c:v>0.87215411558668998</c:v>
                </c:pt>
                <c:pt idx="7324">
                  <c:v>0.87218045112781895</c:v>
                </c:pt>
                <c:pt idx="7325">
                  <c:v>0.87225548902195604</c:v>
                </c:pt>
                <c:pt idx="7326">
                  <c:v>0.872274143302181</c:v>
                </c:pt>
                <c:pt idx="7327">
                  <c:v>0.87246963562752999</c:v>
                </c:pt>
                <c:pt idx="7328">
                  <c:v>0.87261146496815301</c:v>
                </c:pt>
                <c:pt idx="7329">
                  <c:v>0.87261146496815301</c:v>
                </c:pt>
                <c:pt idx="7330">
                  <c:v>0.87301587301587302</c:v>
                </c:pt>
                <c:pt idx="7331">
                  <c:v>0.87305699481865295</c:v>
                </c:pt>
                <c:pt idx="7332">
                  <c:v>0.87317073170731696</c:v>
                </c:pt>
                <c:pt idx="7333">
                  <c:v>0.873417721518987</c:v>
                </c:pt>
                <c:pt idx="7334">
                  <c:v>0.87356321839080497</c:v>
                </c:pt>
                <c:pt idx="7335">
                  <c:v>0.87360594795539004</c:v>
                </c:pt>
                <c:pt idx="7336">
                  <c:v>0.87368421052631595</c:v>
                </c:pt>
                <c:pt idx="7337">
                  <c:v>0.87368421052631595</c:v>
                </c:pt>
                <c:pt idx="7338">
                  <c:v>0.875</c:v>
                </c:pt>
                <c:pt idx="7339">
                  <c:v>0.875</c:v>
                </c:pt>
                <c:pt idx="7340">
                  <c:v>0.875</c:v>
                </c:pt>
                <c:pt idx="7341">
                  <c:v>0.875</c:v>
                </c:pt>
                <c:pt idx="7342">
                  <c:v>0.875</c:v>
                </c:pt>
                <c:pt idx="7343">
                  <c:v>0.875</c:v>
                </c:pt>
                <c:pt idx="7344">
                  <c:v>0.875</c:v>
                </c:pt>
                <c:pt idx="7345">
                  <c:v>0.875</c:v>
                </c:pt>
                <c:pt idx="7346">
                  <c:v>0.87557603686635899</c:v>
                </c:pt>
                <c:pt idx="7347">
                  <c:v>0.87575757575757596</c:v>
                </c:pt>
                <c:pt idx="7348">
                  <c:v>0.87586206896551699</c:v>
                </c:pt>
                <c:pt idx="7349">
                  <c:v>0.87588652482269502</c:v>
                </c:pt>
                <c:pt idx="7350">
                  <c:v>0.87589498806682597</c:v>
                </c:pt>
                <c:pt idx="7351">
                  <c:v>0.87596899224806202</c:v>
                </c:pt>
                <c:pt idx="7352">
                  <c:v>0.87598944591029004</c:v>
                </c:pt>
                <c:pt idx="7353">
                  <c:v>0.87610619469026496</c:v>
                </c:pt>
                <c:pt idx="7354">
                  <c:v>0.87617260787992501</c:v>
                </c:pt>
                <c:pt idx="7355">
                  <c:v>0.87619047619047596</c:v>
                </c:pt>
                <c:pt idx="7356">
                  <c:v>0.87640449438202195</c:v>
                </c:pt>
                <c:pt idx="7357">
                  <c:v>0.87654320987654299</c:v>
                </c:pt>
                <c:pt idx="7358">
                  <c:v>0.87657784011220197</c:v>
                </c:pt>
                <c:pt idx="7359">
                  <c:v>0.87687687687687699</c:v>
                </c:pt>
                <c:pt idx="7360">
                  <c:v>0.87728026533996695</c:v>
                </c:pt>
                <c:pt idx="7361">
                  <c:v>0.87735849056603799</c:v>
                </c:pt>
                <c:pt idx="7362">
                  <c:v>0.87735849056603799</c:v>
                </c:pt>
                <c:pt idx="7363">
                  <c:v>0.87735849056603799</c:v>
                </c:pt>
                <c:pt idx="7364">
                  <c:v>0.87755102040816302</c:v>
                </c:pt>
                <c:pt idx="7365">
                  <c:v>0.87755102040816302</c:v>
                </c:pt>
                <c:pt idx="7366">
                  <c:v>0.87776141384388795</c:v>
                </c:pt>
                <c:pt idx="7367">
                  <c:v>0.879120879120879</c:v>
                </c:pt>
                <c:pt idx="7368">
                  <c:v>0.87920792079207899</c:v>
                </c:pt>
                <c:pt idx="7369">
                  <c:v>0.87924528301886795</c:v>
                </c:pt>
                <c:pt idx="7370">
                  <c:v>0.87969446212603397</c:v>
                </c:pt>
                <c:pt idx="7371">
                  <c:v>0.87980769230769196</c:v>
                </c:pt>
                <c:pt idx="7372">
                  <c:v>0.88</c:v>
                </c:pt>
                <c:pt idx="7373">
                  <c:v>0.88034188034187999</c:v>
                </c:pt>
                <c:pt idx="7374">
                  <c:v>0.88043478260869601</c:v>
                </c:pt>
                <c:pt idx="7375">
                  <c:v>0.88043478260869601</c:v>
                </c:pt>
                <c:pt idx="7376">
                  <c:v>0.88051948051948004</c:v>
                </c:pt>
                <c:pt idx="7377">
                  <c:v>0.88089887640449405</c:v>
                </c:pt>
                <c:pt idx="7378">
                  <c:v>0.88118811881188097</c:v>
                </c:pt>
                <c:pt idx="7379">
                  <c:v>0.88130563798219597</c:v>
                </c:pt>
                <c:pt idx="7380">
                  <c:v>0.88135593220339004</c:v>
                </c:pt>
                <c:pt idx="7381">
                  <c:v>0.88151658767772501</c:v>
                </c:pt>
                <c:pt idx="7382">
                  <c:v>0.88172043010752699</c:v>
                </c:pt>
                <c:pt idx="7383">
                  <c:v>0.88181818181818195</c:v>
                </c:pt>
                <c:pt idx="7384">
                  <c:v>0.88196958725561203</c:v>
                </c:pt>
                <c:pt idx="7385">
                  <c:v>0.88235294117647101</c:v>
                </c:pt>
                <c:pt idx="7386">
                  <c:v>0.88235294117647101</c:v>
                </c:pt>
                <c:pt idx="7387">
                  <c:v>0.88235294117647101</c:v>
                </c:pt>
                <c:pt idx="7388">
                  <c:v>0.88235294117647101</c:v>
                </c:pt>
                <c:pt idx="7389">
                  <c:v>0.88235294117647101</c:v>
                </c:pt>
                <c:pt idx="7390">
                  <c:v>0.88259109311740902</c:v>
                </c:pt>
                <c:pt idx="7391">
                  <c:v>0.8828125</c:v>
                </c:pt>
                <c:pt idx="7392">
                  <c:v>0.88297872340425498</c:v>
                </c:pt>
                <c:pt idx="7393">
                  <c:v>0.88297872340425498</c:v>
                </c:pt>
                <c:pt idx="7394">
                  <c:v>0.88297872340425498</c:v>
                </c:pt>
                <c:pt idx="7395">
                  <c:v>0.88311688311688297</c:v>
                </c:pt>
                <c:pt idx="7396">
                  <c:v>0.88328075709779197</c:v>
                </c:pt>
                <c:pt idx="7397">
                  <c:v>0.88372093023255804</c:v>
                </c:pt>
                <c:pt idx="7398">
                  <c:v>0.88372093023255804</c:v>
                </c:pt>
                <c:pt idx="7399">
                  <c:v>0.88372093023255804</c:v>
                </c:pt>
                <c:pt idx="7400">
                  <c:v>0.88383838383838398</c:v>
                </c:pt>
                <c:pt idx="7401">
                  <c:v>0.88405797101449302</c:v>
                </c:pt>
                <c:pt idx="7402">
                  <c:v>0.88461538461538503</c:v>
                </c:pt>
                <c:pt idx="7403">
                  <c:v>0.88461538461538503</c:v>
                </c:pt>
                <c:pt idx="7404">
                  <c:v>0.88461538461538503</c:v>
                </c:pt>
                <c:pt idx="7405">
                  <c:v>0.88486842105263097</c:v>
                </c:pt>
                <c:pt idx="7406">
                  <c:v>0.88524590163934402</c:v>
                </c:pt>
                <c:pt idx="7407">
                  <c:v>0.88527918781725901</c:v>
                </c:pt>
                <c:pt idx="7408">
                  <c:v>0.88530465949820802</c:v>
                </c:pt>
                <c:pt idx="7409">
                  <c:v>0.88530465949820802</c:v>
                </c:pt>
                <c:pt idx="7410">
                  <c:v>0.88541666666666696</c:v>
                </c:pt>
                <c:pt idx="7411">
                  <c:v>0.88577154308617201</c:v>
                </c:pt>
                <c:pt idx="7412">
                  <c:v>0.88582677165354295</c:v>
                </c:pt>
                <c:pt idx="7413">
                  <c:v>0.886075949367088</c:v>
                </c:pt>
                <c:pt idx="7414">
                  <c:v>0.88636363636363602</c:v>
                </c:pt>
                <c:pt idx="7415">
                  <c:v>0.88649425287356298</c:v>
                </c:pt>
                <c:pt idx="7416">
                  <c:v>0.88659793814432997</c:v>
                </c:pt>
                <c:pt idx="7417">
                  <c:v>0.88679245283018904</c:v>
                </c:pt>
                <c:pt idx="7418">
                  <c:v>0.88682170542635697</c:v>
                </c:pt>
                <c:pt idx="7419">
                  <c:v>0.88695652173912998</c:v>
                </c:pt>
                <c:pt idx="7420">
                  <c:v>0.88717948717948703</c:v>
                </c:pt>
                <c:pt idx="7421">
                  <c:v>0.88724035608308605</c:v>
                </c:pt>
                <c:pt idx="7422">
                  <c:v>0.88744588744588704</c:v>
                </c:pt>
                <c:pt idx="7423">
                  <c:v>0.887596899224806</c:v>
                </c:pt>
                <c:pt idx="7424">
                  <c:v>0.88775510204081598</c:v>
                </c:pt>
                <c:pt idx="7425">
                  <c:v>0.88775510204081598</c:v>
                </c:pt>
                <c:pt idx="7426">
                  <c:v>0.88782816229116901</c:v>
                </c:pt>
                <c:pt idx="7427">
                  <c:v>0.88828337874659402</c:v>
                </c:pt>
                <c:pt idx="7428">
                  <c:v>0.88888888888888895</c:v>
                </c:pt>
                <c:pt idx="7429">
                  <c:v>0.88888888888888895</c:v>
                </c:pt>
                <c:pt idx="7430">
                  <c:v>0.88965517241379299</c:v>
                </c:pt>
                <c:pt idx="7431">
                  <c:v>0.89032258064516101</c:v>
                </c:pt>
                <c:pt idx="7432">
                  <c:v>0.89121338912133896</c:v>
                </c:pt>
                <c:pt idx="7433">
                  <c:v>0.89130434782608703</c:v>
                </c:pt>
                <c:pt idx="7434">
                  <c:v>0.89145907473309605</c:v>
                </c:pt>
                <c:pt idx="7435">
                  <c:v>0.89179755671902305</c:v>
                </c:pt>
                <c:pt idx="7436">
                  <c:v>0.89200000000000002</c:v>
                </c:pt>
                <c:pt idx="7437">
                  <c:v>0.89200000000000002</c:v>
                </c:pt>
                <c:pt idx="7438">
                  <c:v>0.89204545454545503</c:v>
                </c:pt>
                <c:pt idx="7439">
                  <c:v>0.89215686274509798</c:v>
                </c:pt>
                <c:pt idx="7440">
                  <c:v>0.89300411522633705</c:v>
                </c:pt>
                <c:pt idx="7441">
                  <c:v>0.89300998573466495</c:v>
                </c:pt>
                <c:pt idx="7442">
                  <c:v>0.89323843416370097</c:v>
                </c:pt>
                <c:pt idx="7443">
                  <c:v>0.89361702127659604</c:v>
                </c:pt>
                <c:pt idx="7444">
                  <c:v>0.89420654911838804</c:v>
                </c:pt>
                <c:pt idx="7445">
                  <c:v>0.89423076923076905</c:v>
                </c:pt>
                <c:pt idx="7446">
                  <c:v>0.89436619718309895</c:v>
                </c:pt>
                <c:pt idx="7447">
                  <c:v>0.89445910290237496</c:v>
                </c:pt>
                <c:pt idx="7448">
                  <c:v>0.894495412844037</c:v>
                </c:pt>
                <c:pt idx="7449">
                  <c:v>0.89473684210526305</c:v>
                </c:pt>
                <c:pt idx="7450">
                  <c:v>0.89552238805970097</c:v>
                </c:pt>
                <c:pt idx="7451">
                  <c:v>0.89552238805970097</c:v>
                </c:pt>
                <c:pt idx="7452">
                  <c:v>0.89576547231270298</c:v>
                </c:pt>
                <c:pt idx="7453">
                  <c:v>0.89583333333333304</c:v>
                </c:pt>
                <c:pt idx="7454">
                  <c:v>0.89595375722543402</c:v>
                </c:pt>
                <c:pt idx="7455">
                  <c:v>0.89622641509433998</c:v>
                </c:pt>
                <c:pt idx="7456">
                  <c:v>0.896321070234114</c:v>
                </c:pt>
                <c:pt idx="7457">
                  <c:v>0.89647577092510999</c:v>
                </c:pt>
                <c:pt idx="7458">
                  <c:v>0.89720998531571206</c:v>
                </c:pt>
                <c:pt idx="7459">
                  <c:v>0.89733840304182499</c:v>
                </c:pt>
                <c:pt idx="7460">
                  <c:v>0.89743589743589702</c:v>
                </c:pt>
                <c:pt idx="7461">
                  <c:v>0.89743589743589702</c:v>
                </c:pt>
                <c:pt idx="7462">
                  <c:v>0.89767441860465103</c:v>
                </c:pt>
                <c:pt idx="7463">
                  <c:v>0.89772727272727304</c:v>
                </c:pt>
                <c:pt idx="7464">
                  <c:v>0.897887323943662</c:v>
                </c:pt>
                <c:pt idx="7465">
                  <c:v>0.89795918367346905</c:v>
                </c:pt>
                <c:pt idx="7466">
                  <c:v>0.89795918367346905</c:v>
                </c:pt>
                <c:pt idx="7467">
                  <c:v>0.89795918367346905</c:v>
                </c:pt>
                <c:pt idx="7468">
                  <c:v>0.89800000000000002</c:v>
                </c:pt>
                <c:pt idx="7469">
                  <c:v>0.89805825242718396</c:v>
                </c:pt>
                <c:pt idx="7470">
                  <c:v>0.89835164835164805</c:v>
                </c:pt>
                <c:pt idx="7471">
                  <c:v>0.89837398373983701</c:v>
                </c:pt>
                <c:pt idx="7472">
                  <c:v>0.89839572192513395</c:v>
                </c:pt>
                <c:pt idx="7473">
                  <c:v>0.89855072463768104</c:v>
                </c:pt>
                <c:pt idx="7474">
                  <c:v>0.89898989898989901</c:v>
                </c:pt>
                <c:pt idx="7475">
                  <c:v>0.89915966386554602</c:v>
                </c:pt>
                <c:pt idx="7476">
                  <c:v>0.89918256130790197</c:v>
                </c:pt>
                <c:pt idx="7477">
                  <c:v>0.89922480620154999</c:v>
                </c:pt>
                <c:pt idx="7478">
                  <c:v>0.9</c:v>
                </c:pt>
                <c:pt idx="7479">
                  <c:v>0.9</c:v>
                </c:pt>
                <c:pt idx="7480">
                  <c:v>0.9</c:v>
                </c:pt>
                <c:pt idx="7481">
                  <c:v>0.90046296296296302</c:v>
                </c:pt>
                <c:pt idx="7482">
                  <c:v>0.90052356020942403</c:v>
                </c:pt>
                <c:pt idx="7483">
                  <c:v>0.900709219858156</c:v>
                </c:pt>
                <c:pt idx="7484">
                  <c:v>0.90092879256965896</c:v>
                </c:pt>
                <c:pt idx="7485">
                  <c:v>0.90099009900990101</c:v>
                </c:pt>
                <c:pt idx="7486">
                  <c:v>0.90114464099895897</c:v>
                </c:pt>
                <c:pt idx="7487">
                  <c:v>0.90118577075098805</c:v>
                </c:pt>
                <c:pt idx="7488">
                  <c:v>0.90119760479041899</c:v>
                </c:pt>
                <c:pt idx="7489">
                  <c:v>0.90123456790123502</c:v>
                </c:pt>
                <c:pt idx="7490">
                  <c:v>0.90133333333333299</c:v>
                </c:pt>
                <c:pt idx="7491">
                  <c:v>0.90166414523449301</c:v>
                </c:pt>
                <c:pt idx="7492">
                  <c:v>0.90186915887850505</c:v>
                </c:pt>
                <c:pt idx="7493">
                  <c:v>0.90199479618386802</c:v>
                </c:pt>
                <c:pt idx="7494">
                  <c:v>0.90277777777777801</c:v>
                </c:pt>
                <c:pt idx="7495">
                  <c:v>0.90291262135922301</c:v>
                </c:pt>
                <c:pt idx="7496">
                  <c:v>0.90291262135922301</c:v>
                </c:pt>
                <c:pt idx="7497">
                  <c:v>0.90322580645161299</c:v>
                </c:pt>
                <c:pt idx="7498">
                  <c:v>0.90322580645161299</c:v>
                </c:pt>
                <c:pt idx="7499">
                  <c:v>0.90329670329670297</c:v>
                </c:pt>
                <c:pt idx="7500">
                  <c:v>0.90361445783132499</c:v>
                </c:pt>
                <c:pt idx="7501">
                  <c:v>0.90400000000000003</c:v>
                </c:pt>
                <c:pt idx="7502">
                  <c:v>0.904371584699454</c:v>
                </c:pt>
                <c:pt idx="7503">
                  <c:v>0.90476190476190499</c:v>
                </c:pt>
                <c:pt idx="7504">
                  <c:v>0.90476190476190499</c:v>
                </c:pt>
                <c:pt idx="7505">
                  <c:v>0.90476190476190499</c:v>
                </c:pt>
                <c:pt idx="7506">
                  <c:v>0.90526315789473699</c:v>
                </c:pt>
                <c:pt idx="7507">
                  <c:v>0.90526315789473699</c:v>
                </c:pt>
                <c:pt idx="7508">
                  <c:v>0.90532544378698199</c:v>
                </c:pt>
                <c:pt idx="7509">
                  <c:v>0.90588235294117603</c:v>
                </c:pt>
                <c:pt idx="7510">
                  <c:v>0.90594059405940597</c:v>
                </c:pt>
                <c:pt idx="7511">
                  <c:v>0.90625</c:v>
                </c:pt>
                <c:pt idx="7512">
                  <c:v>0.90689655172413797</c:v>
                </c:pt>
                <c:pt idx="7513">
                  <c:v>0.907407407407407</c:v>
                </c:pt>
                <c:pt idx="7514">
                  <c:v>0.90769230769230802</c:v>
                </c:pt>
                <c:pt idx="7515">
                  <c:v>0.90783410138248799</c:v>
                </c:pt>
                <c:pt idx="7516">
                  <c:v>0.90789473684210498</c:v>
                </c:pt>
                <c:pt idx="7517">
                  <c:v>0.90789473684210498</c:v>
                </c:pt>
                <c:pt idx="7518">
                  <c:v>0.908119658119658</c:v>
                </c:pt>
                <c:pt idx="7519">
                  <c:v>0.90848214285714302</c:v>
                </c:pt>
                <c:pt idx="7520">
                  <c:v>0.90983606557376995</c:v>
                </c:pt>
                <c:pt idx="7521">
                  <c:v>0.91009174311926599</c:v>
                </c:pt>
                <c:pt idx="7522">
                  <c:v>0.91044776119403004</c:v>
                </c:pt>
                <c:pt idx="7523">
                  <c:v>0.91089108910891103</c:v>
                </c:pt>
                <c:pt idx="7524">
                  <c:v>0.911392405063291</c:v>
                </c:pt>
                <c:pt idx="7525">
                  <c:v>0.91155234657039697</c:v>
                </c:pt>
                <c:pt idx="7526">
                  <c:v>0.91167192429022104</c:v>
                </c:pt>
                <c:pt idx="7527">
                  <c:v>0.91176470588235303</c:v>
                </c:pt>
                <c:pt idx="7528">
                  <c:v>0.91208791208791196</c:v>
                </c:pt>
                <c:pt idx="7529">
                  <c:v>0.91411042944785303</c:v>
                </c:pt>
                <c:pt idx="7530">
                  <c:v>0.91428571428571404</c:v>
                </c:pt>
                <c:pt idx="7531">
                  <c:v>0.91477272727272696</c:v>
                </c:pt>
                <c:pt idx="7532">
                  <c:v>0.91517857142857095</c:v>
                </c:pt>
                <c:pt idx="7533">
                  <c:v>0.91549295774647899</c:v>
                </c:pt>
                <c:pt idx="7534">
                  <c:v>0.91566265060241003</c:v>
                </c:pt>
                <c:pt idx="7535">
                  <c:v>0.91585127201565597</c:v>
                </c:pt>
                <c:pt idx="7536">
                  <c:v>0.91603053435114501</c:v>
                </c:pt>
                <c:pt idx="7537">
                  <c:v>0.91666666666666696</c:v>
                </c:pt>
                <c:pt idx="7538">
                  <c:v>0.91666666666666696</c:v>
                </c:pt>
                <c:pt idx="7539">
                  <c:v>0.91666666666666696</c:v>
                </c:pt>
                <c:pt idx="7540">
                  <c:v>0.91752577319587603</c:v>
                </c:pt>
                <c:pt idx="7541">
                  <c:v>0.91858037578288099</c:v>
                </c:pt>
                <c:pt idx="7542">
                  <c:v>0.91910739191073898</c:v>
                </c:pt>
                <c:pt idx="7543">
                  <c:v>0.91929824561403495</c:v>
                </c:pt>
                <c:pt idx="7544">
                  <c:v>0.91935483870967705</c:v>
                </c:pt>
                <c:pt idx="7545">
                  <c:v>0.91964285714285698</c:v>
                </c:pt>
                <c:pt idx="7546">
                  <c:v>0.92028985507246397</c:v>
                </c:pt>
                <c:pt idx="7547">
                  <c:v>0.92032967032966995</c:v>
                </c:pt>
                <c:pt idx="7548">
                  <c:v>0.92035398230088505</c:v>
                </c:pt>
                <c:pt idx="7549">
                  <c:v>0.92045454545454497</c:v>
                </c:pt>
                <c:pt idx="7550">
                  <c:v>0.92105263157894701</c:v>
                </c:pt>
                <c:pt idx="7551">
                  <c:v>0.92105263157894701</c:v>
                </c:pt>
                <c:pt idx="7552">
                  <c:v>0.92156862745098</c:v>
                </c:pt>
                <c:pt idx="7553">
                  <c:v>0.92207792207792205</c:v>
                </c:pt>
                <c:pt idx="7554">
                  <c:v>0.92213114754098402</c:v>
                </c:pt>
                <c:pt idx="7555">
                  <c:v>0.92253521126760596</c:v>
                </c:pt>
                <c:pt idx="7556">
                  <c:v>0.92261001517450703</c:v>
                </c:pt>
                <c:pt idx="7557">
                  <c:v>0.922818791946309</c:v>
                </c:pt>
                <c:pt idx="7558">
                  <c:v>0.92333333333333301</c:v>
                </c:pt>
                <c:pt idx="7559">
                  <c:v>0.92391304347826098</c:v>
                </c:pt>
                <c:pt idx="7560">
                  <c:v>0.924050632911392</c:v>
                </c:pt>
                <c:pt idx="7561">
                  <c:v>0.92452830188679203</c:v>
                </c:pt>
                <c:pt idx="7562">
                  <c:v>0.92452830188679203</c:v>
                </c:pt>
                <c:pt idx="7563">
                  <c:v>0.92462311557788901</c:v>
                </c:pt>
                <c:pt idx="7564">
                  <c:v>0.92500000000000004</c:v>
                </c:pt>
                <c:pt idx="7565">
                  <c:v>0.92500000000000004</c:v>
                </c:pt>
                <c:pt idx="7566">
                  <c:v>0.92537313432835799</c:v>
                </c:pt>
                <c:pt idx="7567">
                  <c:v>0.92622950819672101</c:v>
                </c:pt>
                <c:pt idx="7568">
                  <c:v>0.92708333333333304</c:v>
                </c:pt>
                <c:pt idx="7569">
                  <c:v>0.92732558139534904</c:v>
                </c:pt>
                <c:pt idx="7570">
                  <c:v>0.92732558139534904</c:v>
                </c:pt>
                <c:pt idx="7571">
                  <c:v>0.92771084337349397</c:v>
                </c:pt>
                <c:pt idx="7572">
                  <c:v>0.92777777777777803</c:v>
                </c:pt>
                <c:pt idx="7573">
                  <c:v>0.92788461538461497</c:v>
                </c:pt>
                <c:pt idx="7574">
                  <c:v>0.92885375494071099</c:v>
                </c:pt>
                <c:pt idx="7575">
                  <c:v>0.92920353982300896</c:v>
                </c:pt>
                <c:pt idx="7576">
                  <c:v>0.929245283018868</c:v>
                </c:pt>
                <c:pt idx="7577">
                  <c:v>0.92950819672131102</c:v>
                </c:pt>
                <c:pt idx="7578">
                  <c:v>0.9296875</c:v>
                </c:pt>
                <c:pt idx="7579">
                  <c:v>0.929824561403509</c:v>
                </c:pt>
                <c:pt idx="7580">
                  <c:v>0.93076923076923102</c:v>
                </c:pt>
                <c:pt idx="7581">
                  <c:v>0.931034482758621</c:v>
                </c:pt>
                <c:pt idx="7582">
                  <c:v>0.931506849315068</c:v>
                </c:pt>
                <c:pt idx="7583">
                  <c:v>0.93156424581005604</c:v>
                </c:pt>
                <c:pt idx="7584">
                  <c:v>0.93200000000000005</c:v>
                </c:pt>
                <c:pt idx="7585">
                  <c:v>0.93229166666666696</c:v>
                </c:pt>
                <c:pt idx="7586">
                  <c:v>0.93243243243243201</c:v>
                </c:pt>
                <c:pt idx="7587">
                  <c:v>0.93248945147679296</c:v>
                </c:pt>
                <c:pt idx="7588">
                  <c:v>0.93322475570032604</c:v>
                </c:pt>
                <c:pt idx="7589">
                  <c:v>0.93373493975903599</c:v>
                </c:pt>
                <c:pt idx="7590">
                  <c:v>0.93406593406593397</c:v>
                </c:pt>
                <c:pt idx="7591">
                  <c:v>0.93432835820895499</c:v>
                </c:pt>
                <c:pt idx="7592">
                  <c:v>0.934579439252336</c:v>
                </c:pt>
                <c:pt idx="7593">
                  <c:v>0.934579439252336</c:v>
                </c:pt>
                <c:pt idx="7594">
                  <c:v>0.934782608695652</c:v>
                </c:pt>
                <c:pt idx="7595">
                  <c:v>0.93541666666666701</c:v>
                </c:pt>
                <c:pt idx="7596">
                  <c:v>0.93564356435643603</c:v>
                </c:pt>
                <c:pt idx="7597">
                  <c:v>0.936708860759494</c:v>
                </c:pt>
                <c:pt idx="7598">
                  <c:v>0.9375</c:v>
                </c:pt>
                <c:pt idx="7599">
                  <c:v>0.94</c:v>
                </c:pt>
                <c:pt idx="7600">
                  <c:v>0.94</c:v>
                </c:pt>
                <c:pt idx="7601">
                  <c:v>0.94019933554817303</c:v>
                </c:pt>
                <c:pt idx="7602">
                  <c:v>0.94029850746268695</c:v>
                </c:pt>
                <c:pt idx="7603">
                  <c:v>0.94072657743785804</c:v>
                </c:pt>
                <c:pt idx="7604">
                  <c:v>0.94117647058823495</c:v>
                </c:pt>
                <c:pt idx="7605">
                  <c:v>0.94166666666666698</c:v>
                </c:pt>
                <c:pt idx="7606">
                  <c:v>0.94230769230769196</c:v>
                </c:pt>
                <c:pt idx="7607">
                  <c:v>0.94250513347022602</c:v>
                </c:pt>
                <c:pt idx="7608">
                  <c:v>0.94252873563218398</c:v>
                </c:pt>
                <c:pt idx="7609">
                  <c:v>0.94276094276094302</c:v>
                </c:pt>
                <c:pt idx="7610">
                  <c:v>0.94298245614035103</c:v>
                </c:pt>
                <c:pt idx="7611">
                  <c:v>0.94444444444444398</c:v>
                </c:pt>
                <c:pt idx="7612">
                  <c:v>0.94444444444444398</c:v>
                </c:pt>
                <c:pt idx="7613">
                  <c:v>0.94485294117647101</c:v>
                </c:pt>
                <c:pt idx="7614">
                  <c:v>0.94545454545454499</c:v>
                </c:pt>
                <c:pt idx="7615">
                  <c:v>0.94545454545454499</c:v>
                </c:pt>
                <c:pt idx="7616">
                  <c:v>0.94594594594594605</c:v>
                </c:pt>
                <c:pt idx="7617">
                  <c:v>0.94666666666666699</c:v>
                </c:pt>
                <c:pt idx="7618">
                  <c:v>0.946902654867257</c:v>
                </c:pt>
                <c:pt idx="7619">
                  <c:v>0.94707520891364905</c:v>
                </c:pt>
                <c:pt idx="7620">
                  <c:v>0.947194719471947</c:v>
                </c:pt>
                <c:pt idx="7621">
                  <c:v>0.94736842105263097</c:v>
                </c:pt>
                <c:pt idx="7622">
                  <c:v>0.94736842105263097</c:v>
                </c:pt>
                <c:pt idx="7623">
                  <c:v>0.94871794871794901</c:v>
                </c:pt>
                <c:pt idx="7624">
                  <c:v>0.94871794871794901</c:v>
                </c:pt>
                <c:pt idx="7625">
                  <c:v>0.94871794871794901</c:v>
                </c:pt>
                <c:pt idx="7626">
                  <c:v>0.94915254237288105</c:v>
                </c:pt>
                <c:pt idx="7627">
                  <c:v>0.949367088607595</c:v>
                </c:pt>
                <c:pt idx="7628">
                  <c:v>0.95016611295681097</c:v>
                </c:pt>
                <c:pt idx="7629">
                  <c:v>0.95065789473684204</c:v>
                </c:pt>
                <c:pt idx="7630">
                  <c:v>0.95283018867924496</c:v>
                </c:pt>
                <c:pt idx="7631">
                  <c:v>0.95443645083932804</c:v>
                </c:pt>
                <c:pt idx="7632">
                  <c:v>0.95454545454545503</c:v>
                </c:pt>
                <c:pt idx="7633">
                  <c:v>0.95488721804511301</c:v>
                </c:pt>
                <c:pt idx="7634">
                  <c:v>0.95597484276729605</c:v>
                </c:pt>
                <c:pt idx="7635">
                  <c:v>0.95644599303135902</c:v>
                </c:pt>
                <c:pt idx="7636">
                  <c:v>0.95652173913043503</c:v>
                </c:pt>
                <c:pt idx="7637">
                  <c:v>0.95652173913043503</c:v>
                </c:pt>
                <c:pt idx="7638">
                  <c:v>0.95774647887323905</c:v>
                </c:pt>
                <c:pt idx="7639">
                  <c:v>0.95833333333333304</c:v>
                </c:pt>
                <c:pt idx="7640">
                  <c:v>0.95927601809954799</c:v>
                </c:pt>
                <c:pt idx="7641">
                  <c:v>0.96036585365853699</c:v>
                </c:pt>
                <c:pt idx="7642">
                  <c:v>0.96086956521739098</c:v>
                </c:pt>
                <c:pt idx="7643">
                  <c:v>0.96153846153846201</c:v>
                </c:pt>
                <c:pt idx="7644">
                  <c:v>0.961832061068702</c:v>
                </c:pt>
                <c:pt idx="7645">
                  <c:v>0.96219931271477699</c:v>
                </c:pt>
                <c:pt idx="7646">
                  <c:v>0.96296296296296302</c:v>
                </c:pt>
                <c:pt idx="7647">
                  <c:v>0.96428571428571397</c:v>
                </c:pt>
                <c:pt idx="7648">
                  <c:v>0.96526054590570698</c:v>
                </c:pt>
                <c:pt idx="7649">
                  <c:v>0.96566523605150201</c:v>
                </c:pt>
                <c:pt idx="7650">
                  <c:v>0.96727272727272695</c:v>
                </c:pt>
                <c:pt idx="7651">
                  <c:v>0.967741935483871</c:v>
                </c:pt>
                <c:pt idx="7652">
                  <c:v>0.968992248062015</c:v>
                </c:pt>
                <c:pt idx="7653">
                  <c:v>0.96908809891808301</c:v>
                </c:pt>
                <c:pt idx="7654">
                  <c:v>0.96955503512880603</c:v>
                </c:pt>
                <c:pt idx="7655">
                  <c:v>0.96969696969696995</c:v>
                </c:pt>
                <c:pt idx="7656">
                  <c:v>0.96969696969696995</c:v>
                </c:pt>
                <c:pt idx="7657">
                  <c:v>0.97</c:v>
                </c:pt>
                <c:pt idx="7658">
                  <c:v>0.97058823529411797</c:v>
                </c:pt>
                <c:pt idx="7659">
                  <c:v>0.97142857142857097</c:v>
                </c:pt>
                <c:pt idx="7660">
                  <c:v>0.97196261682243001</c:v>
                </c:pt>
                <c:pt idx="7661">
                  <c:v>0.972727272727273</c:v>
                </c:pt>
                <c:pt idx="7662">
                  <c:v>0.97297297297297303</c:v>
                </c:pt>
                <c:pt idx="7663">
                  <c:v>0.97333333333333305</c:v>
                </c:pt>
                <c:pt idx="7664">
                  <c:v>0.97523809523809502</c:v>
                </c:pt>
                <c:pt idx="7665">
                  <c:v>0.97560975609756095</c:v>
                </c:pt>
                <c:pt idx="7666">
                  <c:v>0.97619047619047605</c:v>
                </c:pt>
                <c:pt idx="7667">
                  <c:v>0.97619047619047605</c:v>
                </c:pt>
                <c:pt idx="7668">
                  <c:v>0.97777777777777797</c:v>
                </c:pt>
                <c:pt idx="7669">
                  <c:v>0.97872340425531901</c:v>
                </c:pt>
                <c:pt idx="7670">
                  <c:v>0.97872340425531901</c:v>
                </c:pt>
                <c:pt idx="7671">
                  <c:v>0.97891566265060204</c:v>
                </c:pt>
                <c:pt idx="7672">
                  <c:v>0.97991071428571397</c:v>
                </c:pt>
                <c:pt idx="7673">
                  <c:v>0.980582524271845</c:v>
                </c:pt>
                <c:pt idx="7674">
                  <c:v>0.98113207547169801</c:v>
                </c:pt>
                <c:pt idx="7675">
                  <c:v>0.98245614035087703</c:v>
                </c:pt>
                <c:pt idx="7676">
                  <c:v>0.983108108108108</c:v>
                </c:pt>
                <c:pt idx="7677">
                  <c:v>0.984615384615385</c:v>
                </c:pt>
                <c:pt idx="7678">
                  <c:v>0.98492462311557805</c:v>
                </c:pt>
                <c:pt idx="7679">
                  <c:v>0.98529411764705899</c:v>
                </c:pt>
                <c:pt idx="7680">
                  <c:v>0.98571428571428599</c:v>
                </c:pt>
                <c:pt idx="7681">
                  <c:v>0.98604651162790702</c:v>
                </c:pt>
                <c:pt idx="7682">
                  <c:v>0.986206896551724</c:v>
                </c:pt>
                <c:pt idx="7683">
                  <c:v>0.98687664041994705</c:v>
                </c:pt>
                <c:pt idx="7684">
                  <c:v>0.987179487179487</c:v>
                </c:pt>
                <c:pt idx="7685">
                  <c:v>0.98832684824902695</c:v>
                </c:pt>
                <c:pt idx="7686">
                  <c:v>0.98936170212765995</c:v>
                </c:pt>
                <c:pt idx="7687">
                  <c:v>0.99013157894736803</c:v>
                </c:pt>
                <c:pt idx="7688">
                  <c:v>0.99105145413870199</c:v>
                </c:pt>
                <c:pt idx="7689">
                  <c:v>0.991578947368421</c:v>
                </c:pt>
                <c:pt idx="7690">
                  <c:v>0.99206349206349198</c:v>
                </c:pt>
                <c:pt idx="7691">
                  <c:v>0.992932862190813</c:v>
                </c:pt>
                <c:pt idx="7692">
                  <c:v>0.99326599326599296</c:v>
                </c:pt>
                <c:pt idx="7693">
                  <c:v>0.99438202247190999</c:v>
                </c:pt>
                <c:pt idx="7694">
                  <c:v>0.99439775910364103</c:v>
                </c:pt>
                <c:pt idx="7695">
                  <c:v>0.995444191343964</c:v>
                </c:pt>
                <c:pt idx="7696">
                  <c:v>0.99593495934959297</c:v>
                </c:pt>
                <c:pt idx="7697">
                  <c:v>0.99596774193548399</c:v>
                </c:pt>
                <c:pt idx="7698">
                  <c:v>0.99638989169675096</c:v>
                </c:pt>
                <c:pt idx="7699">
                  <c:v>0.99659863945578198</c:v>
                </c:pt>
                <c:pt idx="7700">
                  <c:v>1</c:v>
                </c:pt>
                <c:pt idx="7701">
                  <c:v>1</c:v>
                </c:pt>
                <c:pt idx="7702">
                  <c:v>1</c:v>
                </c:pt>
                <c:pt idx="7703">
                  <c:v>1</c:v>
                </c:pt>
                <c:pt idx="7704">
                  <c:v>1</c:v>
                </c:pt>
                <c:pt idx="7705">
                  <c:v>1</c:v>
                </c:pt>
                <c:pt idx="7706">
                  <c:v>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044616"/>
        <c:axId val="205045008"/>
      </c:scatterChart>
      <c:valAx>
        <c:axId val="205044616"/>
        <c:scaling>
          <c:orientation val="minMax"/>
          <c:max val="20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Average Teacher Experience</a:t>
                </a:r>
                <a:r>
                  <a:rPr lang="en-US" baseline="0" dirty="0" smtClean="0"/>
                  <a:t> (</a:t>
                </a:r>
                <a:r>
                  <a:rPr lang="en-US" baseline="0" dirty="0" err="1" smtClean="0"/>
                  <a:t>Yrs</a:t>
                </a:r>
                <a:r>
                  <a:rPr lang="en-US" baseline="0" dirty="0" smtClean="0"/>
                  <a:t>)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205045008"/>
        <c:crosses val="autoZero"/>
        <c:crossBetween val="midCat"/>
      </c:valAx>
      <c:valAx>
        <c:axId val="205045008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Percentage of </a:t>
                </a:r>
                <a:r>
                  <a:rPr lang="en-US" dirty="0" err="1" smtClean="0"/>
                  <a:t>EcoDis</a:t>
                </a:r>
                <a:r>
                  <a:rPr lang="en-US" dirty="0" smtClean="0"/>
                  <a:t> Students Meetings Phase-In</a:t>
                </a:r>
                <a:r>
                  <a:rPr lang="en-US" baseline="0" dirty="0" smtClean="0"/>
                  <a:t> Passing Standard</a:t>
                </a:r>
                <a:endParaRPr lang="en-US" dirty="0"/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205044616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b="1" i="0" baseline="0" dirty="0" smtClean="0">
                <a:effectLst/>
              </a:rPr>
              <a:t>Average Teacher Experience Compared to </a:t>
            </a:r>
          </a:p>
          <a:p>
            <a:pPr>
              <a:defRPr/>
            </a:pPr>
            <a:r>
              <a:rPr lang="en-US" sz="1200" b="1" i="0" baseline="0" dirty="0" smtClean="0">
                <a:effectLst/>
              </a:rPr>
              <a:t>Pct. of </a:t>
            </a:r>
            <a:r>
              <a:rPr lang="en-US" sz="1200" b="1" i="0" baseline="0" dirty="0" err="1" smtClean="0">
                <a:effectLst/>
              </a:rPr>
              <a:t>EcoDis</a:t>
            </a:r>
            <a:r>
              <a:rPr lang="en-US" sz="1200" b="1" i="0" baseline="0" dirty="0" smtClean="0">
                <a:effectLst/>
              </a:rPr>
              <a:t> Students Meeting </a:t>
            </a:r>
            <a:r>
              <a:rPr lang="en-US" sz="1200" b="1" i="0" baseline="0" dirty="0" smtClean="0">
                <a:solidFill>
                  <a:srgbClr val="FF0000"/>
                </a:solidFill>
                <a:effectLst/>
              </a:rPr>
              <a:t>Postsecondary Standard</a:t>
            </a:r>
            <a:endParaRPr lang="en-US" sz="1200" dirty="0">
              <a:solidFill>
                <a:srgbClr val="FF0000"/>
              </a:solidFill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Tenure vs. PS EcoDis Ach'!$C$1:$C$2</c:f>
              <c:strCache>
                <c:ptCount val="2"/>
                <c:pt idx="1">
                  <c:v>PS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Tenure vs. PS EcoDis Ach'!$B$3:$B$7980</c:f>
              <c:numCache>
                <c:formatCode>General</c:formatCode>
                <c:ptCount val="7978"/>
                <c:pt idx="0">
                  <c:v>10.9</c:v>
                </c:pt>
                <c:pt idx="1">
                  <c:v>10.4</c:v>
                </c:pt>
                <c:pt idx="2">
                  <c:v>0</c:v>
                </c:pt>
                <c:pt idx="3">
                  <c:v>14.9</c:v>
                </c:pt>
                <c:pt idx="4">
                  <c:v>11.6</c:v>
                </c:pt>
                <c:pt idx="5">
                  <c:v>9.9</c:v>
                </c:pt>
                <c:pt idx="6">
                  <c:v>12.4</c:v>
                </c:pt>
                <c:pt idx="7">
                  <c:v>7.9</c:v>
                </c:pt>
                <c:pt idx="8">
                  <c:v>2.4</c:v>
                </c:pt>
                <c:pt idx="9">
                  <c:v>8.4</c:v>
                </c:pt>
                <c:pt idx="10">
                  <c:v>1.3</c:v>
                </c:pt>
                <c:pt idx="11">
                  <c:v>9.1999999999999993</c:v>
                </c:pt>
                <c:pt idx="12">
                  <c:v>7.3</c:v>
                </c:pt>
                <c:pt idx="13">
                  <c:v>1</c:v>
                </c:pt>
                <c:pt idx="14">
                  <c:v>1.5</c:v>
                </c:pt>
                <c:pt idx="15">
                  <c:v>7.4</c:v>
                </c:pt>
                <c:pt idx="16">
                  <c:v>9</c:v>
                </c:pt>
                <c:pt idx="17">
                  <c:v>5.3</c:v>
                </c:pt>
                <c:pt idx="18">
                  <c:v>6.6</c:v>
                </c:pt>
                <c:pt idx="19">
                  <c:v>4.4000000000000004</c:v>
                </c:pt>
                <c:pt idx="20">
                  <c:v>6.3</c:v>
                </c:pt>
                <c:pt idx="21">
                  <c:v>7.8</c:v>
                </c:pt>
                <c:pt idx="22">
                  <c:v>16.7</c:v>
                </c:pt>
                <c:pt idx="23">
                  <c:v>5.6</c:v>
                </c:pt>
                <c:pt idx="24">
                  <c:v>2.1</c:v>
                </c:pt>
                <c:pt idx="25">
                  <c:v>9.5</c:v>
                </c:pt>
                <c:pt idx="26">
                  <c:v>0.6</c:v>
                </c:pt>
                <c:pt idx="27">
                  <c:v>1.1000000000000001</c:v>
                </c:pt>
                <c:pt idx="28">
                  <c:v>8</c:v>
                </c:pt>
                <c:pt idx="29">
                  <c:v>15.4</c:v>
                </c:pt>
                <c:pt idx="30">
                  <c:v>17.3</c:v>
                </c:pt>
                <c:pt idx="31">
                  <c:v>1.9</c:v>
                </c:pt>
                <c:pt idx="32">
                  <c:v>2.4</c:v>
                </c:pt>
                <c:pt idx="33">
                  <c:v>7.5</c:v>
                </c:pt>
                <c:pt idx="34">
                  <c:v>2</c:v>
                </c:pt>
                <c:pt idx="35">
                  <c:v>10.199999999999999</c:v>
                </c:pt>
                <c:pt idx="36">
                  <c:v>3.7</c:v>
                </c:pt>
                <c:pt idx="37">
                  <c:v>4.3</c:v>
                </c:pt>
                <c:pt idx="38">
                  <c:v>0.3</c:v>
                </c:pt>
                <c:pt idx="39">
                  <c:v>1.5</c:v>
                </c:pt>
                <c:pt idx="40">
                  <c:v>11.6</c:v>
                </c:pt>
                <c:pt idx="41">
                  <c:v>3.4</c:v>
                </c:pt>
                <c:pt idx="42">
                  <c:v>5.7</c:v>
                </c:pt>
                <c:pt idx="43">
                  <c:v>1.3</c:v>
                </c:pt>
                <c:pt idx="44">
                  <c:v>13.6</c:v>
                </c:pt>
                <c:pt idx="45">
                  <c:v>16.8</c:v>
                </c:pt>
                <c:pt idx="46">
                  <c:v>2.8</c:v>
                </c:pt>
                <c:pt idx="47">
                  <c:v>11.3</c:v>
                </c:pt>
                <c:pt idx="48">
                  <c:v>9.1</c:v>
                </c:pt>
                <c:pt idx="49">
                  <c:v>7.5</c:v>
                </c:pt>
                <c:pt idx="50">
                  <c:v>8.3000000000000007</c:v>
                </c:pt>
                <c:pt idx="51">
                  <c:v>2.4</c:v>
                </c:pt>
                <c:pt idx="52">
                  <c:v>5.9</c:v>
                </c:pt>
                <c:pt idx="53">
                  <c:v>10.199999999999999</c:v>
                </c:pt>
                <c:pt idx="54">
                  <c:v>0</c:v>
                </c:pt>
                <c:pt idx="55">
                  <c:v>8.8000000000000007</c:v>
                </c:pt>
                <c:pt idx="56">
                  <c:v>9.4</c:v>
                </c:pt>
                <c:pt idx="57">
                  <c:v>6.6</c:v>
                </c:pt>
                <c:pt idx="58">
                  <c:v>1.1000000000000001</c:v>
                </c:pt>
                <c:pt idx="59">
                  <c:v>0</c:v>
                </c:pt>
                <c:pt idx="60">
                  <c:v>0.4</c:v>
                </c:pt>
                <c:pt idx="61">
                  <c:v>10</c:v>
                </c:pt>
                <c:pt idx="62">
                  <c:v>10.4</c:v>
                </c:pt>
                <c:pt idx="63">
                  <c:v>6.2</c:v>
                </c:pt>
                <c:pt idx="64">
                  <c:v>7.9</c:v>
                </c:pt>
                <c:pt idx="65">
                  <c:v>10.199999999999999</c:v>
                </c:pt>
                <c:pt idx="66">
                  <c:v>1.8</c:v>
                </c:pt>
                <c:pt idx="67">
                  <c:v>7.3</c:v>
                </c:pt>
                <c:pt idx="68">
                  <c:v>2.6</c:v>
                </c:pt>
                <c:pt idx="69">
                  <c:v>0</c:v>
                </c:pt>
                <c:pt idx="70">
                  <c:v>2.8</c:v>
                </c:pt>
                <c:pt idx="71">
                  <c:v>2.5</c:v>
                </c:pt>
                <c:pt idx="72">
                  <c:v>10.3</c:v>
                </c:pt>
                <c:pt idx="73">
                  <c:v>3.9</c:v>
                </c:pt>
                <c:pt idx="74">
                  <c:v>5.2</c:v>
                </c:pt>
                <c:pt idx="75">
                  <c:v>5.0999999999999996</c:v>
                </c:pt>
                <c:pt idx="76">
                  <c:v>3.7</c:v>
                </c:pt>
                <c:pt idx="77">
                  <c:v>1.6</c:v>
                </c:pt>
                <c:pt idx="78">
                  <c:v>7</c:v>
                </c:pt>
                <c:pt idx="79">
                  <c:v>2.2000000000000002</c:v>
                </c:pt>
                <c:pt idx="80">
                  <c:v>0.6</c:v>
                </c:pt>
                <c:pt idx="81">
                  <c:v>11.9</c:v>
                </c:pt>
                <c:pt idx="82">
                  <c:v>0</c:v>
                </c:pt>
                <c:pt idx="83">
                  <c:v>6.6</c:v>
                </c:pt>
                <c:pt idx="84">
                  <c:v>6.7</c:v>
                </c:pt>
                <c:pt idx="85">
                  <c:v>2.9</c:v>
                </c:pt>
                <c:pt idx="86">
                  <c:v>4.8</c:v>
                </c:pt>
                <c:pt idx="87">
                  <c:v>7.9</c:v>
                </c:pt>
                <c:pt idx="88">
                  <c:v>6.6</c:v>
                </c:pt>
                <c:pt idx="89">
                  <c:v>3.7</c:v>
                </c:pt>
                <c:pt idx="90">
                  <c:v>3.9</c:v>
                </c:pt>
                <c:pt idx="91">
                  <c:v>5.8</c:v>
                </c:pt>
                <c:pt idx="92">
                  <c:v>14.8</c:v>
                </c:pt>
                <c:pt idx="93">
                  <c:v>1.6</c:v>
                </c:pt>
                <c:pt idx="94">
                  <c:v>1</c:v>
                </c:pt>
                <c:pt idx="95">
                  <c:v>2.4</c:v>
                </c:pt>
                <c:pt idx="96">
                  <c:v>8</c:v>
                </c:pt>
                <c:pt idx="97">
                  <c:v>5.5</c:v>
                </c:pt>
                <c:pt idx="98">
                  <c:v>0</c:v>
                </c:pt>
                <c:pt idx="99">
                  <c:v>5.8</c:v>
                </c:pt>
                <c:pt idx="100">
                  <c:v>6</c:v>
                </c:pt>
                <c:pt idx="101">
                  <c:v>5.4</c:v>
                </c:pt>
                <c:pt idx="102">
                  <c:v>12.9</c:v>
                </c:pt>
                <c:pt idx="103">
                  <c:v>0.4</c:v>
                </c:pt>
                <c:pt idx="104">
                  <c:v>4.4000000000000004</c:v>
                </c:pt>
                <c:pt idx="105">
                  <c:v>4.7</c:v>
                </c:pt>
                <c:pt idx="106">
                  <c:v>5.6</c:v>
                </c:pt>
                <c:pt idx="107">
                  <c:v>3.4</c:v>
                </c:pt>
                <c:pt idx="108">
                  <c:v>8</c:v>
                </c:pt>
                <c:pt idx="109">
                  <c:v>6.6</c:v>
                </c:pt>
                <c:pt idx="110">
                  <c:v>0.3</c:v>
                </c:pt>
                <c:pt idx="111">
                  <c:v>0</c:v>
                </c:pt>
                <c:pt idx="112">
                  <c:v>1.5</c:v>
                </c:pt>
                <c:pt idx="113">
                  <c:v>1.3</c:v>
                </c:pt>
                <c:pt idx="114">
                  <c:v>8.6</c:v>
                </c:pt>
                <c:pt idx="115">
                  <c:v>3.2</c:v>
                </c:pt>
                <c:pt idx="116">
                  <c:v>9.1</c:v>
                </c:pt>
                <c:pt idx="117">
                  <c:v>4.3</c:v>
                </c:pt>
                <c:pt idx="118">
                  <c:v>1.3</c:v>
                </c:pt>
                <c:pt idx="119">
                  <c:v>3.9</c:v>
                </c:pt>
                <c:pt idx="120">
                  <c:v>14</c:v>
                </c:pt>
                <c:pt idx="121">
                  <c:v>8.8000000000000007</c:v>
                </c:pt>
                <c:pt idx="122">
                  <c:v>6</c:v>
                </c:pt>
                <c:pt idx="123">
                  <c:v>21.5</c:v>
                </c:pt>
                <c:pt idx="124">
                  <c:v>1</c:v>
                </c:pt>
                <c:pt idx="125">
                  <c:v>8.8000000000000007</c:v>
                </c:pt>
                <c:pt idx="126">
                  <c:v>2.1</c:v>
                </c:pt>
                <c:pt idx="127">
                  <c:v>4.2</c:v>
                </c:pt>
                <c:pt idx="128">
                  <c:v>10</c:v>
                </c:pt>
                <c:pt idx="129">
                  <c:v>8.6999999999999993</c:v>
                </c:pt>
                <c:pt idx="130">
                  <c:v>9.5</c:v>
                </c:pt>
                <c:pt idx="131">
                  <c:v>6.1</c:v>
                </c:pt>
                <c:pt idx="132">
                  <c:v>4.8</c:v>
                </c:pt>
                <c:pt idx="133">
                  <c:v>3.7</c:v>
                </c:pt>
                <c:pt idx="134">
                  <c:v>8.5</c:v>
                </c:pt>
                <c:pt idx="135">
                  <c:v>7.2</c:v>
                </c:pt>
                <c:pt idx="136">
                  <c:v>10.3</c:v>
                </c:pt>
                <c:pt idx="137">
                  <c:v>3</c:v>
                </c:pt>
                <c:pt idx="138">
                  <c:v>0.1</c:v>
                </c:pt>
                <c:pt idx="139">
                  <c:v>10.3</c:v>
                </c:pt>
                <c:pt idx="140">
                  <c:v>7.4</c:v>
                </c:pt>
                <c:pt idx="141">
                  <c:v>7.3</c:v>
                </c:pt>
                <c:pt idx="142">
                  <c:v>0.1</c:v>
                </c:pt>
                <c:pt idx="143">
                  <c:v>3.3</c:v>
                </c:pt>
                <c:pt idx="144">
                  <c:v>5.6</c:v>
                </c:pt>
                <c:pt idx="145">
                  <c:v>10</c:v>
                </c:pt>
                <c:pt idx="146">
                  <c:v>7.8</c:v>
                </c:pt>
                <c:pt idx="147">
                  <c:v>2.2000000000000002</c:v>
                </c:pt>
                <c:pt idx="148">
                  <c:v>2.1</c:v>
                </c:pt>
                <c:pt idx="149">
                  <c:v>6.7</c:v>
                </c:pt>
                <c:pt idx="150">
                  <c:v>11.6</c:v>
                </c:pt>
                <c:pt idx="151">
                  <c:v>5.2</c:v>
                </c:pt>
                <c:pt idx="152">
                  <c:v>8.8000000000000007</c:v>
                </c:pt>
                <c:pt idx="153">
                  <c:v>7.3</c:v>
                </c:pt>
                <c:pt idx="154">
                  <c:v>0.2</c:v>
                </c:pt>
                <c:pt idx="155">
                  <c:v>7.4</c:v>
                </c:pt>
                <c:pt idx="156">
                  <c:v>6</c:v>
                </c:pt>
                <c:pt idx="157">
                  <c:v>4.4000000000000004</c:v>
                </c:pt>
                <c:pt idx="158">
                  <c:v>3</c:v>
                </c:pt>
                <c:pt idx="159">
                  <c:v>6.3</c:v>
                </c:pt>
                <c:pt idx="160">
                  <c:v>10.9</c:v>
                </c:pt>
                <c:pt idx="161">
                  <c:v>5</c:v>
                </c:pt>
                <c:pt idx="162">
                  <c:v>2.6</c:v>
                </c:pt>
                <c:pt idx="163">
                  <c:v>13.3</c:v>
                </c:pt>
                <c:pt idx="164">
                  <c:v>4</c:v>
                </c:pt>
                <c:pt idx="165">
                  <c:v>1.4</c:v>
                </c:pt>
                <c:pt idx="166">
                  <c:v>0.1</c:v>
                </c:pt>
                <c:pt idx="167">
                  <c:v>3.7</c:v>
                </c:pt>
                <c:pt idx="168">
                  <c:v>5.3</c:v>
                </c:pt>
                <c:pt idx="169">
                  <c:v>10.5</c:v>
                </c:pt>
                <c:pt idx="170">
                  <c:v>6.6</c:v>
                </c:pt>
                <c:pt idx="171">
                  <c:v>0.6</c:v>
                </c:pt>
                <c:pt idx="172">
                  <c:v>3.9</c:v>
                </c:pt>
                <c:pt idx="173">
                  <c:v>12</c:v>
                </c:pt>
                <c:pt idx="174">
                  <c:v>10</c:v>
                </c:pt>
                <c:pt idx="175">
                  <c:v>0</c:v>
                </c:pt>
                <c:pt idx="176">
                  <c:v>3.3</c:v>
                </c:pt>
                <c:pt idx="177">
                  <c:v>0.9</c:v>
                </c:pt>
                <c:pt idx="178">
                  <c:v>2</c:v>
                </c:pt>
                <c:pt idx="179">
                  <c:v>2</c:v>
                </c:pt>
                <c:pt idx="180">
                  <c:v>6.1</c:v>
                </c:pt>
                <c:pt idx="181">
                  <c:v>1.9</c:v>
                </c:pt>
                <c:pt idx="182">
                  <c:v>1.4</c:v>
                </c:pt>
                <c:pt idx="183">
                  <c:v>1.8</c:v>
                </c:pt>
                <c:pt idx="184">
                  <c:v>3.7</c:v>
                </c:pt>
                <c:pt idx="185">
                  <c:v>2.7</c:v>
                </c:pt>
                <c:pt idx="186">
                  <c:v>4.5</c:v>
                </c:pt>
                <c:pt idx="187">
                  <c:v>5.6</c:v>
                </c:pt>
                <c:pt idx="188">
                  <c:v>7</c:v>
                </c:pt>
                <c:pt idx="189">
                  <c:v>0.7</c:v>
                </c:pt>
                <c:pt idx="190">
                  <c:v>3.8</c:v>
                </c:pt>
                <c:pt idx="191">
                  <c:v>3.7</c:v>
                </c:pt>
                <c:pt idx="192">
                  <c:v>0.2</c:v>
                </c:pt>
                <c:pt idx="193">
                  <c:v>5.2</c:v>
                </c:pt>
                <c:pt idx="194">
                  <c:v>3.3</c:v>
                </c:pt>
                <c:pt idx="195">
                  <c:v>10.3</c:v>
                </c:pt>
                <c:pt idx="196">
                  <c:v>6.2</c:v>
                </c:pt>
                <c:pt idx="197">
                  <c:v>9.5</c:v>
                </c:pt>
                <c:pt idx="198">
                  <c:v>3.3</c:v>
                </c:pt>
                <c:pt idx="199">
                  <c:v>7.4</c:v>
                </c:pt>
                <c:pt idx="200">
                  <c:v>1.7</c:v>
                </c:pt>
                <c:pt idx="201">
                  <c:v>7.9</c:v>
                </c:pt>
                <c:pt idx="202">
                  <c:v>1.5</c:v>
                </c:pt>
                <c:pt idx="203">
                  <c:v>1.3</c:v>
                </c:pt>
                <c:pt idx="204">
                  <c:v>8.1</c:v>
                </c:pt>
                <c:pt idx="205">
                  <c:v>7.2</c:v>
                </c:pt>
                <c:pt idx="206">
                  <c:v>2.4</c:v>
                </c:pt>
                <c:pt idx="207">
                  <c:v>10.3</c:v>
                </c:pt>
                <c:pt idx="208">
                  <c:v>7.6</c:v>
                </c:pt>
                <c:pt idx="209">
                  <c:v>6.6</c:v>
                </c:pt>
                <c:pt idx="210">
                  <c:v>2.8</c:v>
                </c:pt>
                <c:pt idx="211">
                  <c:v>2.8</c:v>
                </c:pt>
                <c:pt idx="212">
                  <c:v>7.7</c:v>
                </c:pt>
                <c:pt idx="213">
                  <c:v>14.8</c:v>
                </c:pt>
                <c:pt idx="214">
                  <c:v>3.3</c:v>
                </c:pt>
                <c:pt idx="215">
                  <c:v>6.4</c:v>
                </c:pt>
                <c:pt idx="216">
                  <c:v>7.4</c:v>
                </c:pt>
                <c:pt idx="217">
                  <c:v>3</c:v>
                </c:pt>
                <c:pt idx="218">
                  <c:v>13.9</c:v>
                </c:pt>
                <c:pt idx="219">
                  <c:v>11.7</c:v>
                </c:pt>
                <c:pt idx="220">
                  <c:v>6.2</c:v>
                </c:pt>
                <c:pt idx="221">
                  <c:v>4.9000000000000004</c:v>
                </c:pt>
                <c:pt idx="222">
                  <c:v>4.5999999999999996</c:v>
                </c:pt>
                <c:pt idx="223">
                  <c:v>8.5</c:v>
                </c:pt>
                <c:pt idx="224">
                  <c:v>17.3</c:v>
                </c:pt>
                <c:pt idx="225">
                  <c:v>8.8000000000000007</c:v>
                </c:pt>
                <c:pt idx="226">
                  <c:v>13</c:v>
                </c:pt>
                <c:pt idx="227">
                  <c:v>10</c:v>
                </c:pt>
                <c:pt idx="228">
                  <c:v>8.1999999999999993</c:v>
                </c:pt>
                <c:pt idx="229">
                  <c:v>10.5</c:v>
                </c:pt>
                <c:pt idx="230">
                  <c:v>3.9</c:v>
                </c:pt>
                <c:pt idx="231">
                  <c:v>3.1</c:v>
                </c:pt>
                <c:pt idx="232">
                  <c:v>1.2</c:v>
                </c:pt>
                <c:pt idx="233">
                  <c:v>8.8000000000000007</c:v>
                </c:pt>
                <c:pt idx="234">
                  <c:v>2.5</c:v>
                </c:pt>
                <c:pt idx="235">
                  <c:v>4.5999999999999996</c:v>
                </c:pt>
                <c:pt idx="236">
                  <c:v>9</c:v>
                </c:pt>
                <c:pt idx="237">
                  <c:v>2.1</c:v>
                </c:pt>
                <c:pt idx="238">
                  <c:v>0.7</c:v>
                </c:pt>
                <c:pt idx="239">
                  <c:v>9.5</c:v>
                </c:pt>
                <c:pt idx="240">
                  <c:v>5.9</c:v>
                </c:pt>
                <c:pt idx="241">
                  <c:v>7.5</c:v>
                </c:pt>
                <c:pt idx="242">
                  <c:v>5</c:v>
                </c:pt>
                <c:pt idx="243">
                  <c:v>5.4</c:v>
                </c:pt>
                <c:pt idx="244">
                  <c:v>8.9</c:v>
                </c:pt>
                <c:pt idx="245">
                  <c:v>3.9</c:v>
                </c:pt>
                <c:pt idx="246">
                  <c:v>1.6</c:v>
                </c:pt>
                <c:pt idx="247">
                  <c:v>6.5</c:v>
                </c:pt>
                <c:pt idx="248">
                  <c:v>5.0999999999999996</c:v>
                </c:pt>
                <c:pt idx="249">
                  <c:v>13.3</c:v>
                </c:pt>
                <c:pt idx="250">
                  <c:v>3.8</c:v>
                </c:pt>
                <c:pt idx="251">
                  <c:v>2.5</c:v>
                </c:pt>
                <c:pt idx="252">
                  <c:v>0.7</c:v>
                </c:pt>
                <c:pt idx="253">
                  <c:v>6.1</c:v>
                </c:pt>
                <c:pt idx="254">
                  <c:v>9.4</c:v>
                </c:pt>
                <c:pt idx="255">
                  <c:v>1.3</c:v>
                </c:pt>
                <c:pt idx="256">
                  <c:v>8.8000000000000007</c:v>
                </c:pt>
                <c:pt idx="257">
                  <c:v>3.6</c:v>
                </c:pt>
                <c:pt idx="258">
                  <c:v>5.2</c:v>
                </c:pt>
                <c:pt idx="259">
                  <c:v>0.4</c:v>
                </c:pt>
                <c:pt idx="260">
                  <c:v>5.4</c:v>
                </c:pt>
                <c:pt idx="261">
                  <c:v>4</c:v>
                </c:pt>
                <c:pt idx="262">
                  <c:v>5.5</c:v>
                </c:pt>
                <c:pt idx="263">
                  <c:v>10.4</c:v>
                </c:pt>
                <c:pt idx="264">
                  <c:v>1.7</c:v>
                </c:pt>
                <c:pt idx="265">
                  <c:v>3.9</c:v>
                </c:pt>
                <c:pt idx="266">
                  <c:v>10.1</c:v>
                </c:pt>
                <c:pt idx="267">
                  <c:v>1.4</c:v>
                </c:pt>
                <c:pt idx="268">
                  <c:v>6.5</c:v>
                </c:pt>
                <c:pt idx="269">
                  <c:v>6.2</c:v>
                </c:pt>
                <c:pt idx="270">
                  <c:v>7.7</c:v>
                </c:pt>
                <c:pt idx="271">
                  <c:v>5.3</c:v>
                </c:pt>
                <c:pt idx="272">
                  <c:v>0.7</c:v>
                </c:pt>
                <c:pt idx="273">
                  <c:v>2.2999999999999998</c:v>
                </c:pt>
                <c:pt idx="274">
                  <c:v>5.9</c:v>
                </c:pt>
                <c:pt idx="275">
                  <c:v>6</c:v>
                </c:pt>
                <c:pt idx="276">
                  <c:v>6.1</c:v>
                </c:pt>
                <c:pt idx="277">
                  <c:v>9.8000000000000007</c:v>
                </c:pt>
                <c:pt idx="278">
                  <c:v>7.5</c:v>
                </c:pt>
                <c:pt idx="279">
                  <c:v>5.7</c:v>
                </c:pt>
                <c:pt idx="280">
                  <c:v>9.1999999999999993</c:v>
                </c:pt>
                <c:pt idx="281">
                  <c:v>12.2</c:v>
                </c:pt>
                <c:pt idx="282">
                  <c:v>5.6</c:v>
                </c:pt>
                <c:pt idx="283">
                  <c:v>19.8</c:v>
                </c:pt>
                <c:pt idx="284">
                  <c:v>2.9</c:v>
                </c:pt>
                <c:pt idx="285">
                  <c:v>3.7</c:v>
                </c:pt>
                <c:pt idx="286">
                  <c:v>9.6999999999999993</c:v>
                </c:pt>
                <c:pt idx="287">
                  <c:v>6.9</c:v>
                </c:pt>
                <c:pt idx="288">
                  <c:v>9.5</c:v>
                </c:pt>
                <c:pt idx="289">
                  <c:v>3.4</c:v>
                </c:pt>
                <c:pt idx="290">
                  <c:v>5.9</c:v>
                </c:pt>
                <c:pt idx="291">
                  <c:v>5.3</c:v>
                </c:pt>
                <c:pt idx="292">
                  <c:v>5.4</c:v>
                </c:pt>
                <c:pt idx="293">
                  <c:v>5</c:v>
                </c:pt>
                <c:pt idx="294">
                  <c:v>3.6</c:v>
                </c:pt>
                <c:pt idx="295">
                  <c:v>5.4</c:v>
                </c:pt>
                <c:pt idx="296">
                  <c:v>5.0999999999999996</c:v>
                </c:pt>
                <c:pt idx="297">
                  <c:v>1.1000000000000001</c:v>
                </c:pt>
                <c:pt idx="298">
                  <c:v>4.4000000000000004</c:v>
                </c:pt>
                <c:pt idx="299">
                  <c:v>9.8000000000000007</c:v>
                </c:pt>
                <c:pt idx="300">
                  <c:v>7.8</c:v>
                </c:pt>
                <c:pt idx="301">
                  <c:v>3.1</c:v>
                </c:pt>
                <c:pt idx="302">
                  <c:v>1.8</c:v>
                </c:pt>
                <c:pt idx="303">
                  <c:v>6.2</c:v>
                </c:pt>
                <c:pt idx="304">
                  <c:v>5.4</c:v>
                </c:pt>
                <c:pt idx="305">
                  <c:v>3</c:v>
                </c:pt>
                <c:pt idx="306">
                  <c:v>9.5</c:v>
                </c:pt>
                <c:pt idx="307">
                  <c:v>7.2</c:v>
                </c:pt>
                <c:pt idx="308">
                  <c:v>3.3</c:v>
                </c:pt>
                <c:pt idx="309">
                  <c:v>2.7</c:v>
                </c:pt>
                <c:pt idx="310">
                  <c:v>1.2</c:v>
                </c:pt>
                <c:pt idx="311">
                  <c:v>4</c:v>
                </c:pt>
                <c:pt idx="312">
                  <c:v>9.6</c:v>
                </c:pt>
                <c:pt idx="313">
                  <c:v>1.6</c:v>
                </c:pt>
                <c:pt idx="314">
                  <c:v>11.7</c:v>
                </c:pt>
                <c:pt idx="315">
                  <c:v>0.4</c:v>
                </c:pt>
                <c:pt idx="316">
                  <c:v>4.3</c:v>
                </c:pt>
                <c:pt idx="317">
                  <c:v>4.4000000000000004</c:v>
                </c:pt>
                <c:pt idx="318">
                  <c:v>6.5</c:v>
                </c:pt>
                <c:pt idx="319">
                  <c:v>10.7</c:v>
                </c:pt>
                <c:pt idx="320">
                  <c:v>1</c:v>
                </c:pt>
                <c:pt idx="321">
                  <c:v>8</c:v>
                </c:pt>
                <c:pt idx="322">
                  <c:v>6.6</c:v>
                </c:pt>
                <c:pt idx="323">
                  <c:v>8.9</c:v>
                </c:pt>
                <c:pt idx="324">
                  <c:v>7.5</c:v>
                </c:pt>
                <c:pt idx="325">
                  <c:v>6.3</c:v>
                </c:pt>
                <c:pt idx="326">
                  <c:v>5.4</c:v>
                </c:pt>
                <c:pt idx="327">
                  <c:v>12.7</c:v>
                </c:pt>
                <c:pt idx="328">
                  <c:v>10.1</c:v>
                </c:pt>
                <c:pt idx="329">
                  <c:v>4.2</c:v>
                </c:pt>
                <c:pt idx="330">
                  <c:v>14.2</c:v>
                </c:pt>
                <c:pt idx="331">
                  <c:v>7</c:v>
                </c:pt>
                <c:pt idx="332">
                  <c:v>0.5</c:v>
                </c:pt>
                <c:pt idx="333">
                  <c:v>6.1</c:v>
                </c:pt>
                <c:pt idx="334">
                  <c:v>7</c:v>
                </c:pt>
                <c:pt idx="335">
                  <c:v>6</c:v>
                </c:pt>
                <c:pt idx="336">
                  <c:v>7.1</c:v>
                </c:pt>
                <c:pt idx="337">
                  <c:v>1</c:v>
                </c:pt>
                <c:pt idx="338">
                  <c:v>3.5</c:v>
                </c:pt>
                <c:pt idx="339">
                  <c:v>3.7</c:v>
                </c:pt>
                <c:pt idx="340">
                  <c:v>5.3</c:v>
                </c:pt>
                <c:pt idx="341">
                  <c:v>7.5</c:v>
                </c:pt>
                <c:pt idx="342">
                  <c:v>7.8</c:v>
                </c:pt>
                <c:pt idx="343">
                  <c:v>7.8</c:v>
                </c:pt>
                <c:pt idx="344">
                  <c:v>14</c:v>
                </c:pt>
                <c:pt idx="345">
                  <c:v>11.3</c:v>
                </c:pt>
                <c:pt idx="346">
                  <c:v>9.4</c:v>
                </c:pt>
                <c:pt idx="347">
                  <c:v>3.9</c:v>
                </c:pt>
                <c:pt idx="348">
                  <c:v>6.4</c:v>
                </c:pt>
                <c:pt idx="349">
                  <c:v>8.8000000000000007</c:v>
                </c:pt>
                <c:pt idx="350">
                  <c:v>4.2</c:v>
                </c:pt>
                <c:pt idx="351">
                  <c:v>3.7</c:v>
                </c:pt>
                <c:pt idx="352">
                  <c:v>4.3</c:v>
                </c:pt>
                <c:pt idx="353">
                  <c:v>6.7</c:v>
                </c:pt>
                <c:pt idx="354">
                  <c:v>6</c:v>
                </c:pt>
                <c:pt idx="355">
                  <c:v>10.8</c:v>
                </c:pt>
                <c:pt idx="356">
                  <c:v>13.2</c:v>
                </c:pt>
                <c:pt idx="357">
                  <c:v>4.9000000000000004</c:v>
                </c:pt>
                <c:pt idx="358">
                  <c:v>2.4</c:v>
                </c:pt>
                <c:pt idx="359">
                  <c:v>2.2999999999999998</c:v>
                </c:pt>
                <c:pt idx="360">
                  <c:v>6.5</c:v>
                </c:pt>
                <c:pt idx="361">
                  <c:v>2.2000000000000002</c:v>
                </c:pt>
                <c:pt idx="362">
                  <c:v>6.3</c:v>
                </c:pt>
                <c:pt idx="363">
                  <c:v>3.1</c:v>
                </c:pt>
                <c:pt idx="364">
                  <c:v>3.6</c:v>
                </c:pt>
                <c:pt idx="365">
                  <c:v>6.6</c:v>
                </c:pt>
                <c:pt idx="366">
                  <c:v>5.3</c:v>
                </c:pt>
                <c:pt idx="367">
                  <c:v>4</c:v>
                </c:pt>
                <c:pt idx="368">
                  <c:v>1.7</c:v>
                </c:pt>
                <c:pt idx="369">
                  <c:v>7.9</c:v>
                </c:pt>
                <c:pt idx="370">
                  <c:v>7.4</c:v>
                </c:pt>
                <c:pt idx="371">
                  <c:v>5.0999999999999996</c:v>
                </c:pt>
                <c:pt idx="372">
                  <c:v>13.8</c:v>
                </c:pt>
                <c:pt idx="373">
                  <c:v>1.9</c:v>
                </c:pt>
                <c:pt idx="374">
                  <c:v>10.3</c:v>
                </c:pt>
                <c:pt idx="375">
                  <c:v>4.5999999999999996</c:v>
                </c:pt>
                <c:pt idx="376">
                  <c:v>5.6</c:v>
                </c:pt>
                <c:pt idx="377">
                  <c:v>5.9</c:v>
                </c:pt>
                <c:pt idx="378">
                  <c:v>5.4</c:v>
                </c:pt>
                <c:pt idx="379">
                  <c:v>9.1</c:v>
                </c:pt>
                <c:pt idx="380">
                  <c:v>7.9</c:v>
                </c:pt>
                <c:pt idx="381">
                  <c:v>7.5</c:v>
                </c:pt>
                <c:pt idx="382">
                  <c:v>6.9</c:v>
                </c:pt>
                <c:pt idx="383">
                  <c:v>1</c:v>
                </c:pt>
                <c:pt idx="384">
                  <c:v>6.1</c:v>
                </c:pt>
                <c:pt idx="385">
                  <c:v>4.3</c:v>
                </c:pt>
                <c:pt idx="386">
                  <c:v>9.4</c:v>
                </c:pt>
                <c:pt idx="387">
                  <c:v>8.3000000000000007</c:v>
                </c:pt>
                <c:pt idx="388">
                  <c:v>3.2</c:v>
                </c:pt>
                <c:pt idx="389">
                  <c:v>2.8</c:v>
                </c:pt>
                <c:pt idx="390">
                  <c:v>1</c:v>
                </c:pt>
                <c:pt idx="391">
                  <c:v>5.3</c:v>
                </c:pt>
                <c:pt idx="392">
                  <c:v>8</c:v>
                </c:pt>
                <c:pt idx="393">
                  <c:v>4.8</c:v>
                </c:pt>
                <c:pt idx="394">
                  <c:v>5.0999999999999996</c:v>
                </c:pt>
                <c:pt idx="395">
                  <c:v>6</c:v>
                </c:pt>
                <c:pt idx="396">
                  <c:v>6.9</c:v>
                </c:pt>
                <c:pt idx="397">
                  <c:v>13.8</c:v>
                </c:pt>
                <c:pt idx="398">
                  <c:v>9.5</c:v>
                </c:pt>
                <c:pt idx="399">
                  <c:v>5.5</c:v>
                </c:pt>
                <c:pt idx="400">
                  <c:v>4.2</c:v>
                </c:pt>
                <c:pt idx="401">
                  <c:v>5.9</c:v>
                </c:pt>
                <c:pt idx="402">
                  <c:v>0</c:v>
                </c:pt>
                <c:pt idx="403">
                  <c:v>7.6</c:v>
                </c:pt>
                <c:pt idx="404">
                  <c:v>4.4000000000000004</c:v>
                </c:pt>
                <c:pt idx="405">
                  <c:v>5.0999999999999996</c:v>
                </c:pt>
                <c:pt idx="406">
                  <c:v>14.5</c:v>
                </c:pt>
                <c:pt idx="407">
                  <c:v>8.1999999999999993</c:v>
                </c:pt>
                <c:pt idx="408">
                  <c:v>4.9000000000000004</c:v>
                </c:pt>
                <c:pt idx="409">
                  <c:v>6.5</c:v>
                </c:pt>
                <c:pt idx="410">
                  <c:v>9</c:v>
                </c:pt>
                <c:pt idx="411">
                  <c:v>9</c:v>
                </c:pt>
                <c:pt idx="412">
                  <c:v>1.4</c:v>
                </c:pt>
                <c:pt idx="413">
                  <c:v>5.3</c:v>
                </c:pt>
                <c:pt idx="414">
                  <c:v>8.1999999999999993</c:v>
                </c:pt>
                <c:pt idx="415">
                  <c:v>4.5999999999999996</c:v>
                </c:pt>
                <c:pt idx="416">
                  <c:v>6.6</c:v>
                </c:pt>
                <c:pt idx="417">
                  <c:v>5.8</c:v>
                </c:pt>
                <c:pt idx="418">
                  <c:v>6.3</c:v>
                </c:pt>
                <c:pt idx="419">
                  <c:v>4.8</c:v>
                </c:pt>
                <c:pt idx="420">
                  <c:v>6.2</c:v>
                </c:pt>
                <c:pt idx="421">
                  <c:v>7.1</c:v>
                </c:pt>
                <c:pt idx="422">
                  <c:v>3.3</c:v>
                </c:pt>
                <c:pt idx="423">
                  <c:v>7.8</c:v>
                </c:pt>
                <c:pt idx="424">
                  <c:v>12.5</c:v>
                </c:pt>
                <c:pt idx="425">
                  <c:v>5.7</c:v>
                </c:pt>
                <c:pt idx="426">
                  <c:v>13.1</c:v>
                </c:pt>
                <c:pt idx="427">
                  <c:v>10.3</c:v>
                </c:pt>
                <c:pt idx="428">
                  <c:v>10.3</c:v>
                </c:pt>
                <c:pt idx="429">
                  <c:v>6.5</c:v>
                </c:pt>
                <c:pt idx="430">
                  <c:v>4.8</c:v>
                </c:pt>
                <c:pt idx="431">
                  <c:v>9.5</c:v>
                </c:pt>
                <c:pt idx="432">
                  <c:v>7.7</c:v>
                </c:pt>
                <c:pt idx="433">
                  <c:v>5</c:v>
                </c:pt>
                <c:pt idx="434">
                  <c:v>6.6</c:v>
                </c:pt>
                <c:pt idx="435">
                  <c:v>4.3</c:v>
                </c:pt>
                <c:pt idx="436">
                  <c:v>7.9</c:v>
                </c:pt>
                <c:pt idx="437">
                  <c:v>9.1</c:v>
                </c:pt>
                <c:pt idx="438">
                  <c:v>5.2</c:v>
                </c:pt>
                <c:pt idx="439">
                  <c:v>11.3</c:v>
                </c:pt>
                <c:pt idx="440">
                  <c:v>7.3</c:v>
                </c:pt>
                <c:pt idx="441">
                  <c:v>10.4</c:v>
                </c:pt>
                <c:pt idx="442">
                  <c:v>6.6</c:v>
                </c:pt>
                <c:pt idx="443">
                  <c:v>6</c:v>
                </c:pt>
                <c:pt idx="444">
                  <c:v>0.6</c:v>
                </c:pt>
                <c:pt idx="445">
                  <c:v>0.3</c:v>
                </c:pt>
                <c:pt idx="446">
                  <c:v>0.2</c:v>
                </c:pt>
                <c:pt idx="447">
                  <c:v>0.1</c:v>
                </c:pt>
                <c:pt idx="448">
                  <c:v>11.3</c:v>
                </c:pt>
                <c:pt idx="449">
                  <c:v>6</c:v>
                </c:pt>
                <c:pt idx="450">
                  <c:v>10.6</c:v>
                </c:pt>
                <c:pt idx="451">
                  <c:v>8.1</c:v>
                </c:pt>
                <c:pt idx="452">
                  <c:v>6.5</c:v>
                </c:pt>
                <c:pt idx="453">
                  <c:v>4.4000000000000004</c:v>
                </c:pt>
                <c:pt idx="454">
                  <c:v>11.7</c:v>
                </c:pt>
                <c:pt idx="455">
                  <c:v>3.2</c:v>
                </c:pt>
                <c:pt idx="456">
                  <c:v>5.6</c:v>
                </c:pt>
                <c:pt idx="457">
                  <c:v>8</c:v>
                </c:pt>
                <c:pt idx="458">
                  <c:v>12.4</c:v>
                </c:pt>
                <c:pt idx="459">
                  <c:v>11.4</c:v>
                </c:pt>
                <c:pt idx="460">
                  <c:v>6.8</c:v>
                </c:pt>
                <c:pt idx="461">
                  <c:v>3.1</c:v>
                </c:pt>
                <c:pt idx="462">
                  <c:v>8</c:v>
                </c:pt>
                <c:pt idx="463">
                  <c:v>10.5</c:v>
                </c:pt>
                <c:pt idx="464">
                  <c:v>4.8</c:v>
                </c:pt>
                <c:pt idx="465">
                  <c:v>8.1999999999999993</c:v>
                </c:pt>
                <c:pt idx="466">
                  <c:v>10.7</c:v>
                </c:pt>
                <c:pt idx="467">
                  <c:v>2</c:v>
                </c:pt>
                <c:pt idx="468">
                  <c:v>7.4</c:v>
                </c:pt>
                <c:pt idx="469">
                  <c:v>6.2</c:v>
                </c:pt>
                <c:pt idx="470">
                  <c:v>0</c:v>
                </c:pt>
                <c:pt idx="471">
                  <c:v>7.8</c:v>
                </c:pt>
                <c:pt idx="472">
                  <c:v>8.6999999999999993</c:v>
                </c:pt>
                <c:pt idx="473">
                  <c:v>11.1</c:v>
                </c:pt>
                <c:pt idx="474">
                  <c:v>3.5</c:v>
                </c:pt>
                <c:pt idx="475">
                  <c:v>5.4</c:v>
                </c:pt>
                <c:pt idx="476">
                  <c:v>9.8000000000000007</c:v>
                </c:pt>
                <c:pt idx="477">
                  <c:v>0.7</c:v>
                </c:pt>
                <c:pt idx="478">
                  <c:v>5.7</c:v>
                </c:pt>
                <c:pt idx="479">
                  <c:v>6.2</c:v>
                </c:pt>
                <c:pt idx="480">
                  <c:v>5.2</c:v>
                </c:pt>
                <c:pt idx="481">
                  <c:v>8.8000000000000007</c:v>
                </c:pt>
                <c:pt idx="482">
                  <c:v>11.6</c:v>
                </c:pt>
                <c:pt idx="483">
                  <c:v>0</c:v>
                </c:pt>
                <c:pt idx="484">
                  <c:v>5.7</c:v>
                </c:pt>
                <c:pt idx="485">
                  <c:v>5.0999999999999996</c:v>
                </c:pt>
                <c:pt idx="486">
                  <c:v>5.9</c:v>
                </c:pt>
                <c:pt idx="487">
                  <c:v>4.9000000000000004</c:v>
                </c:pt>
                <c:pt idx="488">
                  <c:v>7.5</c:v>
                </c:pt>
                <c:pt idx="489">
                  <c:v>8.5</c:v>
                </c:pt>
                <c:pt idx="490">
                  <c:v>5.3</c:v>
                </c:pt>
                <c:pt idx="491">
                  <c:v>3.6</c:v>
                </c:pt>
                <c:pt idx="492">
                  <c:v>8.5</c:v>
                </c:pt>
                <c:pt idx="493">
                  <c:v>7.1</c:v>
                </c:pt>
                <c:pt idx="494">
                  <c:v>6</c:v>
                </c:pt>
                <c:pt idx="495">
                  <c:v>8.5</c:v>
                </c:pt>
                <c:pt idx="496">
                  <c:v>9.4</c:v>
                </c:pt>
                <c:pt idx="497">
                  <c:v>5.6</c:v>
                </c:pt>
                <c:pt idx="498">
                  <c:v>1</c:v>
                </c:pt>
                <c:pt idx="499">
                  <c:v>6.7</c:v>
                </c:pt>
                <c:pt idx="500">
                  <c:v>2.2999999999999998</c:v>
                </c:pt>
                <c:pt idx="501">
                  <c:v>4.7</c:v>
                </c:pt>
                <c:pt idx="502">
                  <c:v>4.9000000000000004</c:v>
                </c:pt>
                <c:pt idx="503">
                  <c:v>11.6</c:v>
                </c:pt>
                <c:pt idx="504">
                  <c:v>6.6</c:v>
                </c:pt>
                <c:pt idx="505">
                  <c:v>8.6</c:v>
                </c:pt>
                <c:pt idx="506">
                  <c:v>5</c:v>
                </c:pt>
                <c:pt idx="507">
                  <c:v>9.5</c:v>
                </c:pt>
                <c:pt idx="508">
                  <c:v>7</c:v>
                </c:pt>
                <c:pt idx="509">
                  <c:v>2.9</c:v>
                </c:pt>
                <c:pt idx="510">
                  <c:v>6.1</c:v>
                </c:pt>
                <c:pt idx="511">
                  <c:v>7.5</c:v>
                </c:pt>
                <c:pt idx="512">
                  <c:v>11.4</c:v>
                </c:pt>
                <c:pt idx="513">
                  <c:v>9</c:v>
                </c:pt>
                <c:pt idx="514">
                  <c:v>0.8</c:v>
                </c:pt>
                <c:pt idx="515">
                  <c:v>6</c:v>
                </c:pt>
                <c:pt idx="516">
                  <c:v>3.4</c:v>
                </c:pt>
                <c:pt idx="517">
                  <c:v>3.7</c:v>
                </c:pt>
                <c:pt idx="518">
                  <c:v>8.1999999999999993</c:v>
                </c:pt>
                <c:pt idx="519">
                  <c:v>6.5</c:v>
                </c:pt>
                <c:pt idx="520">
                  <c:v>7.5</c:v>
                </c:pt>
                <c:pt idx="521">
                  <c:v>8.1</c:v>
                </c:pt>
                <c:pt idx="522">
                  <c:v>5.3</c:v>
                </c:pt>
                <c:pt idx="523">
                  <c:v>6.6</c:v>
                </c:pt>
                <c:pt idx="524">
                  <c:v>8.1</c:v>
                </c:pt>
                <c:pt idx="525">
                  <c:v>5.6</c:v>
                </c:pt>
                <c:pt idx="526">
                  <c:v>6.3</c:v>
                </c:pt>
                <c:pt idx="527">
                  <c:v>3.9</c:v>
                </c:pt>
                <c:pt idx="528">
                  <c:v>6.9</c:v>
                </c:pt>
                <c:pt idx="529">
                  <c:v>5.4</c:v>
                </c:pt>
                <c:pt idx="530">
                  <c:v>6.2</c:v>
                </c:pt>
                <c:pt idx="531">
                  <c:v>5.9</c:v>
                </c:pt>
                <c:pt idx="532">
                  <c:v>4.5</c:v>
                </c:pt>
                <c:pt idx="533">
                  <c:v>10.5</c:v>
                </c:pt>
                <c:pt idx="534">
                  <c:v>5.3</c:v>
                </c:pt>
                <c:pt idx="535">
                  <c:v>3.1</c:v>
                </c:pt>
                <c:pt idx="536">
                  <c:v>1.4</c:v>
                </c:pt>
                <c:pt idx="537">
                  <c:v>6</c:v>
                </c:pt>
                <c:pt idx="538">
                  <c:v>12.6</c:v>
                </c:pt>
                <c:pt idx="539">
                  <c:v>9.4</c:v>
                </c:pt>
                <c:pt idx="540">
                  <c:v>9.1</c:v>
                </c:pt>
                <c:pt idx="541">
                  <c:v>4.9000000000000004</c:v>
                </c:pt>
                <c:pt idx="542">
                  <c:v>2.2999999999999998</c:v>
                </c:pt>
                <c:pt idx="543">
                  <c:v>2.9</c:v>
                </c:pt>
                <c:pt idx="544">
                  <c:v>6</c:v>
                </c:pt>
                <c:pt idx="545">
                  <c:v>4.3</c:v>
                </c:pt>
                <c:pt idx="546">
                  <c:v>7.5</c:v>
                </c:pt>
                <c:pt idx="547">
                  <c:v>7.6</c:v>
                </c:pt>
                <c:pt idx="548">
                  <c:v>3.4</c:v>
                </c:pt>
                <c:pt idx="549">
                  <c:v>0.7</c:v>
                </c:pt>
                <c:pt idx="550">
                  <c:v>6.5</c:v>
                </c:pt>
                <c:pt idx="551">
                  <c:v>6.6</c:v>
                </c:pt>
                <c:pt idx="552">
                  <c:v>5.8</c:v>
                </c:pt>
                <c:pt idx="553">
                  <c:v>7.8</c:v>
                </c:pt>
                <c:pt idx="554">
                  <c:v>6.9</c:v>
                </c:pt>
                <c:pt idx="555">
                  <c:v>11.2</c:v>
                </c:pt>
                <c:pt idx="556">
                  <c:v>5.0999999999999996</c:v>
                </c:pt>
                <c:pt idx="557">
                  <c:v>12.3</c:v>
                </c:pt>
                <c:pt idx="558">
                  <c:v>3.8</c:v>
                </c:pt>
                <c:pt idx="559">
                  <c:v>13.2</c:v>
                </c:pt>
                <c:pt idx="560">
                  <c:v>10.4</c:v>
                </c:pt>
                <c:pt idx="561">
                  <c:v>6.3</c:v>
                </c:pt>
                <c:pt idx="562">
                  <c:v>8.4</c:v>
                </c:pt>
                <c:pt idx="563">
                  <c:v>8.6</c:v>
                </c:pt>
                <c:pt idx="564">
                  <c:v>8.5</c:v>
                </c:pt>
                <c:pt idx="565">
                  <c:v>0.9</c:v>
                </c:pt>
                <c:pt idx="566">
                  <c:v>0.1</c:v>
                </c:pt>
                <c:pt idx="567">
                  <c:v>11.5</c:v>
                </c:pt>
                <c:pt idx="568">
                  <c:v>6.3</c:v>
                </c:pt>
                <c:pt idx="569">
                  <c:v>6.6</c:v>
                </c:pt>
                <c:pt idx="570">
                  <c:v>0</c:v>
                </c:pt>
                <c:pt idx="571">
                  <c:v>8.5</c:v>
                </c:pt>
                <c:pt idx="572">
                  <c:v>5.9</c:v>
                </c:pt>
                <c:pt idx="573">
                  <c:v>3.8</c:v>
                </c:pt>
                <c:pt idx="574">
                  <c:v>3.4</c:v>
                </c:pt>
                <c:pt idx="575">
                  <c:v>6.8</c:v>
                </c:pt>
                <c:pt idx="576">
                  <c:v>6.1</c:v>
                </c:pt>
                <c:pt idx="577">
                  <c:v>4.9000000000000004</c:v>
                </c:pt>
                <c:pt idx="578">
                  <c:v>12.3</c:v>
                </c:pt>
                <c:pt idx="579">
                  <c:v>3.7</c:v>
                </c:pt>
                <c:pt idx="580">
                  <c:v>5</c:v>
                </c:pt>
                <c:pt idx="581">
                  <c:v>7.5</c:v>
                </c:pt>
                <c:pt idx="582">
                  <c:v>10.7</c:v>
                </c:pt>
                <c:pt idx="583">
                  <c:v>9.1</c:v>
                </c:pt>
                <c:pt idx="584">
                  <c:v>3.2</c:v>
                </c:pt>
                <c:pt idx="585">
                  <c:v>5.3</c:v>
                </c:pt>
                <c:pt idx="586">
                  <c:v>5.3</c:v>
                </c:pt>
                <c:pt idx="587">
                  <c:v>5.9</c:v>
                </c:pt>
                <c:pt idx="588">
                  <c:v>8.6</c:v>
                </c:pt>
                <c:pt idx="589">
                  <c:v>7.1</c:v>
                </c:pt>
                <c:pt idx="590">
                  <c:v>3.6</c:v>
                </c:pt>
                <c:pt idx="591">
                  <c:v>10.7</c:v>
                </c:pt>
                <c:pt idx="592">
                  <c:v>8.6999999999999993</c:v>
                </c:pt>
                <c:pt idx="593">
                  <c:v>2.2000000000000002</c:v>
                </c:pt>
                <c:pt idx="594">
                  <c:v>7.5</c:v>
                </c:pt>
                <c:pt idx="595">
                  <c:v>4.5999999999999996</c:v>
                </c:pt>
                <c:pt idx="596">
                  <c:v>5.9</c:v>
                </c:pt>
                <c:pt idx="597">
                  <c:v>5.7</c:v>
                </c:pt>
                <c:pt idx="598">
                  <c:v>6.3</c:v>
                </c:pt>
                <c:pt idx="599">
                  <c:v>7.8</c:v>
                </c:pt>
                <c:pt idx="600">
                  <c:v>7.7</c:v>
                </c:pt>
                <c:pt idx="601">
                  <c:v>6.5</c:v>
                </c:pt>
                <c:pt idx="602">
                  <c:v>5.5</c:v>
                </c:pt>
                <c:pt idx="603">
                  <c:v>9.1999999999999993</c:v>
                </c:pt>
                <c:pt idx="604">
                  <c:v>8.6999999999999993</c:v>
                </c:pt>
                <c:pt idx="605">
                  <c:v>10.3</c:v>
                </c:pt>
                <c:pt idx="606">
                  <c:v>15</c:v>
                </c:pt>
                <c:pt idx="607">
                  <c:v>9.5</c:v>
                </c:pt>
                <c:pt idx="608">
                  <c:v>3.5</c:v>
                </c:pt>
                <c:pt idx="609">
                  <c:v>5.6</c:v>
                </c:pt>
                <c:pt idx="610">
                  <c:v>7</c:v>
                </c:pt>
                <c:pt idx="611">
                  <c:v>8.8000000000000007</c:v>
                </c:pt>
                <c:pt idx="612">
                  <c:v>14.1</c:v>
                </c:pt>
                <c:pt idx="613">
                  <c:v>13.6</c:v>
                </c:pt>
                <c:pt idx="614">
                  <c:v>4.8</c:v>
                </c:pt>
                <c:pt idx="615">
                  <c:v>7.3</c:v>
                </c:pt>
                <c:pt idx="616">
                  <c:v>5</c:v>
                </c:pt>
                <c:pt idx="617">
                  <c:v>6.3</c:v>
                </c:pt>
                <c:pt idx="618">
                  <c:v>8.8000000000000007</c:v>
                </c:pt>
                <c:pt idx="619">
                  <c:v>7.7</c:v>
                </c:pt>
                <c:pt idx="620">
                  <c:v>6.4</c:v>
                </c:pt>
                <c:pt idx="621">
                  <c:v>13.2</c:v>
                </c:pt>
                <c:pt idx="622">
                  <c:v>5.3</c:v>
                </c:pt>
                <c:pt idx="623">
                  <c:v>8</c:v>
                </c:pt>
                <c:pt idx="624">
                  <c:v>2.9</c:v>
                </c:pt>
                <c:pt idx="625">
                  <c:v>2.9</c:v>
                </c:pt>
                <c:pt idx="626">
                  <c:v>4.5</c:v>
                </c:pt>
                <c:pt idx="627">
                  <c:v>7.6</c:v>
                </c:pt>
                <c:pt idx="628">
                  <c:v>4</c:v>
                </c:pt>
                <c:pt idx="629">
                  <c:v>6.1</c:v>
                </c:pt>
                <c:pt idx="630">
                  <c:v>6.3</c:v>
                </c:pt>
                <c:pt idx="631">
                  <c:v>7.7</c:v>
                </c:pt>
                <c:pt idx="632">
                  <c:v>3.3</c:v>
                </c:pt>
                <c:pt idx="633">
                  <c:v>7</c:v>
                </c:pt>
                <c:pt idx="634">
                  <c:v>5.0999999999999996</c:v>
                </c:pt>
                <c:pt idx="635">
                  <c:v>4.0999999999999996</c:v>
                </c:pt>
                <c:pt idx="636">
                  <c:v>6.1</c:v>
                </c:pt>
                <c:pt idx="637">
                  <c:v>8.3000000000000007</c:v>
                </c:pt>
                <c:pt idx="638">
                  <c:v>7.2</c:v>
                </c:pt>
                <c:pt idx="639">
                  <c:v>2.2999999999999998</c:v>
                </c:pt>
                <c:pt idx="640">
                  <c:v>7.4</c:v>
                </c:pt>
                <c:pt idx="641">
                  <c:v>7.4</c:v>
                </c:pt>
                <c:pt idx="642">
                  <c:v>10.5</c:v>
                </c:pt>
                <c:pt idx="643">
                  <c:v>4.5999999999999996</c:v>
                </c:pt>
                <c:pt idx="644">
                  <c:v>7</c:v>
                </c:pt>
                <c:pt idx="645">
                  <c:v>10</c:v>
                </c:pt>
                <c:pt idx="646">
                  <c:v>6.3</c:v>
                </c:pt>
                <c:pt idx="647">
                  <c:v>6.1</c:v>
                </c:pt>
                <c:pt idx="648">
                  <c:v>8.1</c:v>
                </c:pt>
                <c:pt idx="649">
                  <c:v>9.8000000000000007</c:v>
                </c:pt>
                <c:pt idx="650">
                  <c:v>10</c:v>
                </c:pt>
                <c:pt idx="651">
                  <c:v>6.6</c:v>
                </c:pt>
                <c:pt idx="652">
                  <c:v>4.0999999999999996</c:v>
                </c:pt>
                <c:pt idx="653">
                  <c:v>7.1</c:v>
                </c:pt>
                <c:pt idx="654">
                  <c:v>0.6</c:v>
                </c:pt>
                <c:pt idx="655">
                  <c:v>7.3</c:v>
                </c:pt>
                <c:pt idx="656">
                  <c:v>5.2</c:v>
                </c:pt>
                <c:pt idx="657">
                  <c:v>1.3</c:v>
                </c:pt>
                <c:pt idx="658">
                  <c:v>5.7</c:v>
                </c:pt>
                <c:pt idx="659">
                  <c:v>3.3</c:v>
                </c:pt>
                <c:pt idx="660">
                  <c:v>1.9</c:v>
                </c:pt>
                <c:pt idx="661">
                  <c:v>7.2</c:v>
                </c:pt>
                <c:pt idx="662">
                  <c:v>7.8</c:v>
                </c:pt>
                <c:pt idx="663">
                  <c:v>2.2999999999999998</c:v>
                </c:pt>
                <c:pt idx="664">
                  <c:v>5</c:v>
                </c:pt>
                <c:pt idx="665">
                  <c:v>5.4</c:v>
                </c:pt>
                <c:pt idx="666">
                  <c:v>6.4</c:v>
                </c:pt>
                <c:pt idx="667">
                  <c:v>4.0999999999999996</c:v>
                </c:pt>
                <c:pt idx="668">
                  <c:v>2.9</c:v>
                </c:pt>
                <c:pt idx="669">
                  <c:v>6</c:v>
                </c:pt>
                <c:pt idx="670">
                  <c:v>2.2999999999999998</c:v>
                </c:pt>
                <c:pt idx="671">
                  <c:v>8.8000000000000007</c:v>
                </c:pt>
                <c:pt idx="672">
                  <c:v>4.4000000000000004</c:v>
                </c:pt>
                <c:pt idx="673">
                  <c:v>5.6</c:v>
                </c:pt>
                <c:pt idx="674">
                  <c:v>6.2</c:v>
                </c:pt>
                <c:pt idx="675">
                  <c:v>7.2</c:v>
                </c:pt>
                <c:pt idx="676">
                  <c:v>5.9</c:v>
                </c:pt>
                <c:pt idx="677">
                  <c:v>7.7</c:v>
                </c:pt>
                <c:pt idx="678">
                  <c:v>6.8</c:v>
                </c:pt>
                <c:pt idx="679">
                  <c:v>3.8</c:v>
                </c:pt>
                <c:pt idx="680">
                  <c:v>2.2000000000000002</c:v>
                </c:pt>
                <c:pt idx="681">
                  <c:v>11</c:v>
                </c:pt>
                <c:pt idx="682">
                  <c:v>1.3</c:v>
                </c:pt>
                <c:pt idx="683">
                  <c:v>8.1999999999999993</c:v>
                </c:pt>
                <c:pt idx="684">
                  <c:v>1.3</c:v>
                </c:pt>
                <c:pt idx="685">
                  <c:v>9.3000000000000007</c:v>
                </c:pt>
                <c:pt idx="686">
                  <c:v>5.6</c:v>
                </c:pt>
                <c:pt idx="687">
                  <c:v>5.9</c:v>
                </c:pt>
                <c:pt idx="688">
                  <c:v>4.7</c:v>
                </c:pt>
                <c:pt idx="689">
                  <c:v>3.7</c:v>
                </c:pt>
                <c:pt idx="690">
                  <c:v>10.3</c:v>
                </c:pt>
                <c:pt idx="691">
                  <c:v>7.7</c:v>
                </c:pt>
                <c:pt idx="692">
                  <c:v>1</c:v>
                </c:pt>
                <c:pt idx="693">
                  <c:v>5.0999999999999996</c:v>
                </c:pt>
                <c:pt idx="694">
                  <c:v>9</c:v>
                </c:pt>
                <c:pt idx="695">
                  <c:v>6.6</c:v>
                </c:pt>
                <c:pt idx="696">
                  <c:v>4.0999999999999996</c:v>
                </c:pt>
                <c:pt idx="697">
                  <c:v>6.7</c:v>
                </c:pt>
                <c:pt idx="698">
                  <c:v>7.6</c:v>
                </c:pt>
                <c:pt idx="699">
                  <c:v>3.8</c:v>
                </c:pt>
                <c:pt idx="700">
                  <c:v>6.9</c:v>
                </c:pt>
                <c:pt idx="701">
                  <c:v>3.6</c:v>
                </c:pt>
                <c:pt idx="702">
                  <c:v>10.199999999999999</c:v>
                </c:pt>
                <c:pt idx="703">
                  <c:v>10.1</c:v>
                </c:pt>
                <c:pt idx="704">
                  <c:v>11.4</c:v>
                </c:pt>
                <c:pt idx="705">
                  <c:v>5.4</c:v>
                </c:pt>
                <c:pt idx="706">
                  <c:v>1.4</c:v>
                </c:pt>
                <c:pt idx="707">
                  <c:v>1.2</c:v>
                </c:pt>
                <c:pt idx="708">
                  <c:v>9.4</c:v>
                </c:pt>
                <c:pt idx="709">
                  <c:v>6.1</c:v>
                </c:pt>
                <c:pt idx="710">
                  <c:v>9.6999999999999993</c:v>
                </c:pt>
                <c:pt idx="711">
                  <c:v>6</c:v>
                </c:pt>
                <c:pt idx="712">
                  <c:v>3.9</c:v>
                </c:pt>
                <c:pt idx="713">
                  <c:v>7.2</c:v>
                </c:pt>
                <c:pt idx="714">
                  <c:v>7.9</c:v>
                </c:pt>
                <c:pt idx="715">
                  <c:v>4.8</c:v>
                </c:pt>
                <c:pt idx="716">
                  <c:v>7.4</c:v>
                </c:pt>
                <c:pt idx="717">
                  <c:v>4.8</c:v>
                </c:pt>
                <c:pt idx="718">
                  <c:v>10.6</c:v>
                </c:pt>
                <c:pt idx="719">
                  <c:v>5</c:v>
                </c:pt>
                <c:pt idx="720">
                  <c:v>11.2</c:v>
                </c:pt>
                <c:pt idx="721">
                  <c:v>5.3</c:v>
                </c:pt>
                <c:pt idx="722">
                  <c:v>6.9</c:v>
                </c:pt>
                <c:pt idx="723">
                  <c:v>9.1</c:v>
                </c:pt>
                <c:pt idx="724">
                  <c:v>5</c:v>
                </c:pt>
                <c:pt idx="725">
                  <c:v>2.2999999999999998</c:v>
                </c:pt>
                <c:pt idx="726">
                  <c:v>7.7</c:v>
                </c:pt>
                <c:pt idx="727">
                  <c:v>6.4</c:v>
                </c:pt>
                <c:pt idx="728">
                  <c:v>7.6</c:v>
                </c:pt>
                <c:pt idx="729">
                  <c:v>6.1</c:v>
                </c:pt>
                <c:pt idx="730">
                  <c:v>6.7</c:v>
                </c:pt>
                <c:pt idx="731">
                  <c:v>5</c:v>
                </c:pt>
                <c:pt idx="732">
                  <c:v>6.4</c:v>
                </c:pt>
                <c:pt idx="733">
                  <c:v>10.6</c:v>
                </c:pt>
                <c:pt idx="734">
                  <c:v>6.5</c:v>
                </c:pt>
                <c:pt idx="735">
                  <c:v>7.1</c:v>
                </c:pt>
                <c:pt idx="736">
                  <c:v>5.0999999999999996</c:v>
                </c:pt>
                <c:pt idx="737">
                  <c:v>9.1</c:v>
                </c:pt>
                <c:pt idx="738">
                  <c:v>1.3</c:v>
                </c:pt>
                <c:pt idx="739">
                  <c:v>5.7</c:v>
                </c:pt>
                <c:pt idx="740">
                  <c:v>5</c:v>
                </c:pt>
                <c:pt idx="741">
                  <c:v>9.9</c:v>
                </c:pt>
                <c:pt idx="742">
                  <c:v>8</c:v>
                </c:pt>
                <c:pt idx="743">
                  <c:v>5.9</c:v>
                </c:pt>
                <c:pt idx="744">
                  <c:v>4.5</c:v>
                </c:pt>
                <c:pt idx="745">
                  <c:v>10.5</c:v>
                </c:pt>
                <c:pt idx="746">
                  <c:v>8.8000000000000007</c:v>
                </c:pt>
                <c:pt idx="747">
                  <c:v>3.8</c:v>
                </c:pt>
                <c:pt idx="748">
                  <c:v>8.5</c:v>
                </c:pt>
                <c:pt idx="749">
                  <c:v>8.4</c:v>
                </c:pt>
                <c:pt idx="750">
                  <c:v>4.8</c:v>
                </c:pt>
                <c:pt idx="751">
                  <c:v>9.8000000000000007</c:v>
                </c:pt>
                <c:pt idx="752">
                  <c:v>4.0999999999999996</c:v>
                </c:pt>
                <c:pt idx="753">
                  <c:v>5.8</c:v>
                </c:pt>
                <c:pt idx="754">
                  <c:v>2.4</c:v>
                </c:pt>
                <c:pt idx="755">
                  <c:v>6</c:v>
                </c:pt>
                <c:pt idx="756">
                  <c:v>6.1</c:v>
                </c:pt>
                <c:pt idx="757">
                  <c:v>6.4</c:v>
                </c:pt>
                <c:pt idx="758">
                  <c:v>4.5999999999999996</c:v>
                </c:pt>
                <c:pt idx="759">
                  <c:v>3.6</c:v>
                </c:pt>
                <c:pt idx="760">
                  <c:v>4.3</c:v>
                </c:pt>
                <c:pt idx="761">
                  <c:v>8.4</c:v>
                </c:pt>
                <c:pt idx="762">
                  <c:v>6.9</c:v>
                </c:pt>
                <c:pt idx="763">
                  <c:v>7.8</c:v>
                </c:pt>
                <c:pt idx="764">
                  <c:v>6.1</c:v>
                </c:pt>
                <c:pt idx="765">
                  <c:v>6</c:v>
                </c:pt>
                <c:pt idx="766">
                  <c:v>3.9</c:v>
                </c:pt>
                <c:pt idx="767">
                  <c:v>8.4</c:v>
                </c:pt>
                <c:pt idx="768">
                  <c:v>4.0999999999999996</c:v>
                </c:pt>
                <c:pt idx="769">
                  <c:v>1.6</c:v>
                </c:pt>
                <c:pt idx="770">
                  <c:v>4.2</c:v>
                </c:pt>
                <c:pt idx="771">
                  <c:v>6</c:v>
                </c:pt>
                <c:pt idx="772">
                  <c:v>10.199999999999999</c:v>
                </c:pt>
                <c:pt idx="773">
                  <c:v>3.6</c:v>
                </c:pt>
                <c:pt idx="774">
                  <c:v>4.7</c:v>
                </c:pt>
                <c:pt idx="775">
                  <c:v>7.6</c:v>
                </c:pt>
                <c:pt idx="776">
                  <c:v>7.6</c:v>
                </c:pt>
                <c:pt idx="777">
                  <c:v>6.6</c:v>
                </c:pt>
                <c:pt idx="778">
                  <c:v>4.5</c:v>
                </c:pt>
                <c:pt idx="779">
                  <c:v>6.6</c:v>
                </c:pt>
                <c:pt idx="780">
                  <c:v>6.4</c:v>
                </c:pt>
                <c:pt idx="781">
                  <c:v>7.7</c:v>
                </c:pt>
                <c:pt idx="782">
                  <c:v>6</c:v>
                </c:pt>
                <c:pt idx="783">
                  <c:v>5.9</c:v>
                </c:pt>
                <c:pt idx="784">
                  <c:v>6.2</c:v>
                </c:pt>
                <c:pt idx="785">
                  <c:v>13.1</c:v>
                </c:pt>
                <c:pt idx="786">
                  <c:v>6.7</c:v>
                </c:pt>
                <c:pt idx="787">
                  <c:v>6.8</c:v>
                </c:pt>
                <c:pt idx="788">
                  <c:v>7.5</c:v>
                </c:pt>
                <c:pt idx="789">
                  <c:v>4.5999999999999996</c:v>
                </c:pt>
                <c:pt idx="790">
                  <c:v>10.7</c:v>
                </c:pt>
                <c:pt idx="791">
                  <c:v>7</c:v>
                </c:pt>
                <c:pt idx="792">
                  <c:v>4.2</c:v>
                </c:pt>
                <c:pt idx="793">
                  <c:v>7.5</c:v>
                </c:pt>
                <c:pt idx="794">
                  <c:v>5.9</c:v>
                </c:pt>
                <c:pt idx="795">
                  <c:v>5.4</c:v>
                </c:pt>
                <c:pt idx="796">
                  <c:v>10.7</c:v>
                </c:pt>
                <c:pt idx="797">
                  <c:v>9.1</c:v>
                </c:pt>
                <c:pt idx="798">
                  <c:v>5.0999999999999996</c:v>
                </c:pt>
                <c:pt idx="799">
                  <c:v>4.0999999999999996</c:v>
                </c:pt>
                <c:pt idx="800">
                  <c:v>9</c:v>
                </c:pt>
                <c:pt idx="801">
                  <c:v>7.8</c:v>
                </c:pt>
                <c:pt idx="802">
                  <c:v>7.3</c:v>
                </c:pt>
                <c:pt idx="803">
                  <c:v>5.3</c:v>
                </c:pt>
                <c:pt idx="804">
                  <c:v>6.4</c:v>
                </c:pt>
                <c:pt idx="805">
                  <c:v>9</c:v>
                </c:pt>
                <c:pt idx="806">
                  <c:v>1.2</c:v>
                </c:pt>
                <c:pt idx="807">
                  <c:v>3.3</c:v>
                </c:pt>
                <c:pt idx="808">
                  <c:v>7</c:v>
                </c:pt>
                <c:pt idx="809">
                  <c:v>3.9</c:v>
                </c:pt>
                <c:pt idx="810">
                  <c:v>10.4</c:v>
                </c:pt>
                <c:pt idx="811">
                  <c:v>4.4000000000000004</c:v>
                </c:pt>
                <c:pt idx="812">
                  <c:v>9.6999999999999993</c:v>
                </c:pt>
                <c:pt idx="813">
                  <c:v>8.4</c:v>
                </c:pt>
                <c:pt idx="814">
                  <c:v>5.0999999999999996</c:v>
                </c:pt>
                <c:pt idx="815">
                  <c:v>3.8</c:v>
                </c:pt>
                <c:pt idx="816">
                  <c:v>10.9</c:v>
                </c:pt>
                <c:pt idx="817">
                  <c:v>5.0999999999999996</c:v>
                </c:pt>
                <c:pt idx="818">
                  <c:v>11.9</c:v>
                </c:pt>
                <c:pt idx="819">
                  <c:v>7</c:v>
                </c:pt>
                <c:pt idx="820">
                  <c:v>8.1999999999999993</c:v>
                </c:pt>
                <c:pt idx="821">
                  <c:v>8.6</c:v>
                </c:pt>
                <c:pt idx="822">
                  <c:v>7.3</c:v>
                </c:pt>
                <c:pt idx="823">
                  <c:v>5.2</c:v>
                </c:pt>
                <c:pt idx="824">
                  <c:v>10.8</c:v>
                </c:pt>
                <c:pt idx="825">
                  <c:v>5.3</c:v>
                </c:pt>
                <c:pt idx="826">
                  <c:v>5.8</c:v>
                </c:pt>
                <c:pt idx="827">
                  <c:v>6.8</c:v>
                </c:pt>
                <c:pt idx="828">
                  <c:v>7</c:v>
                </c:pt>
                <c:pt idx="829">
                  <c:v>1.3</c:v>
                </c:pt>
                <c:pt idx="830">
                  <c:v>4.3</c:v>
                </c:pt>
                <c:pt idx="831">
                  <c:v>5.4</c:v>
                </c:pt>
                <c:pt idx="832">
                  <c:v>5.3</c:v>
                </c:pt>
                <c:pt idx="833">
                  <c:v>6.4</c:v>
                </c:pt>
                <c:pt idx="834">
                  <c:v>9.1999999999999993</c:v>
                </c:pt>
                <c:pt idx="835">
                  <c:v>6.7</c:v>
                </c:pt>
                <c:pt idx="836">
                  <c:v>8.6999999999999993</c:v>
                </c:pt>
                <c:pt idx="837">
                  <c:v>5.4</c:v>
                </c:pt>
                <c:pt idx="838">
                  <c:v>10.6</c:v>
                </c:pt>
                <c:pt idx="839">
                  <c:v>5.2</c:v>
                </c:pt>
                <c:pt idx="840">
                  <c:v>11.8</c:v>
                </c:pt>
                <c:pt idx="841">
                  <c:v>6.6</c:v>
                </c:pt>
                <c:pt idx="842">
                  <c:v>5.3</c:v>
                </c:pt>
                <c:pt idx="843">
                  <c:v>9.8000000000000007</c:v>
                </c:pt>
                <c:pt idx="844">
                  <c:v>0.4</c:v>
                </c:pt>
                <c:pt idx="845">
                  <c:v>10.3</c:v>
                </c:pt>
                <c:pt idx="846">
                  <c:v>4.4000000000000004</c:v>
                </c:pt>
                <c:pt idx="847">
                  <c:v>5.6</c:v>
                </c:pt>
                <c:pt idx="848">
                  <c:v>13.2</c:v>
                </c:pt>
                <c:pt idx="849">
                  <c:v>6.7</c:v>
                </c:pt>
                <c:pt idx="850">
                  <c:v>7.4</c:v>
                </c:pt>
                <c:pt idx="851">
                  <c:v>5.4</c:v>
                </c:pt>
                <c:pt idx="852">
                  <c:v>8.5</c:v>
                </c:pt>
                <c:pt idx="853">
                  <c:v>12</c:v>
                </c:pt>
                <c:pt idx="854">
                  <c:v>6</c:v>
                </c:pt>
                <c:pt idx="855">
                  <c:v>8.1999999999999993</c:v>
                </c:pt>
                <c:pt idx="856">
                  <c:v>2</c:v>
                </c:pt>
                <c:pt idx="857">
                  <c:v>4.8</c:v>
                </c:pt>
                <c:pt idx="858">
                  <c:v>6.5</c:v>
                </c:pt>
                <c:pt idx="859">
                  <c:v>7.4</c:v>
                </c:pt>
                <c:pt idx="860">
                  <c:v>7.6</c:v>
                </c:pt>
                <c:pt idx="861">
                  <c:v>9.1</c:v>
                </c:pt>
                <c:pt idx="862">
                  <c:v>8</c:v>
                </c:pt>
                <c:pt idx="863">
                  <c:v>0.8</c:v>
                </c:pt>
                <c:pt idx="864">
                  <c:v>9.5</c:v>
                </c:pt>
                <c:pt idx="865">
                  <c:v>9.3000000000000007</c:v>
                </c:pt>
                <c:pt idx="866">
                  <c:v>9.3000000000000007</c:v>
                </c:pt>
                <c:pt idx="867">
                  <c:v>7.7</c:v>
                </c:pt>
                <c:pt idx="868">
                  <c:v>9.6999999999999993</c:v>
                </c:pt>
                <c:pt idx="869">
                  <c:v>9.3000000000000007</c:v>
                </c:pt>
                <c:pt idx="870">
                  <c:v>6.7</c:v>
                </c:pt>
                <c:pt idx="871">
                  <c:v>10.199999999999999</c:v>
                </c:pt>
                <c:pt idx="872">
                  <c:v>6.3</c:v>
                </c:pt>
                <c:pt idx="873">
                  <c:v>5.6</c:v>
                </c:pt>
                <c:pt idx="874">
                  <c:v>5.0999999999999996</c:v>
                </c:pt>
                <c:pt idx="875">
                  <c:v>4</c:v>
                </c:pt>
                <c:pt idx="876">
                  <c:v>9.4</c:v>
                </c:pt>
                <c:pt idx="877">
                  <c:v>6.8</c:v>
                </c:pt>
                <c:pt idx="878">
                  <c:v>5</c:v>
                </c:pt>
                <c:pt idx="879">
                  <c:v>7.3</c:v>
                </c:pt>
                <c:pt idx="880">
                  <c:v>1.5</c:v>
                </c:pt>
                <c:pt idx="881">
                  <c:v>1.6</c:v>
                </c:pt>
                <c:pt idx="882">
                  <c:v>10.9</c:v>
                </c:pt>
                <c:pt idx="883">
                  <c:v>8</c:v>
                </c:pt>
                <c:pt idx="884">
                  <c:v>9.8000000000000007</c:v>
                </c:pt>
                <c:pt idx="885">
                  <c:v>8</c:v>
                </c:pt>
                <c:pt idx="886">
                  <c:v>6.1</c:v>
                </c:pt>
                <c:pt idx="887">
                  <c:v>5.8</c:v>
                </c:pt>
                <c:pt idx="888">
                  <c:v>3.4</c:v>
                </c:pt>
                <c:pt idx="889">
                  <c:v>9.3000000000000007</c:v>
                </c:pt>
                <c:pt idx="890">
                  <c:v>9.1999999999999993</c:v>
                </c:pt>
                <c:pt idx="891">
                  <c:v>5.9</c:v>
                </c:pt>
                <c:pt idx="892">
                  <c:v>6</c:v>
                </c:pt>
                <c:pt idx="893">
                  <c:v>7.5</c:v>
                </c:pt>
                <c:pt idx="894">
                  <c:v>7.5</c:v>
                </c:pt>
                <c:pt idx="895">
                  <c:v>6.9</c:v>
                </c:pt>
                <c:pt idx="896">
                  <c:v>5.7</c:v>
                </c:pt>
                <c:pt idx="897">
                  <c:v>9</c:v>
                </c:pt>
                <c:pt idx="898">
                  <c:v>11.5</c:v>
                </c:pt>
                <c:pt idx="899">
                  <c:v>8.5</c:v>
                </c:pt>
                <c:pt idx="900">
                  <c:v>8.5</c:v>
                </c:pt>
                <c:pt idx="901">
                  <c:v>1.3</c:v>
                </c:pt>
                <c:pt idx="902">
                  <c:v>6.4</c:v>
                </c:pt>
                <c:pt idx="903">
                  <c:v>4.4000000000000004</c:v>
                </c:pt>
                <c:pt idx="904">
                  <c:v>7.9</c:v>
                </c:pt>
                <c:pt idx="905">
                  <c:v>8.6</c:v>
                </c:pt>
                <c:pt idx="906">
                  <c:v>7.5</c:v>
                </c:pt>
                <c:pt idx="907">
                  <c:v>9</c:v>
                </c:pt>
                <c:pt idx="908">
                  <c:v>5.0999999999999996</c:v>
                </c:pt>
                <c:pt idx="909">
                  <c:v>5.2</c:v>
                </c:pt>
                <c:pt idx="910">
                  <c:v>0</c:v>
                </c:pt>
                <c:pt idx="911">
                  <c:v>4.3</c:v>
                </c:pt>
                <c:pt idx="912">
                  <c:v>6.6</c:v>
                </c:pt>
                <c:pt idx="913">
                  <c:v>5.2</c:v>
                </c:pt>
                <c:pt idx="914">
                  <c:v>6.9</c:v>
                </c:pt>
                <c:pt idx="915">
                  <c:v>14.7</c:v>
                </c:pt>
                <c:pt idx="916">
                  <c:v>7.6</c:v>
                </c:pt>
                <c:pt idx="917">
                  <c:v>6.7</c:v>
                </c:pt>
                <c:pt idx="918">
                  <c:v>6.3</c:v>
                </c:pt>
                <c:pt idx="919">
                  <c:v>14.6</c:v>
                </c:pt>
                <c:pt idx="920">
                  <c:v>5.9</c:v>
                </c:pt>
                <c:pt idx="921">
                  <c:v>9.1</c:v>
                </c:pt>
                <c:pt idx="922">
                  <c:v>9.1</c:v>
                </c:pt>
                <c:pt idx="923">
                  <c:v>7.7</c:v>
                </c:pt>
                <c:pt idx="924">
                  <c:v>10.9</c:v>
                </c:pt>
                <c:pt idx="925">
                  <c:v>10.199999999999999</c:v>
                </c:pt>
                <c:pt idx="926">
                  <c:v>5</c:v>
                </c:pt>
                <c:pt idx="927">
                  <c:v>3.9</c:v>
                </c:pt>
                <c:pt idx="928">
                  <c:v>0.9</c:v>
                </c:pt>
                <c:pt idx="929">
                  <c:v>5</c:v>
                </c:pt>
                <c:pt idx="930">
                  <c:v>8.8000000000000007</c:v>
                </c:pt>
                <c:pt idx="931">
                  <c:v>8.1</c:v>
                </c:pt>
                <c:pt idx="932">
                  <c:v>4</c:v>
                </c:pt>
                <c:pt idx="933">
                  <c:v>6</c:v>
                </c:pt>
                <c:pt idx="934">
                  <c:v>7</c:v>
                </c:pt>
                <c:pt idx="935">
                  <c:v>3.9</c:v>
                </c:pt>
                <c:pt idx="936">
                  <c:v>12.2</c:v>
                </c:pt>
                <c:pt idx="937">
                  <c:v>3.9</c:v>
                </c:pt>
                <c:pt idx="938">
                  <c:v>4.3</c:v>
                </c:pt>
                <c:pt idx="939">
                  <c:v>1.2</c:v>
                </c:pt>
                <c:pt idx="940">
                  <c:v>10</c:v>
                </c:pt>
                <c:pt idx="941">
                  <c:v>5.4</c:v>
                </c:pt>
                <c:pt idx="942">
                  <c:v>2</c:v>
                </c:pt>
                <c:pt idx="943">
                  <c:v>3.5</c:v>
                </c:pt>
                <c:pt idx="944">
                  <c:v>4.5</c:v>
                </c:pt>
                <c:pt idx="945">
                  <c:v>9.3000000000000007</c:v>
                </c:pt>
                <c:pt idx="946">
                  <c:v>5</c:v>
                </c:pt>
                <c:pt idx="947">
                  <c:v>6.2</c:v>
                </c:pt>
                <c:pt idx="948">
                  <c:v>5.7</c:v>
                </c:pt>
                <c:pt idx="949">
                  <c:v>2.6</c:v>
                </c:pt>
                <c:pt idx="950">
                  <c:v>4.9000000000000004</c:v>
                </c:pt>
                <c:pt idx="951">
                  <c:v>4</c:v>
                </c:pt>
                <c:pt idx="952">
                  <c:v>7.2</c:v>
                </c:pt>
                <c:pt idx="953">
                  <c:v>5.6</c:v>
                </c:pt>
                <c:pt idx="954">
                  <c:v>3.9</c:v>
                </c:pt>
                <c:pt idx="955">
                  <c:v>10.199999999999999</c:v>
                </c:pt>
                <c:pt idx="956">
                  <c:v>6.6</c:v>
                </c:pt>
                <c:pt idx="957">
                  <c:v>11</c:v>
                </c:pt>
                <c:pt idx="958">
                  <c:v>5</c:v>
                </c:pt>
                <c:pt idx="959">
                  <c:v>4</c:v>
                </c:pt>
                <c:pt idx="960">
                  <c:v>8.5</c:v>
                </c:pt>
                <c:pt idx="961">
                  <c:v>11.9</c:v>
                </c:pt>
                <c:pt idx="962">
                  <c:v>6.9</c:v>
                </c:pt>
                <c:pt idx="963">
                  <c:v>5.0999999999999996</c:v>
                </c:pt>
                <c:pt idx="964">
                  <c:v>9.8000000000000007</c:v>
                </c:pt>
                <c:pt idx="965">
                  <c:v>4.9000000000000004</c:v>
                </c:pt>
                <c:pt idx="966">
                  <c:v>7.2</c:v>
                </c:pt>
                <c:pt idx="967">
                  <c:v>11</c:v>
                </c:pt>
                <c:pt idx="968">
                  <c:v>6.6</c:v>
                </c:pt>
                <c:pt idx="969">
                  <c:v>10.1</c:v>
                </c:pt>
                <c:pt idx="970">
                  <c:v>11.1</c:v>
                </c:pt>
                <c:pt idx="971">
                  <c:v>6.1</c:v>
                </c:pt>
                <c:pt idx="972">
                  <c:v>8.4</c:v>
                </c:pt>
                <c:pt idx="973">
                  <c:v>5.9</c:v>
                </c:pt>
                <c:pt idx="974">
                  <c:v>7.5</c:v>
                </c:pt>
                <c:pt idx="975">
                  <c:v>6</c:v>
                </c:pt>
                <c:pt idx="976">
                  <c:v>5.5</c:v>
                </c:pt>
                <c:pt idx="977">
                  <c:v>6.6</c:v>
                </c:pt>
                <c:pt idx="978">
                  <c:v>5.7</c:v>
                </c:pt>
                <c:pt idx="979">
                  <c:v>10</c:v>
                </c:pt>
                <c:pt idx="980">
                  <c:v>7.2</c:v>
                </c:pt>
                <c:pt idx="981">
                  <c:v>1.1000000000000001</c:v>
                </c:pt>
                <c:pt idx="982">
                  <c:v>7.9</c:v>
                </c:pt>
                <c:pt idx="983">
                  <c:v>10.3</c:v>
                </c:pt>
                <c:pt idx="984">
                  <c:v>1</c:v>
                </c:pt>
                <c:pt idx="985">
                  <c:v>9.9</c:v>
                </c:pt>
                <c:pt idx="986">
                  <c:v>4.9000000000000004</c:v>
                </c:pt>
                <c:pt idx="987">
                  <c:v>7.1</c:v>
                </c:pt>
                <c:pt idx="988">
                  <c:v>3.6</c:v>
                </c:pt>
                <c:pt idx="989">
                  <c:v>4.0999999999999996</c:v>
                </c:pt>
                <c:pt idx="990">
                  <c:v>13.7</c:v>
                </c:pt>
                <c:pt idx="991">
                  <c:v>12.8</c:v>
                </c:pt>
                <c:pt idx="992">
                  <c:v>8.6</c:v>
                </c:pt>
                <c:pt idx="993">
                  <c:v>5.2</c:v>
                </c:pt>
                <c:pt idx="994">
                  <c:v>10.1</c:v>
                </c:pt>
                <c:pt idx="995">
                  <c:v>6.4</c:v>
                </c:pt>
                <c:pt idx="996">
                  <c:v>7.2</c:v>
                </c:pt>
                <c:pt idx="997">
                  <c:v>8</c:v>
                </c:pt>
                <c:pt idx="998">
                  <c:v>6.3</c:v>
                </c:pt>
                <c:pt idx="999">
                  <c:v>9.8000000000000007</c:v>
                </c:pt>
                <c:pt idx="1000">
                  <c:v>0</c:v>
                </c:pt>
                <c:pt idx="1001">
                  <c:v>6.6</c:v>
                </c:pt>
                <c:pt idx="1002">
                  <c:v>4.9000000000000004</c:v>
                </c:pt>
                <c:pt idx="1003">
                  <c:v>7.6</c:v>
                </c:pt>
                <c:pt idx="1004">
                  <c:v>9.5</c:v>
                </c:pt>
                <c:pt idx="1005">
                  <c:v>5.9</c:v>
                </c:pt>
                <c:pt idx="1006">
                  <c:v>6.6</c:v>
                </c:pt>
                <c:pt idx="1007">
                  <c:v>7.1</c:v>
                </c:pt>
                <c:pt idx="1008">
                  <c:v>4.5</c:v>
                </c:pt>
                <c:pt idx="1009">
                  <c:v>8.9</c:v>
                </c:pt>
                <c:pt idx="1010">
                  <c:v>7.4</c:v>
                </c:pt>
                <c:pt idx="1011">
                  <c:v>8.1999999999999993</c:v>
                </c:pt>
                <c:pt idx="1012">
                  <c:v>0.6</c:v>
                </c:pt>
                <c:pt idx="1013">
                  <c:v>11</c:v>
                </c:pt>
                <c:pt idx="1014">
                  <c:v>9.1999999999999993</c:v>
                </c:pt>
                <c:pt idx="1015">
                  <c:v>3.6</c:v>
                </c:pt>
                <c:pt idx="1016">
                  <c:v>10.9</c:v>
                </c:pt>
                <c:pt idx="1017">
                  <c:v>7.2</c:v>
                </c:pt>
                <c:pt idx="1018">
                  <c:v>4.5999999999999996</c:v>
                </c:pt>
                <c:pt idx="1019">
                  <c:v>7.6</c:v>
                </c:pt>
                <c:pt idx="1020">
                  <c:v>6.7</c:v>
                </c:pt>
                <c:pt idx="1021">
                  <c:v>0.9</c:v>
                </c:pt>
                <c:pt idx="1022">
                  <c:v>3.9</c:v>
                </c:pt>
                <c:pt idx="1023">
                  <c:v>6.4</c:v>
                </c:pt>
                <c:pt idx="1024">
                  <c:v>6.6</c:v>
                </c:pt>
                <c:pt idx="1025">
                  <c:v>9</c:v>
                </c:pt>
                <c:pt idx="1026">
                  <c:v>7.6</c:v>
                </c:pt>
                <c:pt idx="1027">
                  <c:v>6.1</c:v>
                </c:pt>
                <c:pt idx="1028">
                  <c:v>4.9000000000000004</c:v>
                </c:pt>
                <c:pt idx="1029">
                  <c:v>0.3</c:v>
                </c:pt>
                <c:pt idx="1030">
                  <c:v>9.5</c:v>
                </c:pt>
                <c:pt idx="1031">
                  <c:v>6.5</c:v>
                </c:pt>
                <c:pt idx="1032">
                  <c:v>11.8</c:v>
                </c:pt>
                <c:pt idx="1033">
                  <c:v>0</c:v>
                </c:pt>
                <c:pt idx="1034">
                  <c:v>8</c:v>
                </c:pt>
                <c:pt idx="1035">
                  <c:v>10.199999999999999</c:v>
                </c:pt>
                <c:pt idx="1036">
                  <c:v>11.5</c:v>
                </c:pt>
                <c:pt idx="1037">
                  <c:v>10.199999999999999</c:v>
                </c:pt>
                <c:pt idx="1038">
                  <c:v>4.5999999999999996</c:v>
                </c:pt>
                <c:pt idx="1039">
                  <c:v>5.3</c:v>
                </c:pt>
                <c:pt idx="1040">
                  <c:v>5.3</c:v>
                </c:pt>
                <c:pt idx="1041">
                  <c:v>7.4</c:v>
                </c:pt>
                <c:pt idx="1042">
                  <c:v>6.5</c:v>
                </c:pt>
                <c:pt idx="1043">
                  <c:v>5.4</c:v>
                </c:pt>
                <c:pt idx="1044">
                  <c:v>10.3</c:v>
                </c:pt>
                <c:pt idx="1045">
                  <c:v>10.7</c:v>
                </c:pt>
                <c:pt idx="1046">
                  <c:v>6.7</c:v>
                </c:pt>
                <c:pt idx="1047">
                  <c:v>6.3</c:v>
                </c:pt>
                <c:pt idx="1048">
                  <c:v>3.8</c:v>
                </c:pt>
                <c:pt idx="1049">
                  <c:v>4.4000000000000004</c:v>
                </c:pt>
                <c:pt idx="1050">
                  <c:v>7</c:v>
                </c:pt>
                <c:pt idx="1051">
                  <c:v>3.6</c:v>
                </c:pt>
                <c:pt idx="1052">
                  <c:v>6.8</c:v>
                </c:pt>
                <c:pt idx="1053">
                  <c:v>6.6</c:v>
                </c:pt>
                <c:pt idx="1054">
                  <c:v>6.6</c:v>
                </c:pt>
                <c:pt idx="1055">
                  <c:v>3.2</c:v>
                </c:pt>
                <c:pt idx="1056">
                  <c:v>5.6</c:v>
                </c:pt>
                <c:pt idx="1057">
                  <c:v>0.5</c:v>
                </c:pt>
                <c:pt idx="1058">
                  <c:v>4.3</c:v>
                </c:pt>
                <c:pt idx="1059">
                  <c:v>8.4</c:v>
                </c:pt>
                <c:pt idx="1060">
                  <c:v>8.6</c:v>
                </c:pt>
                <c:pt idx="1061">
                  <c:v>5</c:v>
                </c:pt>
                <c:pt idx="1062">
                  <c:v>4.5</c:v>
                </c:pt>
                <c:pt idx="1063">
                  <c:v>6</c:v>
                </c:pt>
                <c:pt idx="1064">
                  <c:v>3.7</c:v>
                </c:pt>
                <c:pt idx="1065">
                  <c:v>3.3</c:v>
                </c:pt>
                <c:pt idx="1066">
                  <c:v>5.8</c:v>
                </c:pt>
                <c:pt idx="1067">
                  <c:v>9.9</c:v>
                </c:pt>
                <c:pt idx="1068">
                  <c:v>7.4</c:v>
                </c:pt>
                <c:pt idx="1069">
                  <c:v>0.7</c:v>
                </c:pt>
                <c:pt idx="1070">
                  <c:v>4.9000000000000004</c:v>
                </c:pt>
                <c:pt idx="1071">
                  <c:v>5.5</c:v>
                </c:pt>
                <c:pt idx="1072">
                  <c:v>2.2999999999999998</c:v>
                </c:pt>
                <c:pt idx="1073">
                  <c:v>10</c:v>
                </c:pt>
                <c:pt idx="1074">
                  <c:v>7.5</c:v>
                </c:pt>
                <c:pt idx="1075">
                  <c:v>9.4</c:v>
                </c:pt>
                <c:pt idx="1076">
                  <c:v>10.8</c:v>
                </c:pt>
                <c:pt idx="1077">
                  <c:v>3.7</c:v>
                </c:pt>
                <c:pt idx="1078">
                  <c:v>3.6</c:v>
                </c:pt>
                <c:pt idx="1079">
                  <c:v>7</c:v>
                </c:pt>
                <c:pt idx="1080">
                  <c:v>7</c:v>
                </c:pt>
                <c:pt idx="1081">
                  <c:v>0.3</c:v>
                </c:pt>
                <c:pt idx="1082">
                  <c:v>5.7</c:v>
                </c:pt>
                <c:pt idx="1083">
                  <c:v>5</c:v>
                </c:pt>
                <c:pt idx="1084">
                  <c:v>3</c:v>
                </c:pt>
                <c:pt idx="1085">
                  <c:v>6</c:v>
                </c:pt>
                <c:pt idx="1086">
                  <c:v>7.1</c:v>
                </c:pt>
                <c:pt idx="1087">
                  <c:v>6.7</c:v>
                </c:pt>
                <c:pt idx="1088">
                  <c:v>11.5</c:v>
                </c:pt>
                <c:pt idx="1089">
                  <c:v>3.2</c:v>
                </c:pt>
                <c:pt idx="1090">
                  <c:v>7</c:v>
                </c:pt>
                <c:pt idx="1091">
                  <c:v>10.8</c:v>
                </c:pt>
                <c:pt idx="1092">
                  <c:v>9.8000000000000007</c:v>
                </c:pt>
                <c:pt idx="1093">
                  <c:v>3.6</c:v>
                </c:pt>
                <c:pt idx="1094">
                  <c:v>6.1</c:v>
                </c:pt>
                <c:pt idx="1095">
                  <c:v>14.1</c:v>
                </c:pt>
                <c:pt idx="1096">
                  <c:v>3.7</c:v>
                </c:pt>
                <c:pt idx="1097">
                  <c:v>3.5</c:v>
                </c:pt>
                <c:pt idx="1098">
                  <c:v>6.4</c:v>
                </c:pt>
                <c:pt idx="1099">
                  <c:v>8.6</c:v>
                </c:pt>
                <c:pt idx="1100">
                  <c:v>8.1</c:v>
                </c:pt>
                <c:pt idx="1101">
                  <c:v>7.3</c:v>
                </c:pt>
                <c:pt idx="1102">
                  <c:v>9.5</c:v>
                </c:pt>
                <c:pt idx="1103">
                  <c:v>5.7</c:v>
                </c:pt>
                <c:pt idx="1104">
                  <c:v>4.2</c:v>
                </c:pt>
                <c:pt idx="1105">
                  <c:v>8.9</c:v>
                </c:pt>
                <c:pt idx="1106">
                  <c:v>6.7</c:v>
                </c:pt>
                <c:pt idx="1107">
                  <c:v>6.9</c:v>
                </c:pt>
                <c:pt idx="1108">
                  <c:v>7.7</c:v>
                </c:pt>
                <c:pt idx="1109">
                  <c:v>10.199999999999999</c:v>
                </c:pt>
                <c:pt idx="1110">
                  <c:v>1.8</c:v>
                </c:pt>
                <c:pt idx="1111">
                  <c:v>15.2</c:v>
                </c:pt>
                <c:pt idx="1112">
                  <c:v>8.3000000000000007</c:v>
                </c:pt>
                <c:pt idx="1113">
                  <c:v>8.5</c:v>
                </c:pt>
                <c:pt idx="1114">
                  <c:v>8.5</c:v>
                </c:pt>
                <c:pt idx="1115">
                  <c:v>3.2</c:v>
                </c:pt>
                <c:pt idx="1116">
                  <c:v>9.1999999999999993</c:v>
                </c:pt>
                <c:pt idx="1117">
                  <c:v>9.1</c:v>
                </c:pt>
                <c:pt idx="1118">
                  <c:v>8.1</c:v>
                </c:pt>
                <c:pt idx="1119">
                  <c:v>6.7</c:v>
                </c:pt>
                <c:pt idx="1120">
                  <c:v>13.3</c:v>
                </c:pt>
                <c:pt idx="1121">
                  <c:v>5.3</c:v>
                </c:pt>
                <c:pt idx="1122">
                  <c:v>8.1</c:v>
                </c:pt>
                <c:pt idx="1123">
                  <c:v>3.5</c:v>
                </c:pt>
                <c:pt idx="1124">
                  <c:v>6.1</c:v>
                </c:pt>
                <c:pt idx="1125">
                  <c:v>5.4</c:v>
                </c:pt>
                <c:pt idx="1126">
                  <c:v>9.1999999999999993</c:v>
                </c:pt>
                <c:pt idx="1127">
                  <c:v>9</c:v>
                </c:pt>
                <c:pt idx="1128">
                  <c:v>11.5</c:v>
                </c:pt>
                <c:pt idx="1129">
                  <c:v>6.8</c:v>
                </c:pt>
                <c:pt idx="1130">
                  <c:v>7.9</c:v>
                </c:pt>
                <c:pt idx="1131">
                  <c:v>4.7</c:v>
                </c:pt>
                <c:pt idx="1132">
                  <c:v>4.5999999999999996</c:v>
                </c:pt>
                <c:pt idx="1133">
                  <c:v>9.1999999999999993</c:v>
                </c:pt>
                <c:pt idx="1134">
                  <c:v>7.2</c:v>
                </c:pt>
                <c:pt idx="1135">
                  <c:v>2.6</c:v>
                </c:pt>
                <c:pt idx="1136">
                  <c:v>4.9000000000000004</c:v>
                </c:pt>
                <c:pt idx="1137">
                  <c:v>7.9</c:v>
                </c:pt>
                <c:pt idx="1138">
                  <c:v>6.9</c:v>
                </c:pt>
                <c:pt idx="1139">
                  <c:v>6.1</c:v>
                </c:pt>
                <c:pt idx="1140">
                  <c:v>9.9</c:v>
                </c:pt>
                <c:pt idx="1141">
                  <c:v>9.5</c:v>
                </c:pt>
                <c:pt idx="1142">
                  <c:v>6.4</c:v>
                </c:pt>
                <c:pt idx="1143">
                  <c:v>4.3</c:v>
                </c:pt>
                <c:pt idx="1144">
                  <c:v>7.3</c:v>
                </c:pt>
                <c:pt idx="1145">
                  <c:v>1.3</c:v>
                </c:pt>
                <c:pt idx="1146">
                  <c:v>7.1</c:v>
                </c:pt>
                <c:pt idx="1147">
                  <c:v>6.5</c:v>
                </c:pt>
                <c:pt idx="1148">
                  <c:v>7.6</c:v>
                </c:pt>
                <c:pt idx="1149">
                  <c:v>6.7</c:v>
                </c:pt>
                <c:pt idx="1150">
                  <c:v>6.9</c:v>
                </c:pt>
                <c:pt idx="1151">
                  <c:v>7.9</c:v>
                </c:pt>
                <c:pt idx="1152">
                  <c:v>10.199999999999999</c:v>
                </c:pt>
                <c:pt idx="1153">
                  <c:v>8.3000000000000007</c:v>
                </c:pt>
                <c:pt idx="1154">
                  <c:v>10.4</c:v>
                </c:pt>
                <c:pt idx="1155">
                  <c:v>9.9</c:v>
                </c:pt>
                <c:pt idx="1156">
                  <c:v>6.7</c:v>
                </c:pt>
                <c:pt idx="1157">
                  <c:v>0.9</c:v>
                </c:pt>
                <c:pt idx="1158">
                  <c:v>10.9</c:v>
                </c:pt>
                <c:pt idx="1159">
                  <c:v>10.3</c:v>
                </c:pt>
                <c:pt idx="1160">
                  <c:v>7</c:v>
                </c:pt>
                <c:pt idx="1161">
                  <c:v>4</c:v>
                </c:pt>
                <c:pt idx="1162">
                  <c:v>7.3</c:v>
                </c:pt>
                <c:pt idx="1163">
                  <c:v>4.5</c:v>
                </c:pt>
                <c:pt idx="1164">
                  <c:v>11.6</c:v>
                </c:pt>
                <c:pt idx="1165">
                  <c:v>9.9</c:v>
                </c:pt>
                <c:pt idx="1166">
                  <c:v>5.0999999999999996</c:v>
                </c:pt>
                <c:pt idx="1167">
                  <c:v>7.9</c:v>
                </c:pt>
                <c:pt idx="1168">
                  <c:v>9</c:v>
                </c:pt>
                <c:pt idx="1169">
                  <c:v>3.9</c:v>
                </c:pt>
                <c:pt idx="1170">
                  <c:v>4.2</c:v>
                </c:pt>
                <c:pt idx="1171">
                  <c:v>8.1999999999999993</c:v>
                </c:pt>
                <c:pt idx="1172">
                  <c:v>9.3000000000000007</c:v>
                </c:pt>
                <c:pt idx="1173">
                  <c:v>4.8</c:v>
                </c:pt>
                <c:pt idx="1174">
                  <c:v>0.2</c:v>
                </c:pt>
                <c:pt idx="1175">
                  <c:v>0.5</c:v>
                </c:pt>
                <c:pt idx="1176">
                  <c:v>2.2000000000000002</c:v>
                </c:pt>
                <c:pt idx="1177">
                  <c:v>1.7</c:v>
                </c:pt>
                <c:pt idx="1178">
                  <c:v>5.7</c:v>
                </c:pt>
                <c:pt idx="1179">
                  <c:v>7.4</c:v>
                </c:pt>
                <c:pt idx="1180">
                  <c:v>6.1</c:v>
                </c:pt>
                <c:pt idx="1181">
                  <c:v>5.3</c:v>
                </c:pt>
                <c:pt idx="1182">
                  <c:v>10</c:v>
                </c:pt>
                <c:pt idx="1183">
                  <c:v>1.2</c:v>
                </c:pt>
                <c:pt idx="1184">
                  <c:v>7.3</c:v>
                </c:pt>
                <c:pt idx="1185">
                  <c:v>4.9000000000000004</c:v>
                </c:pt>
                <c:pt idx="1186">
                  <c:v>7.4</c:v>
                </c:pt>
                <c:pt idx="1187">
                  <c:v>6.3</c:v>
                </c:pt>
                <c:pt idx="1188">
                  <c:v>7.6</c:v>
                </c:pt>
                <c:pt idx="1189">
                  <c:v>8.6</c:v>
                </c:pt>
                <c:pt idx="1190">
                  <c:v>6.7</c:v>
                </c:pt>
                <c:pt idx="1191">
                  <c:v>8.8000000000000007</c:v>
                </c:pt>
                <c:pt idx="1192">
                  <c:v>6.2</c:v>
                </c:pt>
                <c:pt idx="1193">
                  <c:v>2.2000000000000002</c:v>
                </c:pt>
                <c:pt idx="1194">
                  <c:v>5.0999999999999996</c:v>
                </c:pt>
                <c:pt idx="1195">
                  <c:v>7.6</c:v>
                </c:pt>
                <c:pt idx="1196">
                  <c:v>10.3</c:v>
                </c:pt>
                <c:pt idx="1197">
                  <c:v>8</c:v>
                </c:pt>
                <c:pt idx="1198">
                  <c:v>6.8</c:v>
                </c:pt>
                <c:pt idx="1199">
                  <c:v>3.7</c:v>
                </c:pt>
                <c:pt idx="1200">
                  <c:v>3.7</c:v>
                </c:pt>
                <c:pt idx="1201">
                  <c:v>9.6999999999999993</c:v>
                </c:pt>
                <c:pt idx="1202">
                  <c:v>7.9</c:v>
                </c:pt>
                <c:pt idx="1203">
                  <c:v>8.6</c:v>
                </c:pt>
                <c:pt idx="1204">
                  <c:v>7.6</c:v>
                </c:pt>
                <c:pt idx="1205">
                  <c:v>5</c:v>
                </c:pt>
                <c:pt idx="1206">
                  <c:v>7</c:v>
                </c:pt>
                <c:pt idx="1207">
                  <c:v>9.3000000000000007</c:v>
                </c:pt>
                <c:pt idx="1208">
                  <c:v>6.3</c:v>
                </c:pt>
                <c:pt idx="1209">
                  <c:v>4.5</c:v>
                </c:pt>
                <c:pt idx="1210">
                  <c:v>6.2</c:v>
                </c:pt>
                <c:pt idx="1211">
                  <c:v>9.1999999999999993</c:v>
                </c:pt>
                <c:pt idx="1212">
                  <c:v>6.2</c:v>
                </c:pt>
                <c:pt idx="1213">
                  <c:v>1.4</c:v>
                </c:pt>
                <c:pt idx="1214">
                  <c:v>6.8</c:v>
                </c:pt>
                <c:pt idx="1215">
                  <c:v>8.1999999999999993</c:v>
                </c:pt>
                <c:pt idx="1216">
                  <c:v>5.6</c:v>
                </c:pt>
                <c:pt idx="1217">
                  <c:v>13.4</c:v>
                </c:pt>
                <c:pt idx="1218">
                  <c:v>5.7</c:v>
                </c:pt>
                <c:pt idx="1219">
                  <c:v>6.8</c:v>
                </c:pt>
                <c:pt idx="1220">
                  <c:v>8.3000000000000007</c:v>
                </c:pt>
                <c:pt idx="1221">
                  <c:v>6.6</c:v>
                </c:pt>
                <c:pt idx="1222">
                  <c:v>10</c:v>
                </c:pt>
                <c:pt idx="1223">
                  <c:v>4.5999999999999996</c:v>
                </c:pt>
                <c:pt idx="1224">
                  <c:v>11.6</c:v>
                </c:pt>
                <c:pt idx="1225">
                  <c:v>7.8</c:v>
                </c:pt>
                <c:pt idx="1226">
                  <c:v>6</c:v>
                </c:pt>
                <c:pt idx="1227">
                  <c:v>7.1</c:v>
                </c:pt>
                <c:pt idx="1228">
                  <c:v>7.3</c:v>
                </c:pt>
                <c:pt idx="1229">
                  <c:v>6.4</c:v>
                </c:pt>
                <c:pt idx="1230">
                  <c:v>6.5</c:v>
                </c:pt>
                <c:pt idx="1231">
                  <c:v>0.8</c:v>
                </c:pt>
                <c:pt idx="1232">
                  <c:v>4.8</c:v>
                </c:pt>
                <c:pt idx="1233">
                  <c:v>6.9</c:v>
                </c:pt>
                <c:pt idx="1234">
                  <c:v>6.6</c:v>
                </c:pt>
                <c:pt idx="1235">
                  <c:v>6.5</c:v>
                </c:pt>
                <c:pt idx="1236">
                  <c:v>8.3000000000000007</c:v>
                </c:pt>
                <c:pt idx="1237">
                  <c:v>4.0999999999999996</c:v>
                </c:pt>
                <c:pt idx="1238">
                  <c:v>7</c:v>
                </c:pt>
                <c:pt idx="1239">
                  <c:v>8.5</c:v>
                </c:pt>
                <c:pt idx="1240">
                  <c:v>6.7</c:v>
                </c:pt>
                <c:pt idx="1241">
                  <c:v>10.5</c:v>
                </c:pt>
                <c:pt idx="1242">
                  <c:v>7.5</c:v>
                </c:pt>
                <c:pt idx="1243">
                  <c:v>5.4</c:v>
                </c:pt>
                <c:pt idx="1244">
                  <c:v>4.9000000000000004</c:v>
                </c:pt>
                <c:pt idx="1245">
                  <c:v>9.5</c:v>
                </c:pt>
                <c:pt idx="1246">
                  <c:v>5.4</c:v>
                </c:pt>
                <c:pt idx="1247">
                  <c:v>6</c:v>
                </c:pt>
                <c:pt idx="1248">
                  <c:v>6.9</c:v>
                </c:pt>
                <c:pt idx="1249">
                  <c:v>8.5</c:v>
                </c:pt>
                <c:pt idx="1250">
                  <c:v>6.7</c:v>
                </c:pt>
                <c:pt idx="1251">
                  <c:v>3</c:v>
                </c:pt>
                <c:pt idx="1252">
                  <c:v>8.4</c:v>
                </c:pt>
                <c:pt idx="1253">
                  <c:v>4.9000000000000004</c:v>
                </c:pt>
                <c:pt idx="1254">
                  <c:v>5.3</c:v>
                </c:pt>
                <c:pt idx="1255">
                  <c:v>4.9000000000000004</c:v>
                </c:pt>
                <c:pt idx="1256">
                  <c:v>2.1</c:v>
                </c:pt>
                <c:pt idx="1257">
                  <c:v>6.4</c:v>
                </c:pt>
                <c:pt idx="1258">
                  <c:v>8.5</c:v>
                </c:pt>
                <c:pt idx="1259">
                  <c:v>8.8000000000000007</c:v>
                </c:pt>
                <c:pt idx="1260">
                  <c:v>6.2</c:v>
                </c:pt>
                <c:pt idx="1261">
                  <c:v>7.3</c:v>
                </c:pt>
                <c:pt idx="1262">
                  <c:v>2.9</c:v>
                </c:pt>
                <c:pt idx="1263">
                  <c:v>6.9</c:v>
                </c:pt>
                <c:pt idx="1264">
                  <c:v>7.2</c:v>
                </c:pt>
                <c:pt idx="1265">
                  <c:v>4</c:v>
                </c:pt>
                <c:pt idx="1266">
                  <c:v>4.0999999999999996</c:v>
                </c:pt>
                <c:pt idx="1267">
                  <c:v>5.7</c:v>
                </c:pt>
                <c:pt idx="1268">
                  <c:v>4.9000000000000004</c:v>
                </c:pt>
                <c:pt idx="1269">
                  <c:v>5.8</c:v>
                </c:pt>
                <c:pt idx="1270">
                  <c:v>8.3000000000000007</c:v>
                </c:pt>
                <c:pt idx="1271">
                  <c:v>8.4</c:v>
                </c:pt>
                <c:pt idx="1272">
                  <c:v>5.9</c:v>
                </c:pt>
                <c:pt idx="1273">
                  <c:v>9.6</c:v>
                </c:pt>
                <c:pt idx="1274">
                  <c:v>5.4</c:v>
                </c:pt>
                <c:pt idx="1275">
                  <c:v>5.9</c:v>
                </c:pt>
                <c:pt idx="1276">
                  <c:v>13.4</c:v>
                </c:pt>
                <c:pt idx="1277">
                  <c:v>9.1</c:v>
                </c:pt>
                <c:pt idx="1278">
                  <c:v>11.3</c:v>
                </c:pt>
                <c:pt idx="1279">
                  <c:v>8.6999999999999993</c:v>
                </c:pt>
                <c:pt idx="1280">
                  <c:v>1.9</c:v>
                </c:pt>
                <c:pt idx="1281">
                  <c:v>8.6999999999999993</c:v>
                </c:pt>
                <c:pt idx="1282">
                  <c:v>7.2</c:v>
                </c:pt>
                <c:pt idx="1283">
                  <c:v>7.8</c:v>
                </c:pt>
                <c:pt idx="1284">
                  <c:v>7</c:v>
                </c:pt>
                <c:pt idx="1285">
                  <c:v>3.9</c:v>
                </c:pt>
                <c:pt idx="1286">
                  <c:v>4.0999999999999996</c:v>
                </c:pt>
                <c:pt idx="1287">
                  <c:v>8.1999999999999993</c:v>
                </c:pt>
                <c:pt idx="1288">
                  <c:v>4.4000000000000004</c:v>
                </c:pt>
                <c:pt idx="1289">
                  <c:v>6.9</c:v>
                </c:pt>
                <c:pt idx="1290">
                  <c:v>8.1</c:v>
                </c:pt>
                <c:pt idx="1291">
                  <c:v>7.7</c:v>
                </c:pt>
                <c:pt idx="1292">
                  <c:v>1.8</c:v>
                </c:pt>
                <c:pt idx="1293">
                  <c:v>8.8000000000000007</c:v>
                </c:pt>
                <c:pt idx="1294">
                  <c:v>8.3000000000000007</c:v>
                </c:pt>
                <c:pt idx="1295">
                  <c:v>10.1</c:v>
                </c:pt>
                <c:pt idx="1296">
                  <c:v>8</c:v>
                </c:pt>
                <c:pt idx="1297">
                  <c:v>4</c:v>
                </c:pt>
                <c:pt idx="1298">
                  <c:v>2.6</c:v>
                </c:pt>
                <c:pt idx="1299">
                  <c:v>6.3</c:v>
                </c:pt>
                <c:pt idx="1300">
                  <c:v>4.7</c:v>
                </c:pt>
                <c:pt idx="1301">
                  <c:v>8.3000000000000007</c:v>
                </c:pt>
                <c:pt idx="1302">
                  <c:v>8.4</c:v>
                </c:pt>
                <c:pt idx="1303">
                  <c:v>5.8</c:v>
                </c:pt>
                <c:pt idx="1304">
                  <c:v>7.7</c:v>
                </c:pt>
                <c:pt idx="1305">
                  <c:v>8</c:v>
                </c:pt>
                <c:pt idx="1306">
                  <c:v>7.7</c:v>
                </c:pt>
                <c:pt idx="1307">
                  <c:v>5.5</c:v>
                </c:pt>
                <c:pt idx="1308">
                  <c:v>2.2000000000000002</c:v>
                </c:pt>
                <c:pt idx="1309">
                  <c:v>5.2</c:v>
                </c:pt>
                <c:pt idx="1310">
                  <c:v>9</c:v>
                </c:pt>
                <c:pt idx="1311">
                  <c:v>8.9</c:v>
                </c:pt>
                <c:pt idx="1312">
                  <c:v>9.1999999999999993</c:v>
                </c:pt>
                <c:pt idx="1313">
                  <c:v>8.5</c:v>
                </c:pt>
                <c:pt idx="1314">
                  <c:v>6</c:v>
                </c:pt>
                <c:pt idx="1315">
                  <c:v>11.6</c:v>
                </c:pt>
                <c:pt idx="1316">
                  <c:v>4</c:v>
                </c:pt>
                <c:pt idx="1317">
                  <c:v>8.6</c:v>
                </c:pt>
                <c:pt idx="1318">
                  <c:v>9.6999999999999993</c:v>
                </c:pt>
                <c:pt idx="1319">
                  <c:v>9.9</c:v>
                </c:pt>
                <c:pt idx="1320">
                  <c:v>0.8</c:v>
                </c:pt>
                <c:pt idx="1321">
                  <c:v>8.1</c:v>
                </c:pt>
                <c:pt idx="1322">
                  <c:v>10.7</c:v>
                </c:pt>
                <c:pt idx="1323">
                  <c:v>11.3</c:v>
                </c:pt>
                <c:pt idx="1324">
                  <c:v>8.1</c:v>
                </c:pt>
                <c:pt idx="1325">
                  <c:v>4.3</c:v>
                </c:pt>
                <c:pt idx="1326">
                  <c:v>7.3</c:v>
                </c:pt>
                <c:pt idx="1327">
                  <c:v>7.7</c:v>
                </c:pt>
                <c:pt idx="1328">
                  <c:v>5.3</c:v>
                </c:pt>
                <c:pt idx="1329">
                  <c:v>8.5</c:v>
                </c:pt>
                <c:pt idx="1330">
                  <c:v>8.1</c:v>
                </c:pt>
                <c:pt idx="1331">
                  <c:v>4.0999999999999996</c:v>
                </c:pt>
                <c:pt idx="1332">
                  <c:v>7.4</c:v>
                </c:pt>
                <c:pt idx="1333">
                  <c:v>5.2</c:v>
                </c:pt>
                <c:pt idx="1334">
                  <c:v>3.4</c:v>
                </c:pt>
                <c:pt idx="1335">
                  <c:v>1.2</c:v>
                </c:pt>
                <c:pt idx="1336">
                  <c:v>5.8</c:v>
                </c:pt>
                <c:pt idx="1337">
                  <c:v>10.9</c:v>
                </c:pt>
                <c:pt idx="1338">
                  <c:v>3.8</c:v>
                </c:pt>
                <c:pt idx="1339">
                  <c:v>7.1</c:v>
                </c:pt>
                <c:pt idx="1340">
                  <c:v>6.7</c:v>
                </c:pt>
                <c:pt idx="1341">
                  <c:v>3.3</c:v>
                </c:pt>
                <c:pt idx="1342">
                  <c:v>5.8</c:v>
                </c:pt>
                <c:pt idx="1343">
                  <c:v>10.9</c:v>
                </c:pt>
                <c:pt idx="1344">
                  <c:v>4.2</c:v>
                </c:pt>
                <c:pt idx="1345">
                  <c:v>0</c:v>
                </c:pt>
                <c:pt idx="1346">
                  <c:v>8.1</c:v>
                </c:pt>
                <c:pt idx="1347">
                  <c:v>7.4</c:v>
                </c:pt>
                <c:pt idx="1348">
                  <c:v>6.7</c:v>
                </c:pt>
                <c:pt idx="1349">
                  <c:v>9.1</c:v>
                </c:pt>
                <c:pt idx="1350">
                  <c:v>10.8</c:v>
                </c:pt>
                <c:pt idx="1351">
                  <c:v>4.2</c:v>
                </c:pt>
                <c:pt idx="1352">
                  <c:v>6.3</c:v>
                </c:pt>
                <c:pt idx="1353">
                  <c:v>0.8</c:v>
                </c:pt>
                <c:pt idx="1354">
                  <c:v>12.4</c:v>
                </c:pt>
                <c:pt idx="1355">
                  <c:v>5</c:v>
                </c:pt>
                <c:pt idx="1356">
                  <c:v>6.2</c:v>
                </c:pt>
                <c:pt idx="1357">
                  <c:v>6.4</c:v>
                </c:pt>
                <c:pt idx="1358">
                  <c:v>7.6</c:v>
                </c:pt>
                <c:pt idx="1359">
                  <c:v>6.5</c:v>
                </c:pt>
                <c:pt idx="1360">
                  <c:v>6.5</c:v>
                </c:pt>
                <c:pt idx="1361">
                  <c:v>3.4</c:v>
                </c:pt>
                <c:pt idx="1362">
                  <c:v>6.2</c:v>
                </c:pt>
                <c:pt idx="1363">
                  <c:v>12.8</c:v>
                </c:pt>
                <c:pt idx="1364">
                  <c:v>3.8</c:v>
                </c:pt>
                <c:pt idx="1365">
                  <c:v>11.4</c:v>
                </c:pt>
                <c:pt idx="1366">
                  <c:v>7.6</c:v>
                </c:pt>
                <c:pt idx="1367">
                  <c:v>8.9</c:v>
                </c:pt>
                <c:pt idx="1368">
                  <c:v>0</c:v>
                </c:pt>
                <c:pt idx="1369">
                  <c:v>1.6</c:v>
                </c:pt>
                <c:pt idx="1370">
                  <c:v>2.5</c:v>
                </c:pt>
                <c:pt idx="1371">
                  <c:v>13</c:v>
                </c:pt>
                <c:pt idx="1372">
                  <c:v>4.9000000000000004</c:v>
                </c:pt>
                <c:pt idx="1373">
                  <c:v>6.8</c:v>
                </c:pt>
                <c:pt idx="1374">
                  <c:v>4.9000000000000004</c:v>
                </c:pt>
                <c:pt idx="1375">
                  <c:v>1.6</c:v>
                </c:pt>
                <c:pt idx="1376">
                  <c:v>10.5</c:v>
                </c:pt>
                <c:pt idx="1377">
                  <c:v>2.5</c:v>
                </c:pt>
                <c:pt idx="1378">
                  <c:v>6.8</c:v>
                </c:pt>
                <c:pt idx="1379">
                  <c:v>9.9</c:v>
                </c:pt>
                <c:pt idx="1380">
                  <c:v>4.8</c:v>
                </c:pt>
                <c:pt idx="1381">
                  <c:v>8.1</c:v>
                </c:pt>
                <c:pt idx="1382">
                  <c:v>6.4</c:v>
                </c:pt>
                <c:pt idx="1383">
                  <c:v>9.3000000000000007</c:v>
                </c:pt>
                <c:pt idx="1384">
                  <c:v>8.1</c:v>
                </c:pt>
                <c:pt idx="1385">
                  <c:v>6.4</c:v>
                </c:pt>
                <c:pt idx="1386">
                  <c:v>8.8000000000000007</c:v>
                </c:pt>
                <c:pt idx="1387">
                  <c:v>9.1999999999999993</c:v>
                </c:pt>
                <c:pt idx="1388">
                  <c:v>11</c:v>
                </c:pt>
                <c:pt idx="1389">
                  <c:v>13</c:v>
                </c:pt>
                <c:pt idx="1390">
                  <c:v>3.6</c:v>
                </c:pt>
                <c:pt idx="1391">
                  <c:v>8.6</c:v>
                </c:pt>
                <c:pt idx="1392">
                  <c:v>7.4</c:v>
                </c:pt>
                <c:pt idx="1393">
                  <c:v>6.3</c:v>
                </c:pt>
                <c:pt idx="1394">
                  <c:v>8.4</c:v>
                </c:pt>
                <c:pt idx="1395">
                  <c:v>7.3</c:v>
                </c:pt>
                <c:pt idx="1396">
                  <c:v>13.5</c:v>
                </c:pt>
                <c:pt idx="1397">
                  <c:v>10</c:v>
                </c:pt>
                <c:pt idx="1398">
                  <c:v>2.4</c:v>
                </c:pt>
                <c:pt idx="1399">
                  <c:v>7.8</c:v>
                </c:pt>
                <c:pt idx="1400">
                  <c:v>9.1</c:v>
                </c:pt>
                <c:pt idx="1401">
                  <c:v>3.1</c:v>
                </c:pt>
                <c:pt idx="1402">
                  <c:v>5.6</c:v>
                </c:pt>
                <c:pt idx="1403">
                  <c:v>4.2</c:v>
                </c:pt>
                <c:pt idx="1404">
                  <c:v>5</c:v>
                </c:pt>
                <c:pt idx="1405">
                  <c:v>2.2999999999999998</c:v>
                </c:pt>
                <c:pt idx="1406">
                  <c:v>4.3</c:v>
                </c:pt>
                <c:pt idx="1407">
                  <c:v>7.4</c:v>
                </c:pt>
                <c:pt idx="1408">
                  <c:v>9.6999999999999993</c:v>
                </c:pt>
                <c:pt idx="1409">
                  <c:v>5.0999999999999996</c:v>
                </c:pt>
                <c:pt idx="1410">
                  <c:v>11.5</c:v>
                </c:pt>
                <c:pt idx="1411">
                  <c:v>3.5</c:v>
                </c:pt>
                <c:pt idx="1412">
                  <c:v>5.0999999999999996</c:v>
                </c:pt>
                <c:pt idx="1413">
                  <c:v>5.4</c:v>
                </c:pt>
                <c:pt idx="1414">
                  <c:v>11.1</c:v>
                </c:pt>
                <c:pt idx="1415">
                  <c:v>7.6</c:v>
                </c:pt>
                <c:pt idx="1416">
                  <c:v>4.9000000000000004</c:v>
                </c:pt>
                <c:pt idx="1417">
                  <c:v>6.7</c:v>
                </c:pt>
                <c:pt idx="1418">
                  <c:v>5.7</c:v>
                </c:pt>
                <c:pt idx="1419">
                  <c:v>4.5</c:v>
                </c:pt>
                <c:pt idx="1420">
                  <c:v>0.8</c:v>
                </c:pt>
                <c:pt idx="1421">
                  <c:v>8.5</c:v>
                </c:pt>
                <c:pt idx="1422">
                  <c:v>7.7</c:v>
                </c:pt>
                <c:pt idx="1423">
                  <c:v>7.4</c:v>
                </c:pt>
                <c:pt idx="1424">
                  <c:v>9.8000000000000007</c:v>
                </c:pt>
                <c:pt idx="1425">
                  <c:v>6.6</c:v>
                </c:pt>
                <c:pt idx="1426">
                  <c:v>10.4</c:v>
                </c:pt>
                <c:pt idx="1427">
                  <c:v>6.1</c:v>
                </c:pt>
                <c:pt idx="1428">
                  <c:v>5.8</c:v>
                </c:pt>
                <c:pt idx="1429">
                  <c:v>7.5</c:v>
                </c:pt>
                <c:pt idx="1430">
                  <c:v>7.2</c:v>
                </c:pt>
                <c:pt idx="1431">
                  <c:v>3.9</c:v>
                </c:pt>
                <c:pt idx="1432">
                  <c:v>6.5</c:v>
                </c:pt>
                <c:pt idx="1433">
                  <c:v>6.7</c:v>
                </c:pt>
                <c:pt idx="1434">
                  <c:v>6.5</c:v>
                </c:pt>
                <c:pt idx="1435">
                  <c:v>11.3</c:v>
                </c:pt>
                <c:pt idx="1436">
                  <c:v>8.3000000000000007</c:v>
                </c:pt>
                <c:pt idx="1437">
                  <c:v>7</c:v>
                </c:pt>
                <c:pt idx="1438">
                  <c:v>8.4</c:v>
                </c:pt>
                <c:pt idx="1439">
                  <c:v>9.3000000000000007</c:v>
                </c:pt>
                <c:pt idx="1440">
                  <c:v>4.9000000000000004</c:v>
                </c:pt>
                <c:pt idx="1441">
                  <c:v>8.6</c:v>
                </c:pt>
                <c:pt idx="1442">
                  <c:v>3.4</c:v>
                </c:pt>
                <c:pt idx="1443">
                  <c:v>5.3</c:v>
                </c:pt>
                <c:pt idx="1444">
                  <c:v>10.3</c:v>
                </c:pt>
                <c:pt idx="1445">
                  <c:v>8</c:v>
                </c:pt>
                <c:pt idx="1446">
                  <c:v>8</c:v>
                </c:pt>
                <c:pt idx="1447">
                  <c:v>10</c:v>
                </c:pt>
                <c:pt idx="1448">
                  <c:v>12.1</c:v>
                </c:pt>
                <c:pt idx="1449">
                  <c:v>7.4</c:v>
                </c:pt>
                <c:pt idx="1450">
                  <c:v>6.3</c:v>
                </c:pt>
                <c:pt idx="1451">
                  <c:v>9.1</c:v>
                </c:pt>
                <c:pt idx="1452">
                  <c:v>7.7</c:v>
                </c:pt>
                <c:pt idx="1453">
                  <c:v>6.7</c:v>
                </c:pt>
                <c:pt idx="1454">
                  <c:v>2.9</c:v>
                </c:pt>
                <c:pt idx="1455">
                  <c:v>7.2</c:v>
                </c:pt>
                <c:pt idx="1456">
                  <c:v>6.2</c:v>
                </c:pt>
                <c:pt idx="1457">
                  <c:v>11.5</c:v>
                </c:pt>
                <c:pt idx="1458">
                  <c:v>7.7</c:v>
                </c:pt>
                <c:pt idx="1459">
                  <c:v>7</c:v>
                </c:pt>
                <c:pt idx="1460">
                  <c:v>6.2</c:v>
                </c:pt>
                <c:pt idx="1461">
                  <c:v>7.3</c:v>
                </c:pt>
                <c:pt idx="1462">
                  <c:v>9.4</c:v>
                </c:pt>
                <c:pt idx="1463">
                  <c:v>11.5</c:v>
                </c:pt>
                <c:pt idx="1464">
                  <c:v>4.5</c:v>
                </c:pt>
                <c:pt idx="1465">
                  <c:v>13</c:v>
                </c:pt>
                <c:pt idx="1466">
                  <c:v>7.2</c:v>
                </c:pt>
                <c:pt idx="1467">
                  <c:v>4</c:v>
                </c:pt>
                <c:pt idx="1468">
                  <c:v>5</c:v>
                </c:pt>
                <c:pt idx="1469">
                  <c:v>2.7</c:v>
                </c:pt>
                <c:pt idx="1470">
                  <c:v>11.5</c:v>
                </c:pt>
                <c:pt idx="1471">
                  <c:v>10.4</c:v>
                </c:pt>
                <c:pt idx="1472">
                  <c:v>4.8</c:v>
                </c:pt>
                <c:pt idx="1473">
                  <c:v>0.9</c:v>
                </c:pt>
                <c:pt idx="1474">
                  <c:v>7.8</c:v>
                </c:pt>
                <c:pt idx="1475">
                  <c:v>4.5</c:v>
                </c:pt>
                <c:pt idx="1476">
                  <c:v>8.9</c:v>
                </c:pt>
                <c:pt idx="1477">
                  <c:v>6.8</c:v>
                </c:pt>
                <c:pt idx="1478">
                  <c:v>6.8</c:v>
                </c:pt>
                <c:pt idx="1479">
                  <c:v>10.1</c:v>
                </c:pt>
                <c:pt idx="1480">
                  <c:v>6.3</c:v>
                </c:pt>
                <c:pt idx="1481">
                  <c:v>8.8000000000000007</c:v>
                </c:pt>
                <c:pt idx="1482">
                  <c:v>7.4</c:v>
                </c:pt>
                <c:pt idx="1483">
                  <c:v>3.7</c:v>
                </c:pt>
                <c:pt idx="1484">
                  <c:v>6.7</c:v>
                </c:pt>
                <c:pt idx="1485">
                  <c:v>9.6</c:v>
                </c:pt>
                <c:pt idx="1486">
                  <c:v>7.2</c:v>
                </c:pt>
                <c:pt idx="1487">
                  <c:v>1.7</c:v>
                </c:pt>
                <c:pt idx="1488">
                  <c:v>11.6</c:v>
                </c:pt>
                <c:pt idx="1489">
                  <c:v>6.1</c:v>
                </c:pt>
                <c:pt idx="1490">
                  <c:v>6.5</c:v>
                </c:pt>
                <c:pt idx="1491">
                  <c:v>12.5</c:v>
                </c:pt>
                <c:pt idx="1492">
                  <c:v>5.4</c:v>
                </c:pt>
                <c:pt idx="1493">
                  <c:v>5.2</c:v>
                </c:pt>
                <c:pt idx="1494">
                  <c:v>10.5</c:v>
                </c:pt>
                <c:pt idx="1495">
                  <c:v>0.1</c:v>
                </c:pt>
                <c:pt idx="1496">
                  <c:v>4.5</c:v>
                </c:pt>
                <c:pt idx="1497">
                  <c:v>8</c:v>
                </c:pt>
                <c:pt idx="1498">
                  <c:v>6.7</c:v>
                </c:pt>
                <c:pt idx="1499">
                  <c:v>5.9</c:v>
                </c:pt>
                <c:pt idx="1500">
                  <c:v>7.6</c:v>
                </c:pt>
                <c:pt idx="1501">
                  <c:v>7.4</c:v>
                </c:pt>
                <c:pt idx="1502">
                  <c:v>12.1</c:v>
                </c:pt>
                <c:pt idx="1503">
                  <c:v>5.0999999999999996</c:v>
                </c:pt>
                <c:pt idx="1504">
                  <c:v>4.2</c:v>
                </c:pt>
                <c:pt idx="1505">
                  <c:v>8.1</c:v>
                </c:pt>
                <c:pt idx="1506">
                  <c:v>7.8</c:v>
                </c:pt>
                <c:pt idx="1507">
                  <c:v>8.1</c:v>
                </c:pt>
                <c:pt idx="1508">
                  <c:v>6.4</c:v>
                </c:pt>
                <c:pt idx="1509">
                  <c:v>7.3</c:v>
                </c:pt>
                <c:pt idx="1510">
                  <c:v>10.3</c:v>
                </c:pt>
                <c:pt idx="1511">
                  <c:v>6.8</c:v>
                </c:pt>
                <c:pt idx="1512">
                  <c:v>3</c:v>
                </c:pt>
                <c:pt idx="1513">
                  <c:v>4.8</c:v>
                </c:pt>
                <c:pt idx="1514">
                  <c:v>9.6999999999999993</c:v>
                </c:pt>
                <c:pt idx="1515">
                  <c:v>7.9</c:v>
                </c:pt>
                <c:pt idx="1516">
                  <c:v>3.6</c:v>
                </c:pt>
                <c:pt idx="1517">
                  <c:v>12.4</c:v>
                </c:pt>
                <c:pt idx="1518">
                  <c:v>7.2</c:v>
                </c:pt>
                <c:pt idx="1519">
                  <c:v>10.199999999999999</c:v>
                </c:pt>
                <c:pt idx="1520">
                  <c:v>2.2000000000000002</c:v>
                </c:pt>
                <c:pt idx="1521">
                  <c:v>6.5</c:v>
                </c:pt>
                <c:pt idx="1522">
                  <c:v>13.4</c:v>
                </c:pt>
                <c:pt idx="1523">
                  <c:v>7.7</c:v>
                </c:pt>
                <c:pt idx="1524">
                  <c:v>4.5</c:v>
                </c:pt>
                <c:pt idx="1525">
                  <c:v>7.2</c:v>
                </c:pt>
                <c:pt idx="1526">
                  <c:v>9.6</c:v>
                </c:pt>
                <c:pt idx="1527">
                  <c:v>7.6</c:v>
                </c:pt>
                <c:pt idx="1528">
                  <c:v>6.3</c:v>
                </c:pt>
                <c:pt idx="1529">
                  <c:v>10.1</c:v>
                </c:pt>
                <c:pt idx="1530">
                  <c:v>8.4</c:v>
                </c:pt>
                <c:pt idx="1531">
                  <c:v>3.9</c:v>
                </c:pt>
                <c:pt idx="1532">
                  <c:v>0.6</c:v>
                </c:pt>
                <c:pt idx="1533">
                  <c:v>9.5</c:v>
                </c:pt>
                <c:pt idx="1534">
                  <c:v>10.8</c:v>
                </c:pt>
                <c:pt idx="1535">
                  <c:v>7.3</c:v>
                </c:pt>
                <c:pt idx="1536">
                  <c:v>11.1</c:v>
                </c:pt>
                <c:pt idx="1537">
                  <c:v>5.3</c:v>
                </c:pt>
                <c:pt idx="1538">
                  <c:v>6.9</c:v>
                </c:pt>
                <c:pt idx="1539">
                  <c:v>7.4</c:v>
                </c:pt>
                <c:pt idx="1540">
                  <c:v>7.7</c:v>
                </c:pt>
                <c:pt idx="1541">
                  <c:v>7.5</c:v>
                </c:pt>
                <c:pt idx="1542">
                  <c:v>8</c:v>
                </c:pt>
                <c:pt idx="1543">
                  <c:v>3.4</c:v>
                </c:pt>
                <c:pt idx="1544">
                  <c:v>5.7</c:v>
                </c:pt>
                <c:pt idx="1545">
                  <c:v>4.5</c:v>
                </c:pt>
                <c:pt idx="1546">
                  <c:v>7.3</c:v>
                </c:pt>
                <c:pt idx="1547">
                  <c:v>8.4</c:v>
                </c:pt>
                <c:pt idx="1548">
                  <c:v>8.1</c:v>
                </c:pt>
                <c:pt idx="1549">
                  <c:v>7.4</c:v>
                </c:pt>
                <c:pt idx="1550">
                  <c:v>10.6</c:v>
                </c:pt>
                <c:pt idx="1551">
                  <c:v>10.1</c:v>
                </c:pt>
                <c:pt idx="1552">
                  <c:v>5.9</c:v>
                </c:pt>
                <c:pt idx="1553">
                  <c:v>6</c:v>
                </c:pt>
                <c:pt idx="1554">
                  <c:v>8.5</c:v>
                </c:pt>
                <c:pt idx="1555">
                  <c:v>7.9</c:v>
                </c:pt>
                <c:pt idx="1556">
                  <c:v>7.8</c:v>
                </c:pt>
                <c:pt idx="1557">
                  <c:v>7.2</c:v>
                </c:pt>
                <c:pt idx="1558">
                  <c:v>4.3</c:v>
                </c:pt>
                <c:pt idx="1559">
                  <c:v>5.6</c:v>
                </c:pt>
                <c:pt idx="1560">
                  <c:v>3.5</c:v>
                </c:pt>
                <c:pt idx="1561">
                  <c:v>6.1</c:v>
                </c:pt>
                <c:pt idx="1562">
                  <c:v>3.9</c:v>
                </c:pt>
                <c:pt idx="1563">
                  <c:v>6.3</c:v>
                </c:pt>
                <c:pt idx="1564">
                  <c:v>11.4</c:v>
                </c:pt>
                <c:pt idx="1565">
                  <c:v>4.7</c:v>
                </c:pt>
                <c:pt idx="1566">
                  <c:v>7.9</c:v>
                </c:pt>
                <c:pt idx="1567">
                  <c:v>7.9</c:v>
                </c:pt>
                <c:pt idx="1568">
                  <c:v>4.9000000000000004</c:v>
                </c:pt>
                <c:pt idx="1569">
                  <c:v>6.7</c:v>
                </c:pt>
                <c:pt idx="1570">
                  <c:v>0.6</c:v>
                </c:pt>
                <c:pt idx="1571">
                  <c:v>0.9</c:v>
                </c:pt>
                <c:pt idx="1572">
                  <c:v>10.5</c:v>
                </c:pt>
                <c:pt idx="1573">
                  <c:v>6</c:v>
                </c:pt>
                <c:pt idx="1574">
                  <c:v>9.9</c:v>
                </c:pt>
                <c:pt idx="1575">
                  <c:v>7.3</c:v>
                </c:pt>
                <c:pt idx="1576">
                  <c:v>5.7</c:v>
                </c:pt>
                <c:pt idx="1577">
                  <c:v>5.9</c:v>
                </c:pt>
                <c:pt idx="1578">
                  <c:v>12.5</c:v>
                </c:pt>
                <c:pt idx="1579">
                  <c:v>12.7</c:v>
                </c:pt>
                <c:pt idx="1580">
                  <c:v>6.5</c:v>
                </c:pt>
                <c:pt idx="1581">
                  <c:v>8.6</c:v>
                </c:pt>
                <c:pt idx="1582">
                  <c:v>2.5</c:v>
                </c:pt>
                <c:pt idx="1583">
                  <c:v>11.1</c:v>
                </c:pt>
                <c:pt idx="1584">
                  <c:v>5.7</c:v>
                </c:pt>
                <c:pt idx="1585">
                  <c:v>6.8</c:v>
                </c:pt>
                <c:pt idx="1586">
                  <c:v>8.6999999999999993</c:v>
                </c:pt>
                <c:pt idx="1587">
                  <c:v>8.6999999999999993</c:v>
                </c:pt>
                <c:pt idx="1588">
                  <c:v>9</c:v>
                </c:pt>
                <c:pt idx="1589">
                  <c:v>7.5</c:v>
                </c:pt>
                <c:pt idx="1590">
                  <c:v>2</c:v>
                </c:pt>
                <c:pt idx="1591">
                  <c:v>5.3</c:v>
                </c:pt>
                <c:pt idx="1592">
                  <c:v>6.2</c:v>
                </c:pt>
                <c:pt idx="1593">
                  <c:v>9.8000000000000007</c:v>
                </c:pt>
                <c:pt idx="1594">
                  <c:v>5.9</c:v>
                </c:pt>
                <c:pt idx="1595">
                  <c:v>4.8</c:v>
                </c:pt>
                <c:pt idx="1596">
                  <c:v>8.8000000000000007</c:v>
                </c:pt>
                <c:pt idx="1597">
                  <c:v>7.7</c:v>
                </c:pt>
                <c:pt idx="1598">
                  <c:v>2.2000000000000002</c:v>
                </c:pt>
                <c:pt idx="1599">
                  <c:v>5.5</c:v>
                </c:pt>
                <c:pt idx="1600">
                  <c:v>8.9</c:v>
                </c:pt>
                <c:pt idx="1601">
                  <c:v>4.0999999999999996</c:v>
                </c:pt>
                <c:pt idx="1602">
                  <c:v>8.6999999999999993</c:v>
                </c:pt>
                <c:pt idx="1603">
                  <c:v>3.2</c:v>
                </c:pt>
                <c:pt idx="1604">
                  <c:v>6</c:v>
                </c:pt>
                <c:pt idx="1605">
                  <c:v>9.1999999999999993</c:v>
                </c:pt>
                <c:pt idx="1606">
                  <c:v>11</c:v>
                </c:pt>
                <c:pt idx="1607">
                  <c:v>7.2</c:v>
                </c:pt>
                <c:pt idx="1608">
                  <c:v>12.5</c:v>
                </c:pt>
                <c:pt idx="1609">
                  <c:v>3</c:v>
                </c:pt>
                <c:pt idx="1610">
                  <c:v>7.9</c:v>
                </c:pt>
                <c:pt idx="1611">
                  <c:v>9.9</c:v>
                </c:pt>
                <c:pt idx="1612">
                  <c:v>5.7</c:v>
                </c:pt>
                <c:pt idx="1613">
                  <c:v>13</c:v>
                </c:pt>
                <c:pt idx="1614">
                  <c:v>10.8</c:v>
                </c:pt>
                <c:pt idx="1615">
                  <c:v>7.7</c:v>
                </c:pt>
                <c:pt idx="1616">
                  <c:v>11.8</c:v>
                </c:pt>
                <c:pt idx="1617">
                  <c:v>8.5</c:v>
                </c:pt>
                <c:pt idx="1618">
                  <c:v>9.6999999999999993</c:v>
                </c:pt>
                <c:pt idx="1619">
                  <c:v>7.3</c:v>
                </c:pt>
                <c:pt idx="1620">
                  <c:v>6.8</c:v>
                </c:pt>
                <c:pt idx="1621">
                  <c:v>9.4</c:v>
                </c:pt>
                <c:pt idx="1622">
                  <c:v>6.3</c:v>
                </c:pt>
                <c:pt idx="1623">
                  <c:v>10.1</c:v>
                </c:pt>
                <c:pt idx="1624">
                  <c:v>10.7</c:v>
                </c:pt>
                <c:pt idx="1625">
                  <c:v>4.5</c:v>
                </c:pt>
                <c:pt idx="1626">
                  <c:v>6.9</c:v>
                </c:pt>
                <c:pt idx="1627">
                  <c:v>0</c:v>
                </c:pt>
                <c:pt idx="1628">
                  <c:v>6.5</c:v>
                </c:pt>
                <c:pt idx="1629">
                  <c:v>5.6</c:v>
                </c:pt>
                <c:pt idx="1630">
                  <c:v>7.4</c:v>
                </c:pt>
                <c:pt idx="1631">
                  <c:v>3</c:v>
                </c:pt>
                <c:pt idx="1632">
                  <c:v>6.3</c:v>
                </c:pt>
                <c:pt idx="1633">
                  <c:v>9.1</c:v>
                </c:pt>
                <c:pt idx="1634">
                  <c:v>11.1</c:v>
                </c:pt>
                <c:pt idx="1635">
                  <c:v>8.1999999999999993</c:v>
                </c:pt>
                <c:pt idx="1636">
                  <c:v>7.9</c:v>
                </c:pt>
                <c:pt idx="1637">
                  <c:v>5.5</c:v>
                </c:pt>
                <c:pt idx="1638">
                  <c:v>3.7</c:v>
                </c:pt>
                <c:pt idx="1639">
                  <c:v>6.3</c:v>
                </c:pt>
                <c:pt idx="1640">
                  <c:v>7</c:v>
                </c:pt>
                <c:pt idx="1641">
                  <c:v>5.0999999999999996</c:v>
                </c:pt>
                <c:pt idx="1642">
                  <c:v>7.4</c:v>
                </c:pt>
                <c:pt idx="1643">
                  <c:v>6.5</c:v>
                </c:pt>
                <c:pt idx="1644">
                  <c:v>4.9000000000000004</c:v>
                </c:pt>
                <c:pt idx="1645">
                  <c:v>8</c:v>
                </c:pt>
                <c:pt idx="1646">
                  <c:v>6</c:v>
                </c:pt>
                <c:pt idx="1647">
                  <c:v>6.7</c:v>
                </c:pt>
                <c:pt idx="1648">
                  <c:v>6.8</c:v>
                </c:pt>
                <c:pt idx="1649">
                  <c:v>11.9</c:v>
                </c:pt>
                <c:pt idx="1650">
                  <c:v>6.3</c:v>
                </c:pt>
                <c:pt idx="1651">
                  <c:v>6.6</c:v>
                </c:pt>
                <c:pt idx="1652">
                  <c:v>4.3</c:v>
                </c:pt>
                <c:pt idx="1653">
                  <c:v>5.2</c:v>
                </c:pt>
                <c:pt idx="1654">
                  <c:v>10</c:v>
                </c:pt>
                <c:pt idx="1655">
                  <c:v>4.8</c:v>
                </c:pt>
                <c:pt idx="1656">
                  <c:v>15.7</c:v>
                </c:pt>
                <c:pt idx="1657">
                  <c:v>5</c:v>
                </c:pt>
                <c:pt idx="1658">
                  <c:v>4.9000000000000004</c:v>
                </c:pt>
                <c:pt idx="1659">
                  <c:v>10.8</c:v>
                </c:pt>
                <c:pt idx="1660">
                  <c:v>13.8</c:v>
                </c:pt>
                <c:pt idx="1661">
                  <c:v>8.6999999999999993</c:v>
                </c:pt>
                <c:pt idx="1662">
                  <c:v>6.5</c:v>
                </c:pt>
                <c:pt idx="1663">
                  <c:v>5</c:v>
                </c:pt>
                <c:pt idx="1664">
                  <c:v>7.5</c:v>
                </c:pt>
                <c:pt idx="1665">
                  <c:v>6.6</c:v>
                </c:pt>
                <c:pt idx="1666">
                  <c:v>6.9</c:v>
                </c:pt>
                <c:pt idx="1667">
                  <c:v>12.8</c:v>
                </c:pt>
                <c:pt idx="1668">
                  <c:v>4.8</c:v>
                </c:pt>
                <c:pt idx="1669">
                  <c:v>6.2</c:v>
                </c:pt>
                <c:pt idx="1670">
                  <c:v>10.4</c:v>
                </c:pt>
                <c:pt idx="1671">
                  <c:v>4</c:v>
                </c:pt>
                <c:pt idx="1672">
                  <c:v>3.1</c:v>
                </c:pt>
                <c:pt idx="1673">
                  <c:v>6.9</c:v>
                </c:pt>
                <c:pt idx="1674">
                  <c:v>8</c:v>
                </c:pt>
                <c:pt idx="1675">
                  <c:v>3.9</c:v>
                </c:pt>
                <c:pt idx="1676">
                  <c:v>4.8</c:v>
                </c:pt>
                <c:pt idx="1677">
                  <c:v>1.1000000000000001</c:v>
                </c:pt>
                <c:pt idx="1678">
                  <c:v>8.9</c:v>
                </c:pt>
                <c:pt idx="1679">
                  <c:v>8.1999999999999993</c:v>
                </c:pt>
                <c:pt idx="1680">
                  <c:v>9.1999999999999993</c:v>
                </c:pt>
                <c:pt idx="1681">
                  <c:v>7.1</c:v>
                </c:pt>
                <c:pt idx="1682">
                  <c:v>10.6</c:v>
                </c:pt>
                <c:pt idx="1683">
                  <c:v>7.1</c:v>
                </c:pt>
                <c:pt idx="1684">
                  <c:v>11.8</c:v>
                </c:pt>
                <c:pt idx="1685">
                  <c:v>4.7</c:v>
                </c:pt>
                <c:pt idx="1686">
                  <c:v>5.2</c:v>
                </c:pt>
                <c:pt idx="1687">
                  <c:v>8.6999999999999993</c:v>
                </c:pt>
                <c:pt idx="1688">
                  <c:v>3.9</c:v>
                </c:pt>
                <c:pt idx="1689">
                  <c:v>4.3</c:v>
                </c:pt>
                <c:pt idx="1690">
                  <c:v>11.4</c:v>
                </c:pt>
                <c:pt idx="1691">
                  <c:v>9.6999999999999993</c:v>
                </c:pt>
                <c:pt idx="1692">
                  <c:v>9.3000000000000007</c:v>
                </c:pt>
                <c:pt idx="1693">
                  <c:v>7</c:v>
                </c:pt>
                <c:pt idx="1694">
                  <c:v>10.6</c:v>
                </c:pt>
                <c:pt idx="1695">
                  <c:v>10</c:v>
                </c:pt>
                <c:pt idx="1696">
                  <c:v>9.1999999999999993</c:v>
                </c:pt>
                <c:pt idx="1697">
                  <c:v>10.199999999999999</c:v>
                </c:pt>
                <c:pt idx="1698">
                  <c:v>6.6</c:v>
                </c:pt>
                <c:pt idx="1699">
                  <c:v>9.4</c:v>
                </c:pt>
                <c:pt idx="1700">
                  <c:v>2.9</c:v>
                </c:pt>
                <c:pt idx="1701">
                  <c:v>6.3</c:v>
                </c:pt>
                <c:pt idx="1702">
                  <c:v>13.5</c:v>
                </c:pt>
                <c:pt idx="1703">
                  <c:v>8</c:v>
                </c:pt>
                <c:pt idx="1704">
                  <c:v>6.5</c:v>
                </c:pt>
                <c:pt idx="1705">
                  <c:v>5.6</c:v>
                </c:pt>
                <c:pt idx="1706">
                  <c:v>6.7</c:v>
                </c:pt>
                <c:pt idx="1707">
                  <c:v>1.8</c:v>
                </c:pt>
                <c:pt idx="1708">
                  <c:v>2.8</c:v>
                </c:pt>
                <c:pt idx="1709">
                  <c:v>7.6</c:v>
                </c:pt>
                <c:pt idx="1710">
                  <c:v>5.9</c:v>
                </c:pt>
                <c:pt idx="1711">
                  <c:v>7.9</c:v>
                </c:pt>
                <c:pt idx="1712">
                  <c:v>5.4</c:v>
                </c:pt>
                <c:pt idx="1713">
                  <c:v>7.5</c:v>
                </c:pt>
                <c:pt idx="1714">
                  <c:v>9.6</c:v>
                </c:pt>
                <c:pt idx="1715">
                  <c:v>5.3</c:v>
                </c:pt>
                <c:pt idx="1716">
                  <c:v>7.1</c:v>
                </c:pt>
                <c:pt idx="1717">
                  <c:v>10.6</c:v>
                </c:pt>
                <c:pt idx="1718">
                  <c:v>9</c:v>
                </c:pt>
                <c:pt idx="1719">
                  <c:v>5.4</c:v>
                </c:pt>
                <c:pt idx="1720">
                  <c:v>10.3</c:v>
                </c:pt>
                <c:pt idx="1721">
                  <c:v>4</c:v>
                </c:pt>
                <c:pt idx="1722">
                  <c:v>9.5</c:v>
                </c:pt>
                <c:pt idx="1723">
                  <c:v>6.3</c:v>
                </c:pt>
                <c:pt idx="1724">
                  <c:v>6.8</c:v>
                </c:pt>
                <c:pt idx="1725">
                  <c:v>3.4</c:v>
                </c:pt>
                <c:pt idx="1726">
                  <c:v>5</c:v>
                </c:pt>
                <c:pt idx="1727">
                  <c:v>2.2000000000000002</c:v>
                </c:pt>
                <c:pt idx="1728">
                  <c:v>6.6</c:v>
                </c:pt>
                <c:pt idx="1729">
                  <c:v>7.1</c:v>
                </c:pt>
                <c:pt idx="1730">
                  <c:v>6.3</c:v>
                </c:pt>
                <c:pt idx="1731">
                  <c:v>6.7</c:v>
                </c:pt>
                <c:pt idx="1732">
                  <c:v>5.4</c:v>
                </c:pt>
                <c:pt idx="1733">
                  <c:v>7.1</c:v>
                </c:pt>
                <c:pt idx="1734">
                  <c:v>4.8</c:v>
                </c:pt>
                <c:pt idx="1735">
                  <c:v>7.4</c:v>
                </c:pt>
                <c:pt idx="1736">
                  <c:v>9.6</c:v>
                </c:pt>
                <c:pt idx="1737">
                  <c:v>6.6</c:v>
                </c:pt>
                <c:pt idx="1738">
                  <c:v>8.4</c:v>
                </c:pt>
                <c:pt idx="1739">
                  <c:v>5.7</c:v>
                </c:pt>
                <c:pt idx="1740">
                  <c:v>2.2999999999999998</c:v>
                </c:pt>
                <c:pt idx="1741">
                  <c:v>13.6</c:v>
                </c:pt>
                <c:pt idx="1742">
                  <c:v>10.6</c:v>
                </c:pt>
                <c:pt idx="1743">
                  <c:v>10.199999999999999</c:v>
                </c:pt>
                <c:pt idx="1744">
                  <c:v>5.8</c:v>
                </c:pt>
                <c:pt idx="1745">
                  <c:v>4.8</c:v>
                </c:pt>
                <c:pt idx="1746">
                  <c:v>6.2</c:v>
                </c:pt>
                <c:pt idx="1747">
                  <c:v>4.9000000000000004</c:v>
                </c:pt>
                <c:pt idx="1748">
                  <c:v>5.0999999999999996</c:v>
                </c:pt>
                <c:pt idx="1749">
                  <c:v>12.1</c:v>
                </c:pt>
                <c:pt idx="1750">
                  <c:v>6.9</c:v>
                </c:pt>
                <c:pt idx="1751">
                  <c:v>6.6</c:v>
                </c:pt>
                <c:pt idx="1752">
                  <c:v>7.3</c:v>
                </c:pt>
                <c:pt idx="1753">
                  <c:v>8.5</c:v>
                </c:pt>
                <c:pt idx="1754">
                  <c:v>10.7</c:v>
                </c:pt>
                <c:pt idx="1755">
                  <c:v>8.6999999999999993</c:v>
                </c:pt>
                <c:pt idx="1756">
                  <c:v>6.2</c:v>
                </c:pt>
                <c:pt idx="1757">
                  <c:v>7.4</c:v>
                </c:pt>
                <c:pt idx="1758">
                  <c:v>11.7</c:v>
                </c:pt>
                <c:pt idx="1759">
                  <c:v>4.3</c:v>
                </c:pt>
                <c:pt idx="1760">
                  <c:v>10.4</c:v>
                </c:pt>
                <c:pt idx="1761">
                  <c:v>6.1</c:v>
                </c:pt>
                <c:pt idx="1762">
                  <c:v>9.6</c:v>
                </c:pt>
                <c:pt idx="1763">
                  <c:v>4.4000000000000004</c:v>
                </c:pt>
                <c:pt idx="1764">
                  <c:v>2.7</c:v>
                </c:pt>
                <c:pt idx="1765">
                  <c:v>3.5</c:v>
                </c:pt>
                <c:pt idx="1766">
                  <c:v>1.6</c:v>
                </c:pt>
                <c:pt idx="1767">
                  <c:v>6</c:v>
                </c:pt>
                <c:pt idx="1768">
                  <c:v>7.4</c:v>
                </c:pt>
                <c:pt idx="1769">
                  <c:v>5.2</c:v>
                </c:pt>
                <c:pt idx="1770">
                  <c:v>3.7</c:v>
                </c:pt>
                <c:pt idx="1771">
                  <c:v>9</c:v>
                </c:pt>
                <c:pt idx="1772">
                  <c:v>2.2999999999999998</c:v>
                </c:pt>
                <c:pt idx="1773">
                  <c:v>3.9</c:v>
                </c:pt>
                <c:pt idx="1774">
                  <c:v>6.4</c:v>
                </c:pt>
                <c:pt idx="1775">
                  <c:v>7.6</c:v>
                </c:pt>
                <c:pt idx="1776">
                  <c:v>6.2</c:v>
                </c:pt>
                <c:pt idx="1777">
                  <c:v>9.4</c:v>
                </c:pt>
                <c:pt idx="1778">
                  <c:v>7</c:v>
                </c:pt>
                <c:pt idx="1779">
                  <c:v>7.5</c:v>
                </c:pt>
                <c:pt idx="1780">
                  <c:v>7.9</c:v>
                </c:pt>
                <c:pt idx="1781">
                  <c:v>9.5</c:v>
                </c:pt>
                <c:pt idx="1782">
                  <c:v>1.6</c:v>
                </c:pt>
                <c:pt idx="1783">
                  <c:v>9.5</c:v>
                </c:pt>
                <c:pt idx="1784">
                  <c:v>5</c:v>
                </c:pt>
                <c:pt idx="1785">
                  <c:v>6.9</c:v>
                </c:pt>
                <c:pt idx="1786">
                  <c:v>6.4</c:v>
                </c:pt>
                <c:pt idx="1787">
                  <c:v>6.7</c:v>
                </c:pt>
                <c:pt idx="1788">
                  <c:v>7.6</c:v>
                </c:pt>
                <c:pt idx="1789">
                  <c:v>7.9</c:v>
                </c:pt>
                <c:pt idx="1790">
                  <c:v>8.5</c:v>
                </c:pt>
                <c:pt idx="1791">
                  <c:v>13.6</c:v>
                </c:pt>
                <c:pt idx="1792">
                  <c:v>7.3</c:v>
                </c:pt>
                <c:pt idx="1793">
                  <c:v>4.5</c:v>
                </c:pt>
                <c:pt idx="1794">
                  <c:v>7.9</c:v>
                </c:pt>
                <c:pt idx="1795">
                  <c:v>4.5</c:v>
                </c:pt>
                <c:pt idx="1796">
                  <c:v>3.4</c:v>
                </c:pt>
                <c:pt idx="1797">
                  <c:v>5.9</c:v>
                </c:pt>
                <c:pt idx="1798">
                  <c:v>4</c:v>
                </c:pt>
                <c:pt idx="1799">
                  <c:v>11.6</c:v>
                </c:pt>
                <c:pt idx="1800">
                  <c:v>6.7</c:v>
                </c:pt>
                <c:pt idx="1801">
                  <c:v>6</c:v>
                </c:pt>
                <c:pt idx="1802">
                  <c:v>0.1</c:v>
                </c:pt>
                <c:pt idx="1803">
                  <c:v>8</c:v>
                </c:pt>
                <c:pt idx="1804">
                  <c:v>7.5</c:v>
                </c:pt>
                <c:pt idx="1805">
                  <c:v>5.0999999999999996</c:v>
                </c:pt>
                <c:pt idx="1806">
                  <c:v>7.1</c:v>
                </c:pt>
                <c:pt idx="1807">
                  <c:v>7</c:v>
                </c:pt>
                <c:pt idx="1808">
                  <c:v>10.7</c:v>
                </c:pt>
                <c:pt idx="1809">
                  <c:v>2.6</c:v>
                </c:pt>
                <c:pt idx="1810">
                  <c:v>4.0999999999999996</c:v>
                </c:pt>
                <c:pt idx="1811">
                  <c:v>10.1</c:v>
                </c:pt>
                <c:pt idx="1812">
                  <c:v>5.2</c:v>
                </c:pt>
                <c:pt idx="1813">
                  <c:v>11.5</c:v>
                </c:pt>
                <c:pt idx="1814">
                  <c:v>13.3</c:v>
                </c:pt>
                <c:pt idx="1815">
                  <c:v>12.1</c:v>
                </c:pt>
                <c:pt idx="1816">
                  <c:v>7.2</c:v>
                </c:pt>
                <c:pt idx="1817">
                  <c:v>6.5</c:v>
                </c:pt>
                <c:pt idx="1818">
                  <c:v>12.3</c:v>
                </c:pt>
                <c:pt idx="1819">
                  <c:v>0</c:v>
                </c:pt>
                <c:pt idx="1820">
                  <c:v>6.6</c:v>
                </c:pt>
                <c:pt idx="1821">
                  <c:v>8.4</c:v>
                </c:pt>
                <c:pt idx="1822">
                  <c:v>7.6</c:v>
                </c:pt>
                <c:pt idx="1823">
                  <c:v>8.6</c:v>
                </c:pt>
                <c:pt idx="1824">
                  <c:v>7.1</c:v>
                </c:pt>
                <c:pt idx="1825">
                  <c:v>6.3</c:v>
                </c:pt>
                <c:pt idx="1826">
                  <c:v>11</c:v>
                </c:pt>
                <c:pt idx="1827">
                  <c:v>1.1000000000000001</c:v>
                </c:pt>
                <c:pt idx="1828">
                  <c:v>10.8</c:v>
                </c:pt>
                <c:pt idx="1829">
                  <c:v>7.4</c:v>
                </c:pt>
                <c:pt idx="1830">
                  <c:v>5.2</c:v>
                </c:pt>
                <c:pt idx="1831">
                  <c:v>7.7</c:v>
                </c:pt>
                <c:pt idx="1832">
                  <c:v>4.9000000000000004</c:v>
                </c:pt>
                <c:pt idx="1833">
                  <c:v>12.8</c:v>
                </c:pt>
                <c:pt idx="1834">
                  <c:v>7.6</c:v>
                </c:pt>
                <c:pt idx="1835">
                  <c:v>6.2</c:v>
                </c:pt>
                <c:pt idx="1836">
                  <c:v>11.1</c:v>
                </c:pt>
                <c:pt idx="1837">
                  <c:v>5.7</c:v>
                </c:pt>
                <c:pt idx="1838">
                  <c:v>5.0999999999999996</c:v>
                </c:pt>
                <c:pt idx="1839">
                  <c:v>6.4</c:v>
                </c:pt>
                <c:pt idx="1840">
                  <c:v>8.4</c:v>
                </c:pt>
                <c:pt idx="1841">
                  <c:v>7.8</c:v>
                </c:pt>
                <c:pt idx="1842">
                  <c:v>11.7</c:v>
                </c:pt>
                <c:pt idx="1843">
                  <c:v>6.6</c:v>
                </c:pt>
                <c:pt idx="1844">
                  <c:v>5.9</c:v>
                </c:pt>
                <c:pt idx="1845">
                  <c:v>7.4</c:v>
                </c:pt>
                <c:pt idx="1846">
                  <c:v>8.1999999999999993</c:v>
                </c:pt>
                <c:pt idx="1847">
                  <c:v>5.2</c:v>
                </c:pt>
                <c:pt idx="1848">
                  <c:v>6.8</c:v>
                </c:pt>
                <c:pt idx="1849">
                  <c:v>5.5</c:v>
                </c:pt>
                <c:pt idx="1850">
                  <c:v>5.7</c:v>
                </c:pt>
                <c:pt idx="1851">
                  <c:v>9.1999999999999993</c:v>
                </c:pt>
                <c:pt idx="1852">
                  <c:v>3.4</c:v>
                </c:pt>
                <c:pt idx="1853">
                  <c:v>9.1</c:v>
                </c:pt>
                <c:pt idx="1854">
                  <c:v>1.4</c:v>
                </c:pt>
                <c:pt idx="1855">
                  <c:v>5.6</c:v>
                </c:pt>
                <c:pt idx="1856">
                  <c:v>11.4</c:v>
                </c:pt>
                <c:pt idx="1857">
                  <c:v>4.2</c:v>
                </c:pt>
                <c:pt idx="1858">
                  <c:v>4.8</c:v>
                </c:pt>
                <c:pt idx="1859">
                  <c:v>5.3</c:v>
                </c:pt>
                <c:pt idx="1860">
                  <c:v>6.1</c:v>
                </c:pt>
                <c:pt idx="1861">
                  <c:v>5.0999999999999996</c:v>
                </c:pt>
                <c:pt idx="1862">
                  <c:v>2.9</c:v>
                </c:pt>
                <c:pt idx="1863">
                  <c:v>5.0999999999999996</c:v>
                </c:pt>
                <c:pt idx="1864">
                  <c:v>7.3</c:v>
                </c:pt>
                <c:pt idx="1865">
                  <c:v>7.3</c:v>
                </c:pt>
                <c:pt idx="1866">
                  <c:v>7.4</c:v>
                </c:pt>
                <c:pt idx="1867">
                  <c:v>8</c:v>
                </c:pt>
                <c:pt idx="1868">
                  <c:v>1.5</c:v>
                </c:pt>
                <c:pt idx="1869">
                  <c:v>4</c:v>
                </c:pt>
                <c:pt idx="1870">
                  <c:v>8.4</c:v>
                </c:pt>
                <c:pt idx="1871">
                  <c:v>10.8</c:v>
                </c:pt>
                <c:pt idx="1872">
                  <c:v>4.9000000000000004</c:v>
                </c:pt>
                <c:pt idx="1873">
                  <c:v>8.6</c:v>
                </c:pt>
                <c:pt idx="1874">
                  <c:v>3</c:v>
                </c:pt>
                <c:pt idx="1875">
                  <c:v>3.4</c:v>
                </c:pt>
                <c:pt idx="1876">
                  <c:v>1.1000000000000001</c:v>
                </c:pt>
                <c:pt idx="1877">
                  <c:v>9.6</c:v>
                </c:pt>
                <c:pt idx="1878">
                  <c:v>2.7</c:v>
                </c:pt>
                <c:pt idx="1879">
                  <c:v>7.3</c:v>
                </c:pt>
                <c:pt idx="1880">
                  <c:v>10.4</c:v>
                </c:pt>
                <c:pt idx="1881">
                  <c:v>6.4</c:v>
                </c:pt>
                <c:pt idx="1882">
                  <c:v>7.9</c:v>
                </c:pt>
                <c:pt idx="1883">
                  <c:v>1.1000000000000001</c:v>
                </c:pt>
                <c:pt idx="1884">
                  <c:v>5.2</c:v>
                </c:pt>
                <c:pt idx="1885">
                  <c:v>11.8</c:v>
                </c:pt>
                <c:pt idx="1886">
                  <c:v>9.1</c:v>
                </c:pt>
                <c:pt idx="1887">
                  <c:v>5.2</c:v>
                </c:pt>
                <c:pt idx="1888">
                  <c:v>9.1</c:v>
                </c:pt>
                <c:pt idx="1889">
                  <c:v>7.5</c:v>
                </c:pt>
                <c:pt idx="1890">
                  <c:v>8.5</c:v>
                </c:pt>
                <c:pt idx="1891">
                  <c:v>8</c:v>
                </c:pt>
                <c:pt idx="1892">
                  <c:v>15.2</c:v>
                </c:pt>
                <c:pt idx="1893">
                  <c:v>11.4</c:v>
                </c:pt>
                <c:pt idx="1894">
                  <c:v>8</c:v>
                </c:pt>
                <c:pt idx="1895">
                  <c:v>8.1999999999999993</c:v>
                </c:pt>
                <c:pt idx="1896">
                  <c:v>4.5</c:v>
                </c:pt>
                <c:pt idx="1897">
                  <c:v>7.6</c:v>
                </c:pt>
                <c:pt idx="1898">
                  <c:v>8</c:v>
                </c:pt>
                <c:pt idx="1899">
                  <c:v>9.1</c:v>
                </c:pt>
                <c:pt idx="1900">
                  <c:v>4.9000000000000004</c:v>
                </c:pt>
                <c:pt idx="1901">
                  <c:v>7.3</c:v>
                </c:pt>
                <c:pt idx="1902">
                  <c:v>6.3</c:v>
                </c:pt>
                <c:pt idx="1903">
                  <c:v>1.7</c:v>
                </c:pt>
                <c:pt idx="1904">
                  <c:v>6.3</c:v>
                </c:pt>
                <c:pt idx="1905">
                  <c:v>9.6</c:v>
                </c:pt>
                <c:pt idx="1906">
                  <c:v>6.4</c:v>
                </c:pt>
                <c:pt idx="1907">
                  <c:v>1.9</c:v>
                </c:pt>
                <c:pt idx="1908">
                  <c:v>6.6</c:v>
                </c:pt>
                <c:pt idx="1909">
                  <c:v>4.2</c:v>
                </c:pt>
                <c:pt idx="1910">
                  <c:v>11.8</c:v>
                </c:pt>
                <c:pt idx="1911">
                  <c:v>6.2</c:v>
                </c:pt>
                <c:pt idx="1912">
                  <c:v>2.2000000000000002</c:v>
                </c:pt>
                <c:pt idx="1913">
                  <c:v>5.3</c:v>
                </c:pt>
                <c:pt idx="1914">
                  <c:v>8.4</c:v>
                </c:pt>
                <c:pt idx="1915">
                  <c:v>15.3</c:v>
                </c:pt>
                <c:pt idx="1916">
                  <c:v>13.3</c:v>
                </c:pt>
                <c:pt idx="1917">
                  <c:v>7.2</c:v>
                </c:pt>
                <c:pt idx="1918">
                  <c:v>4.4000000000000004</c:v>
                </c:pt>
                <c:pt idx="1919">
                  <c:v>9.6</c:v>
                </c:pt>
                <c:pt idx="1920">
                  <c:v>6.6</c:v>
                </c:pt>
                <c:pt idx="1921">
                  <c:v>6.1</c:v>
                </c:pt>
                <c:pt idx="1922">
                  <c:v>8</c:v>
                </c:pt>
                <c:pt idx="1923">
                  <c:v>6.3</c:v>
                </c:pt>
                <c:pt idx="1924">
                  <c:v>7.3</c:v>
                </c:pt>
                <c:pt idx="1925">
                  <c:v>5.9</c:v>
                </c:pt>
                <c:pt idx="1926">
                  <c:v>5.0999999999999996</c:v>
                </c:pt>
                <c:pt idx="1927">
                  <c:v>6.9</c:v>
                </c:pt>
                <c:pt idx="1928">
                  <c:v>7.4</c:v>
                </c:pt>
                <c:pt idx="1929">
                  <c:v>6.1</c:v>
                </c:pt>
                <c:pt idx="1930">
                  <c:v>4.2</c:v>
                </c:pt>
                <c:pt idx="1931">
                  <c:v>4.7</c:v>
                </c:pt>
                <c:pt idx="1932">
                  <c:v>4.7</c:v>
                </c:pt>
                <c:pt idx="1933">
                  <c:v>5.3</c:v>
                </c:pt>
                <c:pt idx="1934">
                  <c:v>9.4</c:v>
                </c:pt>
                <c:pt idx="1935">
                  <c:v>5.9</c:v>
                </c:pt>
                <c:pt idx="1936">
                  <c:v>6.1</c:v>
                </c:pt>
                <c:pt idx="1937">
                  <c:v>5.8</c:v>
                </c:pt>
                <c:pt idx="1938">
                  <c:v>5.7</c:v>
                </c:pt>
                <c:pt idx="1939">
                  <c:v>7</c:v>
                </c:pt>
                <c:pt idx="1940">
                  <c:v>10.1</c:v>
                </c:pt>
                <c:pt idx="1941">
                  <c:v>3.4</c:v>
                </c:pt>
                <c:pt idx="1942">
                  <c:v>7.5</c:v>
                </c:pt>
                <c:pt idx="1943">
                  <c:v>5.6</c:v>
                </c:pt>
                <c:pt idx="1944">
                  <c:v>4.4000000000000004</c:v>
                </c:pt>
                <c:pt idx="1945">
                  <c:v>5.9</c:v>
                </c:pt>
                <c:pt idx="1946">
                  <c:v>4.4000000000000004</c:v>
                </c:pt>
                <c:pt idx="1947">
                  <c:v>11.9</c:v>
                </c:pt>
                <c:pt idx="1948">
                  <c:v>8.3000000000000007</c:v>
                </c:pt>
                <c:pt idx="1949">
                  <c:v>6.5</c:v>
                </c:pt>
                <c:pt idx="1950">
                  <c:v>9.1999999999999993</c:v>
                </c:pt>
                <c:pt idx="1951">
                  <c:v>9.1</c:v>
                </c:pt>
                <c:pt idx="1952">
                  <c:v>5</c:v>
                </c:pt>
                <c:pt idx="1953">
                  <c:v>4</c:v>
                </c:pt>
                <c:pt idx="1954">
                  <c:v>6.5</c:v>
                </c:pt>
                <c:pt idx="1955">
                  <c:v>12.9</c:v>
                </c:pt>
                <c:pt idx="1956">
                  <c:v>11.6</c:v>
                </c:pt>
                <c:pt idx="1957">
                  <c:v>12.6</c:v>
                </c:pt>
                <c:pt idx="1958">
                  <c:v>8.1</c:v>
                </c:pt>
                <c:pt idx="1959">
                  <c:v>4</c:v>
                </c:pt>
                <c:pt idx="1960">
                  <c:v>2.5</c:v>
                </c:pt>
                <c:pt idx="1961">
                  <c:v>1</c:v>
                </c:pt>
                <c:pt idx="1962">
                  <c:v>8.1999999999999993</c:v>
                </c:pt>
                <c:pt idx="1963">
                  <c:v>7.4</c:v>
                </c:pt>
                <c:pt idx="1964">
                  <c:v>5.0999999999999996</c:v>
                </c:pt>
                <c:pt idx="1965">
                  <c:v>7.8</c:v>
                </c:pt>
                <c:pt idx="1966">
                  <c:v>4.5999999999999996</c:v>
                </c:pt>
                <c:pt idx="1967">
                  <c:v>5.6</c:v>
                </c:pt>
                <c:pt idx="1968">
                  <c:v>11.7</c:v>
                </c:pt>
                <c:pt idx="1969">
                  <c:v>7</c:v>
                </c:pt>
                <c:pt idx="1970">
                  <c:v>12.7</c:v>
                </c:pt>
                <c:pt idx="1971">
                  <c:v>6.8</c:v>
                </c:pt>
                <c:pt idx="1972">
                  <c:v>6</c:v>
                </c:pt>
                <c:pt idx="1973">
                  <c:v>8.1</c:v>
                </c:pt>
                <c:pt idx="1974">
                  <c:v>7.9</c:v>
                </c:pt>
                <c:pt idx="1975">
                  <c:v>8.9</c:v>
                </c:pt>
                <c:pt idx="1976">
                  <c:v>3.2</c:v>
                </c:pt>
                <c:pt idx="1977">
                  <c:v>3.4</c:v>
                </c:pt>
                <c:pt idx="1978">
                  <c:v>8.4</c:v>
                </c:pt>
                <c:pt idx="1979">
                  <c:v>5.4</c:v>
                </c:pt>
                <c:pt idx="1980">
                  <c:v>7.9</c:v>
                </c:pt>
                <c:pt idx="1981">
                  <c:v>12.9</c:v>
                </c:pt>
                <c:pt idx="1982">
                  <c:v>1.8</c:v>
                </c:pt>
                <c:pt idx="1983">
                  <c:v>9.1999999999999993</c:v>
                </c:pt>
                <c:pt idx="1984">
                  <c:v>10.6</c:v>
                </c:pt>
                <c:pt idx="1985">
                  <c:v>6.4</c:v>
                </c:pt>
                <c:pt idx="1986">
                  <c:v>6</c:v>
                </c:pt>
                <c:pt idx="1987">
                  <c:v>13</c:v>
                </c:pt>
                <c:pt idx="1988">
                  <c:v>7</c:v>
                </c:pt>
                <c:pt idx="1989">
                  <c:v>9.8000000000000007</c:v>
                </c:pt>
                <c:pt idx="1990">
                  <c:v>4.8</c:v>
                </c:pt>
                <c:pt idx="1991">
                  <c:v>7.2</c:v>
                </c:pt>
                <c:pt idx="1992">
                  <c:v>10.1</c:v>
                </c:pt>
                <c:pt idx="1993">
                  <c:v>6.8</c:v>
                </c:pt>
                <c:pt idx="1994">
                  <c:v>5.6</c:v>
                </c:pt>
                <c:pt idx="1995">
                  <c:v>10.3</c:v>
                </c:pt>
                <c:pt idx="1996">
                  <c:v>5.8</c:v>
                </c:pt>
                <c:pt idx="1997">
                  <c:v>3.4</c:v>
                </c:pt>
                <c:pt idx="1998">
                  <c:v>5.3</c:v>
                </c:pt>
                <c:pt idx="1999">
                  <c:v>11.8</c:v>
                </c:pt>
                <c:pt idx="2000">
                  <c:v>5.6</c:v>
                </c:pt>
                <c:pt idx="2001">
                  <c:v>5.5</c:v>
                </c:pt>
                <c:pt idx="2002">
                  <c:v>5.0999999999999996</c:v>
                </c:pt>
                <c:pt idx="2003">
                  <c:v>10.7</c:v>
                </c:pt>
                <c:pt idx="2004">
                  <c:v>9.3000000000000007</c:v>
                </c:pt>
                <c:pt idx="2005">
                  <c:v>4.9000000000000004</c:v>
                </c:pt>
                <c:pt idx="2006">
                  <c:v>6.3</c:v>
                </c:pt>
                <c:pt idx="2007">
                  <c:v>5</c:v>
                </c:pt>
                <c:pt idx="2008">
                  <c:v>5.5</c:v>
                </c:pt>
                <c:pt idx="2009">
                  <c:v>7.4</c:v>
                </c:pt>
                <c:pt idx="2010">
                  <c:v>8.1999999999999993</c:v>
                </c:pt>
                <c:pt idx="2011">
                  <c:v>3.5</c:v>
                </c:pt>
                <c:pt idx="2012">
                  <c:v>5.6</c:v>
                </c:pt>
                <c:pt idx="2013">
                  <c:v>7.1</c:v>
                </c:pt>
                <c:pt idx="2014">
                  <c:v>11.8</c:v>
                </c:pt>
                <c:pt idx="2015">
                  <c:v>8.6</c:v>
                </c:pt>
                <c:pt idx="2016">
                  <c:v>8.3000000000000007</c:v>
                </c:pt>
                <c:pt idx="2017">
                  <c:v>6.3</c:v>
                </c:pt>
                <c:pt idx="2018">
                  <c:v>2</c:v>
                </c:pt>
                <c:pt idx="2019">
                  <c:v>4.7</c:v>
                </c:pt>
                <c:pt idx="2020">
                  <c:v>13.7</c:v>
                </c:pt>
                <c:pt idx="2021">
                  <c:v>6.5</c:v>
                </c:pt>
                <c:pt idx="2022">
                  <c:v>8.4</c:v>
                </c:pt>
                <c:pt idx="2023">
                  <c:v>13</c:v>
                </c:pt>
                <c:pt idx="2024">
                  <c:v>4.5999999999999996</c:v>
                </c:pt>
                <c:pt idx="2025">
                  <c:v>7.6</c:v>
                </c:pt>
                <c:pt idx="2026">
                  <c:v>4</c:v>
                </c:pt>
                <c:pt idx="2027">
                  <c:v>7.1</c:v>
                </c:pt>
                <c:pt idx="2028">
                  <c:v>11.9</c:v>
                </c:pt>
                <c:pt idx="2029">
                  <c:v>6.9</c:v>
                </c:pt>
                <c:pt idx="2030">
                  <c:v>10.1</c:v>
                </c:pt>
                <c:pt idx="2031">
                  <c:v>5.8</c:v>
                </c:pt>
                <c:pt idx="2032">
                  <c:v>5.3</c:v>
                </c:pt>
                <c:pt idx="2033">
                  <c:v>7.5</c:v>
                </c:pt>
                <c:pt idx="2034">
                  <c:v>11</c:v>
                </c:pt>
                <c:pt idx="2035">
                  <c:v>5.8</c:v>
                </c:pt>
                <c:pt idx="2036">
                  <c:v>3</c:v>
                </c:pt>
                <c:pt idx="2037">
                  <c:v>8</c:v>
                </c:pt>
                <c:pt idx="2038">
                  <c:v>6.5</c:v>
                </c:pt>
                <c:pt idx="2039">
                  <c:v>7.2</c:v>
                </c:pt>
                <c:pt idx="2040">
                  <c:v>12.4</c:v>
                </c:pt>
                <c:pt idx="2041">
                  <c:v>5.3</c:v>
                </c:pt>
                <c:pt idx="2042">
                  <c:v>3.7</c:v>
                </c:pt>
                <c:pt idx="2043">
                  <c:v>7</c:v>
                </c:pt>
                <c:pt idx="2044">
                  <c:v>6.1</c:v>
                </c:pt>
                <c:pt idx="2045">
                  <c:v>10</c:v>
                </c:pt>
                <c:pt idx="2046">
                  <c:v>11.3</c:v>
                </c:pt>
                <c:pt idx="2047">
                  <c:v>5.8</c:v>
                </c:pt>
                <c:pt idx="2048">
                  <c:v>5.6</c:v>
                </c:pt>
                <c:pt idx="2049">
                  <c:v>5.0999999999999996</c:v>
                </c:pt>
                <c:pt idx="2050">
                  <c:v>5.5</c:v>
                </c:pt>
                <c:pt idx="2051">
                  <c:v>9.4</c:v>
                </c:pt>
                <c:pt idx="2052">
                  <c:v>8.8000000000000007</c:v>
                </c:pt>
                <c:pt idx="2053">
                  <c:v>10.8</c:v>
                </c:pt>
                <c:pt idx="2054">
                  <c:v>4</c:v>
                </c:pt>
                <c:pt idx="2055">
                  <c:v>6.8</c:v>
                </c:pt>
                <c:pt idx="2056">
                  <c:v>6.1</c:v>
                </c:pt>
                <c:pt idx="2057">
                  <c:v>8.9</c:v>
                </c:pt>
                <c:pt idx="2058">
                  <c:v>9.1</c:v>
                </c:pt>
                <c:pt idx="2059">
                  <c:v>9.1999999999999993</c:v>
                </c:pt>
                <c:pt idx="2060">
                  <c:v>11.6</c:v>
                </c:pt>
                <c:pt idx="2061">
                  <c:v>6.8</c:v>
                </c:pt>
                <c:pt idx="2062">
                  <c:v>8.6999999999999993</c:v>
                </c:pt>
                <c:pt idx="2063">
                  <c:v>9.1</c:v>
                </c:pt>
                <c:pt idx="2064">
                  <c:v>5.8</c:v>
                </c:pt>
                <c:pt idx="2065">
                  <c:v>7.6</c:v>
                </c:pt>
                <c:pt idx="2066">
                  <c:v>8.5</c:v>
                </c:pt>
                <c:pt idx="2067">
                  <c:v>5</c:v>
                </c:pt>
                <c:pt idx="2068">
                  <c:v>7.1</c:v>
                </c:pt>
                <c:pt idx="2069">
                  <c:v>10.1</c:v>
                </c:pt>
                <c:pt idx="2070">
                  <c:v>8.6</c:v>
                </c:pt>
                <c:pt idx="2071">
                  <c:v>1.3</c:v>
                </c:pt>
                <c:pt idx="2072">
                  <c:v>6</c:v>
                </c:pt>
                <c:pt idx="2073">
                  <c:v>10</c:v>
                </c:pt>
                <c:pt idx="2074">
                  <c:v>6.6</c:v>
                </c:pt>
                <c:pt idx="2075">
                  <c:v>7.9</c:v>
                </c:pt>
                <c:pt idx="2076">
                  <c:v>1.6</c:v>
                </c:pt>
                <c:pt idx="2077">
                  <c:v>9.4</c:v>
                </c:pt>
                <c:pt idx="2078">
                  <c:v>6.6</c:v>
                </c:pt>
                <c:pt idx="2079">
                  <c:v>9.1</c:v>
                </c:pt>
                <c:pt idx="2080">
                  <c:v>8.9</c:v>
                </c:pt>
                <c:pt idx="2081">
                  <c:v>5.0999999999999996</c:v>
                </c:pt>
                <c:pt idx="2082">
                  <c:v>6.8</c:v>
                </c:pt>
                <c:pt idx="2083">
                  <c:v>9.6999999999999993</c:v>
                </c:pt>
                <c:pt idx="2084">
                  <c:v>8.5</c:v>
                </c:pt>
                <c:pt idx="2085">
                  <c:v>1</c:v>
                </c:pt>
                <c:pt idx="2086">
                  <c:v>5.9</c:v>
                </c:pt>
                <c:pt idx="2087">
                  <c:v>9.1999999999999993</c:v>
                </c:pt>
                <c:pt idx="2088">
                  <c:v>7.5</c:v>
                </c:pt>
                <c:pt idx="2089">
                  <c:v>7.8</c:v>
                </c:pt>
                <c:pt idx="2090">
                  <c:v>10.7</c:v>
                </c:pt>
                <c:pt idx="2091">
                  <c:v>5.6</c:v>
                </c:pt>
                <c:pt idx="2092">
                  <c:v>16.2</c:v>
                </c:pt>
                <c:pt idx="2093">
                  <c:v>5.0999999999999996</c:v>
                </c:pt>
                <c:pt idx="2094">
                  <c:v>0.8</c:v>
                </c:pt>
                <c:pt idx="2095">
                  <c:v>6.2</c:v>
                </c:pt>
                <c:pt idx="2096">
                  <c:v>11.8</c:v>
                </c:pt>
                <c:pt idx="2097">
                  <c:v>6.3</c:v>
                </c:pt>
                <c:pt idx="2098">
                  <c:v>5.0999999999999996</c:v>
                </c:pt>
                <c:pt idx="2099">
                  <c:v>9.1</c:v>
                </c:pt>
                <c:pt idx="2100">
                  <c:v>6</c:v>
                </c:pt>
                <c:pt idx="2101">
                  <c:v>6</c:v>
                </c:pt>
                <c:pt idx="2102">
                  <c:v>11</c:v>
                </c:pt>
                <c:pt idx="2103">
                  <c:v>9.4</c:v>
                </c:pt>
                <c:pt idx="2104">
                  <c:v>9</c:v>
                </c:pt>
                <c:pt idx="2105">
                  <c:v>3</c:v>
                </c:pt>
                <c:pt idx="2106">
                  <c:v>7.8</c:v>
                </c:pt>
                <c:pt idx="2107">
                  <c:v>1.1000000000000001</c:v>
                </c:pt>
                <c:pt idx="2108">
                  <c:v>0.8</c:v>
                </c:pt>
                <c:pt idx="2109">
                  <c:v>11.4</c:v>
                </c:pt>
                <c:pt idx="2110">
                  <c:v>6.6</c:v>
                </c:pt>
                <c:pt idx="2111">
                  <c:v>6.5</c:v>
                </c:pt>
                <c:pt idx="2112">
                  <c:v>5.2</c:v>
                </c:pt>
                <c:pt idx="2113">
                  <c:v>4.8</c:v>
                </c:pt>
                <c:pt idx="2114">
                  <c:v>10.7</c:v>
                </c:pt>
                <c:pt idx="2115">
                  <c:v>9.1</c:v>
                </c:pt>
                <c:pt idx="2116">
                  <c:v>7.4</c:v>
                </c:pt>
                <c:pt idx="2117">
                  <c:v>8</c:v>
                </c:pt>
                <c:pt idx="2118">
                  <c:v>6.3</c:v>
                </c:pt>
                <c:pt idx="2119">
                  <c:v>5.5</c:v>
                </c:pt>
                <c:pt idx="2120">
                  <c:v>7.1</c:v>
                </c:pt>
                <c:pt idx="2121">
                  <c:v>5.4</c:v>
                </c:pt>
                <c:pt idx="2122">
                  <c:v>9.6</c:v>
                </c:pt>
                <c:pt idx="2123">
                  <c:v>8.4</c:v>
                </c:pt>
                <c:pt idx="2124">
                  <c:v>15.6</c:v>
                </c:pt>
                <c:pt idx="2125">
                  <c:v>6</c:v>
                </c:pt>
                <c:pt idx="2126">
                  <c:v>4.9000000000000004</c:v>
                </c:pt>
                <c:pt idx="2127">
                  <c:v>4.5999999999999996</c:v>
                </c:pt>
                <c:pt idx="2128">
                  <c:v>6.5</c:v>
                </c:pt>
                <c:pt idx="2129">
                  <c:v>8.4</c:v>
                </c:pt>
                <c:pt idx="2130">
                  <c:v>5.9</c:v>
                </c:pt>
                <c:pt idx="2131">
                  <c:v>5.4</c:v>
                </c:pt>
                <c:pt idx="2132">
                  <c:v>11</c:v>
                </c:pt>
                <c:pt idx="2133">
                  <c:v>9.5</c:v>
                </c:pt>
                <c:pt idx="2134">
                  <c:v>1.2</c:v>
                </c:pt>
                <c:pt idx="2135">
                  <c:v>8.9</c:v>
                </c:pt>
                <c:pt idx="2136">
                  <c:v>10.7</c:v>
                </c:pt>
                <c:pt idx="2137">
                  <c:v>5.5</c:v>
                </c:pt>
                <c:pt idx="2138">
                  <c:v>6.3</c:v>
                </c:pt>
                <c:pt idx="2139">
                  <c:v>0.4</c:v>
                </c:pt>
                <c:pt idx="2140">
                  <c:v>14</c:v>
                </c:pt>
                <c:pt idx="2141">
                  <c:v>4.8</c:v>
                </c:pt>
                <c:pt idx="2142">
                  <c:v>5.9</c:v>
                </c:pt>
                <c:pt idx="2143">
                  <c:v>7.7</c:v>
                </c:pt>
                <c:pt idx="2144">
                  <c:v>5.9</c:v>
                </c:pt>
                <c:pt idx="2145">
                  <c:v>5.7</c:v>
                </c:pt>
                <c:pt idx="2146">
                  <c:v>4.8</c:v>
                </c:pt>
                <c:pt idx="2147">
                  <c:v>14</c:v>
                </c:pt>
                <c:pt idx="2148">
                  <c:v>12.2</c:v>
                </c:pt>
                <c:pt idx="2149">
                  <c:v>8.9</c:v>
                </c:pt>
                <c:pt idx="2150">
                  <c:v>6.6</c:v>
                </c:pt>
                <c:pt idx="2151">
                  <c:v>5.0999999999999996</c:v>
                </c:pt>
                <c:pt idx="2152">
                  <c:v>9</c:v>
                </c:pt>
                <c:pt idx="2153">
                  <c:v>8.6999999999999993</c:v>
                </c:pt>
                <c:pt idx="2154">
                  <c:v>7.7</c:v>
                </c:pt>
                <c:pt idx="2155">
                  <c:v>12.3</c:v>
                </c:pt>
                <c:pt idx="2156">
                  <c:v>8.4</c:v>
                </c:pt>
                <c:pt idx="2157">
                  <c:v>11</c:v>
                </c:pt>
                <c:pt idx="2158">
                  <c:v>6.5</c:v>
                </c:pt>
                <c:pt idx="2159">
                  <c:v>5.7</c:v>
                </c:pt>
                <c:pt idx="2160">
                  <c:v>4.8</c:v>
                </c:pt>
                <c:pt idx="2161">
                  <c:v>4.4000000000000004</c:v>
                </c:pt>
                <c:pt idx="2162">
                  <c:v>4.9000000000000004</c:v>
                </c:pt>
                <c:pt idx="2163">
                  <c:v>8.3000000000000007</c:v>
                </c:pt>
                <c:pt idx="2164">
                  <c:v>5.3</c:v>
                </c:pt>
                <c:pt idx="2165">
                  <c:v>11.8</c:v>
                </c:pt>
                <c:pt idx="2166">
                  <c:v>6.9</c:v>
                </c:pt>
                <c:pt idx="2167">
                  <c:v>4.5</c:v>
                </c:pt>
                <c:pt idx="2168">
                  <c:v>6.3</c:v>
                </c:pt>
                <c:pt idx="2169">
                  <c:v>4.4000000000000004</c:v>
                </c:pt>
                <c:pt idx="2170">
                  <c:v>9.4</c:v>
                </c:pt>
                <c:pt idx="2171">
                  <c:v>6.7</c:v>
                </c:pt>
                <c:pt idx="2172">
                  <c:v>7.4</c:v>
                </c:pt>
                <c:pt idx="2173">
                  <c:v>7.1</c:v>
                </c:pt>
                <c:pt idx="2174">
                  <c:v>6.1</c:v>
                </c:pt>
                <c:pt idx="2175">
                  <c:v>4.8</c:v>
                </c:pt>
                <c:pt idx="2176">
                  <c:v>7</c:v>
                </c:pt>
                <c:pt idx="2177">
                  <c:v>6.8</c:v>
                </c:pt>
                <c:pt idx="2178">
                  <c:v>8.6999999999999993</c:v>
                </c:pt>
                <c:pt idx="2179">
                  <c:v>6.2</c:v>
                </c:pt>
                <c:pt idx="2180">
                  <c:v>5.5</c:v>
                </c:pt>
                <c:pt idx="2181">
                  <c:v>4</c:v>
                </c:pt>
                <c:pt idx="2182">
                  <c:v>11.1</c:v>
                </c:pt>
                <c:pt idx="2183">
                  <c:v>8</c:v>
                </c:pt>
                <c:pt idx="2184">
                  <c:v>7.8</c:v>
                </c:pt>
                <c:pt idx="2185">
                  <c:v>5.7</c:v>
                </c:pt>
                <c:pt idx="2186">
                  <c:v>5.2</c:v>
                </c:pt>
                <c:pt idx="2187">
                  <c:v>10.7</c:v>
                </c:pt>
                <c:pt idx="2188">
                  <c:v>5</c:v>
                </c:pt>
                <c:pt idx="2189">
                  <c:v>7</c:v>
                </c:pt>
                <c:pt idx="2190">
                  <c:v>7.7</c:v>
                </c:pt>
                <c:pt idx="2191">
                  <c:v>10.1</c:v>
                </c:pt>
                <c:pt idx="2192">
                  <c:v>8.6</c:v>
                </c:pt>
                <c:pt idx="2193">
                  <c:v>15.5</c:v>
                </c:pt>
                <c:pt idx="2194">
                  <c:v>0.4</c:v>
                </c:pt>
                <c:pt idx="2195">
                  <c:v>10.5</c:v>
                </c:pt>
                <c:pt idx="2196">
                  <c:v>10.9</c:v>
                </c:pt>
                <c:pt idx="2197">
                  <c:v>1.4</c:v>
                </c:pt>
                <c:pt idx="2198">
                  <c:v>4.2</c:v>
                </c:pt>
                <c:pt idx="2199">
                  <c:v>9.6999999999999993</c:v>
                </c:pt>
                <c:pt idx="2200">
                  <c:v>5.6</c:v>
                </c:pt>
                <c:pt idx="2201">
                  <c:v>8.5</c:v>
                </c:pt>
                <c:pt idx="2202">
                  <c:v>7.5</c:v>
                </c:pt>
                <c:pt idx="2203">
                  <c:v>9.6</c:v>
                </c:pt>
                <c:pt idx="2204">
                  <c:v>9.6999999999999993</c:v>
                </c:pt>
                <c:pt idx="2205">
                  <c:v>6.8</c:v>
                </c:pt>
                <c:pt idx="2206">
                  <c:v>8.1</c:v>
                </c:pt>
                <c:pt idx="2207">
                  <c:v>9.3000000000000007</c:v>
                </c:pt>
                <c:pt idx="2208">
                  <c:v>3.7</c:v>
                </c:pt>
                <c:pt idx="2209">
                  <c:v>8.8000000000000007</c:v>
                </c:pt>
                <c:pt idx="2210">
                  <c:v>0.7</c:v>
                </c:pt>
                <c:pt idx="2211">
                  <c:v>6.5</c:v>
                </c:pt>
                <c:pt idx="2212">
                  <c:v>1.7</c:v>
                </c:pt>
                <c:pt idx="2213">
                  <c:v>7.3</c:v>
                </c:pt>
                <c:pt idx="2214">
                  <c:v>7.2</c:v>
                </c:pt>
                <c:pt idx="2215">
                  <c:v>4.9000000000000004</c:v>
                </c:pt>
                <c:pt idx="2216">
                  <c:v>6</c:v>
                </c:pt>
                <c:pt idx="2217">
                  <c:v>7.9</c:v>
                </c:pt>
                <c:pt idx="2218">
                  <c:v>6.5</c:v>
                </c:pt>
                <c:pt idx="2219">
                  <c:v>7</c:v>
                </c:pt>
                <c:pt idx="2220">
                  <c:v>3.6</c:v>
                </c:pt>
                <c:pt idx="2221">
                  <c:v>12.3</c:v>
                </c:pt>
                <c:pt idx="2222">
                  <c:v>6</c:v>
                </c:pt>
                <c:pt idx="2223">
                  <c:v>9.3000000000000007</c:v>
                </c:pt>
                <c:pt idx="2224">
                  <c:v>1.6</c:v>
                </c:pt>
                <c:pt idx="2225">
                  <c:v>8.5</c:v>
                </c:pt>
                <c:pt idx="2226">
                  <c:v>7.5</c:v>
                </c:pt>
                <c:pt idx="2227">
                  <c:v>2.7</c:v>
                </c:pt>
                <c:pt idx="2228">
                  <c:v>4.5</c:v>
                </c:pt>
                <c:pt idx="2229">
                  <c:v>7.4</c:v>
                </c:pt>
                <c:pt idx="2230">
                  <c:v>10.8</c:v>
                </c:pt>
                <c:pt idx="2231">
                  <c:v>8.4</c:v>
                </c:pt>
                <c:pt idx="2232">
                  <c:v>6.7</c:v>
                </c:pt>
                <c:pt idx="2233">
                  <c:v>7.4</c:v>
                </c:pt>
                <c:pt idx="2234">
                  <c:v>11</c:v>
                </c:pt>
                <c:pt idx="2235">
                  <c:v>8.6999999999999993</c:v>
                </c:pt>
                <c:pt idx="2236">
                  <c:v>6.3</c:v>
                </c:pt>
                <c:pt idx="2237">
                  <c:v>9.4</c:v>
                </c:pt>
                <c:pt idx="2238">
                  <c:v>6.4</c:v>
                </c:pt>
                <c:pt idx="2239">
                  <c:v>5.7</c:v>
                </c:pt>
                <c:pt idx="2240">
                  <c:v>6.3</c:v>
                </c:pt>
                <c:pt idx="2241">
                  <c:v>3.3</c:v>
                </c:pt>
                <c:pt idx="2242">
                  <c:v>4.4000000000000004</c:v>
                </c:pt>
                <c:pt idx="2243">
                  <c:v>12.4</c:v>
                </c:pt>
                <c:pt idx="2244">
                  <c:v>0</c:v>
                </c:pt>
                <c:pt idx="2245">
                  <c:v>8.4</c:v>
                </c:pt>
                <c:pt idx="2246">
                  <c:v>9</c:v>
                </c:pt>
                <c:pt idx="2247">
                  <c:v>8.8000000000000007</c:v>
                </c:pt>
                <c:pt idx="2248">
                  <c:v>5</c:v>
                </c:pt>
                <c:pt idx="2249">
                  <c:v>5.6</c:v>
                </c:pt>
                <c:pt idx="2250">
                  <c:v>11.8</c:v>
                </c:pt>
                <c:pt idx="2251">
                  <c:v>3.8</c:v>
                </c:pt>
                <c:pt idx="2252">
                  <c:v>6.7</c:v>
                </c:pt>
                <c:pt idx="2253">
                  <c:v>7.3</c:v>
                </c:pt>
                <c:pt idx="2254">
                  <c:v>5.4</c:v>
                </c:pt>
                <c:pt idx="2255">
                  <c:v>10</c:v>
                </c:pt>
                <c:pt idx="2256">
                  <c:v>7.5</c:v>
                </c:pt>
                <c:pt idx="2257">
                  <c:v>9</c:v>
                </c:pt>
                <c:pt idx="2258">
                  <c:v>7</c:v>
                </c:pt>
                <c:pt idx="2259">
                  <c:v>9</c:v>
                </c:pt>
                <c:pt idx="2260">
                  <c:v>8.8000000000000007</c:v>
                </c:pt>
                <c:pt idx="2261">
                  <c:v>6.7</c:v>
                </c:pt>
                <c:pt idx="2262">
                  <c:v>9</c:v>
                </c:pt>
                <c:pt idx="2263">
                  <c:v>9.4</c:v>
                </c:pt>
                <c:pt idx="2264">
                  <c:v>5.2</c:v>
                </c:pt>
                <c:pt idx="2265">
                  <c:v>10.5</c:v>
                </c:pt>
                <c:pt idx="2266">
                  <c:v>11.7</c:v>
                </c:pt>
                <c:pt idx="2267">
                  <c:v>6</c:v>
                </c:pt>
                <c:pt idx="2268">
                  <c:v>11.2</c:v>
                </c:pt>
                <c:pt idx="2269">
                  <c:v>7.7</c:v>
                </c:pt>
                <c:pt idx="2270">
                  <c:v>9</c:v>
                </c:pt>
                <c:pt idx="2271">
                  <c:v>10.1</c:v>
                </c:pt>
                <c:pt idx="2272">
                  <c:v>6</c:v>
                </c:pt>
                <c:pt idx="2273">
                  <c:v>9.8000000000000007</c:v>
                </c:pt>
                <c:pt idx="2274">
                  <c:v>3.9</c:v>
                </c:pt>
                <c:pt idx="2275">
                  <c:v>8.9</c:v>
                </c:pt>
                <c:pt idx="2276">
                  <c:v>9.4</c:v>
                </c:pt>
                <c:pt idx="2277">
                  <c:v>10.4</c:v>
                </c:pt>
                <c:pt idx="2278">
                  <c:v>10.1</c:v>
                </c:pt>
                <c:pt idx="2279">
                  <c:v>8.5</c:v>
                </c:pt>
                <c:pt idx="2280">
                  <c:v>6.4</c:v>
                </c:pt>
                <c:pt idx="2281">
                  <c:v>8.6999999999999993</c:v>
                </c:pt>
                <c:pt idx="2282">
                  <c:v>9.8000000000000007</c:v>
                </c:pt>
                <c:pt idx="2283">
                  <c:v>9.3000000000000007</c:v>
                </c:pt>
                <c:pt idx="2284">
                  <c:v>5.0999999999999996</c:v>
                </c:pt>
                <c:pt idx="2285">
                  <c:v>3.8</c:v>
                </c:pt>
                <c:pt idx="2286">
                  <c:v>5.5</c:v>
                </c:pt>
                <c:pt idx="2287">
                  <c:v>6</c:v>
                </c:pt>
                <c:pt idx="2288">
                  <c:v>11.5</c:v>
                </c:pt>
                <c:pt idx="2289">
                  <c:v>6.3</c:v>
                </c:pt>
                <c:pt idx="2290">
                  <c:v>3.8</c:v>
                </c:pt>
                <c:pt idx="2291">
                  <c:v>13.5</c:v>
                </c:pt>
                <c:pt idx="2292">
                  <c:v>7.3</c:v>
                </c:pt>
                <c:pt idx="2293">
                  <c:v>11.5</c:v>
                </c:pt>
                <c:pt idx="2294">
                  <c:v>5.9</c:v>
                </c:pt>
                <c:pt idx="2295">
                  <c:v>5.8</c:v>
                </c:pt>
                <c:pt idx="2296">
                  <c:v>7.2</c:v>
                </c:pt>
                <c:pt idx="2297">
                  <c:v>6</c:v>
                </c:pt>
                <c:pt idx="2298">
                  <c:v>3.5</c:v>
                </c:pt>
                <c:pt idx="2299">
                  <c:v>2.2000000000000002</c:v>
                </c:pt>
                <c:pt idx="2300">
                  <c:v>7.8</c:v>
                </c:pt>
                <c:pt idx="2301">
                  <c:v>7.4</c:v>
                </c:pt>
                <c:pt idx="2302">
                  <c:v>10</c:v>
                </c:pt>
                <c:pt idx="2303">
                  <c:v>1.8</c:v>
                </c:pt>
                <c:pt idx="2304">
                  <c:v>9.3000000000000007</c:v>
                </c:pt>
                <c:pt idx="2305">
                  <c:v>2.6</c:v>
                </c:pt>
                <c:pt idx="2306">
                  <c:v>6.7</c:v>
                </c:pt>
                <c:pt idx="2307">
                  <c:v>10.6</c:v>
                </c:pt>
                <c:pt idx="2308">
                  <c:v>10.8</c:v>
                </c:pt>
                <c:pt idx="2309">
                  <c:v>8.1</c:v>
                </c:pt>
                <c:pt idx="2310">
                  <c:v>7.3</c:v>
                </c:pt>
                <c:pt idx="2311">
                  <c:v>11.9</c:v>
                </c:pt>
                <c:pt idx="2312">
                  <c:v>5.6</c:v>
                </c:pt>
                <c:pt idx="2313">
                  <c:v>9.1</c:v>
                </c:pt>
                <c:pt idx="2314">
                  <c:v>7.4</c:v>
                </c:pt>
                <c:pt idx="2315">
                  <c:v>6.7</c:v>
                </c:pt>
                <c:pt idx="2316">
                  <c:v>6</c:v>
                </c:pt>
                <c:pt idx="2317">
                  <c:v>5.4</c:v>
                </c:pt>
                <c:pt idx="2318">
                  <c:v>9.1999999999999993</c:v>
                </c:pt>
                <c:pt idx="2319">
                  <c:v>8.3000000000000007</c:v>
                </c:pt>
                <c:pt idx="2320">
                  <c:v>4.0999999999999996</c:v>
                </c:pt>
                <c:pt idx="2321">
                  <c:v>5.3</c:v>
                </c:pt>
                <c:pt idx="2322">
                  <c:v>4.4000000000000004</c:v>
                </c:pt>
                <c:pt idx="2323">
                  <c:v>7.4</c:v>
                </c:pt>
                <c:pt idx="2324">
                  <c:v>10</c:v>
                </c:pt>
                <c:pt idx="2325">
                  <c:v>9.1</c:v>
                </c:pt>
                <c:pt idx="2326">
                  <c:v>2.2000000000000002</c:v>
                </c:pt>
                <c:pt idx="2327">
                  <c:v>6</c:v>
                </c:pt>
                <c:pt idx="2328">
                  <c:v>7.8</c:v>
                </c:pt>
                <c:pt idx="2329">
                  <c:v>9.4</c:v>
                </c:pt>
                <c:pt idx="2330">
                  <c:v>8.4</c:v>
                </c:pt>
                <c:pt idx="2331">
                  <c:v>7.6</c:v>
                </c:pt>
                <c:pt idx="2332">
                  <c:v>5.9</c:v>
                </c:pt>
                <c:pt idx="2333">
                  <c:v>4.0999999999999996</c:v>
                </c:pt>
                <c:pt idx="2334">
                  <c:v>7.6</c:v>
                </c:pt>
                <c:pt idx="2335">
                  <c:v>6.3</c:v>
                </c:pt>
                <c:pt idx="2336">
                  <c:v>9.5</c:v>
                </c:pt>
                <c:pt idx="2337">
                  <c:v>4.7</c:v>
                </c:pt>
                <c:pt idx="2338">
                  <c:v>7.5</c:v>
                </c:pt>
                <c:pt idx="2339">
                  <c:v>14</c:v>
                </c:pt>
                <c:pt idx="2340">
                  <c:v>8.6999999999999993</c:v>
                </c:pt>
                <c:pt idx="2341">
                  <c:v>7.6</c:v>
                </c:pt>
                <c:pt idx="2342">
                  <c:v>7.5</c:v>
                </c:pt>
                <c:pt idx="2343">
                  <c:v>8.1999999999999993</c:v>
                </c:pt>
                <c:pt idx="2344">
                  <c:v>6.6</c:v>
                </c:pt>
                <c:pt idx="2345">
                  <c:v>8.8000000000000007</c:v>
                </c:pt>
                <c:pt idx="2346">
                  <c:v>10.4</c:v>
                </c:pt>
                <c:pt idx="2347">
                  <c:v>9.4</c:v>
                </c:pt>
                <c:pt idx="2348">
                  <c:v>10.199999999999999</c:v>
                </c:pt>
                <c:pt idx="2349">
                  <c:v>5.5</c:v>
                </c:pt>
                <c:pt idx="2350">
                  <c:v>8.1</c:v>
                </c:pt>
                <c:pt idx="2351">
                  <c:v>10.7</c:v>
                </c:pt>
                <c:pt idx="2352">
                  <c:v>6.2</c:v>
                </c:pt>
                <c:pt idx="2353">
                  <c:v>5.6</c:v>
                </c:pt>
                <c:pt idx="2354">
                  <c:v>7.4</c:v>
                </c:pt>
                <c:pt idx="2355">
                  <c:v>3.8</c:v>
                </c:pt>
                <c:pt idx="2356">
                  <c:v>5.5</c:v>
                </c:pt>
                <c:pt idx="2357">
                  <c:v>4.4000000000000004</c:v>
                </c:pt>
                <c:pt idx="2358">
                  <c:v>4</c:v>
                </c:pt>
                <c:pt idx="2359">
                  <c:v>8.8000000000000007</c:v>
                </c:pt>
                <c:pt idx="2360">
                  <c:v>5.7</c:v>
                </c:pt>
                <c:pt idx="2361">
                  <c:v>1.7</c:v>
                </c:pt>
                <c:pt idx="2362">
                  <c:v>4</c:v>
                </c:pt>
                <c:pt idx="2363">
                  <c:v>10</c:v>
                </c:pt>
                <c:pt idx="2364">
                  <c:v>9.6</c:v>
                </c:pt>
                <c:pt idx="2365">
                  <c:v>8.1</c:v>
                </c:pt>
                <c:pt idx="2366">
                  <c:v>7.6</c:v>
                </c:pt>
                <c:pt idx="2367">
                  <c:v>6.2</c:v>
                </c:pt>
                <c:pt idx="2368">
                  <c:v>6.4</c:v>
                </c:pt>
                <c:pt idx="2369">
                  <c:v>6.9</c:v>
                </c:pt>
                <c:pt idx="2370">
                  <c:v>8.1999999999999993</c:v>
                </c:pt>
                <c:pt idx="2371">
                  <c:v>5.4</c:v>
                </c:pt>
                <c:pt idx="2372">
                  <c:v>5.2</c:v>
                </c:pt>
                <c:pt idx="2373">
                  <c:v>9.6</c:v>
                </c:pt>
                <c:pt idx="2374">
                  <c:v>12</c:v>
                </c:pt>
                <c:pt idx="2375">
                  <c:v>7.5</c:v>
                </c:pt>
                <c:pt idx="2376">
                  <c:v>4.5</c:v>
                </c:pt>
                <c:pt idx="2377">
                  <c:v>7.9</c:v>
                </c:pt>
                <c:pt idx="2378">
                  <c:v>5.0999999999999996</c:v>
                </c:pt>
                <c:pt idx="2379">
                  <c:v>6.6</c:v>
                </c:pt>
                <c:pt idx="2380">
                  <c:v>8.4</c:v>
                </c:pt>
                <c:pt idx="2381">
                  <c:v>3.7</c:v>
                </c:pt>
                <c:pt idx="2382">
                  <c:v>8.1</c:v>
                </c:pt>
                <c:pt idx="2383">
                  <c:v>8.1</c:v>
                </c:pt>
                <c:pt idx="2384">
                  <c:v>9.1</c:v>
                </c:pt>
                <c:pt idx="2385">
                  <c:v>2.9</c:v>
                </c:pt>
                <c:pt idx="2386">
                  <c:v>7</c:v>
                </c:pt>
                <c:pt idx="2387">
                  <c:v>12.6</c:v>
                </c:pt>
                <c:pt idx="2388">
                  <c:v>14.7</c:v>
                </c:pt>
                <c:pt idx="2389">
                  <c:v>11.8</c:v>
                </c:pt>
                <c:pt idx="2390">
                  <c:v>4.8</c:v>
                </c:pt>
                <c:pt idx="2391">
                  <c:v>6.3</c:v>
                </c:pt>
                <c:pt idx="2392">
                  <c:v>6.2</c:v>
                </c:pt>
                <c:pt idx="2393">
                  <c:v>6.7</c:v>
                </c:pt>
                <c:pt idx="2394">
                  <c:v>6.5</c:v>
                </c:pt>
                <c:pt idx="2395">
                  <c:v>11.2</c:v>
                </c:pt>
                <c:pt idx="2396">
                  <c:v>7.6</c:v>
                </c:pt>
                <c:pt idx="2397">
                  <c:v>7.5</c:v>
                </c:pt>
                <c:pt idx="2398">
                  <c:v>11.5</c:v>
                </c:pt>
                <c:pt idx="2399">
                  <c:v>7.5</c:v>
                </c:pt>
                <c:pt idx="2400">
                  <c:v>12.9</c:v>
                </c:pt>
                <c:pt idx="2401">
                  <c:v>5.8</c:v>
                </c:pt>
                <c:pt idx="2402">
                  <c:v>8.6</c:v>
                </c:pt>
                <c:pt idx="2403">
                  <c:v>10.9</c:v>
                </c:pt>
                <c:pt idx="2404">
                  <c:v>9.1</c:v>
                </c:pt>
                <c:pt idx="2405">
                  <c:v>4.8</c:v>
                </c:pt>
                <c:pt idx="2406">
                  <c:v>6</c:v>
                </c:pt>
                <c:pt idx="2407">
                  <c:v>5</c:v>
                </c:pt>
                <c:pt idx="2408">
                  <c:v>4.9000000000000004</c:v>
                </c:pt>
                <c:pt idx="2409">
                  <c:v>7.1</c:v>
                </c:pt>
                <c:pt idx="2410">
                  <c:v>12.3</c:v>
                </c:pt>
                <c:pt idx="2411">
                  <c:v>6.2</c:v>
                </c:pt>
                <c:pt idx="2412">
                  <c:v>7.8</c:v>
                </c:pt>
                <c:pt idx="2413">
                  <c:v>9</c:v>
                </c:pt>
                <c:pt idx="2414">
                  <c:v>8.1999999999999993</c:v>
                </c:pt>
                <c:pt idx="2415">
                  <c:v>5.9</c:v>
                </c:pt>
                <c:pt idx="2416">
                  <c:v>8</c:v>
                </c:pt>
                <c:pt idx="2417">
                  <c:v>12</c:v>
                </c:pt>
                <c:pt idx="2418">
                  <c:v>8</c:v>
                </c:pt>
                <c:pt idx="2419">
                  <c:v>7.8</c:v>
                </c:pt>
                <c:pt idx="2420">
                  <c:v>7.1</c:v>
                </c:pt>
                <c:pt idx="2421">
                  <c:v>1</c:v>
                </c:pt>
                <c:pt idx="2422">
                  <c:v>12.5</c:v>
                </c:pt>
                <c:pt idx="2423">
                  <c:v>9.4</c:v>
                </c:pt>
                <c:pt idx="2424">
                  <c:v>11.3</c:v>
                </c:pt>
                <c:pt idx="2425">
                  <c:v>5.6</c:v>
                </c:pt>
                <c:pt idx="2426">
                  <c:v>8.8000000000000007</c:v>
                </c:pt>
                <c:pt idx="2427">
                  <c:v>6.9</c:v>
                </c:pt>
                <c:pt idx="2428">
                  <c:v>12.1</c:v>
                </c:pt>
                <c:pt idx="2429">
                  <c:v>4.5</c:v>
                </c:pt>
                <c:pt idx="2430">
                  <c:v>6</c:v>
                </c:pt>
                <c:pt idx="2431">
                  <c:v>9.6999999999999993</c:v>
                </c:pt>
                <c:pt idx="2432">
                  <c:v>7.3</c:v>
                </c:pt>
                <c:pt idx="2433">
                  <c:v>8.8000000000000007</c:v>
                </c:pt>
                <c:pt idx="2434">
                  <c:v>9.6</c:v>
                </c:pt>
                <c:pt idx="2435">
                  <c:v>7.1</c:v>
                </c:pt>
                <c:pt idx="2436">
                  <c:v>5.4</c:v>
                </c:pt>
                <c:pt idx="2437">
                  <c:v>11.6</c:v>
                </c:pt>
                <c:pt idx="2438">
                  <c:v>6.1</c:v>
                </c:pt>
                <c:pt idx="2439">
                  <c:v>10.5</c:v>
                </c:pt>
                <c:pt idx="2440">
                  <c:v>10.5</c:v>
                </c:pt>
                <c:pt idx="2441">
                  <c:v>8</c:v>
                </c:pt>
                <c:pt idx="2442">
                  <c:v>7</c:v>
                </c:pt>
                <c:pt idx="2443">
                  <c:v>3</c:v>
                </c:pt>
                <c:pt idx="2444">
                  <c:v>8.5</c:v>
                </c:pt>
                <c:pt idx="2445">
                  <c:v>1.7</c:v>
                </c:pt>
                <c:pt idx="2446">
                  <c:v>4.5999999999999996</c:v>
                </c:pt>
                <c:pt idx="2447">
                  <c:v>5.7</c:v>
                </c:pt>
                <c:pt idx="2448">
                  <c:v>10.5</c:v>
                </c:pt>
                <c:pt idx="2449">
                  <c:v>8.9</c:v>
                </c:pt>
                <c:pt idx="2450">
                  <c:v>6.7</c:v>
                </c:pt>
                <c:pt idx="2451">
                  <c:v>9.8000000000000007</c:v>
                </c:pt>
                <c:pt idx="2452">
                  <c:v>4.5999999999999996</c:v>
                </c:pt>
                <c:pt idx="2453">
                  <c:v>5.4</c:v>
                </c:pt>
                <c:pt idx="2454">
                  <c:v>7</c:v>
                </c:pt>
                <c:pt idx="2455">
                  <c:v>6.3</c:v>
                </c:pt>
                <c:pt idx="2456">
                  <c:v>10.8</c:v>
                </c:pt>
                <c:pt idx="2457">
                  <c:v>8.9</c:v>
                </c:pt>
                <c:pt idx="2458">
                  <c:v>4.5999999999999996</c:v>
                </c:pt>
                <c:pt idx="2459">
                  <c:v>10.199999999999999</c:v>
                </c:pt>
                <c:pt idx="2460">
                  <c:v>9.9</c:v>
                </c:pt>
                <c:pt idx="2461">
                  <c:v>7.8</c:v>
                </c:pt>
                <c:pt idx="2462">
                  <c:v>10.5</c:v>
                </c:pt>
                <c:pt idx="2463">
                  <c:v>6</c:v>
                </c:pt>
                <c:pt idx="2464">
                  <c:v>7.1</c:v>
                </c:pt>
                <c:pt idx="2465">
                  <c:v>3.6</c:v>
                </c:pt>
                <c:pt idx="2466">
                  <c:v>8.3000000000000007</c:v>
                </c:pt>
                <c:pt idx="2467">
                  <c:v>10.9</c:v>
                </c:pt>
                <c:pt idx="2468">
                  <c:v>7.5</c:v>
                </c:pt>
                <c:pt idx="2469">
                  <c:v>6</c:v>
                </c:pt>
                <c:pt idx="2470">
                  <c:v>6.9</c:v>
                </c:pt>
                <c:pt idx="2471">
                  <c:v>0.7</c:v>
                </c:pt>
                <c:pt idx="2472">
                  <c:v>7</c:v>
                </c:pt>
                <c:pt idx="2473">
                  <c:v>7.1</c:v>
                </c:pt>
                <c:pt idx="2474">
                  <c:v>11.4</c:v>
                </c:pt>
                <c:pt idx="2475">
                  <c:v>8.1999999999999993</c:v>
                </c:pt>
                <c:pt idx="2476">
                  <c:v>8</c:v>
                </c:pt>
                <c:pt idx="2477">
                  <c:v>12.8</c:v>
                </c:pt>
                <c:pt idx="2478">
                  <c:v>6.8</c:v>
                </c:pt>
                <c:pt idx="2479">
                  <c:v>7.1</c:v>
                </c:pt>
                <c:pt idx="2480">
                  <c:v>3.4</c:v>
                </c:pt>
                <c:pt idx="2481">
                  <c:v>11.3</c:v>
                </c:pt>
                <c:pt idx="2482">
                  <c:v>8.6999999999999993</c:v>
                </c:pt>
                <c:pt idx="2483">
                  <c:v>7.2</c:v>
                </c:pt>
                <c:pt idx="2484">
                  <c:v>6.7</c:v>
                </c:pt>
                <c:pt idx="2485">
                  <c:v>8.4</c:v>
                </c:pt>
                <c:pt idx="2486">
                  <c:v>11.1</c:v>
                </c:pt>
                <c:pt idx="2487">
                  <c:v>5.2</c:v>
                </c:pt>
                <c:pt idx="2488">
                  <c:v>10</c:v>
                </c:pt>
                <c:pt idx="2489">
                  <c:v>8.6999999999999993</c:v>
                </c:pt>
                <c:pt idx="2490">
                  <c:v>2.9</c:v>
                </c:pt>
                <c:pt idx="2491">
                  <c:v>7.1</c:v>
                </c:pt>
                <c:pt idx="2492">
                  <c:v>5.4</c:v>
                </c:pt>
                <c:pt idx="2493">
                  <c:v>6.5</c:v>
                </c:pt>
                <c:pt idx="2494">
                  <c:v>2.9</c:v>
                </c:pt>
                <c:pt idx="2495">
                  <c:v>5.3</c:v>
                </c:pt>
                <c:pt idx="2496">
                  <c:v>7</c:v>
                </c:pt>
                <c:pt idx="2497">
                  <c:v>6.9</c:v>
                </c:pt>
                <c:pt idx="2498">
                  <c:v>7.9</c:v>
                </c:pt>
                <c:pt idx="2499">
                  <c:v>5.8</c:v>
                </c:pt>
                <c:pt idx="2500">
                  <c:v>6.9</c:v>
                </c:pt>
                <c:pt idx="2501">
                  <c:v>3.5</c:v>
                </c:pt>
                <c:pt idx="2502">
                  <c:v>7.1</c:v>
                </c:pt>
                <c:pt idx="2503">
                  <c:v>9.3000000000000007</c:v>
                </c:pt>
                <c:pt idx="2504">
                  <c:v>6.9</c:v>
                </c:pt>
                <c:pt idx="2505">
                  <c:v>6.8</c:v>
                </c:pt>
                <c:pt idx="2506">
                  <c:v>6.1</c:v>
                </c:pt>
                <c:pt idx="2507">
                  <c:v>7.4</c:v>
                </c:pt>
                <c:pt idx="2508">
                  <c:v>6.5</c:v>
                </c:pt>
                <c:pt idx="2509">
                  <c:v>6.2</c:v>
                </c:pt>
                <c:pt idx="2510">
                  <c:v>14.4</c:v>
                </c:pt>
                <c:pt idx="2511">
                  <c:v>13.1</c:v>
                </c:pt>
                <c:pt idx="2512">
                  <c:v>5.3</c:v>
                </c:pt>
                <c:pt idx="2513">
                  <c:v>6.9</c:v>
                </c:pt>
                <c:pt idx="2514">
                  <c:v>9.8000000000000007</c:v>
                </c:pt>
                <c:pt idx="2515">
                  <c:v>4.4000000000000004</c:v>
                </c:pt>
                <c:pt idx="2516">
                  <c:v>9.5</c:v>
                </c:pt>
                <c:pt idx="2517">
                  <c:v>12.2</c:v>
                </c:pt>
                <c:pt idx="2518">
                  <c:v>7.4</c:v>
                </c:pt>
                <c:pt idx="2519">
                  <c:v>5.2</c:v>
                </c:pt>
                <c:pt idx="2520">
                  <c:v>7.8</c:v>
                </c:pt>
                <c:pt idx="2521">
                  <c:v>6.6</c:v>
                </c:pt>
                <c:pt idx="2522">
                  <c:v>5.6</c:v>
                </c:pt>
                <c:pt idx="2523">
                  <c:v>5</c:v>
                </c:pt>
                <c:pt idx="2524">
                  <c:v>9.1999999999999993</c:v>
                </c:pt>
                <c:pt idx="2525">
                  <c:v>5.7</c:v>
                </c:pt>
                <c:pt idx="2526">
                  <c:v>8</c:v>
                </c:pt>
                <c:pt idx="2527">
                  <c:v>10.6</c:v>
                </c:pt>
                <c:pt idx="2528">
                  <c:v>4</c:v>
                </c:pt>
                <c:pt idx="2529">
                  <c:v>3.9</c:v>
                </c:pt>
                <c:pt idx="2530">
                  <c:v>3.2</c:v>
                </c:pt>
                <c:pt idx="2531">
                  <c:v>10</c:v>
                </c:pt>
                <c:pt idx="2532">
                  <c:v>7.6</c:v>
                </c:pt>
                <c:pt idx="2533">
                  <c:v>8.1999999999999993</c:v>
                </c:pt>
                <c:pt idx="2534">
                  <c:v>5.6</c:v>
                </c:pt>
                <c:pt idx="2535">
                  <c:v>7.8</c:v>
                </c:pt>
                <c:pt idx="2536">
                  <c:v>7.4</c:v>
                </c:pt>
                <c:pt idx="2537">
                  <c:v>7</c:v>
                </c:pt>
                <c:pt idx="2538">
                  <c:v>5.3</c:v>
                </c:pt>
                <c:pt idx="2539">
                  <c:v>8.1</c:v>
                </c:pt>
                <c:pt idx="2540">
                  <c:v>6.4</c:v>
                </c:pt>
                <c:pt idx="2541">
                  <c:v>14.2</c:v>
                </c:pt>
                <c:pt idx="2542">
                  <c:v>7.4</c:v>
                </c:pt>
                <c:pt idx="2543">
                  <c:v>9</c:v>
                </c:pt>
                <c:pt idx="2544">
                  <c:v>1</c:v>
                </c:pt>
                <c:pt idx="2545">
                  <c:v>8.6999999999999993</c:v>
                </c:pt>
                <c:pt idx="2546">
                  <c:v>7.6</c:v>
                </c:pt>
                <c:pt idx="2547">
                  <c:v>5.5</c:v>
                </c:pt>
                <c:pt idx="2548">
                  <c:v>8.5</c:v>
                </c:pt>
                <c:pt idx="2549">
                  <c:v>10.8</c:v>
                </c:pt>
                <c:pt idx="2550">
                  <c:v>6.3</c:v>
                </c:pt>
                <c:pt idx="2551">
                  <c:v>6.9</c:v>
                </c:pt>
                <c:pt idx="2552">
                  <c:v>5.4</c:v>
                </c:pt>
                <c:pt idx="2553">
                  <c:v>9</c:v>
                </c:pt>
                <c:pt idx="2554">
                  <c:v>9</c:v>
                </c:pt>
                <c:pt idx="2555">
                  <c:v>7.9</c:v>
                </c:pt>
                <c:pt idx="2556">
                  <c:v>9</c:v>
                </c:pt>
                <c:pt idx="2557">
                  <c:v>1.8</c:v>
                </c:pt>
                <c:pt idx="2558">
                  <c:v>10.199999999999999</c:v>
                </c:pt>
                <c:pt idx="2559">
                  <c:v>0.9</c:v>
                </c:pt>
                <c:pt idx="2560">
                  <c:v>7.2</c:v>
                </c:pt>
                <c:pt idx="2561">
                  <c:v>6.3</c:v>
                </c:pt>
                <c:pt idx="2562">
                  <c:v>8.8000000000000007</c:v>
                </c:pt>
                <c:pt idx="2563">
                  <c:v>6.8</c:v>
                </c:pt>
                <c:pt idx="2564">
                  <c:v>6.8</c:v>
                </c:pt>
                <c:pt idx="2565">
                  <c:v>5.8</c:v>
                </c:pt>
                <c:pt idx="2566">
                  <c:v>8</c:v>
                </c:pt>
                <c:pt idx="2567">
                  <c:v>7.8</c:v>
                </c:pt>
                <c:pt idx="2568">
                  <c:v>9.8000000000000007</c:v>
                </c:pt>
                <c:pt idx="2569">
                  <c:v>0</c:v>
                </c:pt>
                <c:pt idx="2570">
                  <c:v>11.4</c:v>
                </c:pt>
                <c:pt idx="2571">
                  <c:v>3.6</c:v>
                </c:pt>
                <c:pt idx="2572">
                  <c:v>5.3</c:v>
                </c:pt>
                <c:pt idx="2573">
                  <c:v>4.2</c:v>
                </c:pt>
                <c:pt idx="2574">
                  <c:v>5.6</c:v>
                </c:pt>
                <c:pt idx="2575">
                  <c:v>6.9</c:v>
                </c:pt>
                <c:pt idx="2576">
                  <c:v>8.9</c:v>
                </c:pt>
                <c:pt idx="2577">
                  <c:v>10.199999999999999</c:v>
                </c:pt>
                <c:pt idx="2578">
                  <c:v>10.4</c:v>
                </c:pt>
                <c:pt idx="2579">
                  <c:v>1.3</c:v>
                </c:pt>
                <c:pt idx="2580">
                  <c:v>9.3000000000000007</c:v>
                </c:pt>
                <c:pt idx="2581">
                  <c:v>11</c:v>
                </c:pt>
                <c:pt idx="2582">
                  <c:v>9.4</c:v>
                </c:pt>
                <c:pt idx="2583">
                  <c:v>10.1</c:v>
                </c:pt>
                <c:pt idx="2584">
                  <c:v>7.9</c:v>
                </c:pt>
                <c:pt idx="2585">
                  <c:v>7</c:v>
                </c:pt>
                <c:pt idx="2586">
                  <c:v>11.8</c:v>
                </c:pt>
                <c:pt idx="2587">
                  <c:v>7.5</c:v>
                </c:pt>
                <c:pt idx="2588">
                  <c:v>9.1</c:v>
                </c:pt>
                <c:pt idx="2589">
                  <c:v>4.9000000000000004</c:v>
                </c:pt>
                <c:pt idx="2590">
                  <c:v>8.1</c:v>
                </c:pt>
                <c:pt idx="2591">
                  <c:v>7.7</c:v>
                </c:pt>
                <c:pt idx="2592">
                  <c:v>11</c:v>
                </c:pt>
                <c:pt idx="2593">
                  <c:v>5.7</c:v>
                </c:pt>
                <c:pt idx="2594">
                  <c:v>10.4</c:v>
                </c:pt>
                <c:pt idx="2595">
                  <c:v>6.2</c:v>
                </c:pt>
                <c:pt idx="2596">
                  <c:v>2.9</c:v>
                </c:pt>
                <c:pt idx="2597">
                  <c:v>3.8</c:v>
                </c:pt>
                <c:pt idx="2598">
                  <c:v>0.6</c:v>
                </c:pt>
                <c:pt idx="2599">
                  <c:v>2.2999999999999998</c:v>
                </c:pt>
                <c:pt idx="2600">
                  <c:v>7.9</c:v>
                </c:pt>
                <c:pt idx="2601">
                  <c:v>7.1</c:v>
                </c:pt>
                <c:pt idx="2602">
                  <c:v>5.4</c:v>
                </c:pt>
                <c:pt idx="2603">
                  <c:v>8.8000000000000007</c:v>
                </c:pt>
                <c:pt idx="2604">
                  <c:v>7.4</c:v>
                </c:pt>
                <c:pt idx="2605">
                  <c:v>7.7</c:v>
                </c:pt>
                <c:pt idx="2606">
                  <c:v>6.7</c:v>
                </c:pt>
                <c:pt idx="2607">
                  <c:v>8.8000000000000007</c:v>
                </c:pt>
                <c:pt idx="2608">
                  <c:v>7.5</c:v>
                </c:pt>
                <c:pt idx="2609">
                  <c:v>6.6</c:v>
                </c:pt>
                <c:pt idx="2610">
                  <c:v>8.1</c:v>
                </c:pt>
                <c:pt idx="2611">
                  <c:v>5.9</c:v>
                </c:pt>
                <c:pt idx="2612">
                  <c:v>1.2</c:v>
                </c:pt>
                <c:pt idx="2613">
                  <c:v>8.9</c:v>
                </c:pt>
                <c:pt idx="2614">
                  <c:v>7.4</c:v>
                </c:pt>
                <c:pt idx="2615">
                  <c:v>8.9</c:v>
                </c:pt>
                <c:pt idx="2616">
                  <c:v>12</c:v>
                </c:pt>
                <c:pt idx="2617">
                  <c:v>8</c:v>
                </c:pt>
                <c:pt idx="2618">
                  <c:v>11.4</c:v>
                </c:pt>
                <c:pt idx="2619">
                  <c:v>5.7</c:v>
                </c:pt>
                <c:pt idx="2620">
                  <c:v>11.2</c:v>
                </c:pt>
                <c:pt idx="2621">
                  <c:v>8.5</c:v>
                </c:pt>
                <c:pt idx="2622">
                  <c:v>6.3</c:v>
                </c:pt>
                <c:pt idx="2623">
                  <c:v>9.4</c:v>
                </c:pt>
                <c:pt idx="2624">
                  <c:v>10.6</c:v>
                </c:pt>
                <c:pt idx="2625">
                  <c:v>5.3</c:v>
                </c:pt>
                <c:pt idx="2626">
                  <c:v>7.1</c:v>
                </c:pt>
                <c:pt idx="2627">
                  <c:v>11.4</c:v>
                </c:pt>
                <c:pt idx="2628">
                  <c:v>10.1</c:v>
                </c:pt>
                <c:pt idx="2629">
                  <c:v>15.3</c:v>
                </c:pt>
                <c:pt idx="2630">
                  <c:v>5.3</c:v>
                </c:pt>
                <c:pt idx="2631">
                  <c:v>4.5</c:v>
                </c:pt>
                <c:pt idx="2632">
                  <c:v>5.8</c:v>
                </c:pt>
                <c:pt idx="2633">
                  <c:v>6.1</c:v>
                </c:pt>
                <c:pt idx="2634">
                  <c:v>12.1</c:v>
                </c:pt>
                <c:pt idx="2635">
                  <c:v>6.3</c:v>
                </c:pt>
                <c:pt idx="2636">
                  <c:v>2.8</c:v>
                </c:pt>
                <c:pt idx="2637">
                  <c:v>10.5</c:v>
                </c:pt>
                <c:pt idx="2638">
                  <c:v>5.6</c:v>
                </c:pt>
                <c:pt idx="2639">
                  <c:v>8.6</c:v>
                </c:pt>
                <c:pt idx="2640">
                  <c:v>7.2</c:v>
                </c:pt>
                <c:pt idx="2641">
                  <c:v>5.7</c:v>
                </c:pt>
                <c:pt idx="2642">
                  <c:v>14.8</c:v>
                </c:pt>
                <c:pt idx="2643">
                  <c:v>5.2</c:v>
                </c:pt>
                <c:pt idx="2644">
                  <c:v>6</c:v>
                </c:pt>
                <c:pt idx="2645">
                  <c:v>6.6</c:v>
                </c:pt>
                <c:pt idx="2646">
                  <c:v>7.8</c:v>
                </c:pt>
                <c:pt idx="2647">
                  <c:v>7.7</c:v>
                </c:pt>
                <c:pt idx="2648">
                  <c:v>8.6999999999999993</c:v>
                </c:pt>
                <c:pt idx="2649">
                  <c:v>11.5</c:v>
                </c:pt>
                <c:pt idx="2650">
                  <c:v>9.8000000000000007</c:v>
                </c:pt>
                <c:pt idx="2651">
                  <c:v>9.3000000000000007</c:v>
                </c:pt>
                <c:pt idx="2652">
                  <c:v>6.6</c:v>
                </c:pt>
                <c:pt idx="2653">
                  <c:v>7.1</c:v>
                </c:pt>
                <c:pt idx="2654">
                  <c:v>7.4</c:v>
                </c:pt>
                <c:pt idx="2655">
                  <c:v>6</c:v>
                </c:pt>
                <c:pt idx="2656">
                  <c:v>7.9</c:v>
                </c:pt>
                <c:pt idx="2657">
                  <c:v>6.6</c:v>
                </c:pt>
                <c:pt idx="2658">
                  <c:v>9.6</c:v>
                </c:pt>
                <c:pt idx="2659">
                  <c:v>5.7</c:v>
                </c:pt>
                <c:pt idx="2660">
                  <c:v>8</c:v>
                </c:pt>
                <c:pt idx="2661">
                  <c:v>7.4</c:v>
                </c:pt>
                <c:pt idx="2662">
                  <c:v>4.8</c:v>
                </c:pt>
                <c:pt idx="2663">
                  <c:v>11</c:v>
                </c:pt>
                <c:pt idx="2664">
                  <c:v>3.3</c:v>
                </c:pt>
                <c:pt idx="2665">
                  <c:v>10.4</c:v>
                </c:pt>
                <c:pt idx="2666">
                  <c:v>9.1</c:v>
                </c:pt>
                <c:pt idx="2667">
                  <c:v>3</c:v>
                </c:pt>
                <c:pt idx="2668">
                  <c:v>6.4</c:v>
                </c:pt>
                <c:pt idx="2669">
                  <c:v>8.1999999999999993</c:v>
                </c:pt>
                <c:pt idx="2670">
                  <c:v>1.2</c:v>
                </c:pt>
                <c:pt idx="2671">
                  <c:v>5.2</c:v>
                </c:pt>
                <c:pt idx="2672">
                  <c:v>4.4000000000000004</c:v>
                </c:pt>
                <c:pt idx="2673">
                  <c:v>7.6</c:v>
                </c:pt>
                <c:pt idx="2674">
                  <c:v>7.1</c:v>
                </c:pt>
                <c:pt idx="2675">
                  <c:v>7</c:v>
                </c:pt>
                <c:pt idx="2676">
                  <c:v>9.1</c:v>
                </c:pt>
                <c:pt idx="2677">
                  <c:v>2.1</c:v>
                </c:pt>
                <c:pt idx="2678">
                  <c:v>5.2</c:v>
                </c:pt>
                <c:pt idx="2679">
                  <c:v>6</c:v>
                </c:pt>
                <c:pt idx="2680">
                  <c:v>9</c:v>
                </c:pt>
                <c:pt idx="2681">
                  <c:v>7.3</c:v>
                </c:pt>
                <c:pt idx="2682">
                  <c:v>8.9</c:v>
                </c:pt>
                <c:pt idx="2683">
                  <c:v>8.3000000000000007</c:v>
                </c:pt>
                <c:pt idx="2684">
                  <c:v>6</c:v>
                </c:pt>
                <c:pt idx="2685">
                  <c:v>6.4</c:v>
                </c:pt>
                <c:pt idx="2686">
                  <c:v>7.4</c:v>
                </c:pt>
                <c:pt idx="2687">
                  <c:v>14</c:v>
                </c:pt>
                <c:pt idx="2688">
                  <c:v>7</c:v>
                </c:pt>
                <c:pt idx="2689">
                  <c:v>6.5</c:v>
                </c:pt>
                <c:pt idx="2690">
                  <c:v>7.6</c:v>
                </c:pt>
                <c:pt idx="2691">
                  <c:v>6.3</c:v>
                </c:pt>
                <c:pt idx="2692">
                  <c:v>6.8</c:v>
                </c:pt>
                <c:pt idx="2693">
                  <c:v>2.9</c:v>
                </c:pt>
                <c:pt idx="2694">
                  <c:v>6.9</c:v>
                </c:pt>
                <c:pt idx="2695">
                  <c:v>2.8</c:v>
                </c:pt>
                <c:pt idx="2696">
                  <c:v>9</c:v>
                </c:pt>
                <c:pt idx="2697">
                  <c:v>9.8000000000000007</c:v>
                </c:pt>
                <c:pt idx="2698">
                  <c:v>5.8</c:v>
                </c:pt>
                <c:pt idx="2699">
                  <c:v>5.6</c:v>
                </c:pt>
                <c:pt idx="2700">
                  <c:v>3.8</c:v>
                </c:pt>
                <c:pt idx="2701">
                  <c:v>13.3</c:v>
                </c:pt>
                <c:pt idx="2702">
                  <c:v>11.6</c:v>
                </c:pt>
                <c:pt idx="2703">
                  <c:v>7.5</c:v>
                </c:pt>
                <c:pt idx="2704">
                  <c:v>7.6</c:v>
                </c:pt>
                <c:pt idx="2705">
                  <c:v>3.4</c:v>
                </c:pt>
                <c:pt idx="2706">
                  <c:v>5.4</c:v>
                </c:pt>
                <c:pt idx="2707">
                  <c:v>6.9</c:v>
                </c:pt>
                <c:pt idx="2708">
                  <c:v>11.5</c:v>
                </c:pt>
                <c:pt idx="2709">
                  <c:v>11</c:v>
                </c:pt>
                <c:pt idx="2710">
                  <c:v>9.1</c:v>
                </c:pt>
                <c:pt idx="2711">
                  <c:v>6.1</c:v>
                </c:pt>
                <c:pt idx="2712">
                  <c:v>8.3000000000000007</c:v>
                </c:pt>
                <c:pt idx="2713">
                  <c:v>6.8</c:v>
                </c:pt>
                <c:pt idx="2714">
                  <c:v>11.3</c:v>
                </c:pt>
                <c:pt idx="2715">
                  <c:v>8.9</c:v>
                </c:pt>
                <c:pt idx="2716">
                  <c:v>6</c:v>
                </c:pt>
                <c:pt idx="2717">
                  <c:v>9.4</c:v>
                </c:pt>
                <c:pt idx="2718">
                  <c:v>5</c:v>
                </c:pt>
                <c:pt idx="2719">
                  <c:v>7.3</c:v>
                </c:pt>
                <c:pt idx="2720">
                  <c:v>5.4</c:v>
                </c:pt>
                <c:pt idx="2721">
                  <c:v>7.2</c:v>
                </c:pt>
                <c:pt idx="2722">
                  <c:v>9.3000000000000007</c:v>
                </c:pt>
                <c:pt idx="2723">
                  <c:v>7.7</c:v>
                </c:pt>
                <c:pt idx="2724">
                  <c:v>7.8</c:v>
                </c:pt>
                <c:pt idx="2725">
                  <c:v>5.9</c:v>
                </c:pt>
                <c:pt idx="2726">
                  <c:v>11.4</c:v>
                </c:pt>
                <c:pt idx="2727">
                  <c:v>1.9</c:v>
                </c:pt>
                <c:pt idx="2728">
                  <c:v>8.3000000000000007</c:v>
                </c:pt>
                <c:pt idx="2729">
                  <c:v>9.4</c:v>
                </c:pt>
                <c:pt idx="2730">
                  <c:v>6.8</c:v>
                </c:pt>
                <c:pt idx="2731">
                  <c:v>7.2</c:v>
                </c:pt>
                <c:pt idx="2732">
                  <c:v>10.3</c:v>
                </c:pt>
                <c:pt idx="2733">
                  <c:v>9.5</c:v>
                </c:pt>
                <c:pt idx="2734">
                  <c:v>4.9000000000000004</c:v>
                </c:pt>
                <c:pt idx="2735">
                  <c:v>4.9000000000000004</c:v>
                </c:pt>
                <c:pt idx="2736">
                  <c:v>4.2</c:v>
                </c:pt>
                <c:pt idx="2737">
                  <c:v>7.2</c:v>
                </c:pt>
                <c:pt idx="2738">
                  <c:v>6.4</c:v>
                </c:pt>
                <c:pt idx="2739">
                  <c:v>15</c:v>
                </c:pt>
                <c:pt idx="2740">
                  <c:v>6.2</c:v>
                </c:pt>
                <c:pt idx="2741">
                  <c:v>6.2</c:v>
                </c:pt>
                <c:pt idx="2742">
                  <c:v>6.7</c:v>
                </c:pt>
                <c:pt idx="2743">
                  <c:v>11.2</c:v>
                </c:pt>
                <c:pt idx="2744">
                  <c:v>4.5</c:v>
                </c:pt>
                <c:pt idx="2745">
                  <c:v>8.6999999999999993</c:v>
                </c:pt>
                <c:pt idx="2746">
                  <c:v>7.2</c:v>
                </c:pt>
                <c:pt idx="2747">
                  <c:v>5.5</c:v>
                </c:pt>
                <c:pt idx="2748">
                  <c:v>7.7</c:v>
                </c:pt>
                <c:pt idx="2749">
                  <c:v>6.6</c:v>
                </c:pt>
                <c:pt idx="2750">
                  <c:v>5.5</c:v>
                </c:pt>
                <c:pt idx="2751">
                  <c:v>5.0999999999999996</c:v>
                </c:pt>
                <c:pt idx="2752">
                  <c:v>6.9</c:v>
                </c:pt>
                <c:pt idx="2753">
                  <c:v>6.7</c:v>
                </c:pt>
                <c:pt idx="2754">
                  <c:v>9.3000000000000007</c:v>
                </c:pt>
                <c:pt idx="2755">
                  <c:v>8.1</c:v>
                </c:pt>
                <c:pt idx="2756">
                  <c:v>11.8</c:v>
                </c:pt>
                <c:pt idx="2757">
                  <c:v>3.4</c:v>
                </c:pt>
                <c:pt idx="2758">
                  <c:v>7.9</c:v>
                </c:pt>
                <c:pt idx="2759">
                  <c:v>7.2</c:v>
                </c:pt>
                <c:pt idx="2760">
                  <c:v>10.7</c:v>
                </c:pt>
                <c:pt idx="2761">
                  <c:v>5.3</c:v>
                </c:pt>
                <c:pt idx="2762">
                  <c:v>7.2</c:v>
                </c:pt>
                <c:pt idx="2763">
                  <c:v>11</c:v>
                </c:pt>
                <c:pt idx="2764">
                  <c:v>6.5</c:v>
                </c:pt>
                <c:pt idx="2765">
                  <c:v>6.4</c:v>
                </c:pt>
                <c:pt idx="2766">
                  <c:v>6.4</c:v>
                </c:pt>
                <c:pt idx="2767">
                  <c:v>9.1</c:v>
                </c:pt>
                <c:pt idx="2768">
                  <c:v>6</c:v>
                </c:pt>
                <c:pt idx="2769">
                  <c:v>10.3</c:v>
                </c:pt>
                <c:pt idx="2770">
                  <c:v>8.9</c:v>
                </c:pt>
                <c:pt idx="2771">
                  <c:v>9.6999999999999993</c:v>
                </c:pt>
                <c:pt idx="2772">
                  <c:v>6.6</c:v>
                </c:pt>
                <c:pt idx="2773">
                  <c:v>7.2</c:v>
                </c:pt>
                <c:pt idx="2774">
                  <c:v>5.6</c:v>
                </c:pt>
                <c:pt idx="2775">
                  <c:v>8.4</c:v>
                </c:pt>
                <c:pt idx="2776">
                  <c:v>7.6</c:v>
                </c:pt>
                <c:pt idx="2777">
                  <c:v>7.4</c:v>
                </c:pt>
                <c:pt idx="2778">
                  <c:v>7.4</c:v>
                </c:pt>
                <c:pt idx="2779">
                  <c:v>4.0999999999999996</c:v>
                </c:pt>
                <c:pt idx="2780">
                  <c:v>3.8</c:v>
                </c:pt>
                <c:pt idx="2781">
                  <c:v>7.7</c:v>
                </c:pt>
                <c:pt idx="2782">
                  <c:v>8</c:v>
                </c:pt>
                <c:pt idx="2783">
                  <c:v>6.5</c:v>
                </c:pt>
                <c:pt idx="2784">
                  <c:v>4.5</c:v>
                </c:pt>
                <c:pt idx="2785">
                  <c:v>7.2</c:v>
                </c:pt>
                <c:pt idx="2786">
                  <c:v>5.7</c:v>
                </c:pt>
                <c:pt idx="2787">
                  <c:v>8.1999999999999993</c:v>
                </c:pt>
                <c:pt idx="2788">
                  <c:v>5.9</c:v>
                </c:pt>
                <c:pt idx="2789">
                  <c:v>4</c:v>
                </c:pt>
                <c:pt idx="2790">
                  <c:v>5.9</c:v>
                </c:pt>
                <c:pt idx="2791">
                  <c:v>9.1999999999999993</c:v>
                </c:pt>
                <c:pt idx="2792">
                  <c:v>6.9</c:v>
                </c:pt>
                <c:pt idx="2793">
                  <c:v>10.4</c:v>
                </c:pt>
                <c:pt idx="2794">
                  <c:v>8.1999999999999993</c:v>
                </c:pt>
                <c:pt idx="2795">
                  <c:v>13</c:v>
                </c:pt>
                <c:pt idx="2796">
                  <c:v>10.4</c:v>
                </c:pt>
                <c:pt idx="2797">
                  <c:v>4.0999999999999996</c:v>
                </c:pt>
                <c:pt idx="2798">
                  <c:v>14</c:v>
                </c:pt>
                <c:pt idx="2799">
                  <c:v>7.8</c:v>
                </c:pt>
                <c:pt idx="2800">
                  <c:v>5</c:v>
                </c:pt>
                <c:pt idx="2801">
                  <c:v>7.1</c:v>
                </c:pt>
                <c:pt idx="2802">
                  <c:v>3.6</c:v>
                </c:pt>
                <c:pt idx="2803">
                  <c:v>3.8</c:v>
                </c:pt>
                <c:pt idx="2804">
                  <c:v>5.8</c:v>
                </c:pt>
                <c:pt idx="2805">
                  <c:v>8</c:v>
                </c:pt>
                <c:pt idx="2806">
                  <c:v>4</c:v>
                </c:pt>
                <c:pt idx="2807">
                  <c:v>13.4</c:v>
                </c:pt>
                <c:pt idx="2808">
                  <c:v>5.3</c:v>
                </c:pt>
                <c:pt idx="2809">
                  <c:v>5.8</c:v>
                </c:pt>
                <c:pt idx="2810">
                  <c:v>8.1999999999999993</c:v>
                </c:pt>
                <c:pt idx="2811">
                  <c:v>8.4</c:v>
                </c:pt>
                <c:pt idx="2812">
                  <c:v>9.6</c:v>
                </c:pt>
                <c:pt idx="2813">
                  <c:v>10.7</c:v>
                </c:pt>
                <c:pt idx="2814">
                  <c:v>9.6999999999999993</c:v>
                </c:pt>
                <c:pt idx="2815">
                  <c:v>9.5</c:v>
                </c:pt>
                <c:pt idx="2816">
                  <c:v>3.6</c:v>
                </c:pt>
                <c:pt idx="2817">
                  <c:v>4.7</c:v>
                </c:pt>
                <c:pt idx="2818">
                  <c:v>10.4</c:v>
                </c:pt>
                <c:pt idx="2819">
                  <c:v>6.5</c:v>
                </c:pt>
                <c:pt idx="2820">
                  <c:v>5</c:v>
                </c:pt>
                <c:pt idx="2821">
                  <c:v>5.9</c:v>
                </c:pt>
                <c:pt idx="2822">
                  <c:v>4.4000000000000004</c:v>
                </c:pt>
                <c:pt idx="2823">
                  <c:v>1.6</c:v>
                </c:pt>
                <c:pt idx="2824">
                  <c:v>8.9</c:v>
                </c:pt>
                <c:pt idx="2825">
                  <c:v>10.6</c:v>
                </c:pt>
                <c:pt idx="2826">
                  <c:v>10.4</c:v>
                </c:pt>
                <c:pt idx="2827">
                  <c:v>8.5</c:v>
                </c:pt>
                <c:pt idx="2828">
                  <c:v>5.7</c:v>
                </c:pt>
                <c:pt idx="2829">
                  <c:v>8.1</c:v>
                </c:pt>
                <c:pt idx="2830">
                  <c:v>8.1</c:v>
                </c:pt>
                <c:pt idx="2831">
                  <c:v>8.9</c:v>
                </c:pt>
                <c:pt idx="2832">
                  <c:v>7.8</c:v>
                </c:pt>
                <c:pt idx="2833">
                  <c:v>7.4</c:v>
                </c:pt>
                <c:pt idx="2834">
                  <c:v>13.7</c:v>
                </c:pt>
                <c:pt idx="2835">
                  <c:v>6.7</c:v>
                </c:pt>
                <c:pt idx="2836">
                  <c:v>5.5</c:v>
                </c:pt>
                <c:pt idx="2837">
                  <c:v>3.2</c:v>
                </c:pt>
                <c:pt idx="2838">
                  <c:v>3.3</c:v>
                </c:pt>
                <c:pt idx="2839">
                  <c:v>7.7</c:v>
                </c:pt>
                <c:pt idx="2840">
                  <c:v>5.8</c:v>
                </c:pt>
                <c:pt idx="2841">
                  <c:v>10.8</c:v>
                </c:pt>
                <c:pt idx="2842">
                  <c:v>1.4</c:v>
                </c:pt>
                <c:pt idx="2843">
                  <c:v>12</c:v>
                </c:pt>
                <c:pt idx="2844">
                  <c:v>4.8</c:v>
                </c:pt>
                <c:pt idx="2845">
                  <c:v>3.8</c:v>
                </c:pt>
                <c:pt idx="2846">
                  <c:v>9.9</c:v>
                </c:pt>
                <c:pt idx="2847">
                  <c:v>3</c:v>
                </c:pt>
                <c:pt idx="2848">
                  <c:v>7.7</c:v>
                </c:pt>
                <c:pt idx="2849">
                  <c:v>9.6999999999999993</c:v>
                </c:pt>
                <c:pt idx="2850">
                  <c:v>4.4000000000000004</c:v>
                </c:pt>
                <c:pt idx="2851">
                  <c:v>12</c:v>
                </c:pt>
                <c:pt idx="2852">
                  <c:v>5.6</c:v>
                </c:pt>
                <c:pt idx="2853">
                  <c:v>5</c:v>
                </c:pt>
                <c:pt idx="2854">
                  <c:v>12.9</c:v>
                </c:pt>
                <c:pt idx="2855">
                  <c:v>4.4000000000000004</c:v>
                </c:pt>
                <c:pt idx="2856">
                  <c:v>5.8</c:v>
                </c:pt>
                <c:pt idx="2857">
                  <c:v>7.5</c:v>
                </c:pt>
                <c:pt idx="2858">
                  <c:v>0.6</c:v>
                </c:pt>
                <c:pt idx="2859">
                  <c:v>13.8</c:v>
                </c:pt>
                <c:pt idx="2860">
                  <c:v>1.9</c:v>
                </c:pt>
                <c:pt idx="2861">
                  <c:v>5.4</c:v>
                </c:pt>
                <c:pt idx="2862">
                  <c:v>7.7</c:v>
                </c:pt>
                <c:pt idx="2863">
                  <c:v>4.9000000000000004</c:v>
                </c:pt>
                <c:pt idx="2864">
                  <c:v>5</c:v>
                </c:pt>
                <c:pt idx="2865">
                  <c:v>9.6999999999999993</c:v>
                </c:pt>
                <c:pt idx="2866">
                  <c:v>10.3</c:v>
                </c:pt>
                <c:pt idx="2867">
                  <c:v>2.8</c:v>
                </c:pt>
                <c:pt idx="2868">
                  <c:v>7.5</c:v>
                </c:pt>
                <c:pt idx="2869">
                  <c:v>7.8</c:v>
                </c:pt>
                <c:pt idx="2870">
                  <c:v>7.2</c:v>
                </c:pt>
                <c:pt idx="2871">
                  <c:v>7.7</c:v>
                </c:pt>
                <c:pt idx="2872">
                  <c:v>7.5</c:v>
                </c:pt>
                <c:pt idx="2873">
                  <c:v>3.8</c:v>
                </c:pt>
                <c:pt idx="2874">
                  <c:v>5.3</c:v>
                </c:pt>
                <c:pt idx="2875">
                  <c:v>9.6999999999999993</c:v>
                </c:pt>
                <c:pt idx="2876">
                  <c:v>8.4</c:v>
                </c:pt>
                <c:pt idx="2877">
                  <c:v>7.3</c:v>
                </c:pt>
                <c:pt idx="2878">
                  <c:v>2.2999999999999998</c:v>
                </c:pt>
                <c:pt idx="2879">
                  <c:v>4</c:v>
                </c:pt>
                <c:pt idx="2880">
                  <c:v>5.3</c:v>
                </c:pt>
                <c:pt idx="2881">
                  <c:v>9.9</c:v>
                </c:pt>
                <c:pt idx="2882">
                  <c:v>1.4</c:v>
                </c:pt>
                <c:pt idx="2883">
                  <c:v>9.4</c:v>
                </c:pt>
                <c:pt idx="2884">
                  <c:v>8</c:v>
                </c:pt>
                <c:pt idx="2885">
                  <c:v>7.4</c:v>
                </c:pt>
                <c:pt idx="2886">
                  <c:v>12.4</c:v>
                </c:pt>
                <c:pt idx="2887">
                  <c:v>5.7</c:v>
                </c:pt>
                <c:pt idx="2888">
                  <c:v>9.6999999999999993</c:v>
                </c:pt>
                <c:pt idx="2889">
                  <c:v>7</c:v>
                </c:pt>
                <c:pt idx="2890">
                  <c:v>7.6</c:v>
                </c:pt>
                <c:pt idx="2891">
                  <c:v>4.5</c:v>
                </c:pt>
                <c:pt idx="2892">
                  <c:v>0</c:v>
                </c:pt>
                <c:pt idx="2893">
                  <c:v>7.4</c:v>
                </c:pt>
                <c:pt idx="2894">
                  <c:v>13.9</c:v>
                </c:pt>
                <c:pt idx="2895">
                  <c:v>2.9</c:v>
                </c:pt>
                <c:pt idx="2896">
                  <c:v>4.8</c:v>
                </c:pt>
                <c:pt idx="2897">
                  <c:v>10.1</c:v>
                </c:pt>
                <c:pt idx="2898">
                  <c:v>9.1</c:v>
                </c:pt>
                <c:pt idx="2899">
                  <c:v>9</c:v>
                </c:pt>
                <c:pt idx="2900">
                  <c:v>6.3</c:v>
                </c:pt>
                <c:pt idx="2901">
                  <c:v>8.4</c:v>
                </c:pt>
                <c:pt idx="2902">
                  <c:v>6.3</c:v>
                </c:pt>
                <c:pt idx="2903">
                  <c:v>9.1999999999999993</c:v>
                </c:pt>
                <c:pt idx="2904">
                  <c:v>6.9</c:v>
                </c:pt>
                <c:pt idx="2905">
                  <c:v>5.7</c:v>
                </c:pt>
                <c:pt idx="2906">
                  <c:v>10.3</c:v>
                </c:pt>
                <c:pt idx="2907">
                  <c:v>8.9</c:v>
                </c:pt>
                <c:pt idx="2908">
                  <c:v>10.6</c:v>
                </c:pt>
                <c:pt idx="2909">
                  <c:v>6.5</c:v>
                </c:pt>
                <c:pt idx="2910">
                  <c:v>8</c:v>
                </c:pt>
                <c:pt idx="2911">
                  <c:v>6.2</c:v>
                </c:pt>
                <c:pt idx="2912">
                  <c:v>4.4000000000000004</c:v>
                </c:pt>
                <c:pt idx="2913">
                  <c:v>3.8</c:v>
                </c:pt>
                <c:pt idx="2914">
                  <c:v>7.4</c:v>
                </c:pt>
                <c:pt idx="2915">
                  <c:v>5.9</c:v>
                </c:pt>
                <c:pt idx="2916">
                  <c:v>5.0999999999999996</c:v>
                </c:pt>
                <c:pt idx="2917">
                  <c:v>11.3</c:v>
                </c:pt>
                <c:pt idx="2918">
                  <c:v>7</c:v>
                </c:pt>
                <c:pt idx="2919">
                  <c:v>8.1999999999999993</c:v>
                </c:pt>
                <c:pt idx="2920">
                  <c:v>7.5</c:v>
                </c:pt>
                <c:pt idx="2921">
                  <c:v>10.5</c:v>
                </c:pt>
                <c:pt idx="2922">
                  <c:v>14.3</c:v>
                </c:pt>
                <c:pt idx="2923">
                  <c:v>8</c:v>
                </c:pt>
                <c:pt idx="2924">
                  <c:v>4.2</c:v>
                </c:pt>
                <c:pt idx="2925">
                  <c:v>7.8</c:v>
                </c:pt>
                <c:pt idx="2926">
                  <c:v>8.9</c:v>
                </c:pt>
                <c:pt idx="2927">
                  <c:v>7.7</c:v>
                </c:pt>
                <c:pt idx="2928">
                  <c:v>13.4</c:v>
                </c:pt>
                <c:pt idx="2929">
                  <c:v>8.9</c:v>
                </c:pt>
                <c:pt idx="2930">
                  <c:v>8.3000000000000007</c:v>
                </c:pt>
                <c:pt idx="2931">
                  <c:v>10.5</c:v>
                </c:pt>
                <c:pt idx="2932">
                  <c:v>8.1999999999999993</c:v>
                </c:pt>
                <c:pt idx="2933">
                  <c:v>8.9</c:v>
                </c:pt>
                <c:pt idx="2934">
                  <c:v>8.8000000000000007</c:v>
                </c:pt>
                <c:pt idx="2935">
                  <c:v>9.5</c:v>
                </c:pt>
                <c:pt idx="2936">
                  <c:v>12.9</c:v>
                </c:pt>
                <c:pt idx="2937">
                  <c:v>2.6</c:v>
                </c:pt>
                <c:pt idx="2938">
                  <c:v>9.1</c:v>
                </c:pt>
                <c:pt idx="2939">
                  <c:v>10.1</c:v>
                </c:pt>
                <c:pt idx="2940">
                  <c:v>6.5</c:v>
                </c:pt>
                <c:pt idx="2941">
                  <c:v>9.3000000000000007</c:v>
                </c:pt>
                <c:pt idx="2942">
                  <c:v>7.6</c:v>
                </c:pt>
                <c:pt idx="2943">
                  <c:v>6.9</c:v>
                </c:pt>
                <c:pt idx="2944">
                  <c:v>6.8</c:v>
                </c:pt>
                <c:pt idx="2945">
                  <c:v>10.5</c:v>
                </c:pt>
                <c:pt idx="2946">
                  <c:v>8.4</c:v>
                </c:pt>
                <c:pt idx="2947">
                  <c:v>6.7</c:v>
                </c:pt>
                <c:pt idx="2948">
                  <c:v>11</c:v>
                </c:pt>
                <c:pt idx="2949">
                  <c:v>12.4</c:v>
                </c:pt>
                <c:pt idx="2950">
                  <c:v>4.8</c:v>
                </c:pt>
                <c:pt idx="2951">
                  <c:v>9.1999999999999993</c:v>
                </c:pt>
                <c:pt idx="2952">
                  <c:v>7.2</c:v>
                </c:pt>
                <c:pt idx="2953">
                  <c:v>4.7</c:v>
                </c:pt>
                <c:pt idx="2954">
                  <c:v>11.2</c:v>
                </c:pt>
                <c:pt idx="2955">
                  <c:v>7.6</c:v>
                </c:pt>
                <c:pt idx="2956">
                  <c:v>10.8</c:v>
                </c:pt>
                <c:pt idx="2957">
                  <c:v>5.7</c:v>
                </c:pt>
                <c:pt idx="2958">
                  <c:v>5.3</c:v>
                </c:pt>
                <c:pt idx="2959">
                  <c:v>8</c:v>
                </c:pt>
                <c:pt idx="2960">
                  <c:v>6</c:v>
                </c:pt>
                <c:pt idx="2961">
                  <c:v>7.7</c:v>
                </c:pt>
                <c:pt idx="2962">
                  <c:v>4.4000000000000004</c:v>
                </c:pt>
                <c:pt idx="2963">
                  <c:v>6.5</c:v>
                </c:pt>
                <c:pt idx="2964">
                  <c:v>2.1</c:v>
                </c:pt>
                <c:pt idx="2965">
                  <c:v>10</c:v>
                </c:pt>
                <c:pt idx="2966">
                  <c:v>9.4</c:v>
                </c:pt>
                <c:pt idx="2967">
                  <c:v>7.3</c:v>
                </c:pt>
                <c:pt idx="2968">
                  <c:v>11.9</c:v>
                </c:pt>
                <c:pt idx="2969">
                  <c:v>6.6</c:v>
                </c:pt>
                <c:pt idx="2970">
                  <c:v>6.8</c:v>
                </c:pt>
                <c:pt idx="2971">
                  <c:v>6</c:v>
                </c:pt>
                <c:pt idx="2972">
                  <c:v>7.9</c:v>
                </c:pt>
                <c:pt idx="2973">
                  <c:v>8.4</c:v>
                </c:pt>
                <c:pt idx="2974">
                  <c:v>5.7</c:v>
                </c:pt>
                <c:pt idx="2975">
                  <c:v>6.6</c:v>
                </c:pt>
                <c:pt idx="2976">
                  <c:v>7.8</c:v>
                </c:pt>
                <c:pt idx="2977">
                  <c:v>14.3</c:v>
                </c:pt>
                <c:pt idx="2978">
                  <c:v>6.5</c:v>
                </c:pt>
                <c:pt idx="2979">
                  <c:v>6.3</c:v>
                </c:pt>
                <c:pt idx="2980">
                  <c:v>7</c:v>
                </c:pt>
                <c:pt idx="2981">
                  <c:v>4.7</c:v>
                </c:pt>
                <c:pt idx="2982">
                  <c:v>6.8</c:v>
                </c:pt>
                <c:pt idx="2983">
                  <c:v>3.6</c:v>
                </c:pt>
                <c:pt idx="2984">
                  <c:v>8.8000000000000007</c:v>
                </c:pt>
                <c:pt idx="2985">
                  <c:v>12.2</c:v>
                </c:pt>
                <c:pt idx="2986">
                  <c:v>6</c:v>
                </c:pt>
                <c:pt idx="2987">
                  <c:v>7</c:v>
                </c:pt>
                <c:pt idx="2988">
                  <c:v>6.5</c:v>
                </c:pt>
                <c:pt idx="2989">
                  <c:v>5.3</c:v>
                </c:pt>
                <c:pt idx="2990">
                  <c:v>7.5</c:v>
                </c:pt>
                <c:pt idx="2991">
                  <c:v>7.4</c:v>
                </c:pt>
                <c:pt idx="2992">
                  <c:v>7.8</c:v>
                </c:pt>
                <c:pt idx="2993">
                  <c:v>8.8000000000000007</c:v>
                </c:pt>
                <c:pt idx="2994">
                  <c:v>2</c:v>
                </c:pt>
                <c:pt idx="2995">
                  <c:v>10.4</c:v>
                </c:pt>
                <c:pt idx="2996">
                  <c:v>4.2</c:v>
                </c:pt>
                <c:pt idx="2997">
                  <c:v>3</c:v>
                </c:pt>
                <c:pt idx="2998">
                  <c:v>5.9</c:v>
                </c:pt>
                <c:pt idx="2999">
                  <c:v>13.2</c:v>
                </c:pt>
                <c:pt idx="3000">
                  <c:v>9.5</c:v>
                </c:pt>
                <c:pt idx="3001">
                  <c:v>9.1</c:v>
                </c:pt>
                <c:pt idx="3002">
                  <c:v>4.5999999999999996</c:v>
                </c:pt>
                <c:pt idx="3003">
                  <c:v>11.1</c:v>
                </c:pt>
                <c:pt idx="3004">
                  <c:v>1.2</c:v>
                </c:pt>
                <c:pt idx="3005">
                  <c:v>11.3</c:v>
                </c:pt>
                <c:pt idx="3006">
                  <c:v>5.2</c:v>
                </c:pt>
                <c:pt idx="3007">
                  <c:v>7.2</c:v>
                </c:pt>
                <c:pt idx="3008">
                  <c:v>8.1999999999999993</c:v>
                </c:pt>
                <c:pt idx="3009">
                  <c:v>8.8000000000000007</c:v>
                </c:pt>
                <c:pt idx="3010">
                  <c:v>6.6</c:v>
                </c:pt>
                <c:pt idx="3011">
                  <c:v>8.1</c:v>
                </c:pt>
                <c:pt idx="3012">
                  <c:v>9.6999999999999993</c:v>
                </c:pt>
                <c:pt idx="3013">
                  <c:v>4.0999999999999996</c:v>
                </c:pt>
                <c:pt idx="3014">
                  <c:v>13.6</c:v>
                </c:pt>
                <c:pt idx="3015">
                  <c:v>11.6</c:v>
                </c:pt>
                <c:pt idx="3016">
                  <c:v>6.2</c:v>
                </c:pt>
                <c:pt idx="3017">
                  <c:v>7.2</c:v>
                </c:pt>
                <c:pt idx="3018">
                  <c:v>5.3</c:v>
                </c:pt>
                <c:pt idx="3019">
                  <c:v>6.7</c:v>
                </c:pt>
                <c:pt idx="3020">
                  <c:v>11.6</c:v>
                </c:pt>
                <c:pt idx="3021">
                  <c:v>8.6</c:v>
                </c:pt>
                <c:pt idx="3022">
                  <c:v>8.6</c:v>
                </c:pt>
                <c:pt idx="3023">
                  <c:v>13.4</c:v>
                </c:pt>
                <c:pt idx="3024">
                  <c:v>8.6999999999999993</c:v>
                </c:pt>
                <c:pt idx="3025">
                  <c:v>6.8</c:v>
                </c:pt>
                <c:pt idx="3026">
                  <c:v>9.6999999999999993</c:v>
                </c:pt>
                <c:pt idx="3027">
                  <c:v>5.4</c:v>
                </c:pt>
                <c:pt idx="3028">
                  <c:v>8.3000000000000007</c:v>
                </c:pt>
                <c:pt idx="3029">
                  <c:v>12</c:v>
                </c:pt>
                <c:pt idx="3030">
                  <c:v>10.1</c:v>
                </c:pt>
                <c:pt idx="3031">
                  <c:v>7.9</c:v>
                </c:pt>
                <c:pt idx="3032">
                  <c:v>3.8</c:v>
                </c:pt>
                <c:pt idx="3033">
                  <c:v>6.6</c:v>
                </c:pt>
                <c:pt idx="3034">
                  <c:v>1.6</c:v>
                </c:pt>
                <c:pt idx="3035">
                  <c:v>8.8000000000000007</c:v>
                </c:pt>
                <c:pt idx="3036">
                  <c:v>8.3000000000000007</c:v>
                </c:pt>
                <c:pt idx="3037">
                  <c:v>4.4000000000000004</c:v>
                </c:pt>
                <c:pt idx="3038">
                  <c:v>5.7</c:v>
                </c:pt>
                <c:pt idx="3039">
                  <c:v>5.2</c:v>
                </c:pt>
                <c:pt idx="3040">
                  <c:v>5.9</c:v>
                </c:pt>
                <c:pt idx="3041">
                  <c:v>13.4</c:v>
                </c:pt>
                <c:pt idx="3042">
                  <c:v>6.9</c:v>
                </c:pt>
                <c:pt idx="3043">
                  <c:v>7.1</c:v>
                </c:pt>
                <c:pt idx="3044">
                  <c:v>7.2</c:v>
                </c:pt>
                <c:pt idx="3045">
                  <c:v>5.4</c:v>
                </c:pt>
                <c:pt idx="3046">
                  <c:v>8.9</c:v>
                </c:pt>
                <c:pt idx="3047">
                  <c:v>8.6999999999999993</c:v>
                </c:pt>
                <c:pt idx="3048">
                  <c:v>5.6</c:v>
                </c:pt>
                <c:pt idx="3049">
                  <c:v>9.1999999999999993</c:v>
                </c:pt>
                <c:pt idx="3050">
                  <c:v>5.7</c:v>
                </c:pt>
                <c:pt idx="3051">
                  <c:v>6.8</c:v>
                </c:pt>
                <c:pt idx="3052">
                  <c:v>5.9</c:v>
                </c:pt>
                <c:pt idx="3053">
                  <c:v>5.8</c:v>
                </c:pt>
                <c:pt idx="3054">
                  <c:v>1.5</c:v>
                </c:pt>
                <c:pt idx="3055">
                  <c:v>5.9</c:v>
                </c:pt>
                <c:pt idx="3056">
                  <c:v>8.6</c:v>
                </c:pt>
                <c:pt idx="3057">
                  <c:v>2.1</c:v>
                </c:pt>
                <c:pt idx="3058">
                  <c:v>9</c:v>
                </c:pt>
                <c:pt idx="3059">
                  <c:v>10</c:v>
                </c:pt>
                <c:pt idx="3060">
                  <c:v>5.7</c:v>
                </c:pt>
                <c:pt idx="3061">
                  <c:v>11.8</c:v>
                </c:pt>
                <c:pt idx="3062">
                  <c:v>1.3</c:v>
                </c:pt>
                <c:pt idx="3063">
                  <c:v>10.5</c:v>
                </c:pt>
                <c:pt idx="3064">
                  <c:v>6.3</c:v>
                </c:pt>
                <c:pt idx="3065">
                  <c:v>7.5</c:v>
                </c:pt>
                <c:pt idx="3066">
                  <c:v>5.7</c:v>
                </c:pt>
                <c:pt idx="3067">
                  <c:v>8.6999999999999993</c:v>
                </c:pt>
                <c:pt idx="3068">
                  <c:v>4.3</c:v>
                </c:pt>
                <c:pt idx="3069">
                  <c:v>11.1</c:v>
                </c:pt>
                <c:pt idx="3070">
                  <c:v>0</c:v>
                </c:pt>
                <c:pt idx="3071">
                  <c:v>10.4</c:v>
                </c:pt>
                <c:pt idx="3072">
                  <c:v>8</c:v>
                </c:pt>
                <c:pt idx="3073">
                  <c:v>5.8</c:v>
                </c:pt>
                <c:pt idx="3074">
                  <c:v>5.4</c:v>
                </c:pt>
                <c:pt idx="3075">
                  <c:v>9</c:v>
                </c:pt>
                <c:pt idx="3076">
                  <c:v>7.7</c:v>
                </c:pt>
                <c:pt idx="3077">
                  <c:v>6.9</c:v>
                </c:pt>
                <c:pt idx="3078">
                  <c:v>11.3</c:v>
                </c:pt>
                <c:pt idx="3079">
                  <c:v>13.3</c:v>
                </c:pt>
                <c:pt idx="3080">
                  <c:v>6.3</c:v>
                </c:pt>
                <c:pt idx="3081">
                  <c:v>5.9</c:v>
                </c:pt>
                <c:pt idx="3082">
                  <c:v>5.0999999999999996</c:v>
                </c:pt>
                <c:pt idx="3083">
                  <c:v>1.9</c:v>
                </c:pt>
                <c:pt idx="3084">
                  <c:v>6.7</c:v>
                </c:pt>
                <c:pt idx="3085">
                  <c:v>10.5</c:v>
                </c:pt>
                <c:pt idx="3086">
                  <c:v>10.9</c:v>
                </c:pt>
                <c:pt idx="3087">
                  <c:v>8.8000000000000007</c:v>
                </c:pt>
                <c:pt idx="3088">
                  <c:v>10.4</c:v>
                </c:pt>
                <c:pt idx="3089">
                  <c:v>9.1999999999999993</c:v>
                </c:pt>
                <c:pt idx="3090">
                  <c:v>9</c:v>
                </c:pt>
                <c:pt idx="3091">
                  <c:v>4.5999999999999996</c:v>
                </c:pt>
                <c:pt idx="3092">
                  <c:v>6.7</c:v>
                </c:pt>
                <c:pt idx="3093">
                  <c:v>7.5</c:v>
                </c:pt>
                <c:pt idx="3094">
                  <c:v>7.1</c:v>
                </c:pt>
                <c:pt idx="3095">
                  <c:v>8.5</c:v>
                </c:pt>
                <c:pt idx="3096">
                  <c:v>5.9</c:v>
                </c:pt>
                <c:pt idx="3097">
                  <c:v>6.7</c:v>
                </c:pt>
                <c:pt idx="3098">
                  <c:v>7.3</c:v>
                </c:pt>
                <c:pt idx="3099">
                  <c:v>5.2</c:v>
                </c:pt>
                <c:pt idx="3100">
                  <c:v>7</c:v>
                </c:pt>
                <c:pt idx="3101">
                  <c:v>8.5</c:v>
                </c:pt>
                <c:pt idx="3102">
                  <c:v>8.1</c:v>
                </c:pt>
                <c:pt idx="3103">
                  <c:v>8.4</c:v>
                </c:pt>
                <c:pt idx="3104">
                  <c:v>7.4</c:v>
                </c:pt>
                <c:pt idx="3105">
                  <c:v>5.4</c:v>
                </c:pt>
                <c:pt idx="3106">
                  <c:v>5.2</c:v>
                </c:pt>
                <c:pt idx="3107">
                  <c:v>4.5999999999999996</c:v>
                </c:pt>
                <c:pt idx="3108">
                  <c:v>4.5999999999999996</c:v>
                </c:pt>
                <c:pt idx="3109">
                  <c:v>0</c:v>
                </c:pt>
                <c:pt idx="3110">
                  <c:v>12.8</c:v>
                </c:pt>
                <c:pt idx="3111">
                  <c:v>3.8</c:v>
                </c:pt>
                <c:pt idx="3112">
                  <c:v>8.8000000000000007</c:v>
                </c:pt>
                <c:pt idx="3113">
                  <c:v>5.5</c:v>
                </c:pt>
                <c:pt idx="3114">
                  <c:v>9</c:v>
                </c:pt>
                <c:pt idx="3115">
                  <c:v>6.1</c:v>
                </c:pt>
                <c:pt idx="3116">
                  <c:v>6</c:v>
                </c:pt>
                <c:pt idx="3117">
                  <c:v>6.2</c:v>
                </c:pt>
                <c:pt idx="3118">
                  <c:v>10.199999999999999</c:v>
                </c:pt>
                <c:pt idx="3119">
                  <c:v>8.1999999999999993</c:v>
                </c:pt>
                <c:pt idx="3120">
                  <c:v>1.4</c:v>
                </c:pt>
                <c:pt idx="3121">
                  <c:v>9.5</c:v>
                </c:pt>
                <c:pt idx="3122">
                  <c:v>7.1</c:v>
                </c:pt>
                <c:pt idx="3123">
                  <c:v>8.1</c:v>
                </c:pt>
                <c:pt idx="3124">
                  <c:v>7.3</c:v>
                </c:pt>
                <c:pt idx="3125">
                  <c:v>6.9</c:v>
                </c:pt>
                <c:pt idx="3126">
                  <c:v>8</c:v>
                </c:pt>
                <c:pt idx="3127">
                  <c:v>7.1</c:v>
                </c:pt>
                <c:pt idx="3128">
                  <c:v>7.8</c:v>
                </c:pt>
                <c:pt idx="3129">
                  <c:v>6.2</c:v>
                </c:pt>
                <c:pt idx="3130">
                  <c:v>7.5</c:v>
                </c:pt>
                <c:pt idx="3131">
                  <c:v>9.3000000000000007</c:v>
                </c:pt>
                <c:pt idx="3132">
                  <c:v>6.9</c:v>
                </c:pt>
                <c:pt idx="3133">
                  <c:v>13.6</c:v>
                </c:pt>
                <c:pt idx="3134">
                  <c:v>7.6</c:v>
                </c:pt>
                <c:pt idx="3135">
                  <c:v>6</c:v>
                </c:pt>
                <c:pt idx="3136">
                  <c:v>3.3</c:v>
                </c:pt>
                <c:pt idx="3137">
                  <c:v>5</c:v>
                </c:pt>
                <c:pt idx="3138">
                  <c:v>3</c:v>
                </c:pt>
                <c:pt idx="3139">
                  <c:v>8.6</c:v>
                </c:pt>
                <c:pt idx="3140">
                  <c:v>6.3</c:v>
                </c:pt>
                <c:pt idx="3141">
                  <c:v>8.6</c:v>
                </c:pt>
                <c:pt idx="3142">
                  <c:v>5.2</c:v>
                </c:pt>
                <c:pt idx="3143">
                  <c:v>7.7</c:v>
                </c:pt>
                <c:pt idx="3144">
                  <c:v>2.8</c:v>
                </c:pt>
                <c:pt idx="3145">
                  <c:v>9.4</c:v>
                </c:pt>
                <c:pt idx="3146">
                  <c:v>7.1</c:v>
                </c:pt>
                <c:pt idx="3147">
                  <c:v>13.7</c:v>
                </c:pt>
                <c:pt idx="3148">
                  <c:v>8.3000000000000007</c:v>
                </c:pt>
                <c:pt idx="3149">
                  <c:v>8.6999999999999993</c:v>
                </c:pt>
                <c:pt idx="3150">
                  <c:v>6.3</c:v>
                </c:pt>
                <c:pt idx="3151">
                  <c:v>4.5999999999999996</c:v>
                </c:pt>
                <c:pt idx="3152">
                  <c:v>8.1999999999999993</c:v>
                </c:pt>
                <c:pt idx="3153">
                  <c:v>5.0999999999999996</c:v>
                </c:pt>
                <c:pt idx="3154">
                  <c:v>8.4</c:v>
                </c:pt>
                <c:pt idx="3155">
                  <c:v>2.5</c:v>
                </c:pt>
                <c:pt idx="3156">
                  <c:v>6.4</c:v>
                </c:pt>
                <c:pt idx="3157">
                  <c:v>15.3</c:v>
                </c:pt>
                <c:pt idx="3158">
                  <c:v>10.1</c:v>
                </c:pt>
                <c:pt idx="3159">
                  <c:v>6.1</c:v>
                </c:pt>
                <c:pt idx="3160">
                  <c:v>6.4</c:v>
                </c:pt>
                <c:pt idx="3161">
                  <c:v>5.6</c:v>
                </c:pt>
                <c:pt idx="3162">
                  <c:v>9.8000000000000007</c:v>
                </c:pt>
                <c:pt idx="3163">
                  <c:v>6</c:v>
                </c:pt>
                <c:pt idx="3164">
                  <c:v>8.1</c:v>
                </c:pt>
                <c:pt idx="3165">
                  <c:v>5.9</c:v>
                </c:pt>
                <c:pt idx="3166">
                  <c:v>6.6</c:v>
                </c:pt>
                <c:pt idx="3167">
                  <c:v>5.2</c:v>
                </c:pt>
                <c:pt idx="3168">
                  <c:v>6.7</c:v>
                </c:pt>
                <c:pt idx="3169">
                  <c:v>3.7</c:v>
                </c:pt>
                <c:pt idx="3170">
                  <c:v>9.4</c:v>
                </c:pt>
                <c:pt idx="3171">
                  <c:v>8.9</c:v>
                </c:pt>
                <c:pt idx="3172">
                  <c:v>6.8</c:v>
                </c:pt>
                <c:pt idx="3173">
                  <c:v>9.9</c:v>
                </c:pt>
                <c:pt idx="3174">
                  <c:v>9.4</c:v>
                </c:pt>
                <c:pt idx="3175">
                  <c:v>3.9</c:v>
                </c:pt>
                <c:pt idx="3176">
                  <c:v>9.3000000000000007</c:v>
                </c:pt>
                <c:pt idx="3177">
                  <c:v>8.8000000000000007</c:v>
                </c:pt>
                <c:pt idx="3178">
                  <c:v>5.5</c:v>
                </c:pt>
                <c:pt idx="3179">
                  <c:v>6.1</c:v>
                </c:pt>
                <c:pt idx="3180">
                  <c:v>3.6</c:v>
                </c:pt>
                <c:pt idx="3181">
                  <c:v>8.1</c:v>
                </c:pt>
                <c:pt idx="3182">
                  <c:v>10.199999999999999</c:v>
                </c:pt>
                <c:pt idx="3183">
                  <c:v>10.8</c:v>
                </c:pt>
                <c:pt idx="3184">
                  <c:v>3.7</c:v>
                </c:pt>
                <c:pt idx="3185">
                  <c:v>4.8</c:v>
                </c:pt>
                <c:pt idx="3186">
                  <c:v>6.9</c:v>
                </c:pt>
                <c:pt idx="3187">
                  <c:v>3.8</c:v>
                </c:pt>
                <c:pt idx="3188">
                  <c:v>12.1</c:v>
                </c:pt>
                <c:pt idx="3189">
                  <c:v>12.2</c:v>
                </c:pt>
                <c:pt idx="3190">
                  <c:v>3.5</c:v>
                </c:pt>
                <c:pt idx="3191">
                  <c:v>6.8</c:v>
                </c:pt>
                <c:pt idx="3192">
                  <c:v>5.3</c:v>
                </c:pt>
                <c:pt idx="3193">
                  <c:v>10.199999999999999</c:v>
                </c:pt>
                <c:pt idx="3194">
                  <c:v>10.3</c:v>
                </c:pt>
                <c:pt idx="3195">
                  <c:v>7.8</c:v>
                </c:pt>
                <c:pt idx="3196">
                  <c:v>7.2</c:v>
                </c:pt>
                <c:pt idx="3197">
                  <c:v>6.5</c:v>
                </c:pt>
                <c:pt idx="3198">
                  <c:v>6.9</c:v>
                </c:pt>
                <c:pt idx="3199">
                  <c:v>5.9</c:v>
                </c:pt>
                <c:pt idx="3200">
                  <c:v>7.5</c:v>
                </c:pt>
                <c:pt idx="3201">
                  <c:v>7.1</c:v>
                </c:pt>
                <c:pt idx="3202">
                  <c:v>7.5</c:v>
                </c:pt>
                <c:pt idx="3203">
                  <c:v>6.7</c:v>
                </c:pt>
                <c:pt idx="3204">
                  <c:v>3.8</c:v>
                </c:pt>
                <c:pt idx="3205">
                  <c:v>3.8</c:v>
                </c:pt>
                <c:pt idx="3206">
                  <c:v>4.9000000000000004</c:v>
                </c:pt>
                <c:pt idx="3207">
                  <c:v>4.4000000000000004</c:v>
                </c:pt>
                <c:pt idx="3208">
                  <c:v>6.5</c:v>
                </c:pt>
                <c:pt idx="3209">
                  <c:v>7.2</c:v>
                </c:pt>
                <c:pt idx="3210">
                  <c:v>9.5</c:v>
                </c:pt>
                <c:pt idx="3211">
                  <c:v>7.1</c:v>
                </c:pt>
                <c:pt idx="3212">
                  <c:v>5.6</c:v>
                </c:pt>
                <c:pt idx="3213">
                  <c:v>12.9</c:v>
                </c:pt>
                <c:pt idx="3214">
                  <c:v>8.4</c:v>
                </c:pt>
                <c:pt idx="3215">
                  <c:v>6.4</c:v>
                </c:pt>
                <c:pt idx="3216">
                  <c:v>10.8</c:v>
                </c:pt>
                <c:pt idx="3217">
                  <c:v>9.6999999999999993</c:v>
                </c:pt>
                <c:pt idx="3218">
                  <c:v>10.9</c:v>
                </c:pt>
                <c:pt idx="3219">
                  <c:v>7.3</c:v>
                </c:pt>
                <c:pt idx="3220">
                  <c:v>12.5</c:v>
                </c:pt>
                <c:pt idx="3221">
                  <c:v>4.3</c:v>
                </c:pt>
                <c:pt idx="3222">
                  <c:v>6.6</c:v>
                </c:pt>
                <c:pt idx="3223">
                  <c:v>8</c:v>
                </c:pt>
                <c:pt idx="3224">
                  <c:v>8.4</c:v>
                </c:pt>
                <c:pt idx="3225">
                  <c:v>6.1</c:v>
                </c:pt>
                <c:pt idx="3226">
                  <c:v>10.5</c:v>
                </c:pt>
                <c:pt idx="3227">
                  <c:v>6.9</c:v>
                </c:pt>
                <c:pt idx="3228">
                  <c:v>11.4</c:v>
                </c:pt>
                <c:pt idx="3229">
                  <c:v>0.9</c:v>
                </c:pt>
                <c:pt idx="3230">
                  <c:v>8.5</c:v>
                </c:pt>
                <c:pt idx="3231">
                  <c:v>5.8</c:v>
                </c:pt>
                <c:pt idx="3232">
                  <c:v>3.4</c:v>
                </c:pt>
                <c:pt idx="3233">
                  <c:v>11.4</c:v>
                </c:pt>
                <c:pt idx="3234">
                  <c:v>7.1</c:v>
                </c:pt>
                <c:pt idx="3235">
                  <c:v>10.3</c:v>
                </c:pt>
                <c:pt idx="3236">
                  <c:v>4.8</c:v>
                </c:pt>
                <c:pt idx="3237">
                  <c:v>9.8000000000000007</c:v>
                </c:pt>
                <c:pt idx="3238">
                  <c:v>1</c:v>
                </c:pt>
                <c:pt idx="3239">
                  <c:v>5.2</c:v>
                </c:pt>
                <c:pt idx="3240">
                  <c:v>7.8</c:v>
                </c:pt>
                <c:pt idx="3241">
                  <c:v>5.2</c:v>
                </c:pt>
                <c:pt idx="3242">
                  <c:v>8.6999999999999993</c:v>
                </c:pt>
                <c:pt idx="3243">
                  <c:v>8.9</c:v>
                </c:pt>
                <c:pt idx="3244">
                  <c:v>9.1999999999999993</c:v>
                </c:pt>
                <c:pt idx="3245">
                  <c:v>5.3</c:v>
                </c:pt>
                <c:pt idx="3246">
                  <c:v>4.0999999999999996</c:v>
                </c:pt>
                <c:pt idx="3247">
                  <c:v>8</c:v>
                </c:pt>
                <c:pt idx="3248">
                  <c:v>10.5</c:v>
                </c:pt>
                <c:pt idx="3249">
                  <c:v>8.1</c:v>
                </c:pt>
                <c:pt idx="3250">
                  <c:v>10.4</c:v>
                </c:pt>
                <c:pt idx="3251">
                  <c:v>6.2</c:v>
                </c:pt>
                <c:pt idx="3252">
                  <c:v>7.2</c:v>
                </c:pt>
                <c:pt idx="3253">
                  <c:v>12.8</c:v>
                </c:pt>
                <c:pt idx="3254">
                  <c:v>4.9000000000000004</c:v>
                </c:pt>
                <c:pt idx="3255">
                  <c:v>8.5</c:v>
                </c:pt>
                <c:pt idx="3256">
                  <c:v>7</c:v>
                </c:pt>
                <c:pt idx="3257">
                  <c:v>12.7</c:v>
                </c:pt>
                <c:pt idx="3258">
                  <c:v>9.3000000000000007</c:v>
                </c:pt>
                <c:pt idx="3259">
                  <c:v>5.7</c:v>
                </c:pt>
                <c:pt idx="3260">
                  <c:v>12.1</c:v>
                </c:pt>
                <c:pt idx="3261">
                  <c:v>6.1</c:v>
                </c:pt>
                <c:pt idx="3262">
                  <c:v>4.0999999999999996</c:v>
                </c:pt>
                <c:pt idx="3263">
                  <c:v>1.7</c:v>
                </c:pt>
                <c:pt idx="3264">
                  <c:v>8.5</c:v>
                </c:pt>
                <c:pt idx="3265">
                  <c:v>17.2</c:v>
                </c:pt>
                <c:pt idx="3266">
                  <c:v>7.3</c:v>
                </c:pt>
                <c:pt idx="3267">
                  <c:v>6.6</c:v>
                </c:pt>
                <c:pt idx="3268">
                  <c:v>9.1</c:v>
                </c:pt>
                <c:pt idx="3269">
                  <c:v>7.1</c:v>
                </c:pt>
                <c:pt idx="3270">
                  <c:v>6.8</c:v>
                </c:pt>
                <c:pt idx="3271">
                  <c:v>10</c:v>
                </c:pt>
                <c:pt idx="3272">
                  <c:v>4.9000000000000004</c:v>
                </c:pt>
                <c:pt idx="3273">
                  <c:v>10.7</c:v>
                </c:pt>
                <c:pt idx="3274">
                  <c:v>5.6</c:v>
                </c:pt>
                <c:pt idx="3275">
                  <c:v>7.2</c:v>
                </c:pt>
                <c:pt idx="3276">
                  <c:v>10.9</c:v>
                </c:pt>
                <c:pt idx="3277">
                  <c:v>6.7</c:v>
                </c:pt>
                <c:pt idx="3278">
                  <c:v>7.4</c:v>
                </c:pt>
                <c:pt idx="3279">
                  <c:v>9.6999999999999993</c:v>
                </c:pt>
                <c:pt idx="3280">
                  <c:v>7.3</c:v>
                </c:pt>
                <c:pt idx="3281">
                  <c:v>5.2</c:v>
                </c:pt>
                <c:pt idx="3282">
                  <c:v>13.8</c:v>
                </c:pt>
                <c:pt idx="3283">
                  <c:v>9.3000000000000007</c:v>
                </c:pt>
                <c:pt idx="3284">
                  <c:v>5.6</c:v>
                </c:pt>
                <c:pt idx="3285">
                  <c:v>7.7</c:v>
                </c:pt>
                <c:pt idx="3286">
                  <c:v>7.9</c:v>
                </c:pt>
                <c:pt idx="3287">
                  <c:v>8.6999999999999993</c:v>
                </c:pt>
                <c:pt idx="3288">
                  <c:v>0.6</c:v>
                </c:pt>
                <c:pt idx="3289">
                  <c:v>6.7</c:v>
                </c:pt>
                <c:pt idx="3290">
                  <c:v>10.4</c:v>
                </c:pt>
                <c:pt idx="3291">
                  <c:v>6.5</c:v>
                </c:pt>
                <c:pt idx="3292">
                  <c:v>4.9000000000000004</c:v>
                </c:pt>
                <c:pt idx="3293">
                  <c:v>4.3</c:v>
                </c:pt>
                <c:pt idx="3294">
                  <c:v>9.1</c:v>
                </c:pt>
                <c:pt idx="3295">
                  <c:v>11.3</c:v>
                </c:pt>
                <c:pt idx="3296">
                  <c:v>8.4</c:v>
                </c:pt>
                <c:pt idx="3297">
                  <c:v>6.2</c:v>
                </c:pt>
                <c:pt idx="3298">
                  <c:v>7.1</c:v>
                </c:pt>
                <c:pt idx="3299">
                  <c:v>1.3</c:v>
                </c:pt>
                <c:pt idx="3300">
                  <c:v>9.6999999999999993</c:v>
                </c:pt>
                <c:pt idx="3301">
                  <c:v>9.1999999999999993</c:v>
                </c:pt>
                <c:pt idx="3302">
                  <c:v>10.6</c:v>
                </c:pt>
                <c:pt idx="3303">
                  <c:v>5.0999999999999996</c:v>
                </c:pt>
                <c:pt idx="3304">
                  <c:v>5.4</c:v>
                </c:pt>
                <c:pt idx="3305">
                  <c:v>8.5</c:v>
                </c:pt>
                <c:pt idx="3306">
                  <c:v>4.7</c:v>
                </c:pt>
                <c:pt idx="3307">
                  <c:v>7</c:v>
                </c:pt>
                <c:pt idx="3308">
                  <c:v>8.1</c:v>
                </c:pt>
                <c:pt idx="3309">
                  <c:v>10.199999999999999</c:v>
                </c:pt>
                <c:pt idx="3310">
                  <c:v>8.6</c:v>
                </c:pt>
                <c:pt idx="3311">
                  <c:v>6.5</c:v>
                </c:pt>
                <c:pt idx="3312">
                  <c:v>4.3</c:v>
                </c:pt>
                <c:pt idx="3313">
                  <c:v>6.4</c:v>
                </c:pt>
                <c:pt idx="3314">
                  <c:v>8</c:v>
                </c:pt>
                <c:pt idx="3315">
                  <c:v>9.6</c:v>
                </c:pt>
                <c:pt idx="3316">
                  <c:v>4</c:v>
                </c:pt>
                <c:pt idx="3317">
                  <c:v>7.8</c:v>
                </c:pt>
                <c:pt idx="3318">
                  <c:v>8.6</c:v>
                </c:pt>
                <c:pt idx="3319">
                  <c:v>3.6</c:v>
                </c:pt>
                <c:pt idx="3320">
                  <c:v>10.7</c:v>
                </c:pt>
                <c:pt idx="3321">
                  <c:v>9.3000000000000007</c:v>
                </c:pt>
                <c:pt idx="3322">
                  <c:v>8.8000000000000007</c:v>
                </c:pt>
                <c:pt idx="3323">
                  <c:v>4.2</c:v>
                </c:pt>
                <c:pt idx="3324">
                  <c:v>10.4</c:v>
                </c:pt>
                <c:pt idx="3325">
                  <c:v>12.3</c:v>
                </c:pt>
                <c:pt idx="3326">
                  <c:v>10.3</c:v>
                </c:pt>
                <c:pt idx="3327">
                  <c:v>10.1</c:v>
                </c:pt>
                <c:pt idx="3328">
                  <c:v>6.2</c:v>
                </c:pt>
                <c:pt idx="3329">
                  <c:v>11</c:v>
                </c:pt>
                <c:pt idx="3330">
                  <c:v>12.2</c:v>
                </c:pt>
                <c:pt idx="3331">
                  <c:v>6.4</c:v>
                </c:pt>
                <c:pt idx="3332">
                  <c:v>9.9</c:v>
                </c:pt>
                <c:pt idx="3333">
                  <c:v>4.5999999999999996</c:v>
                </c:pt>
                <c:pt idx="3334">
                  <c:v>6.5</c:v>
                </c:pt>
                <c:pt idx="3335">
                  <c:v>9</c:v>
                </c:pt>
                <c:pt idx="3336">
                  <c:v>10</c:v>
                </c:pt>
                <c:pt idx="3337">
                  <c:v>10.3</c:v>
                </c:pt>
                <c:pt idx="3338">
                  <c:v>12.1</c:v>
                </c:pt>
                <c:pt idx="3339">
                  <c:v>10.9</c:v>
                </c:pt>
                <c:pt idx="3340">
                  <c:v>5.2</c:v>
                </c:pt>
                <c:pt idx="3341">
                  <c:v>7.6</c:v>
                </c:pt>
                <c:pt idx="3342">
                  <c:v>7.5</c:v>
                </c:pt>
                <c:pt idx="3343">
                  <c:v>4.2</c:v>
                </c:pt>
                <c:pt idx="3344">
                  <c:v>5.9</c:v>
                </c:pt>
                <c:pt idx="3345">
                  <c:v>7.6</c:v>
                </c:pt>
                <c:pt idx="3346">
                  <c:v>9.9</c:v>
                </c:pt>
                <c:pt idx="3347">
                  <c:v>0.7</c:v>
                </c:pt>
                <c:pt idx="3348">
                  <c:v>8.3000000000000007</c:v>
                </c:pt>
                <c:pt idx="3349">
                  <c:v>9.6</c:v>
                </c:pt>
                <c:pt idx="3350">
                  <c:v>7.1</c:v>
                </c:pt>
                <c:pt idx="3351">
                  <c:v>5.5</c:v>
                </c:pt>
                <c:pt idx="3352">
                  <c:v>5.5</c:v>
                </c:pt>
                <c:pt idx="3353">
                  <c:v>6.2</c:v>
                </c:pt>
                <c:pt idx="3354">
                  <c:v>10.1</c:v>
                </c:pt>
                <c:pt idx="3355">
                  <c:v>6.3</c:v>
                </c:pt>
                <c:pt idx="3356">
                  <c:v>5.3</c:v>
                </c:pt>
                <c:pt idx="3357">
                  <c:v>8.3000000000000007</c:v>
                </c:pt>
                <c:pt idx="3358">
                  <c:v>8.6999999999999993</c:v>
                </c:pt>
                <c:pt idx="3359">
                  <c:v>7</c:v>
                </c:pt>
                <c:pt idx="3360">
                  <c:v>8.1</c:v>
                </c:pt>
                <c:pt idx="3361">
                  <c:v>8.3000000000000007</c:v>
                </c:pt>
                <c:pt idx="3362">
                  <c:v>6</c:v>
                </c:pt>
                <c:pt idx="3363">
                  <c:v>5.4</c:v>
                </c:pt>
                <c:pt idx="3364">
                  <c:v>10.3</c:v>
                </c:pt>
                <c:pt idx="3365">
                  <c:v>8.5</c:v>
                </c:pt>
                <c:pt idx="3366">
                  <c:v>11.4</c:v>
                </c:pt>
                <c:pt idx="3367">
                  <c:v>8.6999999999999993</c:v>
                </c:pt>
                <c:pt idx="3368">
                  <c:v>7.9</c:v>
                </c:pt>
                <c:pt idx="3369">
                  <c:v>7.8</c:v>
                </c:pt>
                <c:pt idx="3370">
                  <c:v>6.6</c:v>
                </c:pt>
                <c:pt idx="3371">
                  <c:v>8</c:v>
                </c:pt>
                <c:pt idx="3372">
                  <c:v>5.6</c:v>
                </c:pt>
                <c:pt idx="3373">
                  <c:v>7.4</c:v>
                </c:pt>
                <c:pt idx="3374">
                  <c:v>5.3</c:v>
                </c:pt>
                <c:pt idx="3375">
                  <c:v>9.1</c:v>
                </c:pt>
                <c:pt idx="3376">
                  <c:v>7.9</c:v>
                </c:pt>
                <c:pt idx="3377">
                  <c:v>5.8</c:v>
                </c:pt>
                <c:pt idx="3378">
                  <c:v>12.9</c:v>
                </c:pt>
                <c:pt idx="3379">
                  <c:v>4.7</c:v>
                </c:pt>
                <c:pt idx="3380">
                  <c:v>10.6</c:v>
                </c:pt>
                <c:pt idx="3381">
                  <c:v>8.5</c:v>
                </c:pt>
                <c:pt idx="3382">
                  <c:v>8.5</c:v>
                </c:pt>
                <c:pt idx="3383">
                  <c:v>4.4000000000000004</c:v>
                </c:pt>
                <c:pt idx="3384">
                  <c:v>11.1</c:v>
                </c:pt>
                <c:pt idx="3385">
                  <c:v>11.2</c:v>
                </c:pt>
                <c:pt idx="3386">
                  <c:v>9.5</c:v>
                </c:pt>
                <c:pt idx="3387">
                  <c:v>6</c:v>
                </c:pt>
                <c:pt idx="3388">
                  <c:v>7.7</c:v>
                </c:pt>
                <c:pt idx="3389">
                  <c:v>8.4</c:v>
                </c:pt>
                <c:pt idx="3390">
                  <c:v>7.5</c:v>
                </c:pt>
                <c:pt idx="3391">
                  <c:v>8.3000000000000007</c:v>
                </c:pt>
                <c:pt idx="3392">
                  <c:v>9</c:v>
                </c:pt>
                <c:pt idx="3393">
                  <c:v>5.3</c:v>
                </c:pt>
                <c:pt idx="3394">
                  <c:v>5.3</c:v>
                </c:pt>
                <c:pt idx="3395">
                  <c:v>6.1</c:v>
                </c:pt>
                <c:pt idx="3396">
                  <c:v>7.8</c:v>
                </c:pt>
                <c:pt idx="3397">
                  <c:v>7.7</c:v>
                </c:pt>
                <c:pt idx="3398">
                  <c:v>0.8</c:v>
                </c:pt>
                <c:pt idx="3399">
                  <c:v>7.3</c:v>
                </c:pt>
                <c:pt idx="3400">
                  <c:v>10.1</c:v>
                </c:pt>
                <c:pt idx="3401">
                  <c:v>6.4</c:v>
                </c:pt>
                <c:pt idx="3402">
                  <c:v>6.7</c:v>
                </c:pt>
                <c:pt idx="3403">
                  <c:v>5.5</c:v>
                </c:pt>
                <c:pt idx="3404">
                  <c:v>8.6</c:v>
                </c:pt>
                <c:pt idx="3405">
                  <c:v>3.5</c:v>
                </c:pt>
                <c:pt idx="3406">
                  <c:v>9</c:v>
                </c:pt>
                <c:pt idx="3407">
                  <c:v>10</c:v>
                </c:pt>
                <c:pt idx="3408">
                  <c:v>3.8</c:v>
                </c:pt>
                <c:pt idx="3409">
                  <c:v>10</c:v>
                </c:pt>
                <c:pt idx="3410">
                  <c:v>9.9</c:v>
                </c:pt>
                <c:pt idx="3411">
                  <c:v>6.1</c:v>
                </c:pt>
                <c:pt idx="3412">
                  <c:v>9.3000000000000007</c:v>
                </c:pt>
                <c:pt idx="3413">
                  <c:v>8.8000000000000007</c:v>
                </c:pt>
                <c:pt idx="3414">
                  <c:v>7.3</c:v>
                </c:pt>
                <c:pt idx="3415">
                  <c:v>10.1</c:v>
                </c:pt>
                <c:pt idx="3416">
                  <c:v>5.8</c:v>
                </c:pt>
                <c:pt idx="3417">
                  <c:v>4.3</c:v>
                </c:pt>
                <c:pt idx="3418">
                  <c:v>8</c:v>
                </c:pt>
                <c:pt idx="3419">
                  <c:v>11.5</c:v>
                </c:pt>
                <c:pt idx="3420">
                  <c:v>2</c:v>
                </c:pt>
                <c:pt idx="3421">
                  <c:v>11</c:v>
                </c:pt>
                <c:pt idx="3422">
                  <c:v>6.4</c:v>
                </c:pt>
                <c:pt idx="3423">
                  <c:v>10.8</c:v>
                </c:pt>
                <c:pt idx="3424">
                  <c:v>8.5</c:v>
                </c:pt>
                <c:pt idx="3425">
                  <c:v>7.5</c:v>
                </c:pt>
                <c:pt idx="3426">
                  <c:v>5.6</c:v>
                </c:pt>
                <c:pt idx="3427">
                  <c:v>8.4</c:v>
                </c:pt>
                <c:pt idx="3428">
                  <c:v>7.5</c:v>
                </c:pt>
                <c:pt idx="3429">
                  <c:v>2.1</c:v>
                </c:pt>
                <c:pt idx="3430">
                  <c:v>7.3</c:v>
                </c:pt>
                <c:pt idx="3431">
                  <c:v>6.9</c:v>
                </c:pt>
                <c:pt idx="3432">
                  <c:v>8.4</c:v>
                </c:pt>
                <c:pt idx="3433">
                  <c:v>6.4</c:v>
                </c:pt>
                <c:pt idx="3434">
                  <c:v>9.6999999999999993</c:v>
                </c:pt>
                <c:pt idx="3435">
                  <c:v>12.1</c:v>
                </c:pt>
                <c:pt idx="3436">
                  <c:v>6.9</c:v>
                </c:pt>
                <c:pt idx="3437">
                  <c:v>4.7</c:v>
                </c:pt>
                <c:pt idx="3438">
                  <c:v>9.6</c:v>
                </c:pt>
                <c:pt idx="3439">
                  <c:v>6.7</c:v>
                </c:pt>
                <c:pt idx="3440">
                  <c:v>11.8</c:v>
                </c:pt>
                <c:pt idx="3441">
                  <c:v>11</c:v>
                </c:pt>
                <c:pt idx="3442">
                  <c:v>9</c:v>
                </c:pt>
                <c:pt idx="3443">
                  <c:v>6.5</c:v>
                </c:pt>
                <c:pt idx="3444">
                  <c:v>12.9</c:v>
                </c:pt>
                <c:pt idx="3445">
                  <c:v>4.8</c:v>
                </c:pt>
                <c:pt idx="3446">
                  <c:v>9</c:v>
                </c:pt>
                <c:pt idx="3447">
                  <c:v>5</c:v>
                </c:pt>
                <c:pt idx="3448">
                  <c:v>9.1</c:v>
                </c:pt>
                <c:pt idx="3449">
                  <c:v>7</c:v>
                </c:pt>
                <c:pt idx="3450">
                  <c:v>0.6</c:v>
                </c:pt>
                <c:pt idx="3451">
                  <c:v>9.6</c:v>
                </c:pt>
                <c:pt idx="3452">
                  <c:v>3.7</c:v>
                </c:pt>
                <c:pt idx="3453">
                  <c:v>6.5</c:v>
                </c:pt>
                <c:pt idx="3454">
                  <c:v>12.3</c:v>
                </c:pt>
                <c:pt idx="3455">
                  <c:v>11.4</c:v>
                </c:pt>
                <c:pt idx="3456">
                  <c:v>5.0999999999999996</c:v>
                </c:pt>
                <c:pt idx="3457">
                  <c:v>8.5</c:v>
                </c:pt>
                <c:pt idx="3458">
                  <c:v>5.5</c:v>
                </c:pt>
                <c:pt idx="3459">
                  <c:v>9.6999999999999993</c:v>
                </c:pt>
                <c:pt idx="3460">
                  <c:v>5.3</c:v>
                </c:pt>
                <c:pt idx="3461">
                  <c:v>7.3</c:v>
                </c:pt>
                <c:pt idx="3462">
                  <c:v>8</c:v>
                </c:pt>
                <c:pt idx="3463">
                  <c:v>5.4</c:v>
                </c:pt>
                <c:pt idx="3464">
                  <c:v>12.3</c:v>
                </c:pt>
                <c:pt idx="3465">
                  <c:v>4</c:v>
                </c:pt>
                <c:pt idx="3466">
                  <c:v>2</c:v>
                </c:pt>
                <c:pt idx="3467">
                  <c:v>10.7</c:v>
                </c:pt>
                <c:pt idx="3468">
                  <c:v>6.7</c:v>
                </c:pt>
                <c:pt idx="3469">
                  <c:v>5.6</c:v>
                </c:pt>
                <c:pt idx="3470">
                  <c:v>8.1</c:v>
                </c:pt>
                <c:pt idx="3471">
                  <c:v>7.3</c:v>
                </c:pt>
                <c:pt idx="3472">
                  <c:v>10.3</c:v>
                </c:pt>
                <c:pt idx="3473">
                  <c:v>13</c:v>
                </c:pt>
                <c:pt idx="3474">
                  <c:v>8.5</c:v>
                </c:pt>
                <c:pt idx="3475">
                  <c:v>11.3</c:v>
                </c:pt>
                <c:pt idx="3476">
                  <c:v>7.4</c:v>
                </c:pt>
                <c:pt idx="3477">
                  <c:v>12.5</c:v>
                </c:pt>
                <c:pt idx="3478">
                  <c:v>5.4</c:v>
                </c:pt>
                <c:pt idx="3479">
                  <c:v>7.4</c:v>
                </c:pt>
                <c:pt idx="3480">
                  <c:v>11.1</c:v>
                </c:pt>
                <c:pt idx="3481">
                  <c:v>8.6</c:v>
                </c:pt>
                <c:pt idx="3482">
                  <c:v>4.5</c:v>
                </c:pt>
                <c:pt idx="3483">
                  <c:v>8.1999999999999993</c:v>
                </c:pt>
                <c:pt idx="3484">
                  <c:v>6.2</c:v>
                </c:pt>
                <c:pt idx="3485">
                  <c:v>10.7</c:v>
                </c:pt>
                <c:pt idx="3486">
                  <c:v>5.3</c:v>
                </c:pt>
                <c:pt idx="3487">
                  <c:v>1.3</c:v>
                </c:pt>
                <c:pt idx="3488">
                  <c:v>5.2</c:v>
                </c:pt>
                <c:pt idx="3489">
                  <c:v>7.4</c:v>
                </c:pt>
                <c:pt idx="3490">
                  <c:v>7.7</c:v>
                </c:pt>
                <c:pt idx="3491">
                  <c:v>6</c:v>
                </c:pt>
                <c:pt idx="3492">
                  <c:v>4.0999999999999996</c:v>
                </c:pt>
                <c:pt idx="3493">
                  <c:v>15.4</c:v>
                </c:pt>
                <c:pt idx="3494">
                  <c:v>1.3</c:v>
                </c:pt>
                <c:pt idx="3495">
                  <c:v>11.6</c:v>
                </c:pt>
                <c:pt idx="3496">
                  <c:v>7.9</c:v>
                </c:pt>
                <c:pt idx="3497">
                  <c:v>8.1999999999999993</c:v>
                </c:pt>
                <c:pt idx="3498">
                  <c:v>5.6</c:v>
                </c:pt>
                <c:pt idx="3499">
                  <c:v>7.2</c:v>
                </c:pt>
                <c:pt idx="3500">
                  <c:v>9.6999999999999993</c:v>
                </c:pt>
                <c:pt idx="3501">
                  <c:v>3.7</c:v>
                </c:pt>
                <c:pt idx="3502">
                  <c:v>6</c:v>
                </c:pt>
                <c:pt idx="3503">
                  <c:v>5.7</c:v>
                </c:pt>
                <c:pt idx="3504">
                  <c:v>4.0999999999999996</c:v>
                </c:pt>
                <c:pt idx="3505">
                  <c:v>12.9</c:v>
                </c:pt>
                <c:pt idx="3506">
                  <c:v>8.8000000000000007</c:v>
                </c:pt>
                <c:pt idx="3507">
                  <c:v>5.9</c:v>
                </c:pt>
                <c:pt idx="3508">
                  <c:v>9.3000000000000007</c:v>
                </c:pt>
                <c:pt idx="3509">
                  <c:v>9.1</c:v>
                </c:pt>
                <c:pt idx="3510">
                  <c:v>7.5</c:v>
                </c:pt>
                <c:pt idx="3511">
                  <c:v>8.5</c:v>
                </c:pt>
                <c:pt idx="3512">
                  <c:v>8.6</c:v>
                </c:pt>
                <c:pt idx="3513">
                  <c:v>6.1</c:v>
                </c:pt>
                <c:pt idx="3514">
                  <c:v>19.8</c:v>
                </c:pt>
                <c:pt idx="3515">
                  <c:v>9.4</c:v>
                </c:pt>
                <c:pt idx="3516">
                  <c:v>8.9</c:v>
                </c:pt>
                <c:pt idx="3517">
                  <c:v>10.9</c:v>
                </c:pt>
                <c:pt idx="3518">
                  <c:v>5.5</c:v>
                </c:pt>
                <c:pt idx="3519">
                  <c:v>11.1</c:v>
                </c:pt>
                <c:pt idx="3520">
                  <c:v>10.8</c:v>
                </c:pt>
                <c:pt idx="3521">
                  <c:v>9.1</c:v>
                </c:pt>
                <c:pt idx="3522">
                  <c:v>9.6</c:v>
                </c:pt>
                <c:pt idx="3523">
                  <c:v>6.3</c:v>
                </c:pt>
                <c:pt idx="3524">
                  <c:v>5.4</c:v>
                </c:pt>
                <c:pt idx="3525">
                  <c:v>10.1</c:v>
                </c:pt>
                <c:pt idx="3526">
                  <c:v>11.2</c:v>
                </c:pt>
                <c:pt idx="3527">
                  <c:v>6</c:v>
                </c:pt>
                <c:pt idx="3528">
                  <c:v>9.9</c:v>
                </c:pt>
                <c:pt idx="3529">
                  <c:v>13.9</c:v>
                </c:pt>
                <c:pt idx="3530">
                  <c:v>6.2</c:v>
                </c:pt>
                <c:pt idx="3531">
                  <c:v>2.9</c:v>
                </c:pt>
                <c:pt idx="3532">
                  <c:v>0.6</c:v>
                </c:pt>
                <c:pt idx="3533">
                  <c:v>6.3</c:v>
                </c:pt>
                <c:pt idx="3534">
                  <c:v>7.9</c:v>
                </c:pt>
                <c:pt idx="3535">
                  <c:v>6.2</c:v>
                </c:pt>
                <c:pt idx="3536">
                  <c:v>4.9000000000000004</c:v>
                </c:pt>
                <c:pt idx="3537">
                  <c:v>6.6</c:v>
                </c:pt>
                <c:pt idx="3538">
                  <c:v>5</c:v>
                </c:pt>
                <c:pt idx="3539">
                  <c:v>7.9</c:v>
                </c:pt>
                <c:pt idx="3540">
                  <c:v>10.4</c:v>
                </c:pt>
                <c:pt idx="3541">
                  <c:v>6.5</c:v>
                </c:pt>
                <c:pt idx="3542">
                  <c:v>9</c:v>
                </c:pt>
                <c:pt idx="3543">
                  <c:v>8.1</c:v>
                </c:pt>
                <c:pt idx="3544">
                  <c:v>4.2</c:v>
                </c:pt>
                <c:pt idx="3545">
                  <c:v>9.1</c:v>
                </c:pt>
                <c:pt idx="3546">
                  <c:v>4.8</c:v>
                </c:pt>
                <c:pt idx="3547">
                  <c:v>6.1</c:v>
                </c:pt>
                <c:pt idx="3548">
                  <c:v>6.3</c:v>
                </c:pt>
                <c:pt idx="3549">
                  <c:v>5.9</c:v>
                </c:pt>
                <c:pt idx="3550">
                  <c:v>6.9</c:v>
                </c:pt>
                <c:pt idx="3551">
                  <c:v>7.3</c:v>
                </c:pt>
                <c:pt idx="3552">
                  <c:v>9.9</c:v>
                </c:pt>
                <c:pt idx="3553">
                  <c:v>8.1999999999999993</c:v>
                </c:pt>
                <c:pt idx="3554">
                  <c:v>7</c:v>
                </c:pt>
                <c:pt idx="3555">
                  <c:v>6.5</c:v>
                </c:pt>
                <c:pt idx="3556">
                  <c:v>4.0999999999999996</c:v>
                </c:pt>
                <c:pt idx="3557">
                  <c:v>7.7</c:v>
                </c:pt>
                <c:pt idx="3558">
                  <c:v>8.4</c:v>
                </c:pt>
                <c:pt idx="3559">
                  <c:v>6.7</c:v>
                </c:pt>
                <c:pt idx="3560">
                  <c:v>6.5</c:v>
                </c:pt>
                <c:pt idx="3561">
                  <c:v>11</c:v>
                </c:pt>
                <c:pt idx="3562">
                  <c:v>6.7</c:v>
                </c:pt>
                <c:pt idx="3563">
                  <c:v>9.3000000000000007</c:v>
                </c:pt>
                <c:pt idx="3564">
                  <c:v>9.5</c:v>
                </c:pt>
                <c:pt idx="3565">
                  <c:v>9.1999999999999993</c:v>
                </c:pt>
                <c:pt idx="3566">
                  <c:v>6.3</c:v>
                </c:pt>
                <c:pt idx="3567">
                  <c:v>10.7</c:v>
                </c:pt>
                <c:pt idx="3568">
                  <c:v>6.2</c:v>
                </c:pt>
                <c:pt idx="3569">
                  <c:v>3</c:v>
                </c:pt>
                <c:pt idx="3570">
                  <c:v>8.6</c:v>
                </c:pt>
                <c:pt idx="3571">
                  <c:v>6.4</c:v>
                </c:pt>
                <c:pt idx="3572">
                  <c:v>8.8000000000000007</c:v>
                </c:pt>
                <c:pt idx="3573">
                  <c:v>5.6</c:v>
                </c:pt>
                <c:pt idx="3574">
                  <c:v>9.8000000000000007</c:v>
                </c:pt>
                <c:pt idx="3575">
                  <c:v>9.1999999999999993</c:v>
                </c:pt>
                <c:pt idx="3576">
                  <c:v>8.5</c:v>
                </c:pt>
                <c:pt idx="3577">
                  <c:v>8.8000000000000007</c:v>
                </c:pt>
                <c:pt idx="3578">
                  <c:v>9</c:v>
                </c:pt>
                <c:pt idx="3579">
                  <c:v>1.2</c:v>
                </c:pt>
                <c:pt idx="3580">
                  <c:v>13.1</c:v>
                </c:pt>
                <c:pt idx="3581">
                  <c:v>5.7</c:v>
                </c:pt>
                <c:pt idx="3582">
                  <c:v>6.3</c:v>
                </c:pt>
                <c:pt idx="3583">
                  <c:v>8.6</c:v>
                </c:pt>
                <c:pt idx="3584">
                  <c:v>8</c:v>
                </c:pt>
                <c:pt idx="3585">
                  <c:v>11</c:v>
                </c:pt>
                <c:pt idx="3586">
                  <c:v>7.6</c:v>
                </c:pt>
                <c:pt idx="3587">
                  <c:v>3.9</c:v>
                </c:pt>
                <c:pt idx="3588">
                  <c:v>5.4</c:v>
                </c:pt>
                <c:pt idx="3589">
                  <c:v>7.5</c:v>
                </c:pt>
                <c:pt idx="3590">
                  <c:v>7.7</c:v>
                </c:pt>
                <c:pt idx="3591">
                  <c:v>9.6999999999999993</c:v>
                </c:pt>
                <c:pt idx="3592">
                  <c:v>15.5</c:v>
                </c:pt>
                <c:pt idx="3593">
                  <c:v>5</c:v>
                </c:pt>
                <c:pt idx="3594">
                  <c:v>11.6</c:v>
                </c:pt>
                <c:pt idx="3595">
                  <c:v>10.7</c:v>
                </c:pt>
                <c:pt idx="3596">
                  <c:v>15.4</c:v>
                </c:pt>
                <c:pt idx="3597">
                  <c:v>7.5</c:v>
                </c:pt>
                <c:pt idx="3598">
                  <c:v>8.8000000000000007</c:v>
                </c:pt>
                <c:pt idx="3599">
                  <c:v>14.8</c:v>
                </c:pt>
                <c:pt idx="3600">
                  <c:v>6.7</c:v>
                </c:pt>
                <c:pt idx="3601">
                  <c:v>7.6</c:v>
                </c:pt>
                <c:pt idx="3602">
                  <c:v>6.6</c:v>
                </c:pt>
                <c:pt idx="3603">
                  <c:v>7.9</c:v>
                </c:pt>
                <c:pt idx="3604">
                  <c:v>7.8</c:v>
                </c:pt>
                <c:pt idx="3605">
                  <c:v>10.3</c:v>
                </c:pt>
                <c:pt idx="3606">
                  <c:v>5.5</c:v>
                </c:pt>
                <c:pt idx="3607">
                  <c:v>5.2</c:v>
                </c:pt>
                <c:pt idx="3608">
                  <c:v>6.3</c:v>
                </c:pt>
                <c:pt idx="3609">
                  <c:v>4.4000000000000004</c:v>
                </c:pt>
                <c:pt idx="3610">
                  <c:v>5.8</c:v>
                </c:pt>
                <c:pt idx="3611">
                  <c:v>6.6</c:v>
                </c:pt>
                <c:pt idx="3612">
                  <c:v>6.8</c:v>
                </c:pt>
                <c:pt idx="3613">
                  <c:v>8.9</c:v>
                </c:pt>
                <c:pt idx="3614">
                  <c:v>6.8</c:v>
                </c:pt>
                <c:pt idx="3615">
                  <c:v>6.2</c:v>
                </c:pt>
                <c:pt idx="3616">
                  <c:v>8</c:v>
                </c:pt>
                <c:pt idx="3617">
                  <c:v>7.3</c:v>
                </c:pt>
                <c:pt idx="3618">
                  <c:v>6.1</c:v>
                </c:pt>
                <c:pt idx="3619">
                  <c:v>4.0999999999999996</c:v>
                </c:pt>
                <c:pt idx="3620">
                  <c:v>12.3</c:v>
                </c:pt>
                <c:pt idx="3621">
                  <c:v>8.6</c:v>
                </c:pt>
                <c:pt idx="3622">
                  <c:v>7</c:v>
                </c:pt>
                <c:pt idx="3623">
                  <c:v>6.8</c:v>
                </c:pt>
                <c:pt idx="3624">
                  <c:v>10.199999999999999</c:v>
                </c:pt>
                <c:pt idx="3625">
                  <c:v>6.3</c:v>
                </c:pt>
                <c:pt idx="3626">
                  <c:v>7.2</c:v>
                </c:pt>
                <c:pt idx="3627">
                  <c:v>6.7</c:v>
                </c:pt>
                <c:pt idx="3628">
                  <c:v>9.4</c:v>
                </c:pt>
                <c:pt idx="3629">
                  <c:v>10.5</c:v>
                </c:pt>
                <c:pt idx="3630">
                  <c:v>7.1</c:v>
                </c:pt>
                <c:pt idx="3631">
                  <c:v>2</c:v>
                </c:pt>
                <c:pt idx="3632">
                  <c:v>5.9</c:v>
                </c:pt>
                <c:pt idx="3633">
                  <c:v>9.5</c:v>
                </c:pt>
                <c:pt idx="3634">
                  <c:v>10.5</c:v>
                </c:pt>
                <c:pt idx="3635">
                  <c:v>3.8</c:v>
                </c:pt>
                <c:pt idx="3636">
                  <c:v>9.1999999999999993</c:v>
                </c:pt>
                <c:pt idx="3637">
                  <c:v>5.7</c:v>
                </c:pt>
                <c:pt idx="3638">
                  <c:v>6.9</c:v>
                </c:pt>
                <c:pt idx="3639">
                  <c:v>5.2</c:v>
                </c:pt>
                <c:pt idx="3640">
                  <c:v>4.3</c:v>
                </c:pt>
                <c:pt idx="3641">
                  <c:v>7</c:v>
                </c:pt>
                <c:pt idx="3642">
                  <c:v>7.7</c:v>
                </c:pt>
                <c:pt idx="3643">
                  <c:v>9.6999999999999993</c:v>
                </c:pt>
                <c:pt idx="3644">
                  <c:v>6.9</c:v>
                </c:pt>
                <c:pt idx="3645">
                  <c:v>7.7</c:v>
                </c:pt>
                <c:pt idx="3646">
                  <c:v>5.9</c:v>
                </c:pt>
                <c:pt idx="3647">
                  <c:v>7.1</c:v>
                </c:pt>
                <c:pt idx="3648">
                  <c:v>5.7</c:v>
                </c:pt>
                <c:pt idx="3649">
                  <c:v>5.4</c:v>
                </c:pt>
                <c:pt idx="3650">
                  <c:v>9.6</c:v>
                </c:pt>
                <c:pt idx="3651">
                  <c:v>8.6999999999999993</c:v>
                </c:pt>
                <c:pt idx="3652">
                  <c:v>6.5</c:v>
                </c:pt>
                <c:pt idx="3653">
                  <c:v>8.8000000000000007</c:v>
                </c:pt>
                <c:pt idx="3654">
                  <c:v>9.1999999999999993</c:v>
                </c:pt>
                <c:pt idx="3655">
                  <c:v>13.8</c:v>
                </c:pt>
                <c:pt idx="3656">
                  <c:v>7</c:v>
                </c:pt>
                <c:pt idx="3657">
                  <c:v>10</c:v>
                </c:pt>
                <c:pt idx="3658">
                  <c:v>13</c:v>
                </c:pt>
                <c:pt idx="3659">
                  <c:v>3.2</c:v>
                </c:pt>
                <c:pt idx="3660">
                  <c:v>12.3</c:v>
                </c:pt>
                <c:pt idx="3661">
                  <c:v>4.5</c:v>
                </c:pt>
                <c:pt idx="3662">
                  <c:v>5.8</c:v>
                </c:pt>
                <c:pt idx="3663">
                  <c:v>11</c:v>
                </c:pt>
                <c:pt idx="3664">
                  <c:v>8.5</c:v>
                </c:pt>
                <c:pt idx="3665">
                  <c:v>7.8</c:v>
                </c:pt>
                <c:pt idx="3666">
                  <c:v>8.5</c:v>
                </c:pt>
                <c:pt idx="3667">
                  <c:v>0.6</c:v>
                </c:pt>
                <c:pt idx="3668">
                  <c:v>11.5</c:v>
                </c:pt>
                <c:pt idx="3669">
                  <c:v>8.1999999999999993</c:v>
                </c:pt>
                <c:pt idx="3670">
                  <c:v>0.1</c:v>
                </c:pt>
                <c:pt idx="3671">
                  <c:v>0.6</c:v>
                </c:pt>
                <c:pt idx="3672">
                  <c:v>9.1</c:v>
                </c:pt>
                <c:pt idx="3673">
                  <c:v>4.3</c:v>
                </c:pt>
                <c:pt idx="3674">
                  <c:v>11.4</c:v>
                </c:pt>
                <c:pt idx="3675">
                  <c:v>2.6</c:v>
                </c:pt>
                <c:pt idx="3676">
                  <c:v>8.9</c:v>
                </c:pt>
                <c:pt idx="3677">
                  <c:v>12.9</c:v>
                </c:pt>
                <c:pt idx="3678">
                  <c:v>11</c:v>
                </c:pt>
                <c:pt idx="3679">
                  <c:v>6</c:v>
                </c:pt>
                <c:pt idx="3680">
                  <c:v>9.3000000000000007</c:v>
                </c:pt>
                <c:pt idx="3681">
                  <c:v>9.9</c:v>
                </c:pt>
                <c:pt idx="3682">
                  <c:v>8.5</c:v>
                </c:pt>
                <c:pt idx="3683">
                  <c:v>11.1</c:v>
                </c:pt>
                <c:pt idx="3684">
                  <c:v>6.8</c:v>
                </c:pt>
                <c:pt idx="3685">
                  <c:v>7.7</c:v>
                </c:pt>
                <c:pt idx="3686">
                  <c:v>1.9</c:v>
                </c:pt>
                <c:pt idx="3687">
                  <c:v>7</c:v>
                </c:pt>
                <c:pt idx="3688">
                  <c:v>10.4</c:v>
                </c:pt>
                <c:pt idx="3689">
                  <c:v>9</c:v>
                </c:pt>
                <c:pt idx="3690">
                  <c:v>6.9</c:v>
                </c:pt>
                <c:pt idx="3691">
                  <c:v>10.5</c:v>
                </c:pt>
                <c:pt idx="3692">
                  <c:v>6.5</c:v>
                </c:pt>
                <c:pt idx="3693">
                  <c:v>10</c:v>
                </c:pt>
                <c:pt idx="3694">
                  <c:v>3.3</c:v>
                </c:pt>
                <c:pt idx="3695">
                  <c:v>8</c:v>
                </c:pt>
                <c:pt idx="3696">
                  <c:v>6.1</c:v>
                </c:pt>
                <c:pt idx="3697">
                  <c:v>7.4</c:v>
                </c:pt>
                <c:pt idx="3698">
                  <c:v>13</c:v>
                </c:pt>
                <c:pt idx="3699">
                  <c:v>6.4</c:v>
                </c:pt>
                <c:pt idx="3700">
                  <c:v>8.3000000000000007</c:v>
                </c:pt>
                <c:pt idx="3701">
                  <c:v>9.1</c:v>
                </c:pt>
                <c:pt idx="3702">
                  <c:v>4.2</c:v>
                </c:pt>
                <c:pt idx="3703">
                  <c:v>8.5</c:v>
                </c:pt>
                <c:pt idx="3704">
                  <c:v>6.8</c:v>
                </c:pt>
                <c:pt idx="3705">
                  <c:v>9.1999999999999993</c:v>
                </c:pt>
                <c:pt idx="3706">
                  <c:v>4</c:v>
                </c:pt>
                <c:pt idx="3707">
                  <c:v>4.5999999999999996</c:v>
                </c:pt>
                <c:pt idx="3708">
                  <c:v>9.1999999999999993</c:v>
                </c:pt>
                <c:pt idx="3709">
                  <c:v>7.5</c:v>
                </c:pt>
                <c:pt idx="3710">
                  <c:v>7.7</c:v>
                </c:pt>
                <c:pt idx="3711">
                  <c:v>1.8</c:v>
                </c:pt>
                <c:pt idx="3712">
                  <c:v>10.199999999999999</c:v>
                </c:pt>
                <c:pt idx="3713">
                  <c:v>9.1</c:v>
                </c:pt>
                <c:pt idx="3714">
                  <c:v>10.5</c:v>
                </c:pt>
                <c:pt idx="3715">
                  <c:v>9.1</c:v>
                </c:pt>
                <c:pt idx="3716">
                  <c:v>5.0999999999999996</c:v>
                </c:pt>
                <c:pt idx="3717">
                  <c:v>2.9</c:v>
                </c:pt>
                <c:pt idx="3718">
                  <c:v>10.8</c:v>
                </c:pt>
                <c:pt idx="3719">
                  <c:v>7.9</c:v>
                </c:pt>
                <c:pt idx="3720">
                  <c:v>6.3</c:v>
                </c:pt>
                <c:pt idx="3721">
                  <c:v>3.6</c:v>
                </c:pt>
                <c:pt idx="3722">
                  <c:v>12.6</c:v>
                </c:pt>
                <c:pt idx="3723">
                  <c:v>13.6</c:v>
                </c:pt>
                <c:pt idx="3724">
                  <c:v>7.8</c:v>
                </c:pt>
                <c:pt idx="3725">
                  <c:v>1</c:v>
                </c:pt>
                <c:pt idx="3726">
                  <c:v>9.1999999999999993</c:v>
                </c:pt>
                <c:pt idx="3727">
                  <c:v>4.7</c:v>
                </c:pt>
                <c:pt idx="3728">
                  <c:v>5.2</c:v>
                </c:pt>
                <c:pt idx="3729">
                  <c:v>9.1999999999999993</c:v>
                </c:pt>
                <c:pt idx="3730">
                  <c:v>5.7</c:v>
                </c:pt>
                <c:pt idx="3731">
                  <c:v>16</c:v>
                </c:pt>
                <c:pt idx="3732">
                  <c:v>9.5</c:v>
                </c:pt>
                <c:pt idx="3733">
                  <c:v>8.3000000000000007</c:v>
                </c:pt>
                <c:pt idx="3734">
                  <c:v>9.1</c:v>
                </c:pt>
                <c:pt idx="3735">
                  <c:v>10.8</c:v>
                </c:pt>
                <c:pt idx="3736">
                  <c:v>10.6</c:v>
                </c:pt>
                <c:pt idx="3737">
                  <c:v>9</c:v>
                </c:pt>
                <c:pt idx="3738">
                  <c:v>8</c:v>
                </c:pt>
                <c:pt idx="3739">
                  <c:v>7.9</c:v>
                </c:pt>
                <c:pt idx="3740">
                  <c:v>6.7</c:v>
                </c:pt>
                <c:pt idx="3741">
                  <c:v>10</c:v>
                </c:pt>
                <c:pt idx="3742">
                  <c:v>6.2</c:v>
                </c:pt>
                <c:pt idx="3743">
                  <c:v>8.9</c:v>
                </c:pt>
                <c:pt idx="3744">
                  <c:v>9.8000000000000007</c:v>
                </c:pt>
                <c:pt idx="3745">
                  <c:v>8.3000000000000007</c:v>
                </c:pt>
                <c:pt idx="3746">
                  <c:v>6.9</c:v>
                </c:pt>
                <c:pt idx="3747">
                  <c:v>10.1</c:v>
                </c:pt>
                <c:pt idx="3748">
                  <c:v>10.9</c:v>
                </c:pt>
                <c:pt idx="3749">
                  <c:v>7.1</c:v>
                </c:pt>
                <c:pt idx="3750">
                  <c:v>3.2</c:v>
                </c:pt>
                <c:pt idx="3751">
                  <c:v>7.9</c:v>
                </c:pt>
                <c:pt idx="3752">
                  <c:v>5.2</c:v>
                </c:pt>
                <c:pt idx="3753">
                  <c:v>4.8</c:v>
                </c:pt>
                <c:pt idx="3754">
                  <c:v>5.0999999999999996</c:v>
                </c:pt>
                <c:pt idx="3755">
                  <c:v>6.2</c:v>
                </c:pt>
                <c:pt idx="3756">
                  <c:v>9.6999999999999993</c:v>
                </c:pt>
                <c:pt idx="3757">
                  <c:v>11.6</c:v>
                </c:pt>
                <c:pt idx="3758">
                  <c:v>6</c:v>
                </c:pt>
                <c:pt idx="3759">
                  <c:v>7.5</c:v>
                </c:pt>
                <c:pt idx="3760">
                  <c:v>5.8</c:v>
                </c:pt>
                <c:pt idx="3761">
                  <c:v>12.6</c:v>
                </c:pt>
                <c:pt idx="3762">
                  <c:v>6.9</c:v>
                </c:pt>
                <c:pt idx="3763">
                  <c:v>3.8</c:v>
                </c:pt>
                <c:pt idx="3764">
                  <c:v>10.199999999999999</c:v>
                </c:pt>
                <c:pt idx="3765">
                  <c:v>5.4</c:v>
                </c:pt>
                <c:pt idx="3766">
                  <c:v>8.5</c:v>
                </c:pt>
                <c:pt idx="3767">
                  <c:v>7</c:v>
                </c:pt>
                <c:pt idx="3768">
                  <c:v>6.1</c:v>
                </c:pt>
                <c:pt idx="3769">
                  <c:v>6.5</c:v>
                </c:pt>
                <c:pt idx="3770">
                  <c:v>6</c:v>
                </c:pt>
                <c:pt idx="3771">
                  <c:v>7.8</c:v>
                </c:pt>
                <c:pt idx="3772">
                  <c:v>10.9</c:v>
                </c:pt>
                <c:pt idx="3773">
                  <c:v>8.6</c:v>
                </c:pt>
                <c:pt idx="3774">
                  <c:v>10.4</c:v>
                </c:pt>
                <c:pt idx="3775">
                  <c:v>6.6</c:v>
                </c:pt>
                <c:pt idx="3776">
                  <c:v>9.1</c:v>
                </c:pt>
                <c:pt idx="3777">
                  <c:v>5.3</c:v>
                </c:pt>
                <c:pt idx="3778">
                  <c:v>6.7</c:v>
                </c:pt>
                <c:pt idx="3779">
                  <c:v>7.9</c:v>
                </c:pt>
                <c:pt idx="3780">
                  <c:v>11</c:v>
                </c:pt>
                <c:pt idx="3781">
                  <c:v>6.6</c:v>
                </c:pt>
                <c:pt idx="3782">
                  <c:v>8.5</c:v>
                </c:pt>
                <c:pt idx="3783">
                  <c:v>9.3000000000000007</c:v>
                </c:pt>
                <c:pt idx="3784">
                  <c:v>7.6</c:v>
                </c:pt>
                <c:pt idx="3785">
                  <c:v>0.3</c:v>
                </c:pt>
                <c:pt idx="3786">
                  <c:v>9.8000000000000007</c:v>
                </c:pt>
                <c:pt idx="3787">
                  <c:v>8.6999999999999993</c:v>
                </c:pt>
                <c:pt idx="3788">
                  <c:v>6.1</c:v>
                </c:pt>
                <c:pt idx="3789">
                  <c:v>12.8</c:v>
                </c:pt>
                <c:pt idx="3790">
                  <c:v>10.6</c:v>
                </c:pt>
                <c:pt idx="3791">
                  <c:v>9.4</c:v>
                </c:pt>
                <c:pt idx="3792">
                  <c:v>6.8</c:v>
                </c:pt>
                <c:pt idx="3793">
                  <c:v>9</c:v>
                </c:pt>
                <c:pt idx="3794">
                  <c:v>8.1</c:v>
                </c:pt>
                <c:pt idx="3795">
                  <c:v>6.2</c:v>
                </c:pt>
                <c:pt idx="3796">
                  <c:v>5</c:v>
                </c:pt>
                <c:pt idx="3797">
                  <c:v>6.2</c:v>
                </c:pt>
                <c:pt idx="3798">
                  <c:v>9.9</c:v>
                </c:pt>
                <c:pt idx="3799">
                  <c:v>4.4000000000000004</c:v>
                </c:pt>
                <c:pt idx="3800">
                  <c:v>12.4</c:v>
                </c:pt>
                <c:pt idx="3801">
                  <c:v>6.8</c:v>
                </c:pt>
                <c:pt idx="3802">
                  <c:v>6.4</c:v>
                </c:pt>
                <c:pt idx="3803">
                  <c:v>6.4</c:v>
                </c:pt>
                <c:pt idx="3804">
                  <c:v>9.6</c:v>
                </c:pt>
                <c:pt idx="3805">
                  <c:v>4.5</c:v>
                </c:pt>
                <c:pt idx="3806">
                  <c:v>6.2</c:v>
                </c:pt>
                <c:pt idx="3807">
                  <c:v>9</c:v>
                </c:pt>
                <c:pt idx="3808">
                  <c:v>8.1999999999999993</c:v>
                </c:pt>
                <c:pt idx="3809">
                  <c:v>5.6</c:v>
                </c:pt>
                <c:pt idx="3810">
                  <c:v>5.2</c:v>
                </c:pt>
                <c:pt idx="3811">
                  <c:v>5.0999999999999996</c:v>
                </c:pt>
                <c:pt idx="3812">
                  <c:v>10.5</c:v>
                </c:pt>
                <c:pt idx="3813">
                  <c:v>6.8</c:v>
                </c:pt>
                <c:pt idx="3814">
                  <c:v>10</c:v>
                </c:pt>
                <c:pt idx="3815">
                  <c:v>7</c:v>
                </c:pt>
                <c:pt idx="3816">
                  <c:v>8.6</c:v>
                </c:pt>
                <c:pt idx="3817">
                  <c:v>7.4</c:v>
                </c:pt>
                <c:pt idx="3818">
                  <c:v>10.3</c:v>
                </c:pt>
                <c:pt idx="3819">
                  <c:v>5.9</c:v>
                </c:pt>
                <c:pt idx="3820">
                  <c:v>12.8</c:v>
                </c:pt>
                <c:pt idx="3821">
                  <c:v>8.5</c:v>
                </c:pt>
                <c:pt idx="3822">
                  <c:v>4.5</c:v>
                </c:pt>
                <c:pt idx="3823">
                  <c:v>7.9</c:v>
                </c:pt>
                <c:pt idx="3824">
                  <c:v>8.4</c:v>
                </c:pt>
                <c:pt idx="3825">
                  <c:v>13.4</c:v>
                </c:pt>
                <c:pt idx="3826">
                  <c:v>7.9</c:v>
                </c:pt>
                <c:pt idx="3827">
                  <c:v>8.6</c:v>
                </c:pt>
                <c:pt idx="3828">
                  <c:v>6.1</c:v>
                </c:pt>
                <c:pt idx="3829">
                  <c:v>7.5</c:v>
                </c:pt>
                <c:pt idx="3830">
                  <c:v>5.5</c:v>
                </c:pt>
                <c:pt idx="3831">
                  <c:v>8.3000000000000007</c:v>
                </c:pt>
                <c:pt idx="3832">
                  <c:v>8.1</c:v>
                </c:pt>
                <c:pt idx="3833">
                  <c:v>7.1</c:v>
                </c:pt>
                <c:pt idx="3834">
                  <c:v>8.1</c:v>
                </c:pt>
                <c:pt idx="3835">
                  <c:v>9.4</c:v>
                </c:pt>
                <c:pt idx="3836">
                  <c:v>7.1</c:v>
                </c:pt>
                <c:pt idx="3837">
                  <c:v>8.5</c:v>
                </c:pt>
                <c:pt idx="3838">
                  <c:v>4.3</c:v>
                </c:pt>
                <c:pt idx="3839">
                  <c:v>3.8</c:v>
                </c:pt>
                <c:pt idx="3840">
                  <c:v>9.9</c:v>
                </c:pt>
                <c:pt idx="3841">
                  <c:v>9.6</c:v>
                </c:pt>
                <c:pt idx="3842">
                  <c:v>4.7</c:v>
                </c:pt>
                <c:pt idx="3843">
                  <c:v>9.4</c:v>
                </c:pt>
                <c:pt idx="3844">
                  <c:v>3.2</c:v>
                </c:pt>
                <c:pt idx="3845">
                  <c:v>7.3</c:v>
                </c:pt>
                <c:pt idx="3846">
                  <c:v>13.3</c:v>
                </c:pt>
                <c:pt idx="3847">
                  <c:v>6.3</c:v>
                </c:pt>
                <c:pt idx="3848">
                  <c:v>7.2</c:v>
                </c:pt>
                <c:pt idx="3849">
                  <c:v>8.9</c:v>
                </c:pt>
                <c:pt idx="3850">
                  <c:v>8.3000000000000007</c:v>
                </c:pt>
                <c:pt idx="3851">
                  <c:v>6.2</c:v>
                </c:pt>
                <c:pt idx="3852">
                  <c:v>7.1</c:v>
                </c:pt>
                <c:pt idx="3853">
                  <c:v>1.7</c:v>
                </c:pt>
                <c:pt idx="3854">
                  <c:v>8</c:v>
                </c:pt>
                <c:pt idx="3855">
                  <c:v>11.3</c:v>
                </c:pt>
                <c:pt idx="3856">
                  <c:v>11.4</c:v>
                </c:pt>
                <c:pt idx="3857">
                  <c:v>5</c:v>
                </c:pt>
                <c:pt idx="3858">
                  <c:v>10.7</c:v>
                </c:pt>
                <c:pt idx="3859">
                  <c:v>7.4</c:v>
                </c:pt>
                <c:pt idx="3860">
                  <c:v>9.5</c:v>
                </c:pt>
                <c:pt idx="3861">
                  <c:v>11.3</c:v>
                </c:pt>
                <c:pt idx="3862">
                  <c:v>10.3</c:v>
                </c:pt>
                <c:pt idx="3863">
                  <c:v>8.1999999999999993</c:v>
                </c:pt>
                <c:pt idx="3864">
                  <c:v>10.6</c:v>
                </c:pt>
                <c:pt idx="3865">
                  <c:v>8.8000000000000007</c:v>
                </c:pt>
                <c:pt idx="3866">
                  <c:v>5</c:v>
                </c:pt>
                <c:pt idx="3867">
                  <c:v>4.3</c:v>
                </c:pt>
                <c:pt idx="3868">
                  <c:v>11.3</c:v>
                </c:pt>
                <c:pt idx="3869">
                  <c:v>7</c:v>
                </c:pt>
                <c:pt idx="3870">
                  <c:v>12.4</c:v>
                </c:pt>
                <c:pt idx="3871">
                  <c:v>3.9</c:v>
                </c:pt>
                <c:pt idx="3872">
                  <c:v>4.7</c:v>
                </c:pt>
                <c:pt idx="3873">
                  <c:v>4.7</c:v>
                </c:pt>
                <c:pt idx="3874">
                  <c:v>1.6</c:v>
                </c:pt>
                <c:pt idx="3875">
                  <c:v>7.5</c:v>
                </c:pt>
                <c:pt idx="3876">
                  <c:v>9.6999999999999993</c:v>
                </c:pt>
                <c:pt idx="3877">
                  <c:v>2.6</c:v>
                </c:pt>
                <c:pt idx="3878">
                  <c:v>4.9000000000000004</c:v>
                </c:pt>
                <c:pt idx="3879">
                  <c:v>4.2</c:v>
                </c:pt>
                <c:pt idx="3880">
                  <c:v>8.9</c:v>
                </c:pt>
                <c:pt idx="3881">
                  <c:v>8.8000000000000007</c:v>
                </c:pt>
                <c:pt idx="3882">
                  <c:v>16.2</c:v>
                </c:pt>
                <c:pt idx="3883">
                  <c:v>11.4</c:v>
                </c:pt>
                <c:pt idx="3884">
                  <c:v>5.3</c:v>
                </c:pt>
                <c:pt idx="3885">
                  <c:v>7.9</c:v>
                </c:pt>
                <c:pt idx="3886">
                  <c:v>8.6</c:v>
                </c:pt>
                <c:pt idx="3887">
                  <c:v>7.9</c:v>
                </c:pt>
                <c:pt idx="3888">
                  <c:v>7.1</c:v>
                </c:pt>
                <c:pt idx="3889">
                  <c:v>5.3</c:v>
                </c:pt>
                <c:pt idx="3890">
                  <c:v>10</c:v>
                </c:pt>
                <c:pt idx="3891">
                  <c:v>10.3</c:v>
                </c:pt>
                <c:pt idx="3892">
                  <c:v>8.5</c:v>
                </c:pt>
                <c:pt idx="3893">
                  <c:v>11.4</c:v>
                </c:pt>
                <c:pt idx="3894">
                  <c:v>7.7</c:v>
                </c:pt>
                <c:pt idx="3895">
                  <c:v>5.4</c:v>
                </c:pt>
                <c:pt idx="3896">
                  <c:v>10.199999999999999</c:v>
                </c:pt>
                <c:pt idx="3897">
                  <c:v>7.8</c:v>
                </c:pt>
                <c:pt idx="3898">
                  <c:v>8.5</c:v>
                </c:pt>
                <c:pt idx="3899">
                  <c:v>8.4</c:v>
                </c:pt>
                <c:pt idx="3900">
                  <c:v>5.4</c:v>
                </c:pt>
                <c:pt idx="3901">
                  <c:v>5.4</c:v>
                </c:pt>
                <c:pt idx="3902">
                  <c:v>3</c:v>
                </c:pt>
                <c:pt idx="3903">
                  <c:v>9.3000000000000007</c:v>
                </c:pt>
                <c:pt idx="3904">
                  <c:v>0.5</c:v>
                </c:pt>
                <c:pt idx="3905">
                  <c:v>6.7</c:v>
                </c:pt>
                <c:pt idx="3906">
                  <c:v>7.8</c:v>
                </c:pt>
                <c:pt idx="3907">
                  <c:v>6.5</c:v>
                </c:pt>
                <c:pt idx="3908">
                  <c:v>14.5</c:v>
                </c:pt>
                <c:pt idx="3909">
                  <c:v>7.2</c:v>
                </c:pt>
                <c:pt idx="3910">
                  <c:v>5.4</c:v>
                </c:pt>
                <c:pt idx="3911">
                  <c:v>5.4</c:v>
                </c:pt>
                <c:pt idx="3912">
                  <c:v>7.7</c:v>
                </c:pt>
                <c:pt idx="3913">
                  <c:v>9.1999999999999993</c:v>
                </c:pt>
                <c:pt idx="3914">
                  <c:v>11.7</c:v>
                </c:pt>
                <c:pt idx="3915">
                  <c:v>4.5</c:v>
                </c:pt>
                <c:pt idx="3916">
                  <c:v>7.9</c:v>
                </c:pt>
                <c:pt idx="3917">
                  <c:v>6.7</c:v>
                </c:pt>
                <c:pt idx="3918">
                  <c:v>8.8000000000000007</c:v>
                </c:pt>
                <c:pt idx="3919">
                  <c:v>10.5</c:v>
                </c:pt>
                <c:pt idx="3920">
                  <c:v>10.4</c:v>
                </c:pt>
                <c:pt idx="3921">
                  <c:v>6</c:v>
                </c:pt>
                <c:pt idx="3922">
                  <c:v>6.6</c:v>
                </c:pt>
                <c:pt idx="3923">
                  <c:v>11.4</c:v>
                </c:pt>
                <c:pt idx="3924">
                  <c:v>12.9</c:v>
                </c:pt>
                <c:pt idx="3925">
                  <c:v>8.1999999999999993</c:v>
                </c:pt>
                <c:pt idx="3926">
                  <c:v>3.6</c:v>
                </c:pt>
                <c:pt idx="3927">
                  <c:v>4.7</c:v>
                </c:pt>
                <c:pt idx="3928">
                  <c:v>10.8</c:v>
                </c:pt>
                <c:pt idx="3929">
                  <c:v>8.6</c:v>
                </c:pt>
                <c:pt idx="3930">
                  <c:v>8</c:v>
                </c:pt>
                <c:pt idx="3931">
                  <c:v>8.1999999999999993</c:v>
                </c:pt>
                <c:pt idx="3932">
                  <c:v>9.1</c:v>
                </c:pt>
                <c:pt idx="3933">
                  <c:v>8.1999999999999993</c:v>
                </c:pt>
                <c:pt idx="3934">
                  <c:v>5.9</c:v>
                </c:pt>
                <c:pt idx="3935">
                  <c:v>12.8</c:v>
                </c:pt>
                <c:pt idx="3936">
                  <c:v>5.0999999999999996</c:v>
                </c:pt>
                <c:pt idx="3937">
                  <c:v>6.1</c:v>
                </c:pt>
                <c:pt idx="3938">
                  <c:v>10.8</c:v>
                </c:pt>
                <c:pt idx="3939">
                  <c:v>5.6</c:v>
                </c:pt>
                <c:pt idx="3940">
                  <c:v>6.8</c:v>
                </c:pt>
                <c:pt idx="3941">
                  <c:v>9</c:v>
                </c:pt>
                <c:pt idx="3942">
                  <c:v>5.9</c:v>
                </c:pt>
                <c:pt idx="3943">
                  <c:v>12.7</c:v>
                </c:pt>
                <c:pt idx="3944">
                  <c:v>7.1</c:v>
                </c:pt>
                <c:pt idx="3945">
                  <c:v>4.8</c:v>
                </c:pt>
                <c:pt idx="3946">
                  <c:v>9.3000000000000007</c:v>
                </c:pt>
                <c:pt idx="3947">
                  <c:v>7.6</c:v>
                </c:pt>
                <c:pt idx="3948">
                  <c:v>5.7</c:v>
                </c:pt>
                <c:pt idx="3949">
                  <c:v>9.6</c:v>
                </c:pt>
                <c:pt idx="3950">
                  <c:v>7</c:v>
                </c:pt>
                <c:pt idx="3951">
                  <c:v>6.4</c:v>
                </c:pt>
                <c:pt idx="3952">
                  <c:v>2.1</c:v>
                </c:pt>
                <c:pt idx="3953">
                  <c:v>9.4</c:v>
                </c:pt>
                <c:pt idx="3954">
                  <c:v>3.4</c:v>
                </c:pt>
                <c:pt idx="3955">
                  <c:v>11.1</c:v>
                </c:pt>
                <c:pt idx="3956">
                  <c:v>7.6</c:v>
                </c:pt>
                <c:pt idx="3957">
                  <c:v>7.1</c:v>
                </c:pt>
                <c:pt idx="3958">
                  <c:v>5</c:v>
                </c:pt>
                <c:pt idx="3959">
                  <c:v>9.1</c:v>
                </c:pt>
                <c:pt idx="3960">
                  <c:v>10.5</c:v>
                </c:pt>
                <c:pt idx="3961">
                  <c:v>3.3</c:v>
                </c:pt>
                <c:pt idx="3962">
                  <c:v>6.3</c:v>
                </c:pt>
                <c:pt idx="3963">
                  <c:v>5.8</c:v>
                </c:pt>
                <c:pt idx="3964">
                  <c:v>7.4</c:v>
                </c:pt>
                <c:pt idx="3965">
                  <c:v>5.6</c:v>
                </c:pt>
                <c:pt idx="3966">
                  <c:v>2.5</c:v>
                </c:pt>
                <c:pt idx="3967">
                  <c:v>5.7</c:v>
                </c:pt>
                <c:pt idx="3968">
                  <c:v>8.6</c:v>
                </c:pt>
                <c:pt idx="3969">
                  <c:v>11.5</c:v>
                </c:pt>
                <c:pt idx="3970">
                  <c:v>6.4</c:v>
                </c:pt>
                <c:pt idx="3971">
                  <c:v>5</c:v>
                </c:pt>
                <c:pt idx="3972">
                  <c:v>6</c:v>
                </c:pt>
                <c:pt idx="3973">
                  <c:v>3.2</c:v>
                </c:pt>
                <c:pt idx="3974">
                  <c:v>10.4</c:v>
                </c:pt>
                <c:pt idx="3975">
                  <c:v>7.6</c:v>
                </c:pt>
                <c:pt idx="3976">
                  <c:v>7.4</c:v>
                </c:pt>
                <c:pt idx="3977">
                  <c:v>7.5</c:v>
                </c:pt>
                <c:pt idx="3978">
                  <c:v>9</c:v>
                </c:pt>
                <c:pt idx="3979">
                  <c:v>7.6</c:v>
                </c:pt>
                <c:pt idx="3980">
                  <c:v>8.9</c:v>
                </c:pt>
                <c:pt idx="3981">
                  <c:v>6</c:v>
                </c:pt>
                <c:pt idx="3982">
                  <c:v>12.1</c:v>
                </c:pt>
                <c:pt idx="3983">
                  <c:v>10.6</c:v>
                </c:pt>
                <c:pt idx="3984">
                  <c:v>9.3000000000000007</c:v>
                </c:pt>
                <c:pt idx="3985">
                  <c:v>5.6</c:v>
                </c:pt>
                <c:pt idx="3986">
                  <c:v>7.2</c:v>
                </c:pt>
                <c:pt idx="3987">
                  <c:v>10.3</c:v>
                </c:pt>
                <c:pt idx="3988">
                  <c:v>0</c:v>
                </c:pt>
                <c:pt idx="3989">
                  <c:v>9</c:v>
                </c:pt>
                <c:pt idx="3990">
                  <c:v>8.4</c:v>
                </c:pt>
                <c:pt idx="3991">
                  <c:v>7.1</c:v>
                </c:pt>
                <c:pt idx="3992">
                  <c:v>12.2</c:v>
                </c:pt>
                <c:pt idx="3993">
                  <c:v>10.9</c:v>
                </c:pt>
                <c:pt idx="3994">
                  <c:v>12.6</c:v>
                </c:pt>
                <c:pt idx="3995">
                  <c:v>6.7</c:v>
                </c:pt>
                <c:pt idx="3996">
                  <c:v>6.4</c:v>
                </c:pt>
                <c:pt idx="3997">
                  <c:v>12.6</c:v>
                </c:pt>
                <c:pt idx="3998">
                  <c:v>11.8</c:v>
                </c:pt>
                <c:pt idx="3999">
                  <c:v>5.2</c:v>
                </c:pt>
                <c:pt idx="4000">
                  <c:v>6.2</c:v>
                </c:pt>
                <c:pt idx="4001">
                  <c:v>9.9</c:v>
                </c:pt>
                <c:pt idx="4002">
                  <c:v>7.3</c:v>
                </c:pt>
                <c:pt idx="4003">
                  <c:v>5.9</c:v>
                </c:pt>
                <c:pt idx="4004">
                  <c:v>8.1999999999999993</c:v>
                </c:pt>
                <c:pt idx="4005">
                  <c:v>9.6999999999999993</c:v>
                </c:pt>
                <c:pt idx="4006">
                  <c:v>8.6</c:v>
                </c:pt>
                <c:pt idx="4007">
                  <c:v>5</c:v>
                </c:pt>
                <c:pt idx="4008">
                  <c:v>5.0999999999999996</c:v>
                </c:pt>
                <c:pt idx="4009">
                  <c:v>8.6</c:v>
                </c:pt>
                <c:pt idx="4010">
                  <c:v>7.5</c:v>
                </c:pt>
                <c:pt idx="4011">
                  <c:v>1.1000000000000001</c:v>
                </c:pt>
                <c:pt idx="4012">
                  <c:v>6.9</c:v>
                </c:pt>
                <c:pt idx="4013">
                  <c:v>6.7</c:v>
                </c:pt>
                <c:pt idx="4014">
                  <c:v>7.3</c:v>
                </c:pt>
                <c:pt idx="4015">
                  <c:v>8.8000000000000007</c:v>
                </c:pt>
                <c:pt idx="4016">
                  <c:v>6.6</c:v>
                </c:pt>
                <c:pt idx="4017">
                  <c:v>5.2</c:v>
                </c:pt>
                <c:pt idx="4018">
                  <c:v>7.6</c:v>
                </c:pt>
                <c:pt idx="4019">
                  <c:v>8.9</c:v>
                </c:pt>
                <c:pt idx="4020">
                  <c:v>7.8</c:v>
                </c:pt>
                <c:pt idx="4021">
                  <c:v>7.2</c:v>
                </c:pt>
                <c:pt idx="4022">
                  <c:v>5.0999999999999996</c:v>
                </c:pt>
                <c:pt idx="4023">
                  <c:v>12.3</c:v>
                </c:pt>
                <c:pt idx="4024">
                  <c:v>10.8</c:v>
                </c:pt>
                <c:pt idx="4025">
                  <c:v>6.4</c:v>
                </c:pt>
                <c:pt idx="4026">
                  <c:v>5.0999999999999996</c:v>
                </c:pt>
                <c:pt idx="4027">
                  <c:v>9.9</c:v>
                </c:pt>
                <c:pt idx="4028">
                  <c:v>9.6999999999999993</c:v>
                </c:pt>
                <c:pt idx="4029">
                  <c:v>8.8000000000000007</c:v>
                </c:pt>
                <c:pt idx="4030">
                  <c:v>5.9</c:v>
                </c:pt>
                <c:pt idx="4031">
                  <c:v>10.4</c:v>
                </c:pt>
                <c:pt idx="4032">
                  <c:v>7.1</c:v>
                </c:pt>
                <c:pt idx="4033">
                  <c:v>9</c:v>
                </c:pt>
                <c:pt idx="4034">
                  <c:v>8.6999999999999993</c:v>
                </c:pt>
                <c:pt idx="4035">
                  <c:v>11.2</c:v>
                </c:pt>
                <c:pt idx="4036">
                  <c:v>8.6</c:v>
                </c:pt>
                <c:pt idx="4037">
                  <c:v>8.6</c:v>
                </c:pt>
                <c:pt idx="4038">
                  <c:v>6.9</c:v>
                </c:pt>
                <c:pt idx="4039">
                  <c:v>12.8</c:v>
                </c:pt>
                <c:pt idx="4040">
                  <c:v>8.6999999999999993</c:v>
                </c:pt>
                <c:pt idx="4041">
                  <c:v>9.6</c:v>
                </c:pt>
                <c:pt idx="4042">
                  <c:v>4.5999999999999996</c:v>
                </c:pt>
                <c:pt idx="4043">
                  <c:v>11.4</c:v>
                </c:pt>
                <c:pt idx="4044">
                  <c:v>6.3</c:v>
                </c:pt>
                <c:pt idx="4045">
                  <c:v>9.1</c:v>
                </c:pt>
                <c:pt idx="4046">
                  <c:v>8</c:v>
                </c:pt>
                <c:pt idx="4047">
                  <c:v>6.7</c:v>
                </c:pt>
                <c:pt idx="4048">
                  <c:v>9.1999999999999993</c:v>
                </c:pt>
                <c:pt idx="4049">
                  <c:v>13.3</c:v>
                </c:pt>
                <c:pt idx="4050">
                  <c:v>12.1</c:v>
                </c:pt>
                <c:pt idx="4051">
                  <c:v>7.4</c:v>
                </c:pt>
                <c:pt idx="4052">
                  <c:v>9.4</c:v>
                </c:pt>
                <c:pt idx="4053">
                  <c:v>6.8</c:v>
                </c:pt>
                <c:pt idx="4054">
                  <c:v>12.2</c:v>
                </c:pt>
                <c:pt idx="4055">
                  <c:v>5.3</c:v>
                </c:pt>
                <c:pt idx="4056">
                  <c:v>8.6999999999999993</c:v>
                </c:pt>
                <c:pt idx="4057">
                  <c:v>7.9</c:v>
                </c:pt>
                <c:pt idx="4058">
                  <c:v>9.6999999999999993</c:v>
                </c:pt>
                <c:pt idx="4059">
                  <c:v>7</c:v>
                </c:pt>
                <c:pt idx="4060">
                  <c:v>9.5</c:v>
                </c:pt>
                <c:pt idx="4061">
                  <c:v>9.6999999999999993</c:v>
                </c:pt>
                <c:pt idx="4062">
                  <c:v>10.9</c:v>
                </c:pt>
                <c:pt idx="4063">
                  <c:v>7.8</c:v>
                </c:pt>
                <c:pt idx="4064">
                  <c:v>4.5999999999999996</c:v>
                </c:pt>
                <c:pt idx="4065">
                  <c:v>8.4</c:v>
                </c:pt>
                <c:pt idx="4066">
                  <c:v>7</c:v>
                </c:pt>
                <c:pt idx="4067">
                  <c:v>12</c:v>
                </c:pt>
                <c:pt idx="4068">
                  <c:v>13.1</c:v>
                </c:pt>
                <c:pt idx="4069">
                  <c:v>4</c:v>
                </c:pt>
                <c:pt idx="4070">
                  <c:v>9.6999999999999993</c:v>
                </c:pt>
                <c:pt idx="4071">
                  <c:v>6.2</c:v>
                </c:pt>
                <c:pt idx="4072">
                  <c:v>7.7</c:v>
                </c:pt>
                <c:pt idx="4073">
                  <c:v>6.2</c:v>
                </c:pt>
                <c:pt idx="4074">
                  <c:v>7.1</c:v>
                </c:pt>
                <c:pt idx="4075">
                  <c:v>11.7</c:v>
                </c:pt>
                <c:pt idx="4076">
                  <c:v>7.6</c:v>
                </c:pt>
                <c:pt idx="4077">
                  <c:v>7.9</c:v>
                </c:pt>
                <c:pt idx="4078">
                  <c:v>9.1</c:v>
                </c:pt>
                <c:pt idx="4079">
                  <c:v>4.5999999999999996</c:v>
                </c:pt>
                <c:pt idx="4080">
                  <c:v>11.1</c:v>
                </c:pt>
                <c:pt idx="4081">
                  <c:v>11.4</c:v>
                </c:pt>
                <c:pt idx="4082">
                  <c:v>11.3</c:v>
                </c:pt>
                <c:pt idx="4083">
                  <c:v>15.8</c:v>
                </c:pt>
                <c:pt idx="4084">
                  <c:v>9.4</c:v>
                </c:pt>
                <c:pt idx="4085">
                  <c:v>8.4</c:v>
                </c:pt>
                <c:pt idx="4086">
                  <c:v>9.6</c:v>
                </c:pt>
                <c:pt idx="4087">
                  <c:v>6.2</c:v>
                </c:pt>
                <c:pt idx="4088">
                  <c:v>5.6</c:v>
                </c:pt>
                <c:pt idx="4089">
                  <c:v>6.2</c:v>
                </c:pt>
                <c:pt idx="4090">
                  <c:v>8.4</c:v>
                </c:pt>
                <c:pt idx="4091">
                  <c:v>6.7</c:v>
                </c:pt>
                <c:pt idx="4092">
                  <c:v>13</c:v>
                </c:pt>
                <c:pt idx="4093">
                  <c:v>1.8</c:v>
                </c:pt>
                <c:pt idx="4094">
                  <c:v>14</c:v>
                </c:pt>
                <c:pt idx="4095">
                  <c:v>5.6</c:v>
                </c:pt>
                <c:pt idx="4096">
                  <c:v>7</c:v>
                </c:pt>
                <c:pt idx="4097">
                  <c:v>4.3</c:v>
                </c:pt>
                <c:pt idx="4098">
                  <c:v>11.4</c:v>
                </c:pt>
                <c:pt idx="4099">
                  <c:v>12.2</c:v>
                </c:pt>
                <c:pt idx="4100">
                  <c:v>9.1</c:v>
                </c:pt>
                <c:pt idx="4101">
                  <c:v>5.9</c:v>
                </c:pt>
                <c:pt idx="4102">
                  <c:v>12.2</c:v>
                </c:pt>
                <c:pt idx="4103">
                  <c:v>4.5999999999999996</c:v>
                </c:pt>
                <c:pt idx="4104">
                  <c:v>11.1</c:v>
                </c:pt>
                <c:pt idx="4105">
                  <c:v>9.9</c:v>
                </c:pt>
                <c:pt idx="4106">
                  <c:v>12.7</c:v>
                </c:pt>
                <c:pt idx="4107">
                  <c:v>7</c:v>
                </c:pt>
                <c:pt idx="4108">
                  <c:v>4</c:v>
                </c:pt>
                <c:pt idx="4109">
                  <c:v>5.8</c:v>
                </c:pt>
                <c:pt idx="4110">
                  <c:v>6.2</c:v>
                </c:pt>
                <c:pt idx="4111">
                  <c:v>5.9</c:v>
                </c:pt>
                <c:pt idx="4112">
                  <c:v>13.2</c:v>
                </c:pt>
                <c:pt idx="4113">
                  <c:v>4.7</c:v>
                </c:pt>
                <c:pt idx="4114">
                  <c:v>9.1</c:v>
                </c:pt>
                <c:pt idx="4115">
                  <c:v>7.6</c:v>
                </c:pt>
                <c:pt idx="4116">
                  <c:v>7.9</c:v>
                </c:pt>
                <c:pt idx="4117">
                  <c:v>10.6</c:v>
                </c:pt>
                <c:pt idx="4118">
                  <c:v>9</c:v>
                </c:pt>
                <c:pt idx="4119">
                  <c:v>9</c:v>
                </c:pt>
                <c:pt idx="4120">
                  <c:v>12.3</c:v>
                </c:pt>
                <c:pt idx="4121">
                  <c:v>1.4</c:v>
                </c:pt>
                <c:pt idx="4122">
                  <c:v>7.1</c:v>
                </c:pt>
                <c:pt idx="4123">
                  <c:v>7.6</c:v>
                </c:pt>
                <c:pt idx="4124">
                  <c:v>8</c:v>
                </c:pt>
                <c:pt idx="4125">
                  <c:v>5.4</c:v>
                </c:pt>
                <c:pt idx="4126">
                  <c:v>7.1</c:v>
                </c:pt>
                <c:pt idx="4127">
                  <c:v>8</c:v>
                </c:pt>
                <c:pt idx="4128">
                  <c:v>10.199999999999999</c:v>
                </c:pt>
                <c:pt idx="4129">
                  <c:v>9.1999999999999993</c:v>
                </c:pt>
                <c:pt idx="4130">
                  <c:v>5.4</c:v>
                </c:pt>
                <c:pt idx="4131">
                  <c:v>7.3</c:v>
                </c:pt>
                <c:pt idx="4132">
                  <c:v>7.3</c:v>
                </c:pt>
                <c:pt idx="4133">
                  <c:v>8.3000000000000007</c:v>
                </c:pt>
                <c:pt idx="4134">
                  <c:v>5.2</c:v>
                </c:pt>
                <c:pt idx="4135">
                  <c:v>7.6</c:v>
                </c:pt>
                <c:pt idx="4136">
                  <c:v>9</c:v>
                </c:pt>
                <c:pt idx="4137">
                  <c:v>5.3</c:v>
                </c:pt>
                <c:pt idx="4138">
                  <c:v>7.1</c:v>
                </c:pt>
                <c:pt idx="4139">
                  <c:v>4.4000000000000004</c:v>
                </c:pt>
                <c:pt idx="4140">
                  <c:v>3.3</c:v>
                </c:pt>
                <c:pt idx="4141">
                  <c:v>9.4</c:v>
                </c:pt>
                <c:pt idx="4142">
                  <c:v>11.9</c:v>
                </c:pt>
                <c:pt idx="4143">
                  <c:v>11.2</c:v>
                </c:pt>
                <c:pt idx="4144">
                  <c:v>11.2</c:v>
                </c:pt>
                <c:pt idx="4145">
                  <c:v>6.9</c:v>
                </c:pt>
                <c:pt idx="4146">
                  <c:v>5.5</c:v>
                </c:pt>
                <c:pt idx="4147">
                  <c:v>12.3</c:v>
                </c:pt>
                <c:pt idx="4148">
                  <c:v>9.6</c:v>
                </c:pt>
                <c:pt idx="4149">
                  <c:v>5.2</c:v>
                </c:pt>
                <c:pt idx="4150">
                  <c:v>8.8000000000000007</c:v>
                </c:pt>
                <c:pt idx="4151">
                  <c:v>7.5</c:v>
                </c:pt>
                <c:pt idx="4152">
                  <c:v>8.1</c:v>
                </c:pt>
                <c:pt idx="4153">
                  <c:v>4.3</c:v>
                </c:pt>
                <c:pt idx="4154">
                  <c:v>7.7</c:v>
                </c:pt>
                <c:pt idx="4155">
                  <c:v>7.2</c:v>
                </c:pt>
                <c:pt idx="4156">
                  <c:v>10.8</c:v>
                </c:pt>
                <c:pt idx="4157">
                  <c:v>9.9</c:v>
                </c:pt>
                <c:pt idx="4158">
                  <c:v>9.6999999999999993</c:v>
                </c:pt>
                <c:pt idx="4159">
                  <c:v>5.3</c:v>
                </c:pt>
                <c:pt idx="4160">
                  <c:v>9.1999999999999993</c:v>
                </c:pt>
                <c:pt idx="4161">
                  <c:v>6.4</c:v>
                </c:pt>
                <c:pt idx="4162">
                  <c:v>6.9</c:v>
                </c:pt>
                <c:pt idx="4163">
                  <c:v>7.1</c:v>
                </c:pt>
                <c:pt idx="4164">
                  <c:v>6.3</c:v>
                </c:pt>
                <c:pt idx="4165">
                  <c:v>5.3</c:v>
                </c:pt>
                <c:pt idx="4166">
                  <c:v>7.2</c:v>
                </c:pt>
                <c:pt idx="4167">
                  <c:v>7.1</c:v>
                </c:pt>
                <c:pt idx="4168">
                  <c:v>7.8</c:v>
                </c:pt>
                <c:pt idx="4169">
                  <c:v>5.3</c:v>
                </c:pt>
                <c:pt idx="4170">
                  <c:v>6.5</c:v>
                </c:pt>
                <c:pt idx="4171">
                  <c:v>6.8</c:v>
                </c:pt>
                <c:pt idx="4172">
                  <c:v>9.1999999999999993</c:v>
                </c:pt>
                <c:pt idx="4173">
                  <c:v>6.7</c:v>
                </c:pt>
                <c:pt idx="4174">
                  <c:v>5.0999999999999996</c:v>
                </c:pt>
                <c:pt idx="4175">
                  <c:v>9.6</c:v>
                </c:pt>
                <c:pt idx="4176">
                  <c:v>6.2</c:v>
                </c:pt>
                <c:pt idx="4177">
                  <c:v>6.6</c:v>
                </c:pt>
                <c:pt idx="4178">
                  <c:v>7.1</c:v>
                </c:pt>
                <c:pt idx="4179">
                  <c:v>10.5</c:v>
                </c:pt>
                <c:pt idx="4180">
                  <c:v>11.6</c:v>
                </c:pt>
                <c:pt idx="4181">
                  <c:v>7.7</c:v>
                </c:pt>
                <c:pt idx="4182">
                  <c:v>11.9</c:v>
                </c:pt>
                <c:pt idx="4183">
                  <c:v>10.3</c:v>
                </c:pt>
                <c:pt idx="4184">
                  <c:v>5.8</c:v>
                </c:pt>
                <c:pt idx="4185">
                  <c:v>7.9</c:v>
                </c:pt>
                <c:pt idx="4186">
                  <c:v>11.3</c:v>
                </c:pt>
                <c:pt idx="4187">
                  <c:v>5.5</c:v>
                </c:pt>
                <c:pt idx="4188">
                  <c:v>5</c:v>
                </c:pt>
                <c:pt idx="4189">
                  <c:v>11</c:v>
                </c:pt>
                <c:pt idx="4190">
                  <c:v>10.5</c:v>
                </c:pt>
                <c:pt idx="4191">
                  <c:v>0.4</c:v>
                </c:pt>
                <c:pt idx="4192">
                  <c:v>3.4</c:v>
                </c:pt>
                <c:pt idx="4193">
                  <c:v>7</c:v>
                </c:pt>
                <c:pt idx="4194">
                  <c:v>4.7</c:v>
                </c:pt>
                <c:pt idx="4195">
                  <c:v>8.1999999999999993</c:v>
                </c:pt>
                <c:pt idx="4196">
                  <c:v>6.4</c:v>
                </c:pt>
                <c:pt idx="4197">
                  <c:v>7.8</c:v>
                </c:pt>
                <c:pt idx="4198">
                  <c:v>7.5</c:v>
                </c:pt>
                <c:pt idx="4199">
                  <c:v>10.1</c:v>
                </c:pt>
                <c:pt idx="4200">
                  <c:v>4.7</c:v>
                </c:pt>
                <c:pt idx="4201">
                  <c:v>13.6</c:v>
                </c:pt>
                <c:pt idx="4202">
                  <c:v>7.5</c:v>
                </c:pt>
                <c:pt idx="4203">
                  <c:v>2.8</c:v>
                </c:pt>
                <c:pt idx="4204">
                  <c:v>14</c:v>
                </c:pt>
                <c:pt idx="4205">
                  <c:v>8.3000000000000007</c:v>
                </c:pt>
                <c:pt idx="4206">
                  <c:v>7.3</c:v>
                </c:pt>
                <c:pt idx="4207">
                  <c:v>5.4</c:v>
                </c:pt>
                <c:pt idx="4208">
                  <c:v>7.2</c:v>
                </c:pt>
                <c:pt idx="4209">
                  <c:v>5.8</c:v>
                </c:pt>
                <c:pt idx="4210">
                  <c:v>8.1999999999999993</c:v>
                </c:pt>
                <c:pt idx="4211">
                  <c:v>12</c:v>
                </c:pt>
                <c:pt idx="4212">
                  <c:v>6.2</c:v>
                </c:pt>
                <c:pt idx="4213">
                  <c:v>6.2</c:v>
                </c:pt>
                <c:pt idx="4214">
                  <c:v>1.1000000000000001</c:v>
                </c:pt>
                <c:pt idx="4215">
                  <c:v>9</c:v>
                </c:pt>
                <c:pt idx="4216">
                  <c:v>10.6</c:v>
                </c:pt>
                <c:pt idx="4217">
                  <c:v>5.7</c:v>
                </c:pt>
                <c:pt idx="4218">
                  <c:v>7.3</c:v>
                </c:pt>
                <c:pt idx="4219">
                  <c:v>3.1</c:v>
                </c:pt>
                <c:pt idx="4220">
                  <c:v>6.3</c:v>
                </c:pt>
                <c:pt idx="4221">
                  <c:v>4.2</c:v>
                </c:pt>
                <c:pt idx="4222">
                  <c:v>8.3000000000000007</c:v>
                </c:pt>
                <c:pt idx="4223">
                  <c:v>6.6</c:v>
                </c:pt>
                <c:pt idx="4224">
                  <c:v>5.8</c:v>
                </c:pt>
                <c:pt idx="4225">
                  <c:v>7.7</c:v>
                </c:pt>
                <c:pt idx="4226">
                  <c:v>8.4</c:v>
                </c:pt>
                <c:pt idx="4227">
                  <c:v>8.3000000000000007</c:v>
                </c:pt>
                <c:pt idx="4228">
                  <c:v>7.3</c:v>
                </c:pt>
                <c:pt idx="4229">
                  <c:v>8.1999999999999993</c:v>
                </c:pt>
                <c:pt idx="4230">
                  <c:v>8.4</c:v>
                </c:pt>
                <c:pt idx="4231">
                  <c:v>8.5</c:v>
                </c:pt>
                <c:pt idx="4232">
                  <c:v>5.2</c:v>
                </c:pt>
                <c:pt idx="4233">
                  <c:v>5</c:v>
                </c:pt>
                <c:pt idx="4234">
                  <c:v>13.8</c:v>
                </c:pt>
                <c:pt idx="4235">
                  <c:v>8.1999999999999993</c:v>
                </c:pt>
                <c:pt idx="4236">
                  <c:v>9.9</c:v>
                </c:pt>
                <c:pt idx="4237">
                  <c:v>9.1999999999999993</c:v>
                </c:pt>
                <c:pt idx="4238">
                  <c:v>9</c:v>
                </c:pt>
                <c:pt idx="4239">
                  <c:v>4.3</c:v>
                </c:pt>
                <c:pt idx="4240">
                  <c:v>11.7</c:v>
                </c:pt>
                <c:pt idx="4241">
                  <c:v>1.6</c:v>
                </c:pt>
                <c:pt idx="4242">
                  <c:v>5.7</c:v>
                </c:pt>
                <c:pt idx="4243">
                  <c:v>8.1999999999999993</c:v>
                </c:pt>
                <c:pt idx="4244">
                  <c:v>12.9</c:v>
                </c:pt>
                <c:pt idx="4245">
                  <c:v>11.8</c:v>
                </c:pt>
                <c:pt idx="4246">
                  <c:v>5.5</c:v>
                </c:pt>
                <c:pt idx="4247">
                  <c:v>8.6999999999999993</c:v>
                </c:pt>
                <c:pt idx="4248">
                  <c:v>10.199999999999999</c:v>
                </c:pt>
                <c:pt idx="4249">
                  <c:v>8.6</c:v>
                </c:pt>
                <c:pt idx="4250">
                  <c:v>6.5</c:v>
                </c:pt>
                <c:pt idx="4251">
                  <c:v>6.6</c:v>
                </c:pt>
                <c:pt idx="4252">
                  <c:v>9.1</c:v>
                </c:pt>
                <c:pt idx="4253">
                  <c:v>3.9</c:v>
                </c:pt>
                <c:pt idx="4254">
                  <c:v>11.3</c:v>
                </c:pt>
                <c:pt idx="4255">
                  <c:v>3.1</c:v>
                </c:pt>
                <c:pt idx="4256">
                  <c:v>9.8000000000000007</c:v>
                </c:pt>
                <c:pt idx="4257">
                  <c:v>9.8000000000000007</c:v>
                </c:pt>
                <c:pt idx="4258">
                  <c:v>5.7</c:v>
                </c:pt>
                <c:pt idx="4259">
                  <c:v>7.8</c:v>
                </c:pt>
                <c:pt idx="4260">
                  <c:v>12.5</c:v>
                </c:pt>
                <c:pt idx="4261">
                  <c:v>6.5</c:v>
                </c:pt>
                <c:pt idx="4262">
                  <c:v>5.2</c:v>
                </c:pt>
                <c:pt idx="4263">
                  <c:v>7.4</c:v>
                </c:pt>
                <c:pt idx="4264">
                  <c:v>5.9</c:v>
                </c:pt>
                <c:pt idx="4265">
                  <c:v>11.1</c:v>
                </c:pt>
                <c:pt idx="4266">
                  <c:v>6</c:v>
                </c:pt>
                <c:pt idx="4267">
                  <c:v>7.5</c:v>
                </c:pt>
                <c:pt idx="4268">
                  <c:v>4.3</c:v>
                </c:pt>
                <c:pt idx="4269">
                  <c:v>10.8</c:v>
                </c:pt>
                <c:pt idx="4270">
                  <c:v>5.2</c:v>
                </c:pt>
                <c:pt idx="4271">
                  <c:v>6.6</c:v>
                </c:pt>
                <c:pt idx="4272">
                  <c:v>7.8</c:v>
                </c:pt>
                <c:pt idx="4273">
                  <c:v>7.1</c:v>
                </c:pt>
                <c:pt idx="4274">
                  <c:v>6</c:v>
                </c:pt>
                <c:pt idx="4275">
                  <c:v>10.8</c:v>
                </c:pt>
                <c:pt idx="4276">
                  <c:v>9.6999999999999993</c:v>
                </c:pt>
                <c:pt idx="4277">
                  <c:v>8.6</c:v>
                </c:pt>
                <c:pt idx="4278">
                  <c:v>5.9</c:v>
                </c:pt>
                <c:pt idx="4279">
                  <c:v>7.5</c:v>
                </c:pt>
                <c:pt idx="4280">
                  <c:v>7.7</c:v>
                </c:pt>
                <c:pt idx="4281">
                  <c:v>8.3000000000000007</c:v>
                </c:pt>
                <c:pt idx="4282">
                  <c:v>6.4</c:v>
                </c:pt>
                <c:pt idx="4283">
                  <c:v>5.7</c:v>
                </c:pt>
                <c:pt idx="4284">
                  <c:v>7.9</c:v>
                </c:pt>
                <c:pt idx="4285">
                  <c:v>7.9</c:v>
                </c:pt>
                <c:pt idx="4286">
                  <c:v>9.3000000000000007</c:v>
                </c:pt>
                <c:pt idx="4287">
                  <c:v>5.9</c:v>
                </c:pt>
                <c:pt idx="4288">
                  <c:v>5</c:v>
                </c:pt>
                <c:pt idx="4289">
                  <c:v>6.3</c:v>
                </c:pt>
                <c:pt idx="4290">
                  <c:v>14.1</c:v>
                </c:pt>
                <c:pt idx="4291">
                  <c:v>2.8</c:v>
                </c:pt>
                <c:pt idx="4292">
                  <c:v>3.9</c:v>
                </c:pt>
                <c:pt idx="4293">
                  <c:v>12.5</c:v>
                </c:pt>
                <c:pt idx="4294">
                  <c:v>9</c:v>
                </c:pt>
                <c:pt idx="4295">
                  <c:v>3.6</c:v>
                </c:pt>
                <c:pt idx="4296">
                  <c:v>9.4</c:v>
                </c:pt>
                <c:pt idx="4297">
                  <c:v>9.9</c:v>
                </c:pt>
                <c:pt idx="4298">
                  <c:v>13.3</c:v>
                </c:pt>
                <c:pt idx="4299">
                  <c:v>4.5</c:v>
                </c:pt>
                <c:pt idx="4300">
                  <c:v>2.7</c:v>
                </c:pt>
                <c:pt idx="4301">
                  <c:v>6.7</c:v>
                </c:pt>
                <c:pt idx="4302">
                  <c:v>4.2</c:v>
                </c:pt>
                <c:pt idx="4303">
                  <c:v>6.8</c:v>
                </c:pt>
                <c:pt idx="4304">
                  <c:v>6.2</c:v>
                </c:pt>
                <c:pt idx="4305">
                  <c:v>4.9000000000000004</c:v>
                </c:pt>
                <c:pt idx="4306">
                  <c:v>9.4</c:v>
                </c:pt>
                <c:pt idx="4307">
                  <c:v>8.6999999999999993</c:v>
                </c:pt>
                <c:pt idx="4308">
                  <c:v>4.5</c:v>
                </c:pt>
                <c:pt idx="4309">
                  <c:v>8</c:v>
                </c:pt>
                <c:pt idx="4310">
                  <c:v>6.6</c:v>
                </c:pt>
                <c:pt idx="4311">
                  <c:v>7.1</c:v>
                </c:pt>
                <c:pt idx="4312">
                  <c:v>11.8</c:v>
                </c:pt>
                <c:pt idx="4313">
                  <c:v>7.7</c:v>
                </c:pt>
                <c:pt idx="4314">
                  <c:v>6.5</c:v>
                </c:pt>
                <c:pt idx="4315">
                  <c:v>6.6</c:v>
                </c:pt>
                <c:pt idx="4316">
                  <c:v>6.7</c:v>
                </c:pt>
                <c:pt idx="4317">
                  <c:v>7.3</c:v>
                </c:pt>
                <c:pt idx="4318">
                  <c:v>2.7</c:v>
                </c:pt>
                <c:pt idx="4319">
                  <c:v>10.7</c:v>
                </c:pt>
                <c:pt idx="4320">
                  <c:v>11.4</c:v>
                </c:pt>
                <c:pt idx="4321">
                  <c:v>6.2</c:v>
                </c:pt>
                <c:pt idx="4322">
                  <c:v>7.5</c:v>
                </c:pt>
                <c:pt idx="4323">
                  <c:v>7.4</c:v>
                </c:pt>
                <c:pt idx="4324">
                  <c:v>10</c:v>
                </c:pt>
                <c:pt idx="4325">
                  <c:v>11.2</c:v>
                </c:pt>
                <c:pt idx="4326">
                  <c:v>5.4</c:v>
                </c:pt>
                <c:pt idx="4327">
                  <c:v>4.4000000000000004</c:v>
                </c:pt>
                <c:pt idx="4328">
                  <c:v>5</c:v>
                </c:pt>
                <c:pt idx="4329">
                  <c:v>7</c:v>
                </c:pt>
                <c:pt idx="4330">
                  <c:v>10.8</c:v>
                </c:pt>
                <c:pt idx="4331">
                  <c:v>11.1</c:v>
                </c:pt>
                <c:pt idx="4332">
                  <c:v>8.8000000000000007</c:v>
                </c:pt>
                <c:pt idx="4333">
                  <c:v>4.8</c:v>
                </c:pt>
                <c:pt idx="4334">
                  <c:v>8.8000000000000007</c:v>
                </c:pt>
                <c:pt idx="4335">
                  <c:v>7.4</c:v>
                </c:pt>
                <c:pt idx="4336">
                  <c:v>9</c:v>
                </c:pt>
                <c:pt idx="4337">
                  <c:v>6.9</c:v>
                </c:pt>
                <c:pt idx="4338">
                  <c:v>3.9</c:v>
                </c:pt>
                <c:pt idx="4339">
                  <c:v>8</c:v>
                </c:pt>
                <c:pt idx="4340">
                  <c:v>4.9000000000000004</c:v>
                </c:pt>
                <c:pt idx="4341">
                  <c:v>6.4</c:v>
                </c:pt>
                <c:pt idx="4342">
                  <c:v>7.5</c:v>
                </c:pt>
                <c:pt idx="4343">
                  <c:v>11.5</c:v>
                </c:pt>
                <c:pt idx="4344">
                  <c:v>9.8000000000000007</c:v>
                </c:pt>
                <c:pt idx="4345">
                  <c:v>8.1</c:v>
                </c:pt>
                <c:pt idx="4346">
                  <c:v>5.4</c:v>
                </c:pt>
                <c:pt idx="4347">
                  <c:v>5.8</c:v>
                </c:pt>
                <c:pt idx="4348">
                  <c:v>10.1</c:v>
                </c:pt>
                <c:pt idx="4349">
                  <c:v>8.8000000000000007</c:v>
                </c:pt>
                <c:pt idx="4350">
                  <c:v>9.8000000000000007</c:v>
                </c:pt>
                <c:pt idx="4351">
                  <c:v>4.8</c:v>
                </c:pt>
                <c:pt idx="4352">
                  <c:v>10.7</c:v>
                </c:pt>
                <c:pt idx="4353">
                  <c:v>5.7</c:v>
                </c:pt>
                <c:pt idx="4354">
                  <c:v>6.1</c:v>
                </c:pt>
                <c:pt idx="4355">
                  <c:v>10.3</c:v>
                </c:pt>
                <c:pt idx="4356">
                  <c:v>12.2</c:v>
                </c:pt>
                <c:pt idx="4357">
                  <c:v>6.1</c:v>
                </c:pt>
                <c:pt idx="4358">
                  <c:v>6</c:v>
                </c:pt>
                <c:pt idx="4359">
                  <c:v>7.7</c:v>
                </c:pt>
                <c:pt idx="4360">
                  <c:v>5.3</c:v>
                </c:pt>
                <c:pt idx="4361">
                  <c:v>8.5</c:v>
                </c:pt>
                <c:pt idx="4362">
                  <c:v>0.8</c:v>
                </c:pt>
                <c:pt idx="4363">
                  <c:v>5.2</c:v>
                </c:pt>
                <c:pt idx="4364">
                  <c:v>4.0999999999999996</c:v>
                </c:pt>
                <c:pt idx="4365">
                  <c:v>4.5999999999999996</c:v>
                </c:pt>
                <c:pt idx="4366">
                  <c:v>6.8</c:v>
                </c:pt>
                <c:pt idx="4367">
                  <c:v>5.0999999999999996</c:v>
                </c:pt>
                <c:pt idx="4368">
                  <c:v>1.1000000000000001</c:v>
                </c:pt>
                <c:pt idx="4369">
                  <c:v>8.1</c:v>
                </c:pt>
                <c:pt idx="4370">
                  <c:v>6.3</c:v>
                </c:pt>
                <c:pt idx="4371">
                  <c:v>5.5</c:v>
                </c:pt>
                <c:pt idx="4372">
                  <c:v>8.6999999999999993</c:v>
                </c:pt>
                <c:pt idx="4373">
                  <c:v>8.1</c:v>
                </c:pt>
                <c:pt idx="4374">
                  <c:v>6.3</c:v>
                </c:pt>
                <c:pt idx="4375">
                  <c:v>2</c:v>
                </c:pt>
                <c:pt idx="4376">
                  <c:v>5.2</c:v>
                </c:pt>
                <c:pt idx="4377">
                  <c:v>6.9</c:v>
                </c:pt>
                <c:pt idx="4378">
                  <c:v>6.2</c:v>
                </c:pt>
                <c:pt idx="4379">
                  <c:v>7.6</c:v>
                </c:pt>
                <c:pt idx="4380">
                  <c:v>7.1</c:v>
                </c:pt>
                <c:pt idx="4381">
                  <c:v>4.4000000000000004</c:v>
                </c:pt>
                <c:pt idx="4382">
                  <c:v>10.6</c:v>
                </c:pt>
                <c:pt idx="4383">
                  <c:v>4.2</c:v>
                </c:pt>
                <c:pt idx="4384">
                  <c:v>11.8</c:v>
                </c:pt>
                <c:pt idx="4385">
                  <c:v>13.1</c:v>
                </c:pt>
                <c:pt idx="4386">
                  <c:v>7.7</c:v>
                </c:pt>
                <c:pt idx="4387">
                  <c:v>10</c:v>
                </c:pt>
                <c:pt idx="4388">
                  <c:v>2</c:v>
                </c:pt>
                <c:pt idx="4389">
                  <c:v>5.6</c:v>
                </c:pt>
                <c:pt idx="4390">
                  <c:v>6.1</c:v>
                </c:pt>
                <c:pt idx="4391">
                  <c:v>4.8</c:v>
                </c:pt>
                <c:pt idx="4392">
                  <c:v>5</c:v>
                </c:pt>
                <c:pt idx="4393">
                  <c:v>10.9</c:v>
                </c:pt>
                <c:pt idx="4394">
                  <c:v>9</c:v>
                </c:pt>
                <c:pt idx="4395">
                  <c:v>7.8</c:v>
                </c:pt>
                <c:pt idx="4396">
                  <c:v>13.4</c:v>
                </c:pt>
                <c:pt idx="4397">
                  <c:v>10</c:v>
                </c:pt>
                <c:pt idx="4398">
                  <c:v>3.4</c:v>
                </c:pt>
                <c:pt idx="4399">
                  <c:v>8.4</c:v>
                </c:pt>
                <c:pt idx="4400">
                  <c:v>10.7</c:v>
                </c:pt>
                <c:pt idx="4401">
                  <c:v>9.1999999999999993</c:v>
                </c:pt>
                <c:pt idx="4402">
                  <c:v>13.8</c:v>
                </c:pt>
                <c:pt idx="4403">
                  <c:v>9</c:v>
                </c:pt>
                <c:pt idx="4404">
                  <c:v>3.5</c:v>
                </c:pt>
                <c:pt idx="4405">
                  <c:v>11.2</c:v>
                </c:pt>
                <c:pt idx="4406">
                  <c:v>9.4</c:v>
                </c:pt>
                <c:pt idx="4407">
                  <c:v>4</c:v>
                </c:pt>
                <c:pt idx="4408">
                  <c:v>3.9</c:v>
                </c:pt>
                <c:pt idx="4409">
                  <c:v>7.5</c:v>
                </c:pt>
                <c:pt idx="4410">
                  <c:v>5.5</c:v>
                </c:pt>
                <c:pt idx="4411">
                  <c:v>9.1</c:v>
                </c:pt>
                <c:pt idx="4412">
                  <c:v>9.8000000000000007</c:v>
                </c:pt>
                <c:pt idx="4413">
                  <c:v>6.1</c:v>
                </c:pt>
                <c:pt idx="4414">
                  <c:v>10.3</c:v>
                </c:pt>
                <c:pt idx="4415">
                  <c:v>12.1</c:v>
                </c:pt>
                <c:pt idx="4416">
                  <c:v>9.5</c:v>
                </c:pt>
                <c:pt idx="4417">
                  <c:v>8.8000000000000007</c:v>
                </c:pt>
                <c:pt idx="4418">
                  <c:v>4.9000000000000004</c:v>
                </c:pt>
                <c:pt idx="4419">
                  <c:v>7.5</c:v>
                </c:pt>
                <c:pt idx="4420">
                  <c:v>11.7</c:v>
                </c:pt>
                <c:pt idx="4421">
                  <c:v>6.8</c:v>
                </c:pt>
                <c:pt idx="4422">
                  <c:v>8.8000000000000007</c:v>
                </c:pt>
                <c:pt idx="4423">
                  <c:v>7.5</c:v>
                </c:pt>
                <c:pt idx="4424">
                  <c:v>12.3</c:v>
                </c:pt>
                <c:pt idx="4425">
                  <c:v>12.7</c:v>
                </c:pt>
                <c:pt idx="4426">
                  <c:v>7</c:v>
                </c:pt>
                <c:pt idx="4427">
                  <c:v>12.2</c:v>
                </c:pt>
                <c:pt idx="4428">
                  <c:v>7.6</c:v>
                </c:pt>
                <c:pt idx="4429">
                  <c:v>5.8</c:v>
                </c:pt>
                <c:pt idx="4430">
                  <c:v>9.3000000000000007</c:v>
                </c:pt>
                <c:pt idx="4431">
                  <c:v>5.2</c:v>
                </c:pt>
                <c:pt idx="4432">
                  <c:v>9.9</c:v>
                </c:pt>
                <c:pt idx="4433">
                  <c:v>9.5</c:v>
                </c:pt>
                <c:pt idx="4434">
                  <c:v>9.3000000000000007</c:v>
                </c:pt>
                <c:pt idx="4435">
                  <c:v>8</c:v>
                </c:pt>
                <c:pt idx="4436">
                  <c:v>3.8</c:v>
                </c:pt>
                <c:pt idx="4437">
                  <c:v>5.7</c:v>
                </c:pt>
                <c:pt idx="4438">
                  <c:v>6.9</c:v>
                </c:pt>
                <c:pt idx="4439">
                  <c:v>6.7</c:v>
                </c:pt>
                <c:pt idx="4440">
                  <c:v>5.9</c:v>
                </c:pt>
                <c:pt idx="4441">
                  <c:v>2.2999999999999998</c:v>
                </c:pt>
                <c:pt idx="4442">
                  <c:v>7.4</c:v>
                </c:pt>
                <c:pt idx="4443">
                  <c:v>11.4</c:v>
                </c:pt>
                <c:pt idx="4444">
                  <c:v>6.9</c:v>
                </c:pt>
                <c:pt idx="4445">
                  <c:v>7.6</c:v>
                </c:pt>
                <c:pt idx="4446">
                  <c:v>5.8</c:v>
                </c:pt>
                <c:pt idx="4447">
                  <c:v>5.5</c:v>
                </c:pt>
                <c:pt idx="4448">
                  <c:v>6.3</c:v>
                </c:pt>
                <c:pt idx="4449">
                  <c:v>14.2</c:v>
                </c:pt>
                <c:pt idx="4450">
                  <c:v>9.9</c:v>
                </c:pt>
                <c:pt idx="4451">
                  <c:v>16.8</c:v>
                </c:pt>
                <c:pt idx="4452">
                  <c:v>17.3</c:v>
                </c:pt>
                <c:pt idx="4453">
                  <c:v>6</c:v>
                </c:pt>
                <c:pt idx="4454">
                  <c:v>8.3000000000000007</c:v>
                </c:pt>
                <c:pt idx="4455">
                  <c:v>6.4</c:v>
                </c:pt>
                <c:pt idx="4456">
                  <c:v>14.2</c:v>
                </c:pt>
                <c:pt idx="4457">
                  <c:v>6.3</c:v>
                </c:pt>
                <c:pt idx="4458">
                  <c:v>6.9</c:v>
                </c:pt>
                <c:pt idx="4459">
                  <c:v>6.8</c:v>
                </c:pt>
                <c:pt idx="4460">
                  <c:v>0.8</c:v>
                </c:pt>
                <c:pt idx="4461">
                  <c:v>8.3000000000000007</c:v>
                </c:pt>
                <c:pt idx="4462">
                  <c:v>9.4</c:v>
                </c:pt>
                <c:pt idx="4463">
                  <c:v>1.3</c:v>
                </c:pt>
                <c:pt idx="4464">
                  <c:v>3.3</c:v>
                </c:pt>
                <c:pt idx="4465">
                  <c:v>6.9</c:v>
                </c:pt>
                <c:pt idx="4466">
                  <c:v>7.4</c:v>
                </c:pt>
                <c:pt idx="4467">
                  <c:v>8.1</c:v>
                </c:pt>
                <c:pt idx="4468">
                  <c:v>3</c:v>
                </c:pt>
                <c:pt idx="4469">
                  <c:v>8.6999999999999993</c:v>
                </c:pt>
                <c:pt idx="4470">
                  <c:v>7.5</c:v>
                </c:pt>
                <c:pt idx="4471">
                  <c:v>6.5</c:v>
                </c:pt>
                <c:pt idx="4472">
                  <c:v>0.2</c:v>
                </c:pt>
                <c:pt idx="4473">
                  <c:v>9.4</c:v>
                </c:pt>
                <c:pt idx="4474">
                  <c:v>8.5</c:v>
                </c:pt>
                <c:pt idx="4475">
                  <c:v>10.8</c:v>
                </c:pt>
                <c:pt idx="4476">
                  <c:v>7.2</c:v>
                </c:pt>
                <c:pt idx="4477">
                  <c:v>7.5</c:v>
                </c:pt>
                <c:pt idx="4478">
                  <c:v>8.5</c:v>
                </c:pt>
                <c:pt idx="4479">
                  <c:v>8.9</c:v>
                </c:pt>
                <c:pt idx="4480">
                  <c:v>7.2</c:v>
                </c:pt>
                <c:pt idx="4481">
                  <c:v>8.1</c:v>
                </c:pt>
                <c:pt idx="4482">
                  <c:v>0.5</c:v>
                </c:pt>
                <c:pt idx="4483">
                  <c:v>6.8</c:v>
                </c:pt>
                <c:pt idx="4484">
                  <c:v>9.1999999999999993</c:v>
                </c:pt>
                <c:pt idx="4485">
                  <c:v>6.5</c:v>
                </c:pt>
                <c:pt idx="4486">
                  <c:v>9.6999999999999993</c:v>
                </c:pt>
                <c:pt idx="4487">
                  <c:v>6.9</c:v>
                </c:pt>
                <c:pt idx="4488">
                  <c:v>8.6</c:v>
                </c:pt>
                <c:pt idx="4489">
                  <c:v>8.3000000000000007</c:v>
                </c:pt>
                <c:pt idx="4490">
                  <c:v>3.5</c:v>
                </c:pt>
                <c:pt idx="4491">
                  <c:v>6.5</c:v>
                </c:pt>
                <c:pt idx="4492">
                  <c:v>1.4</c:v>
                </c:pt>
                <c:pt idx="4493">
                  <c:v>8.1999999999999993</c:v>
                </c:pt>
                <c:pt idx="4494">
                  <c:v>6.7</c:v>
                </c:pt>
                <c:pt idx="4495">
                  <c:v>5.2</c:v>
                </c:pt>
                <c:pt idx="4496">
                  <c:v>9.3000000000000007</c:v>
                </c:pt>
                <c:pt idx="4497">
                  <c:v>5.6</c:v>
                </c:pt>
                <c:pt idx="4498">
                  <c:v>7</c:v>
                </c:pt>
                <c:pt idx="4499">
                  <c:v>6.4</c:v>
                </c:pt>
                <c:pt idx="4500">
                  <c:v>9.1999999999999993</c:v>
                </c:pt>
                <c:pt idx="4501">
                  <c:v>9.8000000000000007</c:v>
                </c:pt>
                <c:pt idx="4502">
                  <c:v>6.4</c:v>
                </c:pt>
                <c:pt idx="4503">
                  <c:v>7.5</c:v>
                </c:pt>
                <c:pt idx="4504">
                  <c:v>9.6</c:v>
                </c:pt>
                <c:pt idx="4505">
                  <c:v>7.1</c:v>
                </c:pt>
                <c:pt idx="4506">
                  <c:v>7</c:v>
                </c:pt>
                <c:pt idx="4507">
                  <c:v>12.6</c:v>
                </c:pt>
                <c:pt idx="4508">
                  <c:v>4.8</c:v>
                </c:pt>
                <c:pt idx="4509">
                  <c:v>1.6</c:v>
                </c:pt>
                <c:pt idx="4510">
                  <c:v>7.8</c:v>
                </c:pt>
                <c:pt idx="4511">
                  <c:v>7.8</c:v>
                </c:pt>
                <c:pt idx="4512">
                  <c:v>8.4</c:v>
                </c:pt>
                <c:pt idx="4513">
                  <c:v>7.1</c:v>
                </c:pt>
                <c:pt idx="4514">
                  <c:v>3.6</c:v>
                </c:pt>
                <c:pt idx="4515">
                  <c:v>11.8</c:v>
                </c:pt>
                <c:pt idx="4516">
                  <c:v>5.5</c:v>
                </c:pt>
                <c:pt idx="4517">
                  <c:v>7.8</c:v>
                </c:pt>
                <c:pt idx="4518">
                  <c:v>8</c:v>
                </c:pt>
                <c:pt idx="4519">
                  <c:v>3.8</c:v>
                </c:pt>
                <c:pt idx="4520">
                  <c:v>8.6999999999999993</c:v>
                </c:pt>
                <c:pt idx="4521">
                  <c:v>5.5</c:v>
                </c:pt>
                <c:pt idx="4522">
                  <c:v>5.7</c:v>
                </c:pt>
                <c:pt idx="4523">
                  <c:v>10.4</c:v>
                </c:pt>
                <c:pt idx="4524">
                  <c:v>8.3000000000000007</c:v>
                </c:pt>
                <c:pt idx="4525">
                  <c:v>7.7</c:v>
                </c:pt>
                <c:pt idx="4526">
                  <c:v>11.6</c:v>
                </c:pt>
                <c:pt idx="4527">
                  <c:v>7.2</c:v>
                </c:pt>
                <c:pt idx="4528">
                  <c:v>3.8</c:v>
                </c:pt>
                <c:pt idx="4529">
                  <c:v>6.9</c:v>
                </c:pt>
                <c:pt idx="4530">
                  <c:v>8.5</c:v>
                </c:pt>
                <c:pt idx="4531">
                  <c:v>6.4</c:v>
                </c:pt>
                <c:pt idx="4532">
                  <c:v>4.5</c:v>
                </c:pt>
                <c:pt idx="4533">
                  <c:v>9.9</c:v>
                </c:pt>
                <c:pt idx="4534">
                  <c:v>6.7</c:v>
                </c:pt>
                <c:pt idx="4535">
                  <c:v>14.2</c:v>
                </c:pt>
                <c:pt idx="4536">
                  <c:v>9.9</c:v>
                </c:pt>
                <c:pt idx="4537">
                  <c:v>5.4</c:v>
                </c:pt>
                <c:pt idx="4538">
                  <c:v>7.1</c:v>
                </c:pt>
                <c:pt idx="4539">
                  <c:v>9.9</c:v>
                </c:pt>
                <c:pt idx="4540">
                  <c:v>4.4000000000000004</c:v>
                </c:pt>
                <c:pt idx="4541">
                  <c:v>9.6999999999999993</c:v>
                </c:pt>
                <c:pt idx="4542">
                  <c:v>11</c:v>
                </c:pt>
                <c:pt idx="4543">
                  <c:v>7.6</c:v>
                </c:pt>
                <c:pt idx="4544">
                  <c:v>7.9</c:v>
                </c:pt>
                <c:pt idx="4545">
                  <c:v>9.1</c:v>
                </c:pt>
                <c:pt idx="4546">
                  <c:v>5.4</c:v>
                </c:pt>
                <c:pt idx="4547">
                  <c:v>7.2</c:v>
                </c:pt>
                <c:pt idx="4548">
                  <c:v>0.6</c:v>
                </c:pt>
                <c:pt idx="4549">
                  <c:v>10.1</c:v>
                </c:pt>
                <c:pt idx="4550">
                  <c:v>9.8000000000000007</c:v>
                </c:pt>
                <c:pt idx="4551">
                  <c:v>6</c:v>
                </c:pt>
                <c:pt idx="4552">
                  <c:v>11.1</c:v>
                </c:pt>
                <c:pt idx="4553">
                  <c:v>17.7</c:v>
                </c:pt>
                <c:pt idx="4554">
                  <c:v>3.9</c:v>
                </c:pt>
                <c:pt idx="4555">
                  <c:v>6.9</c:v>
                </c:pt>
                <c:pt idx="4556">
                  <c:v>4.8</c:v>
                </c:pt>
                <c:pt idx="4557">
                  <c:v>8.9</c:v>
                </c:pt>
                <c:pt idx="4558">
                  <c:v>5.7</c:v>
                </c:pt>
                <c:pt idx="4559">
                  <c:v>8.6999999999999993</c:v>
                </c:pt>
                <c:pt idx="4560">
                  <c:v>4.5</c:v>
                </c:pt>
                <c:pt idx="4561">
                  <c:v>7.4</c:v>
                </c:pt>
                <c:pt idx="4562">
                  <c:v>8.5</c:v>
                </c:pt>
                <c:pt idx="4563">
                  <c:v>8.6</c:v>
                </c:pt>
                <c:pt idx="4564">
                  <c:v>6.3</c:v>
                </c:pt>
                <c:pt idx="4565">
                  <c:v>6.9</c:v>
                </c:pt>
                <c:pt idx="4566">
                  <c:v>5.8</c:v>
                </c:pt>
                <c:pt idx="4567">
                  <c:v>9.6999999999999993</c:v>
                </c:pt>
                <c:pt idx="4568">
                  <c:v>10.4</c:v>
                </c:pt>
                <c:pt idx="4569">
                  <c:v>5.4</c:v>
                </c:pt>
                <c:pt idx="4570">
                  <c:v>8</c:v>
                </c:pt>
                <c:pt idx="4571">
                  <c:v>7.5</c:v>
                </c:pt>
                <c:pt idx="4572">
                  <c:v>6.7</c:v>
                </c:pt>
                <c:pt idx="4573">
                  <c:v>4.9000000000000004</c:v>
                </c:pt>
                <c:pt idx="4574">
                  <c:v>3.6</c:v>
                </c:pt>
                <c:pt idx="4575">
                  <c:v>8.8000000000000007</c:v>
                </c:pt>
                <c:pt idx="4576">
                  <c:v>8.6999999999999993</c:v>
                </c:pt>
                <c:pt idx="4577">
                  <c:v>5.4</c:v>
                </c:pt>
                <c:pt idx="4578">
                  <c:v>0.8</c:v>
                </c:pt>
                <c:pt idx="4579">
                  <c:v>6.9</c:v>
                </c:pt>
                <c:pt idx="4580">
                  <c:v>8</c:v>
                </c:pt>
                <c:pt idx="4581">
                  <c:v>8</c:v>
                </c:pt>
                <c:pt idx="4582">
                  <c:v>9.1999999999999993</c:v>
                </c:pt>
                <c:pt idx="4583">
                  <c:v>5.2</c:v>
                </c:pt>
                <c:pt idx="4584">
                  <c:v>5.5</c:v>
                </c:pt>
                <c:pt idx="4585">
                  <c:v>0.8</c:v>
                </c:pt>
                <c:pt idx="4586">
                  <c:v>9.1</c:v>
                </c:pt>
                <c:pt idx="4587">
                  <c:v>10.1</c:v>
                </c:pt>
                <c:pt idx="4588">
                  <c:v>8.6</c:v>
                </c:pt>
                <c:pt idx="4589">
                  <c:v>12.9</c:v>
                </c:pt>
                <c:pt idx="4590">
                  <c:v>6</c:v>
                </c:pt>
                <c:pt idx="4591">
                  <c:v>12</c:v>
                </c:pt>
                <c:pt idx="4592">
                  <c:v>11.4</c:v>
                </c:pt>
                <c:pt idx="4593">
                  <c:v>7.1</c:v>
                </c:pt>
                <c:pt idx="4594">
                  <c:v>6.6</c:v>
                </c:pt>
                <c:pt idx="4595">
                  <c:v>9.8000000000000007</c:v>
                </c:pt>
                <c:pt idx="4596">
                  <c:v>1.4</c:v>
                </c:pt>
                <c:pt idx="4597">
                  <c:v>7</c:v>
                </c:pt>
                <c:pt idx="4598">
                  <c:v>7</c:v>
                </c:pt>
                <c:pt idx="4599">
                  <c:v>2.2000000000000002</c:v>
                </c:pt>
                <c:pt idx="4600">
                  <c:v>9</c:v>
                </c:pt>
                <c:pt idx="4601">
                  <c:v>3</c:v>
                </c:pt>
                <c:pt idx="4602">
                  <c:v>10.4</c:v>
                </c:pt>
                <c:pt idx="4603">
                  <c:v>10.3</c:v>
                </c:pt>
                <c:pt idx="4604">
                  <c:v>9.6</c:v>
                </c:pt>
                <c:pt idx="4605">
                  <c:v>4</c:v>
                </c:pt>
                <c:pt idx="4606">
                  <c:v>7.3</c:v>
                </c:pt>
                <c:pt idx="4607">
                  <c:v>10.3</c:v>
                </c:pt>
                <c:pt idx="4608">
                  <c:v>7</c:v>
                </c:pt>
                <c:pt idx="4609">
                  <c:v>9.8000000000000007</c:v>
                </c:pt>
                <c:pt idx="4610">
                  <c:v>4.9000000000000004</c:v>
                </c:pt>
                <c:pt idx="4611">
                  <c:v>10.4</c:v>
                </c:pt>
                <c:pt idx="4612">
                  <c:v>10.9</c:v>
                </c:pt>
                <c:pt idx="4613">
                  <c:v>10.199999999999999</c:v>
                </c:pt>
                <c:pt idx="4614">
                  <c:v>11.7</c:v>
                </c:pt>
                <c:pt idx="4615">
                  <c:v>7.9</c:v>
                </c:pt>
                <c:pt idx="4616">
                  <c:v>5.8</c:v>
                </c:pt>
                <c:pt idx="4617">
                  <c:v>0.6</c:v>
                </c:pt>
                <c:pt idx="4618">
                  <c:v>8.5</c:v>
                </c:pt>
                <c:pt idx="4619">
                  <c:v>7.5</c:v>
                </c:pt>
                <c:pt idx="4620">
                  <c:v>2.1</c:v>
                </c:pt>
                <c:pt idx="4621">
                  <c:v>12.5</c:v>
                </c:pt>
                <c:pt idx="4622">
                  <c:v>7.5</c:v>
                </c:pt>
                <c:pt idx="4623">
                  <c:v>7.3</c:v>
                </c:pt>
                <c:pt idx="4624">
                  <c:v>8.5</c:v>
                </c:pt>
                <c:pt idx="4625">
                  <c:v>1.7</c:v>
                </c:pt>
                <c:pt idx="4626">
                  <c:v>6.5</c:v>
                </c:pt>
                <c:pt idx="4627">
                  <c:v>7.5</c:v>
                </c:pt>
                <c:pt idx="4628">
                  <c:v>0.9</c:v>
                </c:pt>
                <c:pt idx="4629">
                  <c:v>9.3000000000000007</c:v>
                </c:pt>
                <c:pt idx="4630">
                  <c:v>7.5</c:v>
                </c:pt>
                <c:pt idx="4631">
                  <c:v>6.6</c:v>
                </c:pt>
                <c:pt idx="4632">
                  <c:v>3.1</c:v>
                </c:pt>
                <c:pt idx="4633">
                  <c:v>10.1</c:v>
                </c:pt>
                <c:pt idx="4634">
                  <c:v>7.7</c:v>
                </c:pt>
                <c:pt idx="4635">
                  <c:v>5.6</c:v>
                </c:pt>
                <c:pt idx="4636">
                  <c:v>10.199999999999999</c:v>
                </c:pt>
                <c:pt idx="4637">
                  <c:v>6.3</c:v>
                </c:pt>
                <c:pt idx="4638">
                  <c:v>5.9</c:v>
                </c:pt>
                <c:pt idx="4639">
                  <c:v>11.2</c:v>
                </c:pt>
                <c:pt idx="4640">
                  <c:v>11.3</c:v>
                </c:pt>
                <c:pt idx="4641">
                  <c:v>6.8</c:v>
                </c:pt>
                <c:pt idx="4642">
                  <c:v>9.1</c:v>
                </c:pt>
                <c:pt idx="4643">
                  <c:v>6.6</c:v>
                </c:pt>
                <c:pt idx="4644">
                  <c:v>10.9</c:v>
                </c:pt>
                <c:pt idx="4645">
                  <c:v>7.8</c:v>
                </c:pt>
                <c:pt idx="4646">
                  <c:v>3.5</c:v>
                </c:pt>
                <c:pt idx="4647">
                  <c:v>6</c:v>
                </c:pt>
                <c:pt idx="4648">
                  <c:v>4.9000000000000004</c:v>
                </c:pt>
                <c:pt idx="4649">
                  <c:v>11.2</c:v>
                </c:pt>
                <c:pt idx="4650">
                  <c:v>5.7</c:v>
                </c:pt>
                <c:pt idx="4651">
                  <c:v>8.6999999999999993</c:v>
                </c:pt>
                <c:pt idx="4652">
                  <c:v>3</c:v>
                </c:pt>
                <c:pt idx="4653">
                  <c:v>1.4</c:v>
                </c:pt>
                <c:pt idx="4654">
                  <c:v>5.0999999999999996</c:v>
                </c:pt>
                <c:pt idx="4655">
                  <c:v>6.7</c:v>
                </c:pt>
                <c:pt idx="4656">
                  <c:v>3.8</c:v>
                </c:pt>
                <c:pt idx="4657">
                  <c:v>9.1</c:v>
                </c:pt>
                <c:pt idx="4658">
                  <c:v>7.3</c:v>
                </c:pt>
                <c:pt idx="4659">
                  <c:v>7.6</c:v>
                </c:pt>
                <c:pt idx="4660">
                  <c:v>7.1</c:v>
                </c:pt>
                <c:pt idx="4661">
                  <c:v>9</c:v>
                </c:pt>
                <c:pt idx="4662">
                  <c:v>7</c:v>
                </c:pt>
                <c:pt idx="4663">
                  <c:v>2.4</c:v>
                </c:pt>
                <c:pt idx="4664">
                  <c:v>9.5</c:v>
                </c:pt>
                <c:pt idx="4665">
                  <c:v>4.8</c:v>
                </c:pt>
                <c:pt idx="4666">
                  <c:v>5.7</c:v>
                </c:pt>
                <c:pt idx="4667">
                  <c:v>9.9</c:v>
                </c:pt>
                <c:pt idx="4668">
                  <c:v>10.1</c:v>
                </c:pt>
                <c:pt idx="4669">
                  <c:v>6.5</c:v>
                </c:pt>
                <c:pt idx="4670">
                  <c:v>9.5</c:v>
                </c:pt>
                <c:pt idx="4671">
                  <c:v>15.6</c:v>
                </c:pt>
                <c:pt idx="4672">
                  <c:v>6.7</c:v>
                </c:pt>
                <c:pt idx="4673">
                  <c:v>6.3</c:v>
                </c:pt>
                <c:pt idx="4674">
                  <c:v>3.3</c:v>
                </c:pt>
                <c:pt idx="4675">
                  <c:v>8.1</c:v>
                </c:pt>
                <c:pt idx="4676">
                  <c:v>6.7</c:v>
                </c:pt>
                <c:pt idx="4677">
                  <c:v>12.8</c:v>
                </c:pt>
                <c:pt idx="4678">
                  <c:v>6.6</c:v>
                </c:pt>
                <c:pt idx="4679">
                  <c:v>8.6999999999999993</c:v>
                </c:pt>
                <c:pt idx="4680">
                  <c:v>1</c:v>
                </c:pt>
                <c:pt idx="4681">
                  <c:v>12.8</c:v>
                </c:pt>
                <c:pt idx="4682">
                  <c:v>7.7</c:v>
                </c:pt>
                <c:pt idx="4683">
                  <c:v>8.4</c:v>
                </c:pt>
                <c:pt idx="4684">
                  <c:v>8.1999999999999993</c:v>
                </c:pt>
                <c:pt idx="4685">
                  <c:v>6.8</c:v>
                </c:pt>
                <c:pt idx="4686">
                  <c:v>5.9</c:v>
                </c:pt>
                <c:pt idx="4687">
                  <c:v>4.9000000000000004</c:v>
                </c:pt>
                <c:pt idx="4688">
                  <c:v>6.5</c:v>
                </c:pt>
                <c:pt idx="4689">
                  <c:v>10.7</c:v>
                </c:pt>
                <c:pt idx="4690">
                  <c:v>7.1</c:v>
                </c:pt>
                <c:pt idx="4691">
                  <c:v>12.4</c:v>
                </c:pt>
                <c:pt idx="4692">
                  <c:v>14.6</c:v>
                </c:pt>
                <c:pt idx="4693">
                  <c:v>8.3000000000000007</c:v>
                </c:pt>
                <c:pt idx="4694">
                  <c:v>10.3</c:v>
                </c:pt>
                <c:pt idx="4695">
                  <c:v>7.9</c:v>
                </c:pt>
                <c:pt idx="4696">
                  <c:v>7.5</c:v>
                </c:pt>
                <c:pt idx="4697">
                  <c:v>4.9000000000000004</c:v>
                </c:pt>
                <c:pt idx="4698">
                  <c:v>6.4</c:v>
                </c:pt>
                <c:pt idx="4699">
                  <c:v>2.2999999999999998</c:v>
                </c:pt>
                <c:pt idx="4700">
                  <c:v>5.2</c:v>
                </c:pt>
                <c:pt idx="4701">
                  <c:v>10.5</c:v>
                </c:pt>
                <c:pt idx="4702">
                  <c:v>4.2</c:v>
                </c:pt>
                <c:pt idx="4703">
                  <c:v>11.6</c:v>
                </c:pt>
                <c:pt idx="4704">
                  <c:v>4.2</c:v>
                </c:pt>
                <c:pt idx="4705">
                  <c:v>8.6999999999999993</c:v>
                </c:pt>
                <c:pt idx="4706">
                  <c:v>3.7</c:v>
                </c:pt>
                <c:pt idx="4707">
                  <c:v>7.2</c:v>
                </c:pt>
                <c:pt idx="4708">
                  <c:v>8.4</c:v>
                </c:pt>
                <c:pt idx="4709">
                  <c:v>3.2</c:v>
                </c:pt>
                <c:pt idx="4710">
                  <c:v>4.9000000000000004</c:v>
                </c:pt>
                <c:pt idx="4711">
                  <c:v>5</c:v>
                </c:pt>
                <c:pt idx="4712">
                  <c:v>10.6</c:v>
                </c:pt>
                <c:pt idx="4713">
                  <c:v>9.4</c:v>
                </c:pt>
                <c:pt idx="4714">
                  <c:v>7.8</c:v>
                </c:pt>
                <c:pt idx="4715">
                  <c:v>3.5</c:v>
                </c:pt>
                <c:pt idx="4716">
                  <c:v>4.8</c:v>
                </c:pt>
                <c:pt idx="4717">
                  <c:v>6.7</c:v>
                </c:pt>
                <c:pt idx="4718">
                  <c:v>9</c:v>
                </c:pt>
                <c:pt idx="4719">
                  <c:v>7.9</c:v>
                </c:pt>
                <c:pt idx="4720">
                  <c:v>9.1999999999999993</c:v>
                </c:pt>
                <c:pt idx="4721">
                  <c:v>3.7</c:v>
                </c:pt>
                <c:pt idx="4722">
                  <c:v>7.1</c:v>
                </c:pt>
                <c:pt idx="4723">
                  <c:v>6.6</c:v>
                </c:pt>
                <c:pt idx="4724">
                  <c:v>7</c:v>
                </c:pt>
                <c:pt idx="4725">
                  <c:v>5.9</c:v>
                </c:pt>
                <c:pt idx="4726">
                  <c:v>11.6</c:v>
                </c:pt>
                <c:pt idx="4727">
                  <c:v>10.5</c:v>
                </c:pt>
                <c:pt idx="4728">
                  <c:v>9.4</c:v>
                </c:pt>
                <c:pt idx="4729">
                  <c:v>10.8</c:v>
                </c:pt>
                <c:pt idx="4730">
                  <c:v>6.7</c:v>
                </c:pt>
                <c:pt idx="4731">
                  <c:v>13.4</c:v>
                </c:pt>
                <c:pt idx="4732">
                  <c:v>6.4</c:v>
                </c:pt>
                <c:pt idx="4733">
                  <c:v>8.1999999999999993</c:v>
                </c:pt>
                <c:pt idx="4734">
                  <c:v>10.7</c:v>
                </c:pt>
                <c:pt idx="4735">
                  <c:v>3.7</c:v>
                </c:pt>
                <c:pt idx="4736">
                  <c:v>5.3</c:v>
                </c:pt>
                <c:pt idx="4737">
                  <c:v>7.8</c:v>
                </c:pt>
                <c:pt idx="4738">
                  <c:v>13.2</c:v>
                </c:pt>
                <c:pt idx="4739">
                  <c:v>9.4</c:v>
                </c:pt>
                <c:pt idx="4740">
                  <c:v>5.0999999999999996</c:v>
                </c:pt>
                <c:pt idx="4741">
                  <c:v>5.7</c:v>
                </c:pt>
                <c:pt idx="4742">
                  <c:v>8.8000000000000007</c:v>
                </c:pt>
                <c:pt idx="4743">
                  <c:v>5.8</c:v>
                </c:pt>
                <c:pt idx="4744">
                  <c:v>9.1</c:v>
                </c:pt>
                <c:pt idx="4745">
                  <c:v>7</c:v>
                </c:pt>
                <c:pt idx="4746">
                  <c:v>10.9</c:v>
                </c:pt>
                <c:pt idx="4747">
                  <c:v>0.9</c:v>
                </c:pt>
                <c:pt idx="4748">
                  <c:v>4.5</c:v>
                </c:pt>
                <c:pt idx="4749">
                  <c:v>9.1</c:v>
                </c:pt>
                <c:pt idx="4750">
                  <c:v>9.9</c:v>
                </c:pt>
                <c:pt idx="4751">
                  <c:v>3.5</c:v>
                </c:pt>
                <c:pt idx="4752">
                  <c:v>7.6</c:v>
                </c:pt>
                <c:pt idx="4753">
                  <c:v>10</c:v>
                </c:pt>
                <c:pt idx="4754">
                  <c:v>9.9</c:v>
                </c:pt>
                <c:pt idx="4755">
                  <c:v>6.8</c:v>
                </c:pt>
                <c:pt idx="4756">
                  <c:v>13.7</c:v>
                </c:pt>
                <c:pt idx="4757">
                  <c:v>4.5999999999999996</c:v>
                </c:pt>
                <c:pt idx="4758">
                  <c:v>10.4</c:v>
                </c:pt>
                <c:pt idx="4759">
                  <c:v>3.2</c:v>
                </c:pt>
                <c:pt idx="4760">
                  <c:v>0</c:v>
                </c:pt>
                <c:pt idx="4761">
                  <c:v>10.9</c:v>
                </c:pt>
                <c:pt idx="4762">
                  <c:v>6.7</c:v>
                </c:pt>
                <c:pt idx="4763">
                  <c:v>4.8</c:v>
                </c:pt>
                <c:pt idx="4764">
                  <c:v>5.0999999999999996</c:v>
                </c:pt>
                <c:pt idx="4765">
                  <c:v>6.8</c:v>
                </c:pt>
                <c:pt idx="4766">
                  <c:v>1.5</c:v>
                </c:pt>
                <c:pt idx="4767">
                  <c:v>8.1</c:v>
                </c:pt>
                <c:pt idx="4768">
                  <c:v>14.8</c:v>
                </c:pt>
                <c:pt idx="4769">
                  <c:v>6.7</c:v>
                </c:pt>
                <c:pt idx="4770">
                  <c:v>0.7</c:v>
                </c:pt>
                <c:pt idx="4771">
                  <c:v>11.6</c:v>
                </c:pt>
                <c:pt idx="4772">
                  <c:v>7.4</c:v>
                </c:pt>
                <c:pt idx="4773">
                  <c:v>5.6</c:v>
                </c:pt>
                <c:pt idx="4774">
                  <c:v>8.6999999999999993</c:v>
                </c:pt>
                <c:pt idx="4775">
                  <c:v>10.9</c:v>
                </c:pt>
                <c:pt idx="4776">
                  <c:v>11.5</c:v>
                </c:pt>
                <c:pt idx="4777">
                  <c:v>6.6</c:v>
                </c:pt>
                <c:pt idx="4778">
                  <c:v>4.5</c:v>
                </c:pt>
                <c:pt idx="4779">
                  <c:v>7</c:v>
                </c:pt>
                <c:pt idx="4780">
                  <c:v>10.6</c:v>
                </c:pt>
                <c:pt idx="4781">
                  <c:v>9.6</c:v>
                </c:pt>
                <c:pt idx="4782">
                  <c:v>2</c:v>
                </c:pt>
                <c:pt idx="4783">
                  <c:v>9.1</c:v>
                </c:pt>
                <c:pt idx="4784">
                  <c:v>14.5</c:v>
                </c:pt>
                <c:pt idx="4785">
                  <c:v>11.2</c:v>
                </c:pt>
                <c:pt idx="4786">
                  <c:v>7.9</c:v>
                </c:pt>
                <c:pt idx="4787">
                  <c:v>7.2</c:v>
                </c:pt>
                <c:pt idx="4788">
                  <c:v>0</c:v>
                </c:pt>
                <c:pt idx="4789">
                  <c:v>5.8</c:v>
                </c:pt>
                <c:pt idx="4790">
                  <c:v>1.3</c:v>
                </c:pt>
                <c:pt idx="4791">
                  <c:v>6.7</c:v>
                </c:pt>
                <c:pt idx="4792">
                  <c:v>6.8</c:v>
                </c:pt>
                <c:pt idx="4793">
                  <c:v>6.8</c:v>
                </c:pt>
                <c:pt idx="4794">
                  <c:v>4.8</c:v>
                </c:pt>
                <c:pt idx="4795">
                  <c:v>6.7</c:v>
                </c:pt>
                <c:pt idx="4796">
                  <c:v>7.2</c:v>
                </c:pt>
                <c:pt idx="4797">
                  <c:v>13.2</c:v>
                </c:pt>
                <c:pt idx="4798">
                  <c:v>6.2</c:v>
                </c:pt>
                <c:pt idx="4799">
                  <c:v>9.1999999999999993</c:v>
                </c:pt>
                <c:pt idx="4800">
                  <c:v>5.4</c:v>
                </c:pt>
                <c:pt idx="4801">
                  <c:v>14.3</c:v>
                </c:pt>
                <c:pt idx="4802">
                  <c:v>6</c:v>
                </c:pt>
                <c:pt idx="4803">
                  <c:v>6.1</c:v>
                </c:pt>
                <c:pt idx="4804">
                  <c:v>6.7</c:v>
                </c:pt>
                <c:pt idx="4805">
                  <c:v>5.5</c:v>
                </c:pt>
                <c:pt idx="4806">
                  <c:v>10</c:v>
                </c:pt>
                <c:pt idx="4807">
                  <c:v>6</c:v>
                </c:pt>
                <c:pt idx="4808">
                  <c:v>0.9</c:v>
                </c:pt>
                <c:pt idx="4809">
                  <c:v>0.6</c:v>
                </c:pt>
                <c:pt idx="4810">
                  <c:v>11.2</c:v>
                </c:pt>
                <c:pt idx="4811">
                  <c:v>12.6</c:v>
                </c:pt>
                <c:pt idx="4812">
                  <c:v>10.7</c:v>
                </c:pt>
                <c:pt idx="4813">
                  <c:v>3.4</c:v>
                </c:pt>
                <c:pt idx="4814">
                  <c:v>8</c:v>
                </c:pt>
                <c:pt idx="4815">
                  <c:v>6.5</c:v>
                </c:pt>
                <c:pt idx="4816">
                  <c:v>8</c:v>
                </c:pt>
                <c:pt idx="4817">
                  <c:v>12.4</c:v>
                </c:pt>
                <c:pt idx="4818">
                  <c:v>1.8</c:v>
                </c:pt>
                <c:pt idx="4819">
                  <c:v>7.2</c:v>
                </c:pt>
                <c:pt idx="4820">
                  <c:v>7.6</c:v>
                </c:pt>
                <c:pt idx="4821">
                  <c:v>0.3</c:v>
                </c:pt>
                <c:pt idx="4822">
                  <c:v>4.7</c:v>
                </c:pt>
                <c:pt idx="4823">
                  <c:v>10.199999999999999</c:v>
                </c:pt>
                <c:pt idx="4824">
                  <c:v>8.8000000000000007</c:v>
                </c:pt>
                <c:pt idx="4825">
                  <c:v>5.0999999999999996</c:v>
                </c:pt>
                <c:pt idx="4826">
                  <c:v>4.9000000000000004</c:v>
                </c:pt>
                <c:pt idx="4827">
                  <c:v>6.4</c:v>
                </c:pt>
                <c:pt idx="4828">
                  <c:v>10.9</c:v>
                </c:pt>
                <c:pt idx="4829">
                  <c:v>8.9</c:v>
                </c:pt>
                <c:pt idx="4830">
                  <c:v>5.7</c:v>
                </c:pt>
                <c:pt idx="4831">
                  <c:v>4.5999999999999996</c:v>
                </c:pt>
                <c:pt idx="4832">
                  <c:v>5.3</c:v>
                </c:pt>
                <c:pt idx="4833">
                  <c:v>7.7</c:v>
                </c:pt>
                <c:pt idx="4834">
                  <c:v>8.8000000000000007</c:v>
                </c:pt>
                <c:pt idx="4835">
                  <c:v>9</c:v>
                </c:pt>
                <c:pt idx="4836">
                  <c:v>9.1</c:v>
                </c:pt>
                <c:pt idx="4837">
                  <c:v>6.2</c:v>
                </c:pt>
                <c:pt idx="4838">
                  <c:v>12.4</c:v>
                </c:pt>
                <c:pt idx="4839">
                  <c:v>8.5</c:v>
                </c:pt>
                <c:pt idx="4840">
                  <c:v>6.7</c:v>
                </c:pt>
                <c:pt idx="4841">
                  <c:v>8.1</c:v>
                </c:pt>
                <c:pt idx="4842">
                  <c:v>6</c:v>
                </c:pt>
                <c:pt idx="4843">
                  <c:v>7.1</c:v>
                </c:pt>
                <c:pt idx="4844">
                  <c:v>5.9</c:v>
                </c:pt>
                <c:pt idx="4845">
                  <c:v>10.3</c:v>
                </c:pt>
                <c:pt idx="4846">
                  <c:v>6.5</c:v>
                </c:pt>
                <c:pt idx="4847">
                  <c:v>5.2</c:v>
                </c:pt>
                <c:pt idx="4848">
                  <c:v>6.7</c:v>
                </c:pt>
                <c:pt idx="4849">
                  <c:v>4.4000000000000004</c:v>
                </c:pt>
                <c:pt idx="4850">
                  <c:v>11.2</c:v>
                </c:pt>
                <c:pt idx="4851">
                  <c:v>7.8</c:v>
                </c:pt>
                <c:pt idx="4852">
                  <c:v>8.1999999999999993</c:v>
                </c:pt>
                <c:pt idx="4853">
                  <c:v>4.5999999999999996</c:v>
                </c:pt>
                <c:pt idx="4854">
                  <c:v>5.9</c:v>
                </c:pt>
                <c:pt idx="4855">
                  <c:v>11.6</c:v>
                </c:pt>
                <c:pt idx="4856">
                  <c:v>8.1</c:v>
                </c:pt>
                <c:pt idx="4857">
                  <c:v>4.7</c:v>
                </c:pt>
                <c:pt idx="4858">
                  <c:v>1</c:v>
                </c:pt>
                <c:pt idx="4859">
                  <c:v>5.5</c:v>
                </c:pt>
                <c:pt idx="4860">
                  <c:v>2.1</c:v>
                </c:pt>
                <c:pt idx="4861">
                  <c:v>8.4</c:v>
                </c:pt>
                <c:pt idx="4862">
                  <c:v>7</c:v>
                </c:pt>
                <c:pt idx="4863">
                  <c:v>6</c:v>
                </c:pt>
                <c:pt idx="4864">
                  <c:v>6</c:v>
                </c:pt>
                <c:pt idx="4865">
                  <c:v>11.6</c:v>
                </c:pt>
                <c:pt idx="4866">
                  <c:v>8.1</c:v>
                </c:pt>
                <c:pt idx="4867">
                  <c:v>8.9</c:v>
                </c:pt>
                <c:pt idx="4868">
                  <c:v>5.3</c:v>
                </c:pt>
                <c:pt idx="4869">
                  <c:v>6.4</c:v>
                </c:pt>
                <c:pt idx="4870">
                  <c:v>4.5</c:v>
                </c:pt>
                <c:pt idx="4871">
                  <c:v>10.6</c:v>
                </c:pt>
                <c:pt idx="4872">
                  <c:v>8</c:v>
                </c:pt>
                <c:pt idx="4873">
                  <c:v>8.1</c:v>
                </c:pt>
                <c:pt idx="4874">
                  <c:v>9.8000000000000007</c:v>
                </c:pt>
                <c:pt idx="4875">
                  <c:v>10.199999999999999</c:v>
                </c:pt>
                <c:pt idx="4876">
                  <c:v>4.4000000000000004</c:v>
                </c:pt>
                <c:pt idx="4877">
                  <c:v>6.9</c:v>
                </c:pt>
                <c:pt idx="4878">
                  <c:v>6.1</c:v>
                </c:pt>
                <c:pt idx="4879">
                  <c:v>6.6</c:v>
                </c:pt>
                <c:pt idx="4880">
                  <c:v>11.4</c:v>
                </c:pt>
                <c:pt idx="4881">
                  <c:v>6.4</c:v>
                </c:pt>
                <c:pt idx="4882">
                  <c:v>2.2000000000000002</c:v>
                </c:pt>
                <c:pt idx="4883">
                  <c:v>1.1000000000000001</c:v>
                </c:pt>
                <c:pt idx="4884">
                  <c:v>7.5</c:v>
                </c:pt>
                <c:pt idx="4885">
                  <c:v>9.4</c:v>
                </c:pt>
                <c:pt idx="4886">
                  <c:v>6.5</c:v>
                </c:pt>
                <c:pt idx="4887">
                  <c:v>17.100000000000001</c:v>
                </c:pt>
                <c:pt idx="4888">
                  <c:v>11.1</c:v>
                </c:pt>
                <c:pt idx="4889">
                  <c:v>5.5</c:v>
                </c:pt>
                <c:pt idx="4890">
                  <c:v>7.1</c:v>
                </c:pt>
                <c:pt idx="4891">
                  <c:v>3</c:v>
                </c:pt>
                <c:pt idx="4892">
                  <c:v>14.3</c:v>
                </c:pt>
                <c:pt idx="4893">
                  <c:v>7.7</c:v>
                </c:pt>
                <c:pt idx="4894">
                  <c:v>7.2</c:v>
                </c:pt>
                <c:pt idx="4895">
                  <c:v>6.9</c:v>
                </c:pt>
                <c:pt idx="4896">
                  <c:v>4.5999999999999996</c:v>
                </c:pt>
                <c:pt idx="4897">
                  <c:v>9.3000000000000007</c:v>
                </c:pt>
                <c:pt idx="4898">
                  <c:v>4.9000000000000004</c:v>
                </c:pt>
                <c:pt idx="4899">
                  <c:v>10</c:v>
                </c:pt>
                <c:pt idx="4900">
                  <c:v>7.3</c:v>
                </c:pt>
                <c:pt idx="4901">
                  <c:v>6.6</c:v>
                </c:pt>
                <c:pt idx="4902">
                  <c:v>6.5</c:v>
                </c:pt>
                <c:pt idx="4903">
                  <c:v>7.4</c:v>
                </c:pt>
                <c:pt idx="4904">
                  <c:v>5.2</c:v>
                </c:pt>
                <c:pt idx="4905">
                  <c:v>8.6999999999999993</c:v>
                </c:pt>
                <c:pt idx="4906">
                  <c:v>10.9</c:v>
                </c:pt>
                <c:pt idx="4907">
                  <c:v>4.7</c:v>
                </c:pt>
                <c:pt idx="4908">
                  <c:v>6.6</c:v>
                </c:pt>
                <c:pt idx="4909">
                  <c:v>9.6999999999999993</c:v>
                </c:pt>
                <c:pt idx="4910">
                  <c:v>5.3</c:v>
                </c:pt>
                <c:pt idx="4911">
                  <c:v>2.7</c:v>
                </c:pt>
                <c:pt idx="4912">
                  <c:v>5.2</c:v>
                </c:pt>
                <c:pt idx="4913">
                  <c:v>1.2</c:v>
                </c:pt>
                <c:pt idx="4914">
                  <c:v>7.9</c:v>
                </c:pt>
                <c:pt idx="4915">
                  <c:v>8.9</c:v>
                </c:pt>
                <c:pt idx="4916">
                  <c:v>11.9</c:v>
                </c:pt>
                <c:pt idx="4917">
                  <c:v>9.6</c:v>
                </c:pt>
                <c:pt idx="4918">
                  <c:v>9</c:v>
                </c:pt>
                <c:pt idx="4919">
                  <c:v>5.2</c:v>
                </c:pt>
                <c:pt idx="4920">
                  <c:v>5.6</c:v>
                </c:pt>
                <c:pt idx="4921">
                  <c:v>7.7</c:v>
                </c:pt>
                <c:pt idx="4922">
                  <c:v>10.5</c:v>
                </c:pt>
                <c:pt idx="4923">
                  <c:v>7.6</c:v>
                </c:pt>
                <c:pt idx="4924">
                  <c:v>6.7</c:v>
                </c:pt>
                <c:pt idx="4925">
                  <c:v>5.7</c:v>
                </c:pt>
                <c:pt idx="4926">
                  <c:v>3.9</c:v>
                </c:pt>
                <c:pt idx="4927">
                  <c:v>7.2</c:v>
                </c:pt>
                <c:pt idx="4928">
                  <c:v>7.6</c:v>
                </c:pt>
                <c:pt idx="4929">
                  <c:v>3.3</c:v>
                </c:pt>
                <c:pt idx="4930">
                  <c:v>7.7</c:v>
                </c:pt>
                <c:pt idx="4931">
                  <c:v>5.6</c:v>
                </c:pt>
                <c:pt idx="4932">
                  <c:v>10.5</c:v>
                </c:pt>
                <c:pt idx="4933">
                  <c:v>9.1</c:v>
                </c:pt>
                <c:pt idx="4934">
                  <c:v>7</c:v>
                </c:pt>
                <c:pt idx="4935">
                  <c:v>8</c:v>
                </c:pt>
                <c:pt idx="4936">
                  <c:v>7.1</c:v>
                </c:pt>
                <c:pt idx="4937">
                  <c:v>3.7</c:v>
                </c:pt>
                <c:pt idx="4938">
                  <c:v>12.5</c:v>
                </c:pt>
                <c:pt idx="4939">
                  <c:v>5.7</c:v>
                </c:pt>
                <c:pt idx="4940">
                  <c:v>8.8000000000000007</c:v>
                </c:pt>
                <c:pt idx="4941">
                  <c:v>8.4</c:v>
                </c:pt>
                <c:pt idx="4942">
                  <c:v>8.3000000000000007</c:v>
                </c:pt>
                <c:pt idx="4943">
                  <c:v>8.4</c:v>
                </c:pt>
                <c:pt idx="4944">
                  <c:v>5.7</c:v>
                </c:pt>
                <c:pt idx="4945">
                  <c:v>5.9</c:v>
                </c:pt>
                <c:pt idx="4946">
                  <c:v>5.3</c:v>
                </c:pt>
                <c:pt idx="4947">
                  <c:v>5.4</c:v>
                </c:pt>
                <c:pt idx="4948">
                  <c:v>6.3</c:v>
                </c:pt>
                <c:pt idx="4949">
                  <c:v>4.7</c:v>
                </c:pt>
                <c:pt idx="4950">
                  <c:v>8.5</c:v>
                </c:pt>
                <c:pt idx="4951">
                  <c:v>14.4</c:v>
                </c:pt>
                <c:pt idx="4952">
                  <c:v>10.3</c:v>
                </c:pt>
                <c:pt idx="4953">
                  <c:v>8.8000000000000007</c:v>
                </c:pt>
                <c:pt idx="4954">
                  <c:v>6.8</c:v>
                </c:pt>
                <c:pt idx="4955">
                  <c:v>7</c:v>
                </c:pt>
                <c:pt idx="4956">
                  <c:v>7.1</c:v>
                </c:pt>
                <c:pt idx="4957">
                  <c:v>15</c:v>
                </c:pt>
                <c:pt idx="4958">
                  <c:v>9.3000000000000007</c:v>
                </c:pt>
                <c:pt idx="4959">
                  <c:v>8.3000000000000007</c:v>
                </c:pt>
                <c:pt idx="4960">
                  <c:v>7.9</c:v>
                </c:pt>
                <c:pt idx="4961">
                  <c:v>7.4</c:v>
                </c:pt>
                <c:pt idx="4962">
                  <c:v>5.7</c:v>
                </c:pt>
                <c:pt idx="4963">
                  <c:v>14.3</c:v>
                </c:pt>
                <c:pt idx="4964">
                  <c:v>7.6</c:v>
                </c:pt>
                <c:pt idx="4965">
                  <c:v>10.4</c:v>
                </c:pt>
                <c:pt idx="4966">
                  <c:v>7</c:v>
                </c:pt>
                <c:pt idx="4967">
                  <c:v>10.6</c:v>
                </c:pt>
                <c:pt idx="4968">
                  <c:v>8.9</c:v>
                </c:pt>
                <c:pt idx="4969">
                  <c:v>11.3</c:v>
                </c:pt>
                <c:pt idx="4970">
                  <c:v>5.8</c:v>
                </c:pt>
                <c:pt idx="4971">
                  <c:v>5</c:v>
                </c:pt>
                <c:pt idx="4972">
                  <c:v>10.199999999999999</c:v>
                </c:pt>
                <c:pt idx="4973">
                  <c:v>6.7</c:v>
                </c:pt>
                <c:pt idx="4974">
                  <c:v>8.6999999999999993</c:v>
                </c:pt>
                <c:pt idx="4975">
                  <c:v>7.9</c:v>
                </c:pt>
                <c:pt idx="4976">
                  <c:v>6.9</c:v>
                </c:pt>
                <c:pt idx="4977">
                  <c:v>7.8</c:v>
                </c:pt>
                <c:pt idx="4978">
                  <c:v>8.1999999999999993</c:v>
                </c:pt>
                <c:pt idx="4979">
                  <c:v>5.0999999999999996</c:v>
                </c:pt>
                <c:pt idx="4980">
                  <c:v>9.3000000000000007</c:v>
                </c:pt>
                <c:pt idx="4981">
                  <c:v>4.3</c:v>
                </c:pt>
                <c:pt idx="4982">
                  <c:v>6.7</c:v>
                </c:pt>
                <c:pt idx="4983">
                  <c:v>8.8000000000000007</c:v>
                </c:pt>
                <c:pt idx="4984">
                  <c:v>0.6</c:v>
                </c:pt>
                <c:pt idx="4985">
                  <c:v>5.5</c:v>
                </c:pt>
                <c:pt idx="4986">
                  <c:v>8.5</c:v>
                </c:pt>
                <c:pt idx="4987">
                  <c:v>4.3</c:v>
                </c:pt>
                <c:pt idx="4988">
                  <c:v>6.4</c:v>
                </c:pt>
                <c:pt idx="4989">
                  <c:v>8.5</c:v>
                </c:pt>
                <c:pt idx="4990">
                  <c:v>2.2999999999999998</c:v>
                </c:pt>
                <c:pt idx="4991">
                  <c:v>9</c:v>
                </c:pt>
                <c:pt idx="4992">
                  <c:v>8.9</c:v>
                </c:pt>
                <c:pt idx="4993">
                  <c:v>7.1</c:v>
                </c:pt>
                <c:pt idx="4994">
                  <c:v>7</c:v>
                </c:pt>
                <c:pt idx="4995">
                  <c:v>11</c:v>
                </c:pt>
                <c:pt idx="4996">
                  <c:v>12.9</c:v>
                </c:pt>
                <c:pt idx="4997">
                  <c:v>5.3</c:v>
                </c:pt>
                <c:pt idx="4998">
                  <c:v>11.7</c:v>
                </c:pt>
                <c:pt idx="4999">
                  <c:v>6.9</c:v>
                </c:pt>
                <c:pt idx="5000">
                  <c:v>6.3</c:v>
                </c:pt>
                <c:pt idx="5001">
                  <c:v>18.3</c:v>
                </c:pt>
                <c:pt idx="5002">
                  <c:v>6.8</c:v>
                </c:pt>
                <c:pt idx="5003">
                  <c:v>5.9</c:v>
                </c:pt>
                <c:pt idx="5004">
                  <c:v>4.4000000000000004</c:v>
                </c:pt>
                <c:pt idx="5005">
                  <c:v>4.3</c:v>
                </c:pt>
                <c:pt idx="5006">
                  <c:v>10.4</c:v>
                </c:pt>
                <c:pt idx="5007">
                  <c:v>8</c:v>
                </c:pt>
                <c:pt idx="5008">
                  <c:v>6.6</c:v>
                </c:pt>
                <c:pt idx="5009">
                  <c:v>5.6</c:v>
                </c:pt>
                <c:pt idx="5010">
                  <c:v>6.3</c:v>
                </c:pt>
                <c:pt idx="5011">
                  <c:v>6.3</c:v>
                </c:pt>
                <c:pt idx="5012">
                  <c:v>9.4</c:v>
                </c:pt>
                <c:pt idx="5013">
                  <c:v>4.5</c:v>
                </c:pt>
                <c:pt idx="5014">
                  <c:v>0.7</c:v>
                </c:pt>
                <c:pt idx="5015">
                  <c:v>10.6</c:v>
                </c:pt>
                <c:pt idx="5016">
                  <c:v>9.6999999999999993</c:v>
                </c:pt>
                <c:pt idx="5017">
                  <c:v>7.7</c:v>
                </c:pt>
                <c:pt idx="5018">
                  <c:v>7.1</c:v>
                </c:pt>
                <c:pt idx="5019">
                  <c:v>11.7</c:v>
                </c:pt>
                <c:pt idx="5020">
                  <c:v>12.5</c:v>
                </c:pt>
                <c:pt idx="5021">
                  <c:v>6.4</c:v>
                </c:pt>
                <c:pt idx="5022">
                  <c:v>6.1</c:v>
                </c:pt>
                <c:pt idx="5023">
                  <c:v>8.4</c:v>
                </c:pt>
                <c:pt idx="5024">
                  <c:v>6.4</c:v>
                </c:pt>
                <c:pt idx="5025">
                  <c:v>10.6</c:v>
                </c:pt>
                <c:pt idx="5026">
                  <c:v>11.5</c:v>
                </c:pt>
                <c:pt idx="5027">
                  <c:v>13.4</c:v>
                </c:pt>
                <c:pt idx="5028">
                  <c:v>6.3</c:v>
                </c:pt>
                <c:pt idx="5029">
                  <c:v>9.5</c:v>
                </c:pt>
                <c:pt idx="5030">
                  <c:v>11.5</c:v>
                </c:pt>
                <c:pt idx="5031">
                  <c:v>5.6</c:v>
                </c:pt>
                <c:pt idx="5032">
                  <c:v>9.6999999999999993</c:v>
                </c:pt>
                <c:pt idx="5033">
                  <c:v>5.6</c:v>
                </c:pt>
                <c:pt idx="5034">
                  <c:v>11.6</c:v>
                </c:pt>
                <c:pt idx="5035">
                  <c:v>4.0999999999999996</c:v>
                </c:pt>
                <c:pt idx="5036">
                  <c:v>5.2</c:v>
                </c:pt>
                <c:pt idx="5037">
                  <c:v>6.5</c:v>
                </c:pt>
                <c:pt idx="5038">
                  <c:v>9.6999999999999993</c:v>
                </c:pt>
                <c:pt idx="5039">
                  <c:v>12.2</c:v>
                </c:pt>
                <c:pt idx="5040">
                  <c:v>10</c:v>
                </c:pt>
                <c:pt idx="5041">
                  <c:v>7.5</c:v>
                </c:pt>
                <c:pt idx="5042">
                  <c:v>3.5</c:v>
                </c:pt>
                <c:pt idx="5043">
                  <c:v>5.3</c:v>
                </c:pt>
                <c:pt idx="5044">
                  <c:v>5.5</c:v>
                </c:pt>
                <c:pt idx="5045">
                  <c:v>7.7</c:v>
                </c:pt>
                <c:pt idx="5046">
                  <c:v>10</c:v>
                </c:pt>
                <c:pt idx="5047">
                  <c:v>6.1</c:v>
                </c:pt>
                <c:pt idx="5048">
                  <c:v>11.9</c:v>
                </c:pt>
                <c:pt idx="5049">
                  <c:v>3.4</c:v>
                </c:pt>
                <c:pt idx="5050">
                  <c:v>2.8</c:v>
                </c:pt>
                <c:pt idx="5051">
                  <c:v>7.4</c:v>
                </c:pt>
                <c:pt idx="5052">
                  <c:v>9.5</c:v>
                </c:pt>
                <c:pt idx="5053">
                  <c:v>3.8</c:v>
                </c:pt>
                <c:pt idx="5054">
                  <c:v>8.6</c:v>
                </c:pt>
                <c:pt idx="5055">
                  <c:v>5</c:v>
                </c:pt>
                <c:pt idx="5056">
                  <c:v>10.5</c:v>
                </c:pt>
                <c:pt idx="5057">
                  <c:v>6.5</c:v>
                </c:pt>
                <c:pt idx="5058">
                  <c:v>7.1</c:v>
                </c:pt>
                <c:pt idx="5059">
                  <c:v>6.2</c:v>
                </c:pt>
                <c:pt idx="5060">
                  <c:v>3</c:v>
                </c:pt>
                <c:pt idx="5061">
                  <c:v>7.1</c:v>
                </c:pt>
                <c:pt idx="5062">
                  <c:v>9.4</c:v>
                </c:pt>
                <c:pt idx="5063">
                  <c:v>5.6</c:v>
                </c:pt>
                <c:pt idx="5064">
                  <c:v>6.5</c:v>
                </c:pt>
                <c:pt idx="5065">
                  <c:v>11.1</c:v>
                </c:pt>
                <c:pt idx="5066">
                  <c:v>9.6999999999999993</c:v>
                </c:pt>
                <c:pt idx="5067">
                  <c:v>9.1999999999999993</c:v>
                </c:pt>
                <c:pt idx="5068">
                  <c:v>9.4</c:v>
                </c:pt>
                <c:pt idx="5069">
                  <c:v>5.6</c:v>
                </c:pt>
                <c:pt idx="5070">
                  <c:v>8.6</c:v>
                </c:pt>
                <c:pt idx="5071">
                  <c:v>4.0999999999999996</c:v>
                </c:pt>
                <c:pt idx="5072">
                  <c:v>12.2</c:v>
                </c:pt>
                <c:pt idx="5073">
                  <c:v>3.9</c:v>
                </c:pt>
                <c:pt idx="5074">
                  <c:v>5.5</c:v>
                </c:pt>
                <c:pt idx="5075">
                  <c:v>9.1</c:v>
                </c:pt>
                <c:pt idx="5076">
                  <c:v>9.1</c:v>
                </c:pt>
                <c:pt idx="5077">
                  <c:v>13.3</c:v>
                </c:pt>
                <c:pt idx="5078">
                  <c:v>10.5</c:v>
                </c:pt>
                <c:pt idx="5079">
                  <c:v>4.4000000000000004</c:v>
                </c:pt>
                <c:pt idx="5080">
                  <c:v>6.5</c:v>
                </c:pt>
                <c:pt idx="5081">
                  <c:v>5.4</c:v>
                </c:pt>
                <c:pt idx="5082">
                  <c:v>0.1</c:v>
                </c:pt>
                <c:pt idx="5083">
                  <c:v>8.6999999999999993</c:v>
                </c:pt>
                <c:pt idx="5084">
                  <c:v>8</c:v>
                </c:pt>
                <c:pt idx="5085">
                  <c:v>5.4</c:v>
                </c:pt>
                <c:pt idx="5086">
                  <c:v>8</c:v>
                </c:pt>
                <c:pt idx="5087">
                  <c:v>8</c:v>
                </c:pt>
                <c:pt idx="5088">
                  <c:v>8.4</c:v>
                </c:pt>
                <c:pt idx="5089">
                  <c:v>6.1</c:v>
                </c:pt>
                <c:pt idx="5090">
                  <c:v>4.8</c:v>
                </c:pt>
                <c:pt idx="5091">
                  <c:v>4.3</c:v>
                </c:pt>
                <c:pt idx="5092">
                  <c:v>7.7</c:v>
                </c:pt>
                <c:pt idx="5093">
                  <c:v>5.2</c:v>
                </c:pt>
                <c:pt idx="5094">
                  <c:v>10.9</c:v>
                </c:pt>
                <c:pt idx="5095">
                  <c:v>3.3</c:v>
                </c:pt>
                <c:pt idx="5096">
                  <c:v>3.7</c:v>
                </c:pt>
                <c:pt idx="5097">
                  <c:v>6.8</c:v>
                </c:pt>
                <c:pt idx="5098">
                  <c:v>1.6</c:v>
                </c:pt>
                <c:pt idx="5099">
                  <c:v>8.5</c:v>
                </c:pt>
                <c:pt idx="5100">
                  <c:v>10.9</c:v>
                </c:pt>
                <c:pt idx="5101">
                  <c:v>4</c:v>
                </c:pt>
                <c:pt idx="5102">
                  <c:v>6.4</c:v>
                </c:pt>
                <c:pt idx="5103">
                  <c:v>14.4</c:v>
                </c:pt>
                <c:pt idx="5104">
                  <c:v>9.6999999999999993</c:v>
                </c:pt>
                <c:pt idx="5105">
                  <c:v>11.8</c:v>
                </c:pt>
                <c:pt idx="5106">
                  <c:v>6.7</c:v>
                </c:pt>
                <c:pt idx="5107">
                  <c:v>8.6999999999999993</c:v>
                </c:pt>
                <c:pt idx="5108">
                  <c:v>6.3</c:v>
                </c:pt>
                <c:pt idx="5109">
                  <c:v>10.4</c:v>
                </c:pt>
                <c:pt idx="5110">
                  <c:v>5</c:v>
                </c:pt>
                <c:pt idx="5111">
                  <c:v>6.9</c:v>
                </c:pt>
                <c:pt idx="5112">
                  <c:v>9.1999999999999993</c:v>
                </c:pt>
                <c:pt idx="5113">
                  <c:v>13.2</c:v>
                </c:pt>
                <c:pt idx="5114">
                  <c:v>5.3</c:v>
                </c:pt>
                <c:pt idx="5115">
                  <c:v>10.4</c:v>
                </c:pt>
                <c:pt idx="5116">
                  <c:v>12.7</c:v>
                </c:pt>
                <c:pt idx="5117">
                  <c:v>6.3</c:v>
                </c:pt>
                <c:pt idx="5118">
                  <c:v>12.2</c:v>
                </c:pt>
                <c:pt idx="5119">
                  <c:v>7.8</c:v>
                </c:pt>
                <c:pt idx="5120">
                  <c:v>7.1</c:v>
                </c:pt>
                <c:pt idx="5121">
                  <c:v>13</c:v>
                </c:pt>
                <c:pt idx="5122">
                  <c:v>9</c:v>
                </c:pt>
                <c:pt idx="5123">
                  <c:v>12.8</c:v>
                </c:pt>
                <c:pt idx="5124">
                  <c:v>8.4</c:v>
                </c:pt>
                <c:pt idx="5125">
                  <c:v>10.8</c:v>
                </c:pt>
                <c:pt idx="5126">
                  <c:v>8.5</c:v>
                </c:pt>
                <c:pt idx="5127">
                  <c:v>9.1</c:v>
                </c:pt>
                <c:pt idx="5128">
                  <c:v>11.2</c:v>
                </c:pt>
                <c:pt idx="5129">
                  <c:v>11.6</c:v>
                </c:pt>
                <c:pt idx="5130">
                  <c:v>8.6</c:v>
                </c:pt>
                <c:pt idx="5131">
                  <c:v>8.5</c:v>
                </c:pt>
                <c:pt idx="5132">
                  <c:v>6.5</c:v>
                </c:pt>
                <c:pt idx="5133">
                  <c:v>3.5</c:v>
                </c:pt>
                <c:pt idx="5134">
                  <c:v>6.7</c:v>
                </c:pt>
                <c:pt idx="5135">
                  <c:v>9.1999999999999993</c:v>
                </c:pt>
                <c:pt idx="5136">
                  <c:v>7.4</c:v>
                </c:pt>
                <c:pt idx="5137">
                  <c:v>7.7</c:v>
                </c:pt>
                <c:pt idx="5138">
                  <c:v>8.4</c:v>
                </c:pt>
                <c:pt idx="5139">
                  <c:v>4.4000000000000004</c:v>
                </c:pt>
                <c:pt idx="5140">
                  <c:v>5.8</c:v>
                </c:pt>
                <c:pt idx="5141">
                  <c:v>10</c:v>
                </c:pt>
                <c:pt idx="5142">
                  <c:v>9.1</c:v>
                </c:pt>
                <c:pt idx="5143">
                  <c:v>7.6</c:v>
                </c:pt>
                <c:pt idx="5144">
                  <c:v>8.3000000000000007</c:v>
                </c:pt>
                <c:pt idx="5145">
                  <c:v>6.9</c:v>
                </c:pt>
                <c:pt idx="5146">
                  <c:v>11</c:v>
                </c:pt>
                <c:pt idx="5147">
                  <c:v>16.399999999999999</c:v>
                </c:pt>
                <c:pt idx="5148">
                  <c:v>5.8</c:v>
                </c:pt>
                <c:pt idx="5149">
                  <c:v>7.1</c:v>
                </c:pt>
                <c:pt idx="5150">
                  <c:v>11</c:v>
                </c:pt>
                <c:pt idx="5151">
                  <c:v>13.5</c:v>
                </c:pt>
                <c:pt idx="5152">
                  <c:v>10.8</c:v>
                </c:pt>
                <c:pt idx="5153">
                  <c:v>6.5</c:v>
                </c:pt>
                <c:pt idx="5154">
                  <c:v>11.9</c:v>
                </c:pt>
                <c:pt idx="5155">
                  <c:v>5.0999999999999996</c:v>
                </c:pt>
                <c:pt idx="5156">
                  <c:v>10</c:v>
                </c:pt>
                <c:pt idx="5157">
                  <c:v>11</c:v>
                </c:pt>
                <c:pt idx="5158">
                  <c:v>8.3000000000000007</c:v>
                </c:pt>
                <c:pt idx="5159">
                  <c:v>6.2</c:v>
                </c:pt>
                <c:pt idx="5160">
                  <c:v>6.6</c:v>
                </c:pt>
                <c:pt idx="5161">
                  <c:v>14.1</c:v>
                </c:pt>
                <c:pt idx="5162">
                  <c:v>9.4</c:v>
                </c:pt>
                <c:pt idx="5163">
                  <c:v>11.3</c:v>
                </c:pt>
                <c:pt idx="5164">
                  <c:v>11</c:v>
                </c:pt>
                <c:pt idx="5165">
                  <c:v>12</c:v>
                </c:pt>
                <c:pt idx="5166">
                  <c:v>12.5</c:v>
                </c:pt>
                <c:pt idx="5167">
                  <c:v>13.6</c:v>
                </c:pt>
                <c:pt idx="5168">
                  <c:v>7.9</c:v>
                </c:pt>
                <c:pt idx="5169">
                  <c:v>6.8</c:v>
                </c:pt>
                <c:pt idx="5170">
                  <c:v>7.6</c:v>
                </c:pt>
                <c:pt idx="5171">
                  <c:v>3.6</c:v>
                </c:pt>
                <c:pt idx="5172">
                  <c:v>7.2</c:v>
                </c:pt>
                <c:pt idx="5173">
                  <c:v>6.7</c:v>
                </c:pt>
                <c:pt idx="5174">
                  <c:v>7</c:v>
                </c:pt>
                <c:pt idx="5175">
                  <c:v>9.9</c:v>
                </c:pt>
                <c:pt idx="5176">
                  <c:v>7.4</c:v>
                </c:pt>
                <c:pt idx="5177">
                  <c:v>0.2</c:v>
                </c:pt>
                <c:pt idx="5178">
                  <c:v>12</c:v>
                </c:pt>
                <c:pt idx="5179">
                  <c:v>6.8</c:v>
                </c:pt>
                <c:pt idx="5180">
                  <c:v>9.6</c:v>
                </c:pt>
                <c:pt idx="5181">
                  <c:v>7.7</c:v>
                </c:pt>
                <c:pt idx="5182">
                  <c:v>8.6999999999999993</c:v>
                </c:pt>
                <c:pt idx="5183">
                  <c:v>9.1999999999999993</c:v>
                </c:pt>
                <c:pt idx="5184">
                  <c:v>5.6</c:v>
                </c:pt>
                <c:pt idx="5185">
                  <c:v>0.7</c:v>
                </c:pt>
                <c:pt idx="5186">
                  <c:v>6</c:v>
                </c:pt>
                <c:pt idx="5187">
                  <c:v>4.3</c:v>
                </c:pt>
                <c:pt idx="5188">
                  <c:v>8.8000000000000007</c:v>
                </c:pt>
                <c:pt idx="5189">
                  <c:v>6</c:v>
                </c:pt>
                <c:pt idx="5190">
                  <c:v>8.3000000000000007</c:v>
                </c:pt>
                <c:pt idx="5191">
                  <c:v>5.5</c:v>
                </c:pt>
                <c:pt idx="5192">
                  <c:v>7.7</c:v>
                </c:pt>
                <c:pt idx="5193">
                  <c:v>6.3</c:v>
                </c:pt>
                <c:pt idx="5194">
                  <c:v>2.6</c:v>
                </c:pt>
                <c:pt idx="5195">
                  <c:v>5.4</c:v>
                </c:pt>
                <c:pt idx="5196">
                  <c:v>10.5</c:v>
                </c:pt>
                <c:pt idx="5197">
                  <c:v>6.5</c:v>
                </c:pt>
                <c:pt idx="5198">
                  <c:v>12.1</c:v>
                </c:pt>
                <c:pt idx="5199">
                  <c:v>6.6</c:v>
                </c:pt>
                <c:pt idx="5200">
                  <c:v>10.7</c:v>
                </c:pt>
                <c:pt idx="5201">
                  <c:v>7.1</c:v>
                </c:pt>
                <c:pt idx="5202">
                  <c:v>1.5</c:v>
                </c:pt>
                <c:pt idx="5203">
                  <c:v>15.2</c:v>
                </c:pt>
                <c:pt idx="5204">
                  <c:v>8.8000000000000007</c:v>
                </c:pt>
                <c:pt idx="5205">
                  <c:v>5.7</c:v>
                </c:pt>
                <c:pt idx="5206">
                  <c:v>9.9</c:v>
                </c:pt>
                <c:pt idx="5207">
                  <c:v>9.6</c:v>
                </c:pt>
                <c:pt idx="5208">
                  <c:v>6.9</c:v>
                </c:pt>
                <c:pt idx="5209">
                  <c:v>7.1</c:v>
                </c:pt>
                <c:pt idx="5210">
                  <c:v>9.8000000000000007</c:v>
                </c:pt>
                <c:pt idx="5211">
                  <c:v>13.1</c:v>
                </c:pt>
                <c:pt idx="5212">
                  <c:v>7.5</c:v>
                </c:pt>
                <c:pt idx="5213">
                  <c:v>11.4</c:v>
                </c:pt>
                <c:pt idx="5214">
                  <c:v>11.7</c:v>
                </c:pt>
                <c:pt idx="5215">
                  <c:v>11.8</c:v>
                </c:pt>
                <c:pt idx="5216">
                  <c:v>11.5</c:v>
                </c:pt>
                <c:pt idx="5217">
                  <c:v>5.0999999999999996</c:v>
                </c:pt>
                <c:pt idx="5218">
                  <c:v>10.7</c:v>
                </c:pt>
                <c:pt idx="5219">
                  <c:v>9.4</c:v>
                </c:pt>
                <c:pt idx="5220">
                  <c:v>7.1</c:v>
                </c:pt>
                <c:pt idx="5221">
                  <c:v>7.2</c:v>
                </c:pt>
                <c:pt idx="5222">
                  <c:v>9.3000000000000007</c:v>
                </c:pt>
                <c:pt idx="5223">
                  <c:v>10.1</c:v>
                </c:pt>
                <c:pt idx="5224">
                  <c:v>9.1</c:v>
                </c:pt>
                <c:pt idx="5225">
                  <c:v>10.3</c:v>
                </c:pt>
                <c:pt idx="5226">
                  <c:v>10.1</c:v>
                </c:pt>
                <c:pt idx="5227">
                  <c:v>11.8</c:v>
                </c:pt>
                <c:pt idx="5228">
                  <c:v>12.4</c:v>
                </c:pt>
                <c:pt idx="5229">
                  <c:v>7.3</c:v>
                </c:pt>
                <c:pt idx="5230">
                  <c:v>7.3</c:v>
                </c:pt>
                <c:pt idx="5231">
                  <c:v>7.2</c:v>
                </c:pt>
                <c:pt idx="5232">
                  <c:v>11.7</c:v>
                </c:pt>
                <c:pt idx="5233">
                  <c:v>6.9</c:v>
                </c:pt>
                <c:pt idx="5234">
                  <c:v>9</c:v>
                </c:pt>
                <c:pt idx="5235">
                  <c:v>6.1</c:v>
                </c:pt>
                <c:pt idx="5236">
                  <c:v>11.1</c:v>
                </c:pt>
                <c:pt idx="5237">
                  <c:v>7.5</c:v>
                </c:pt>
                <c:pt idx="5238">
                  <c:v>5.8</c:v>
                </c:pt>
                <c:pt idx="5239">
                  <c:v>7.5</c:v>
                </c:pt>
                <c:pt idx="5240">
                  <c:v>6.7</c:v>
                </c:pt>
                <c:pt idx="5241">
                  <c:v>11.6</c:v>
                </c:pt>
                <c:pt idx="5242">
                  <c:v>7</c:v>
                </c:pt>
                <c:pt idx="5243">
                  <c:v>6.9</c:v>
                </c:pt>
                <c:pt idx="5244">
                  <c:v>7.2</c:v>
                </c:pt>
                <c:pt idx="5245">
                  <c:v>5.6</c:v>
                </c:pt>
                <c:pt idx="5246">
                  <c:v>3.7</c:v>
                </c:pt>
                <c:pt idx="5247">
                  <c:v>7.4</c:v>
                </c:pt>
                <c:pt idx="5248">
                  <c:v>10.9</c:v>
                </c:pt>
                <c:pt idx="5249">
                  <c:v>7.7</c:v>
                </c:pt>
                <c:pt idx="5250">
                  <c:v>6.5</c:v>
                </c:pt>
                <c:pt idx="5251">
                  <c:v>9.1</c:v>
                </c:pt>
                <c:pt idx="5252">
                  <c:v>7.7</c:v>
                </c:pt>
                <c:pt idx="5253">
                  <c:v>7.7</c:v>
                </c:pt>
                <c:pt idx="5254">
                  <c:v>8.5</c:v>
                </c:pt>
                <c:pt idx="5255">
                  <c:v>9.9</c:v>
                </c:pt>
                <c:pt idx="5256">
                  <c:v>7.7</c:v>
                </c:pt>
                <c:pt idx="5257">
                  <c:v>7.3</c:v>
                </c:pt>
                <c:pt idx="5258">
                  <c:v>7.8</c:v>
                </c:pt>
                <c:pt idx="5259">
                  <c:v>4.5999999999999996</c:v>
                </c:pt>
                <c:pt idx="5260">
                  <c:v>8.4</c:v>
                </c:pt>
                <c:pt idx="5261">
                  <c:v>8.5</c:v>
                </c:pt>
                <c:pt idx="5262">
                  <c:v>11.1</c:v>
                </c:pt>
                <c:pt idx="5263">
                  <c:v>8</c:v>
                </c:pt>
                <c:pt idx="5264">
                  <c:v>8.4</c:v>
                </c:pt>
                <c:pt idx="5265">
                  <c:v>4</c:v>
                </c:pt>
                <c:pt idx="5266">
                  <c:v>6.5</c:v>
                </c:pt>
                <c:pt idx="5267">
                  <c:v>9.6</c:v>
                </c:pt>
                <c:pt idx="5268">
                  <c:v>9.8000000000000007</c:v>
                </c:pt>
                <c:pt idx="5269">
                  <c:v>7.9</c:v>
                </c:pt>
                <c:pt idx="5270">
                  <c:v>12.3</c:v>
                </c:pt>
                <c:pt idx="5271">
                  <c:v>1.5</c:v>
                </c:pt>
                <c:pt idx="5272">
                  <c:v>5.8</c:v>
                </c:pt>
                <c:pt idx="5273">
                  <c:v>8.3000000000000007</c:v>
                </c:pt>
                <c:pt idx="5274">
                  <c:v>15.5</c:v>
                </c:pt>
                <c:pt idx="5275">
                  <c:v>8.4</c:v>
                </c:pt>
                <c:pt idx="5276">
                  <c:v>7.2</c:v>
                </c:pt>
                <c:pt idx="5277">
                  <c:v>6</c:v>
                </c:pt>
                <c:pt idx="5278">
                  <c:v>7.9</c:v>
                </c:pt>
                <c:pt idx="5279">
                  <c:v>10</c:v>
                </c:pt>
                <c:pt idx="5280">
                  <c:v>8.3000000000000007</c:v>
                </c:pt>
                <c:pt idx="5281">
                  <c:v>10.9</c:v>
                </c:pt>
                <c:pt idx="5282">
                  <c:v>6</c:v>
                </c:pt>
                <c:pt idx="5283">
                  <c:v>8.4</c:v>
                </c:pt>
                <c:pt idx="5284">
                  <c:v>5.6</c:v>
                </c:pt>
                <c:pt idx="5285">
                  <c:v>9.5</c:v>
                </c:pt>
                <c:pt idx="5286">
                  <c:v>7</c:v>
                </c:pt>
                <c:pt idx="5287">
                  <c:v>7.8</c:v>
                </c:pt>
                <c:pt idx="5288">
                  <c:v>7.7</c:v>
                </c:pt>
                <c:pt idx="5289">
                  <c:v>10.1</c:v>
                </c:pt>
                <c:pt idx="5290">
                  <c:v>5.4</c:v>
                </c:pt>
                <c:pt idx="5291">
                  <c:v>11.9</c:v>
                </c:pt>
                <c:pt idx="5292">
                  <c:v>9.1999999999999993</c:v>
                </c:pt>
                <c:pt idx="5293">
                  <c:v>7.2</c:v>
                </c:pt>
                <c:pt idx="5294">
                  <c:v>7.3</c:v>
                </c:pt>
                <c:pt idx="5295">
                  <c:v>2.9</c:v>
                </c:pt>
                <c:pt idx="5296">
                  <c:v>10.1</c:v>
                </c:pt>
                <c:pt idx="5297">
                  <c:v>6.2</c:v>
                </c:pt>
                <c:pt idx="5298">
                  <c:v>8.1999999999999993</c:v>
                </c:pt>
                <c:pt idx="5299">
                  <c:v>5.0999999999999996</c:v>
                </c:pt>
                <c:pt idx="5300">
                  <c:v>9.4</c:v>
                </c:pt>
                <c:pt idx="5301">
                  <c:v>6.4</c:v>
                </c:pt>
                <c:pt idx="5302">
                  <c:v>1.5</c:v>
                </c:pt>
                <c:pt idx="5303">
                  <c:v>3.2</c:v>
                </c:pt>
                <c:pt idx="5304">
                  <c:v>7.4</c:v>
                </c:pt>
                <c:pt idx="5305">
                  <c:v>9.1</c:v>
                </c:pt>
                <c:pt idx="5306">
                  <c:v>11.5</c:v>
                </c:pt>
                <c:pt idx="5307">
                  <c:v>8.1</c:v>
                </c:pt>
                <c:pt idx="5308">
                  <c:v>15.7</c:v>
                </c:pt>
                <c:pt idx="5309">
                  <c:v>8.6999999999999993</c:v>
                </c:pt>
                <c:pt idx="5310">
                  <c:v>5.9</c:v>
                </c:pt>
                <c:pt idx="5311">
                  <c:v>4.4000000000000004</c:v>
                </c:pt>
                <c:pt idx="5312">
                  <c:v>8.5</c:v>
                </c:pt>
                <c:pt idx="5313">
                  <c:v>14.2</c:v>
                </c:pt>
                <c:pt idx="5314">
                  <c:v>9.4</c:v>
                </c:pt>
                <c:pt idx="5315">
                  <c:v>7.6</c:v>
                </c:pt>
                <c:pt idx="5316">
                  <c:v>7</c:v>
                </c:pt>
                <c:pt idx="5317">
                  <c:v>4.2</c:v>
                </c:pt>
                <c:pt idx="5318">
                  <c:v>10.199999999999999</c:v>
                </c:pt>
                <c:pt idx="5319">
                  <c:v>7.4</c:v>
                </c:pt>
                <c:pt idx="5320">
                  <c:v>10</c:v>
                </c:pt>
                <c:pt idx="5321">
                  <c:v>6.9</c:v>
                </c:pt>
                <c:pt idx="5322">
                  <c:v>2.6</c:v>
                </c:pt>
                <c:pt idx="5323">
                  <c:v>6</c:v>
                </c:pt>
                <c:pt idx="5324">
                  <c:v>5.7</c:v>
                </c:pt>
                <c:pt idx="5325">
                  <c:v>4.7</c:v>
                </c:pt>
                <c:pt idx="5326">
                  <c:v>5.5</c:v>
                </c:pt>
                <c:pt idx="5327">
                  <c:v>3</c:v>
                </c:pt>
                <c:pt idx="5328">
                  <c:v>9.1999999999999993</c:v>
                </c:pt>
                <c:pt idx="5329">
                  <c:v>8.8000000000000007</c:v>
                </c:pt>
                <c:pt idx="5330">
                  <c:v>4.8</c:v>
                </c:pt>
                <c:pt idx="5331">
                  <c:v>9.1999999999999993</c:v>
                </c:pt>
                <c:pt idx="5332">
                  <c:v>7.4</c:v>
                </c:pt>
                <c:pt idx="5333">
                  <c:v>6.1</c:v>
                </c:pt>
                <c:pt idx="5334">
                  <c:v>10.1</c:v>
                </c:pt>
                <c:pt idx="5335">
                  <c:v>8.1</c:v>
                </c:pt>
                <c:pt idx="5336">
                  <c:v>5.5</c:v>
                </c:pt>
                <c:pt idx="5337">
                  <c:v>4.9000000000000004</c:v>
                </c:pt>
                <c:pt idx="5338">
                  <c:v>1.7</c:v>
                </c:pt>
                <c:pt idx="5339">
                  <c:v>12.7</c:v>
                </c:pt>
                <c:pt idx="5340">
                  <c:v>8.1</c:v>
                </c:pt>
                <c:pt idx="5341">
                  <c:v>8.8000000000000007</c:v>
                </c:pt>
                <c:pt idx="5342">
                  <c:v>10.9</c:v>
                </c:pt>
                <c:pt idx="5343">
                  <c:v>6.5</c:v>
                </c:pt>
                <c:pt idx="5344">
                  <c:v>8.6999999999999993</c:v>
                </c:pt>
                <c:pt idx="5345">
                  <c:v>13.9</c:v>
                </c:pt>
                <c:pt idx="5346">
                  <c:v>8.9</c:v>
                </c:pt>
                <c:pt idx="5347">
                  <c:v>4.7</c:v>
                </c:pt>
                <c:pt idx="5348">
                  <c:v>1.5</c:v>
                </c:pt>
                <c:pt idx="5349">
                  <c:v>9.8000000000000007</c:v>
                </c:pt>
                <c:pt idx="5350">
                  <c:v>9.1999999999999993</c:v>
                </c:pt>
                <c:pt idx="5351">
                  <c:v>9</c:v>
                </c:pt>
                <c:pt idx="5352">
                  <c:v>8.4</c:v>
                </c:pt>
                <c:pt idx="5353">
                  <c:v>7.1</c:v>
                </c:pt>
                <c:pt idx="5354">
                  <c:v>3.3</c:v>
                </c:pt>
                <c:pt idx="5355">
                  <c:v>9.3000000000000007</c:v>
                </c:pt>
                <c:pt idx="5356">
                  <c:v>9.9</c:v>
                </c:pt>
                <c:pt idx="5357">
                  <c:v>7.3</c:v>
                </c:pt>
                <c:pt idx="5358">
                  <c:v>11.8</c:v>
                </c:pt>
                <c:pt idx="5359">
                  <c:v>9.9</c:v>
                </c:pt>
                <c:pt idx="5360">
                  <c:v>5.5</c:v>
                </c:pt>
                <c:pt idx="5361">
                  <c:v>7.3</c:v>
                </c:pt>
                <c:pt idx="5362">
                  <c:v>10.5</c:v>
                </c:pt>
                <c:pt idx="5363">
                  <c:v>7.1</c:v>
                </c:pt>
                <c:pt idx="5364">
                  <c:v>7.3</c:v>
                </c:pt>
                <c:pt idx="5365">
                  <c:v>4.3</c:v>
                </c:pt>
                <c:pt idx="5366">
                  <c:v>8.4</c:v>
                </c:pt>
                <c:pt idx="5367">
                  <c:v>7.1</c:v>
                </c:pt>
                <c:pt idx="5368">
                  <c:v>8.1999999999999993</c:v>
                </c:pt>
                <c:pt idx="5369">
                  <c:v>7.5</c:v>
                </c:pt>
                <c:pt idx="5370">
                  <c:v>5.7</c:v>
                </c:pt>
                <c:pt idx="5371">
                  <c:v>6.2</c:v>
                </c:pt>
                <c:pt idx="5372">
                  <c:v>8.5</c:v>
                </c:pt>
                <c:pt idx="5373">
                  <c:v>9.8000000000000007</c:v>
                </c:pt>
                <c:pt idx="5374">
                  <c:v>4.2</c:v>
                </c:pt>
                <c:pt idx="5375">
                  <c:v>6.6</c:v>
                </c:pt>
                <c:pt idx="5376">
                  <c:v>7.9</c:v>
                </c:pt>
                <c:pt idx="5377">
                  <c:v>5.8</c:v>
                </c:pt>
                <c:pt idx="5378">
                  <c:v>11.7</c:v>
                </c:pt>
                <c:pt idx="5379">
                  <c:v>8</c:v>
                </c:pt>
                <c:pt idx="5380">
                  <c:v>10.6</c:v>
                </c:pt>
                <c:pt idx="5381">
                  <c:v>13.3</c:v>
                </c:pt>
                <c:pt idx="5382">
                  <c:v>12.4</c:v>
                </c:pt>
                <c:pt idx="5383">
                  <c:v>10.199999999999999</c:v>
                </c:pt>
                <c:pt idx="5384">
                  <c:v>8.4</c:v>
                </c:pt>
                <c:pt idx="5385">
                  <c:v>6.1</c:v>
                </c:pt>
                <c:pt idx="5386">
                  <c:v>10.8</c:v>
                </c:pt>
                <c:pt idx="5387">
                  <c:v>7.2</c:v>
                </c:pt>
                <c:pt idx="5388">
                  <c:v>5.7</c:v>
                </c:pt>
                <c:pt idx="5389">
                  <c:v>9.6</c:v>
                </c:pt>
                <c:pt idx="5390">
                  <c:v>9.6999999999999993</c:v>
                </c:pt>
                <c:pt idx="5391">
                  <c:v>7.2</c:v>
                </c:pt>
                <c:pt idx="5392">
                  <c:v>11.4</c:v>
                </c:pt>
                <c:pt idx="5393">
                  <c:v>6.9</c:v>
                </c:pt>
                <c:pt idx="5394">
                  <c:v>5.7</c:v>
                </c:pt>
                <c:pt idx="5395">
                  <c:v>9.8000000000000007</c:v>
                </c:pt>
                <c:pt idx="5396">
                  <c:v>7.9</c:v>
                </c:pt>
                <c:pt idx="5397">
                  <c:v>4.5999999999999996</c:v>
                </c:pt>
                <c:pt idx="5398">
                  <c:v>6.9</c:v>
                </c:pt>
                <c:pt idx="5399">
                  <c:v>10.1</c:v>
                </c:pt>
                <c:pt idx="5400">
                  <c:v>7.8</c:v>
                </c:pt>
                <c:pt idx="5401">
                  <c:v>10.199999999999999</c:v>
                </c:pt>
                <c:pt idx="5402">
                  <c:v>12.2</c:v>
                </c:pt>
                <c:pt idx="5403">
                  <c:v>9.1</c:v>
                </c:pt>
                <c:pt idx="5404">
                  <c:v>6.7</c:v>
                </c:pt>
                <c:pt idx="5405">
                  <c:v>1.4</c:v>
                </c:pt>
                <c:pt idx="5406">
                  <c:v>9.1</c:v>
                </c:pt>
                <c:pt idx="5407">
                  <c:v>8</c:v>
                </c:pt>
                <c:pt idx="5408">
                  <c:v>8.9</c:v>
                </c:pt>
                <c:pt idx="5409">
                  <c:v>7.6</c:v>
                </c:pt>
                <c:pt idx="5410">
                  <c:v>7.4</c:v>
                </c:pt>
                <c:pt idx="5411">
                  <c:v>10.199999999999999</c:v>
                </c:pt>
                <c:pt idx="5412">
                  <c:v>7.4</c:v>
                </c:pt>
                <c:pt idx="5413">
                  <c:v>9.8000000000000007</c:v>
                </c:pt>
                <c:pt idx="5414">
                  <c:v>8.4</c:v>
                </c:pt>
                <c:pt idx="5415">
                  <c:v>6.8</c:v>
                </c:pt>
                <c:pt idx="5416">
                  <c:v>7.7</c:v>
                </c:pt>
                <c:pt idx="5417">
                  <c:v>3.9</c:v>
                </c:pt>
                <c:pt idx="5418">
                  <c:v>4.8</c:v>
                </c:pt>
                <c:pt idx="5419">
                  <c:v>8.1999999999999993</c:v>
                </c:pt>
                <c:pt idx="5420">
                  <c:v>6.6</c:v>
                </c:pt>
                <c:pt idx="5421">
                  <c:v>11</c:v>
                </c:pt>
                <c:pt idx="5422">
                  <c:v>0.4</c:v>
                </c:pt>
                <c:pt idx="5423">
                  <c:v>5.6</c:v>
                </c:pt>
                <c:pt idx="5424">
                  <c:v>6.3</c:v>
                </c:pt>
                <c:pt idx="5425">
                  <c:v>6</c:v>
                </c:pt>
                <c:pt idx="5426">
                  <c:v>7.6</c:v>
                </c:pt>
                <c:pt idx="5427">
                  <c:v>9</c:v>
                </c:pt>
                <c:pt idx="5428">
                  <c:v>9.5</c:v>
                </c:pt>
                <c:pt idx="5429">
                  <c:v>7.8</c:v>
                </c:pt>
                <c:pt idx="5430">
                  <c:v>6.7</c:v>
                </c:pt>
                <c:pt idx="5431">
                  <c:v>6.8</c:v>
                </c:pt>
                <c:pt idx="5432">
                  <c:v>9.1</c:v>
                </c:pt>
                <c:pt idx="5433">
                  <c:v>9.1</c:v>
                </c:pt>
                <c:pt idx="5434">
                  <c:v>11.1</c:v>
                </c:pt>
                <c:pt idx="5435">
                  <c:v>6.4</c:v>
                </c:pt>
                <c:pt idx="5436">
                  <c:v>8.3000000000000007</c:v>
                </c:pt>
                <c:pt idx="5437">
                  <c:v>9</c:v>
                </c:pt>
                <c:pt idx="5438">
                  <c:v>10.3</c:v>
                </c:pt>
                <c:pt idx="5439">
                  <c:v>8.6</c:v>
                </c:pt>
                <c:pt idx="5440">
                  <c:v>7.5</c:v>
                </c:pt>
                <c:pt idx="5441">
                  <c:v>4.8</c:v>
                </c:pt>
                <c:pt idx="5442">
                  <c:v>7.5</c:v>
                </c:pt>
                <c:pt idx="5443">
                  <c:v>5.5</c:v>
                </c:pt>
                <c:pt idx="5444">
                  <c:v>7.9</c:v>
                </c:pt>
                <c:pt idx="5445">
                  <c:v>11.8</c:v>
                </c:pt>
                <c:pt idx="5446">
                  <c:v>0.8</c:v>
                </c:pt>
                <c:pt idx="5447">
                  <c:v>6.8</c:v>
                </c:pt>
                <c:pt idx="5448">
                  <c:v>9.5</c:v>
                </c:pt>
                <c:pt idx="5449">
                  <c:v>7.5</c:v>
                </c:pt>
                <c:pt idx="5450">
                  <c:v>5.9</c:v>
                </c:pt>
                <c:pt idx="5451">
                  <c:v>7.6</c:v>
                </c:pt>
                <c:pt idx="5452">
                  <c:v>4.8</c:v>
                </c:pt>
                <c:pt idx="5453">
                  <c:v>8.5</c:v>
                </c:pt>
                <c:pt idx="5454">
                  <c:v>6.6</c:v>
                </c:pt>
                <c:pt idx="5455">
                  <c:v>5.3</c:v>
                </c:pt>
                <c:pt idx="5456">
                  <c:v>9.5</c:v>
                </c:pt>
                <c:pt idx="5457">
                  <c:v>6.6</c:v>
                </c:pt>
                <c:pt idx="5458">
                  <c:v>10.6</c:v>
                </c:pt>
                <c:pt idx="5459">
                  <c:v>8.6</c:v>
                </c:pt>
                <c:pt idx="5460">
                  <c:v>6.5</c:v>
                </c:pt>
                <c:pt idx="5461">
                  <c:v>8.1</c:v>
                </c:pt>
                <c:pt idx="5462">
                  <c:v>1.6</c:v>
                </c:pt>
                <c:pt idx="5463">
                  <c:v>12.8</c:v>
                </c:pt>
                <c:pt idx="5464">
                  <c:v>8.1999999999999993</c:v>
                </c:pt>
                <c:pt idx="5465">
                  <c:v>7.3</c:v>
                </c:pt>
                <c:pt idx="5466">
                  <c:v>8.9</c:v>
                </c:pt>
                <c:pt idx="5467">
                  <c:v>5.6</c:v>
                </c:pt>
                <c:pt idx="5468">
                  <c:v>7.4</c:v>
                </c:pt>
                <c:pt idx="5469">
                  <c:v>9.8000000000000007</c:v>
                </c:pt>
                <c:pt idx="5470">
                  <c:v>12.4</c:v>
                </c:pt>
                <c:pt idx="5471">
                  <c:v>6.7</c:v>
                </c:pt>
                <c:pt idx="5472">
                  <c:v>12.5</c:v>
                </c:pt>
                <c:pt idx="5473">
                  <c:v>4.3</c:v>
                </c:pt>
                <c:pt idx="5474">
                  <c:v>9</c:v>
                </c:pt>
                <c:pt idx="5475">
                  <c:v>3.3</c:v>
                </c:pt>
                <c:pt idx="5476">
                  <c:v>11.4</c:v>
                </c:pt>
                <c:pt idx="5477">
                  <c:v>7.5</c:v>
                </c:pt>
                <c:pt idx="5478">
                  <c:v>7.8</c:v>
                </c:pt>
                <c:pt idx="5479">
                  <c:v>1.2</c:v>
                </c:pt>
                <c:pt idx="5480">
                  <c:v>7.4</c:v>
                </c:pt>
                <c:pt idx="5481">
                  <c:v>8.8000000000000007</c:v>
                </c:pt>
                <c:pt idx="5482">
                  <c:v>6.8</c:v>
                </c:pt>
                <c:pt idx="5483">
                  <c:v>6</c:v>
                </c:pt>
                <c:pt idx="5484">
                  <c:v>7.3</c:v>
                </c:pt>
                <c:pt idx="5485">
                  <c:v>8.9</c:v>
                </c:pt>
                <c:pt idx="5486">
                  <c:v>12</c:v>
                </c:pt>
                <c:pt idx="5487">
                  <c:v>7.1</c:v>
                </c:pt>
                <c:pt idx="5488">
                  <c:v>7.3</c:v>
                </c:pt>
                <c:pt idx="5489">
                  <c:v>8.3000000000000007</c:v>
                </c:pt>
                <c:pt idx="5490">
                  <c:v>8.9</c:v>
                </c:pt>
                <c:pt idx="5491">
                  <c:v>9.5</c:v>
                </c:pt>
                <c:pt idx="5492">
                  <c:v>10.6</c:v>
                </c:pt>
                <c:pt idx="5493">
                  <c:v>15</c:v>
                </c:pt>
                <c:pt idx="5494">
                  <c:v>10.3</c:v>
                </c:pt>
                <c:pt idx="5495">
                  <c:v>8.6999999999999993</c:v>
                </c:pt>
                <c:pt idx="5496">
                  <c:v>9.8000000000000007</c:v>
                </c:pt>
                <c:pt idx="5497">
                  <c:v>7.5</c:v>
                </c:pt>
                <c:pt idx="5498">
                  <c:v>7</c:v>
                </c:pt>
                <c:pt idx="5499">
                  <c:v>12.1</c:v>
                </c:pt>
                <c:pt idx="5500">
                  <c:v>6</c:v>
                </c:pt>
                <c:pt idx="5501">
                  <c:v>14.3</c:v>
                </c:pt>
                <c:pt idx="5502">
                  <c:v>9.4</c:v>
                </c:pt>
                <c:pt idx="5503">
                  <c:v>4.7</c:v>
                </c:pt>
                <c:pt idx="5504">
                  <c:v>10.3</c:v>
                </c:pt>
                <c:pt idx="5505">
                  <c:v>7.9</c:v>
                </c:pt>
                <c:pt idx="5506">
                  <c:v>5.5</c:v>
                </c:pt>
                <c:pt idx="5507">
                  <c:v>14.2</c:v>
                </c:pt>
                <c:pt idx="5508">
                  <c:v>8</c:v>
                </c:pt>
                <c:pt idx="5509">
                  <c:v>10.4</c:v>
                </c:pt>
                <c:pt idx="5510">
                  <c:v>5.8</c:v>
                </c:pt>
                <c:pt idx="5511">
                  <c:v>4.7</c:v>
                </c:pt>
                <c:pt idx="5512">
                  <c:v>12.7</c:v>
                </c:pt>
                <c:pt idx="5513">
                  <c:v>7.8</c:v>
                </c:pt>
                <c:pt idx="5514">
                  <c:v>7.6</c:v>
                </c:pt>
                <c:pt idx="5515">
                  <c:v>10</c:v>
                </c:pt>
                <c:pt idx="5516">
                  <c:v>6.6</c:v>
                </c:pt>
                <c:pt idx="5517">
                  <c:v>5.4</c:v>
                </c:pt>
                <c:pt idx="5518">
                  <c:v>6</c:v>
                </c:pt>
                <c:pt idx="5519">
                  <c:v>10.1</c:v>
                </c:pt>
                <c:pt idx="5520">
                  <c:v>5.7</c:v>
                </c:pt>
                <c:pt idx="5521">
                  <c:v>4.8</c:v>
                </c:pt>
                <c:pt idx="5522">
                  <c:v>7.7</c:v>
                </c:pt>
                <c:pt idx="5523">
                  <c:v>7.2</c:v>
                </c:pt>
                <c:pt idx="5524">
                  <c:v>16.7</c:v>
                </c:pt>
                <c:pt idx="5525">
                  <c:v>9.6999999999999993</c:v>
                </c:pt>
                <c:pt idx="5526">
                  <c:v>4.9000000000000004</c:v>
                </c:pt>
                <c:pt idx="5527">
                  <c:v>9.3000000000000007</c:v>
                </c:pt>
                <c:pt idx="5528">
                  <c:v>10.4</c:v>
                </c:pt>
                <c:pt idx="5529">
                  <c:v>8.3000000000000007</c:v>
                </c:pt>
                <c:pt idx="5530">
                  <c:v>6.4</c:v>
                </c:pt>
                <c:pt idx="5531">
                  <c:v>1.3</c:v>
                </c:pt>
                <c:pt idx="5532">
                  <c:v>7.8</c:v>
                </c:pt>
                <c:pt idx="5533">
                  <c:v>7.2</c:v>
                </c:pt>
                <c:pt idx="5534">
                  <c:v>6.3</c:v>
                </c:pt>
                <c:pt idx="5535">
                  <c:v>6.3</c:v>
                </c:pt>
                <c:pt idx="5536">
                  <c:v>9.4</c:v>
                </c:pt>
                <c:pt idx="5537">
                  <c:v>0.1</c:v>
                </c:pt>
                <c:pt idx="5538">
                  <c:v>7.1</c:v>
                </c:pt>
                <c:pt idx="5539">
                  <c:v>10.6</c:v>
                </c:pt>
                <c:pt idx="5540">
                  <c:v>6.6</c:v>
                </c:pt>
                <c:pt idx="5541">
                  <c:v>6.9</c:v>
                </c:pt>
                <c:pt idx="5542">
                  <c:v>9.9</c:v>
                </c:pt>
                <c:pt idx="5543">
                  <c:v>5.7</c:v>
                </c:pt>
                <c:pt idx="5544">
                  <c:v>8.6999999999999993</c:v>
                </c:pt>
                <c:pt idx="5545">
                  <c:v>13.2</c:v>
                </c:pt>
                <c:pt idx="5546">
                  <c:v>8.9</c:v>
                </c:pt>
                <c:pt idx="5547">
                  <c:v>10.8</c:v>
                </c:pt>
                <c:pt idx="5548">
                  <c:v>4.7</c:v>
                </c:pt>
                <c:pt idx="5549">
                  <c:v>8.5</c:v>
                </c:pt>
                <c:pt idx="5550">
                  <c:v>11.9</c:v>
                </c:pt>
                <c:pt idx="5551">
                  <c:v>9.1999999999999993</c:v>
                </c:pt>
                <c:pt idx="5552">
                  <c:v>9.1</c:v>
                </c:pt>
                <c:pt idx="5553">
                  <c:v>6.4</c:v>
                </c:pt>
                <c:pt idx="5554">
                  <c:v>9.9</c:v>
                </c:pt>
                <c:pt idx="5555">
                  <c:v>15.2</c:v>
                </c:pt>
                <c:pt idx="5556">
                  <c:v>11.8</c:v>
                </c:pt>
                <c:pt idx="5557">
                  <c:v>8.6999999999999993</c:v>
                </c:pt>
                <c:pt idx="5558">
                  <c:v>1.1000000000000001</c:v>
                </c:pt>
                <c:pt idx="5559">
                  <c:v>9.6</c:v>
                </c:pt>
                <c:pt idx="5560">
                  <c:v>4.7</c:v>
                </c:pt>
                <c:pt idx="5561">
                  <c:v>11.8</c:v>
                </c:pt>
                <c:pt idx="5562">
                  <c:v>9</c:v>
                </c:pt>
                <c:pt idx="5563">
                  <c:v>10.1</c:v>
                </c:pt>
                <c:pt idx="5564">
                  <c:v>6.6</c:v>
                </c:pt>
                <c:pt idx="5565">
                  <c:v>6.2</c:v>
                </c:pt>
                <c:pt idx="5566">
                  <c:v>6.6</c:v>
                </c:pt>
                <c:pt idx="5567">
                  <c:v>6.6</c:v>
                </c:pt>
                <c:pt idx="5568">
                  <c:v>10.3</c:v>
                </c:pt>
                <c:pt idx="5569">
                  <c:v>7</c:v>
                </c:pt>
                <c:pt idx="5570">
                  <c:v>8.5</c:v>
                </c:pt>
                <c:pt idx="5571">
                  <c:v>10.8</c:v>
                </c:pt>
                <c:pt idx="5572">
                  <c:v>7.7</c:v>
                </c:pt>
                <c:pt idx="5573">
                  <c:v>8.3000000000000007</c:v>
                </c:pt>
                <c:pt idx="5574">
                  <c:v>8.1999999999999993</c:v>
                </c:pt>
                <c:pt idx="5575">
                  <c:v>6.8</c:v>
                </c:pt>
                <c:pt idx="5576">
                  <c:v>7.2</c:v>
                </c:pt>
                <c:pt idx="5577">
                  <c:v>13.3</c:v>
                </c:pt>
                <c:pt idx="5578">
                  <c:v>1.9</c:v>
                </c:pt>
                <c:pt idx="5579">
                  <c:v>3.9</c:v>
                </c:pt>
                <c:pt idx="5580">
                  <c:v>5.5</c:v>
                </c:pt>
                <c:pt idx="5581">
                  <c:v>10.6</c:v>
                </c:pt>
                <c:pt idx="5582">
                  <c:v>15.4</c:v>
                </c:pt>
                <c:pt idx="5583">
                  <c:v>10.9</c:v>
                </c:pt>
                <c:pt idx="5584">
                  <c:v>7.3</c:v>
                </c:pt>
                <c:pt idx="5585">
                  <c:v>5.0999999999999996</c:v>
                </c:pt>
                <c:pt idx="5586">
                  <c:v>4</c:v>
                </c:pt>
                <c:pt idx="5587">
                  <c:v>6.5</c:v>
                </c:pt>
                <c:pt idx="5588">
                  <c:v>6.6</c:v>
                </c:pt>
                <c:pt idx="5589">
                  <c:v>8.9</c:v>
                </c:pt>
                <c:pt idx="5590">
                  <c:v>7.9</c:v>
                </c:pt>
                <c:pt idx="5591">
                  <c:v>7.4</c:v>
                </c:pt>
                <c:pt idx="5592">
                  <c:v>6.2</c:v>
                </c:pt>
                <c:pt idx="5593">
                  <c:v>8.1999999999999993</c:v>
                </c:pt>
                <c:pt idx="5594">
                  <c:v>5.5</c:v>
                </c:pt>
                <c:pt idx="5595">
                  <c:v>10.5</c:v>
                </c:pt>
                <c:pt idx="5596">
                  <c:v>9.6999999999999993</c:v>
                </c:pt>
                <c:pt idx="5597">
                  <c:v>6</c:v>
                </c:pt>
                <c:pt idx="5598">
                  <c:v>12.3</c:v>
                </c:pt>
                <c:pt idx="5599">
                  <c:v>5.5</c:v>
                </c:pt>
                <c:pt idx="5600">
                  <c:v>11.9</c:v>
                </c:pt>
                <c:pt idx="5601">
                  <c:v>7.5</c:v>
                </c:pt>
                <c:pt idx="5602">
                  <c:v>9.8000000000000007</c:v>
                </c:pt>
                <c:pt idx="5603">
                  <c:v>9.1999999999999993</c:v>
                </c:pt>
                <c:pt idx="5604">
                  <c:v>7.4</c:v>
                </c:pt>
                <c:pt idx="5605">
                  <c:v>5.9</c:v>
                </c:pt>
                <c:pt idx="5606">
                  <c:v>5.6</c:v>
                </c:pt>
                <c:pt idx="5607">
                  <c:v>7.7</c:v>
                </c:pt>
                <c:pt idx="5608">
                  <c:v>9.1999999999999993</c:v>
                </c:pt>
                <c:pt idx="5609">
                  <c:v>13.5</c:v>
                </c:pt>
                <c:pt idx="5610">
                  <c:v>9.5</c:v>
                </c:pt>
                <c:pt idx="5611">
                  <c:v>9</c:v>
                </c:pt>
                <c:pt idx="5612">
                  <c:v>6.9</c:v>
                </c:pt>
                <c:pt idx="5613">
                  <c:v>4.3</c:v>
                </c:pt>
                <c:pt idx="5614">
                  <c:v>5</c:v>
                </c:pt>
                <c:pt idx="5615">
                  <c:v>8</c:v>
                </c:pt>
                <c:pt idx="5616">
                  <c:v>7.8</c:v>
                </c:pt>
                <c:pt idx="5617">
                  <c:v>7.2</c:v>
                </c:pt>
                <c:pt idx="5618">
                  <c:v>8.5</c:v>
                </c:pt>
                <c:pt idx="5619">
                  <c:v>1.3</c:v>
                </c:pt>
                <c:pt idx="5620">
                  <c:v>6.8</c:v>
                </c:pt>
                <c:pt idx="5621">
                  <c:v>8.1999999999999993</c:v>
                </c:pt>
                <c:pt idx="5622">
                  <c:v>7.5</c:v>
                </c:pt>
                <c:pt idx="5623">
                  <c:v>7.4</c:v>
                </c:pt>
                <c:pt idx="5624">
                  <c:v>2.6</c:v>
                </c:pt>
                <c:pt idx="5625">
                  <c:v>7.1</c:v>
                </c:pt>
                <c:pt idx="5626">
                  <c:v>7.4</c:v>
                </c:pt>
                <c:pt idx="5627">
                  <c:v>4.4000000000000004</c:v>
                </c:pt>
                <c:pt idx="5628">
                  <c:v>14.8</c:v>
                </c:pt>
                <c:pt idx="5629">
                  <c:v>8.1</c:v>
                </c:pt>
                <c:pt idx="5630">
                  <c:v>10.6</c:v>
                </c:pt>
                <c:pt idx="5631">
                  <c:v>6.2</c:v>
                </c:pt>
                <c:pt idx="5632">
                  <c:v>7.7</c:v>
                </c:pt>
                <c:pt idx="5633">
                  <c:v>6.3</c:v>
                </c:pt>
                <c:pt idx="5634">
                  <c:v>9.1999999999999993</c:v>
                </c:pt>
                <c:pt idx="5635">
                  <c:v>5.0999999999999996</c:v>
                </c:pt>
                <c:pt idx="5636">
                  <c:v>6</c:v>
                </c:pt>
                <c:pt idx="5637">
                  <c:v>8.6999999999999993</c:v>
                </c:pt>
                <c:pt idx="5638">
                  <c:v>4.7</c:v>
                </c:pt>
                <c:pt idx="5639">
                  <c:v>8.4</c:v>
                </c:pt>
                <c:pt idx="5640">
                  <c:v>4.7</c:v>
                </c:pt>
                <c:pt idx="5641">
                  <c:v>8.8000000000000007</c:v>
                </c:pt>
                <c:pt idx="5642">
                  <c:v>8.9</c:v>
                </c:pt>
                <c:pt idx="5643">
                  <c:v>8.6</c:v>
                </c:pt>
                <c:pt idx="5644">
                  <c:v>8.4</c:v>
                </c:pt>
                <c:pt idx="5645">
                  <c:v>6.8</c:v>
                </c:pt>
                <c:pt idx="5646">
                  <c:v>7.5</c:v>
                </c:pt>
                <c:pt idx="5647">
                  <c:v>9.3000000000000007</c:v>
                </c:pt>
                <c:pt idx="5648">
                  <c:v>6.3</c:v>
                </c:pt>
                <c:pt idx="5649">
                  <c:v>9.3000000000000007</c:v>
                </c:pt>
                <c:pt idx="5650">
                  <c:v>7.7</c:v>
                </c:pt>
                <c:pt idx="5651">
                  <c:v>4.3</c:v>
                </c:pt>
                <c:pt idx="5652">
                  <c:v>8.1999999999999993</c:v>
                </c:pt>
                <c:pt idx="5653">
                  <c:v>7.3</c:v>
                </c:pt>
                <c:pt idx="5654">
                  <c:v>8.6</c:v>
                </c:pt>
                <c:pt idx="5655">
                  <c:v>2.8</c:v>
                </c:pt>
                <c:pt idx="5656">
                  <c:v>2.2000000000000002</c:v>
                </c:pt>
                <c:pt idx="5657">
                  <c:v>13.6</c:v>
                </c:pt>
                <c:pt idx="5658">
                  <c:v>7.1</c:v>
                </c:pt>
                <c:pt idx="5659">
                  <c:v>5.4</c:v>
                </c:pt>
                <c:pt idx="5660">
                  <c:v>5.7</c:v>
                </c:pt>
                <c:pt idx="5661">
                  <c:v>10.199999999999999</c:v>
                </c:pt>
                <c:pt idx="5662">
                  <c:v>11.7</c:v>
                </c:pt>
                <c:pt idx="5663">
                  <c:v>6.6</c:v>
                </c:pt>
                <c:pt idx="5664">
                  <c:v>5.5</c:v>
                </c:pt>
                <c:pt idx="5665">
                  <c:v>5.5</c:v>
                </c:pt>
                <c:pt idx="5666">
                  <c:v>5.3</c:v>
                </c:pt>
                <c:pt idx="5667">
                  <c:v>9.3000000000000007</c:v>
                </c:pt>
                <c:pt idx="5668">
                  <c:v>5.8</c:v>
                </c:pt>
                <c:pt idx="5669">
                  <c:v>11.1</c:v>
                </c:pt>
                <c:pt idx="5670">
                  <c:v>10.7</c:v>
                </c:pt>
                <c:pt idx="5671">
                  <c:v>5.7</c:v>
                </c:pt>
                <c:pt idx="5672">
                  <c:v>7.5</c:v>
                </c:pt>
                <c:pt idx="5673">
                  <c:v>9.6</c:v>
                </c:pt>
                <c:pt idx="5674">
                  <c:v>12.7</c:v>
                </c:pt>
                <c:pt idx="5675">
                  <c:v>7.8</c:v>
                </c:pt>
                <c:pt idx="5676">
                  <c:v>3.7</c:v>
                </c:pt>
                <c:pt idx="5677">
                  <c:v>9.9</c:v>
                </c:pt>
                <c:pt idx="5678">
                  <c:v>1.4</c:v>
                </c:pt>
                <c:pt idx="5679">
                  <c:v>5.7</c:v>
                </c:pt>
                <c:pt idx="5680">
                  <c:v>6.9</c:v>
                </c:pt>
                <c:pt idx="5681">
                  <c:v>7.5</c:v>
                </c:pt>
                <c:pt idx="5682">
                  <c:v>2.9</c:v>
                </c:pt>
                <c:pt idx="5683">
                  <c:v>3.4</c:v>
                </c:pt>
                <c:pt idx="5684">
                  <c:v>6</c:v>
                </c:pt>
                <c:pt idx="5685">
                  <c:v>11.3</c:v>
                </c:pt>
                <c:pt idx="5686">
                  <c:v>1.8</c:v>
                </c:pt>
                <c:pt idx="5687">
                  <c:v>7.7</c:v>
                </c:pt>
                <c:pt idx="5688">
                  <c:v>9.9</c:v>
                </c:pt>
                <c:pt idx="5689">
                  <c:v>6.1</c:v>
                </c:pt>
                <c:pt idx="5690">
                  <c:v>6</c:v>
                </c:pt>
                <c:pt idx="5691">
                  <c:v>12.8</c:v>
                </c:pt>
                <c:pt idx="5692">
                  <c:v>4.5</c:v>
                </c:pt>
                <c:pt idx="5693">
                  <c:v>5.7</c:v>
                </c:pt>
                <c:pt idx="5694">
                  <c:v>12.5</c:v>
                </c:pt>
                <c:pt idx="5695">
                  <c:v>7.7</c:v>
                </c:pt>
                <c:pt idx="5696">
                  <c:v>10.3</c:v>
                </c:pt>
                <c:pt idx="5697">
                  <c:v>6.4</c:v>
                </c:pt>
                <c:pt idx="5698">
                  <c:v>2.2000000000000002</c:v>
                </c:pt>
                <c:pt idx="5699">
                  <c:v>10.1</c:v>
                </c:pt>
                <c:pt idx="5700">
                  <c:v>6.7</c:v>
                </c:pt>
                <c:pt idx="5701">
                  <c:v>7.6</c:v>
                </c:pt>
                <c:pt idx="5702">
                  <c:v>13.5</c:v>
                </c:pt>
                <c:pt idx="5703">
                  <c:v>8.6999999999999993</c:v>
                </c:pt>
                <c:pt idx="5704">
                  <c:v>9.9</c:v>
                </c:pt>
                <c:pt idx="5705">
                  <c:v>6.5</c:v>
                </c:pt>
                <c:pt idx="5706">
                  <c:v>4.8</c:v>
                </c:pt>
                <c:pt idx="5707">
                  <c:v>7.3</c:v>
                </c:pt>
                <c:pt idx="5708">
                  <c:v>6.9</c:v>
                </c:pt>
                <c:pt idx="5709">
                  <c:v>6.6</c:v>
                </c:pt>
                <c:pt idx="5710">
                  <c:v>10.8</c:v>
                </c:pt>
                <c:pt idx="5711">
                  <c:v>8.8000000000000007</c:v>
                </c:pt>
                <c:pt idx="5712">
                  <c:v>7.7</c:v>
                </c:pt>
                <c:pt idx="5713">
                  <c:v>8.9</c:v>
                </c:pt>
                <c:pt idx="5714">
                  <c:v>8.3000000000000007</c:v>
                </c:pt>
                <c:pt idx="5715">
                  <c:v>13.4</c:v>
                </c:pt>
                <c:pt idx="5716">
                  <c:v>9.6</c:v>
                </c:pt>
                <c:pt idx="5717">
                  <c:v>10</c:v>
                </c:pt>
                <c:pt idx="5718">
                  <c:v>4.0999999999999996</c:v>
                </c:pt>
                <c:pt idx="5719">
                  <c:v>11</c:v>
                </c:pt>
                <c:pt idx="5720">
                  <c:v>7.3</c:v>
                </c:pt>
                <c:pt idx="5721">
                  <c:v>8.1</c:v>
                </c:pt>
                <c:pt idx="5722">
                  <c:v>8.5</c:v>
                </c:pt>
                <c:pt idx="5723">
                  <c:v>6.5</c:v>
                </c:pt>
                <c:pt idx="5724">
                  <c:v>9.9</c:v>
                </c:pt>
                <c:pt idx="5725">
                  <c:v>10.199999999999999</c:v>
                </c:pt>
                <c:pt idx="5726">
                  <c:v>10.199999999999999</c:v>
                </c:pt>
                <c:pt idx="5727">
                  <c:v>9.3000000000000007</c:v>
                </c:pt>
                <c:pt idx="5728">
                  <c:v>4.5</c:v>
                </c:pt>
                <c:pt idx="5729">
                  <c:v>9</c:v>
                </c:pt>
                <c:pt idx="5730">
                  <c:v>7.7</c:v>
                </c:pt>
                <c:pt idx="5731">
                  <c:v>6.9</c:v>
                </c:pt>
                <c:pt idx="5732">
                  <c:v>7.2</c:v>
                </c:pt>
                <c:pt idx="5733">
                  <c:v>7.1</c:v>
                </c:pt>
                <c:pt idx="5734">
                  <c:v>4</c:v>
                </c:pt>
                <c:pt idx="5735">
                  <c:v>6.2</c:v>
                </c:pt>
                <c:pt idx="5736">
                  <c:v>6.6</c:v>
                </c:pt>
                <c:pt idx="5737">
                  <c:v>8.3000000000000007</c:v>
                </c:pt>
                <c:pt idx="5738">
                  <c:v>10.7</c:v>
                </c:pt>
                <c:pt idx="5739">
                  <c:v>0.9</c:v>
                </c:pt>
                <c:pt idx="5740">
                  <c:v>4.4000000000000004</c:v>
                </c:pt>
                <c:pt idx="5741">
                  <c:v>5.3</c:v>
                </c:pt>
                <c:pt idx="5742">
                  <c:v>3.7</c:v>
                </c:pt>
                <c:pt idx="5743">
                  <c:v>6.9</c:v>
                </c:pt>
                <c:pt idx="5744">
                  <c:v>4.3</c:v>
                </c:pt>
                <c:pt idx="5745">
                  <c:v>7.9</c:v>
                </c:pt>
                <c:pt idx="5746">
                  <c:v>11.4</c:v>
                </c:pt>
                <c:pt idx="5747">
                  <c:v>5.0999999999999996</c:v>
                </c:pt>
                <c:pt idx="5748">
                  <c:v>6</c:v>
                </c:pt>
                <c:pt idx="5749">
                  <c:v>6.2</c:v>
                </c:pt>
                <c:pt idx="5750">
                  <c:v>9.4</c:v>
                </c:pt>
                <c:pt idx="5751">
                  <c:v>1.6</c:v>
                </c:pt>
                <c:pt idx="5752">
                  <c:v>7.4</c:v>
                </c:pt>
                <c:pt idx="5753">
                  <c:v>7.3</c:v>
                </c:pt>
                <c:pt idx="5754">
                  <c:v>10.3</c:v>
                </c:pt>
                <c:pt idx="5755">
                  <c:v>7</c:v>
                </c:pt>
                <c:pt idx="5756">
                  <c:v>8.4</c:v>
                </c:pt>
                <c:pt idx="5757">
                  <c:v>11.3</c:v>
                </c:pt>
                <c:pt idx="5758">
                  <c:v>9</c:v>
                </c:pt>
                <c:pt idx="5759">
                  <c:v>7.9</c:v>
                </c:pt>
                <c:pt idx="5760">
                  <c:v>6</c:v>
                </c:pt>
                <c:pt idx="5761">
                  <c:v>6.8</c:v>
                </c:pt>
                <c:pt idx="5762">
                  <c:v>1.6</c:v>
                </c:pt>
                <c:pt idx="5763">
                  <c:v>12</c:v>
                </c:pt>
                <c:pt idx="5764">
                  <c:v>13.7</c:v>
                </c:pt>
                <c:pt idx="5765">
                  <c:v>5.5</c:v>
                </c:pt>
                <c:pt idx="5766">
                  <c:v>7.1</c:v>
                </c:pt>
                <c:pt idx="5767">
                  <c:v>7.8</c:v>
                </c:pt>
                <c:pt idx="5768">
                  <c:v>7.6</c:v>
                </c:pt>
                <c:pt idx="5769">
                  <c:v>6.5</c:v>
                </c:pt>
                <c:pt idx="5770">
                  <c:v>8.6999999999999993</c:v>
                </c:pt>
                <c:pt idx="5771">
                  <c:v>9.5</c:v>
                </c:pt>
                <c:pt idx="5772">
                  <c:v>11.5</c:v>
                </c:pt>
                <c:pt idx="5773">
                  <c:v>8.4</c:v>
                </c:pt>
                <c:pt idx="5774">
                  <c:v>9.3000000000000007</c:v>
                </c:pt>
                <c:pt idx="5775">
                  <c:v>6.3</c:v>
                </c:pt>
                <c:pt idx="5776">
                  <c:v>11.9</c:v>
                </c:pt>
                <c:pt idx="5777">
                  <c:v>8.6</c:v>
                </c:pt>
                <c:pt idx="5778">
                  <c:v>12.7</c:v>
                </c:pt>
                <c:pt idx="5779">
                  <c:v>5.9</c:v>
                </c:pt>
                <c:pt idx="5780">
                  <c:v>9.4</c:v>
                </c:pt>
                <c:pt idx="5781">
                  <c:v>9.9</c:v>
                </c:pt>
                <c:pt idx="5782">
                  <c:v>5.7</c:v>
                </c:pt>
                <c:pt idx="5783">
                  <c:v>5.5</c:v>
                </c:pt>
                <c:pt idx="5784">
                  <c:v>6.4</c:v>
                </c:pt>
                <c:pt idx="5785">
                  <c:v>4.9000000000000004</c:v>
                </c:pt>
                <c:pt idx="5786">
                  <c:v>13.5</c:v>
                </c:pt>
                <c:pt idx="5787">
                  <c:v>5.7</c:v>
                </c:pt>
                <c:pt idx="5788">
                  <c:v>5.8</c:v>
                </c:pt>
                <c:pt idx="5789">
                  <c:v>9.1</c:v>
                </c:pt>
                <c:pt idx="5790">
                  <c:v>4.0999999999999996</c:v>
                </c:pt>
                <c:pt idx="5791">
                  <c:v>7.7</c:v>
                </c:pt>
                <c:pt idx="5792">
                  <c:v>4.9000000000000004</c:v>
                </c:pt>
                <c:pt idx="5793">
                  <c:v>9.1</c:v>
                </c:pt>
                <c:pt idx="5794">
                  <c:v>10.9</c:v>
                </c:pt>
                <c:pt idx="5795">
                  <c:v>6.7</c:v>
                </c:pt>
                <c:pt idx="5796">
                  <c:v>7.5</c:v>
                </c:pt>
                <c:pt idx="5797">
                  <c:v>5.9</c:v>
                </c:pt>
                <c:pt idx="5798">
                  <c:v>7.3</c:v>
                </c:pt>
                <c:pt idx="5799">
                  <c:v>4.4000000000000004</c:v>
                </c:pt>
                <c:pt idx="5800">
                  <c:v>7.5</c:v>
                </c:pt>
                <c:pt idx="5801">
                  <c:v>4.4000000000000004</c:v>
                </c:pt>
                <c:pt idx="5802">
                  <c:v>1.6</c:v>
                </c:pt>
                <c:pt idx="5803">
                  <c:v>5.9</c:v>
                </c:pt>
                <c:pt idx="5804">
                  <c:v>8.6999999999999993</c:v>
                </c:pt>
                <c:pt idx="5805">
                  <c:v>5.9</c:v>
                </c:pt>
                <c:pt idx="5806">
                  <c:v>5.5</c:v>
                </c:pt>
                <c:pt idx="5807">
                  <c:v>10.9</c:v>
                </c:pt>
                <c:pt idx="5808">
                  <c:v>5.5</c:v>
                </c:pt>
                <c:pt idx="5809">
                  <c:v>10.3</c:v>
                </c:pt>
                <c:pt idx="5810">
                  <c:v>11.7</c:v>
                </c:pt>
                <c:pt idx="5811">
                  <c:v>10.6</c:v>
                </c:pt>
                <c:pt idx="5812">
                  <c:v>5.7</c:v>
                </c:pt>
                <c:pt idx="5813">
                  <c:v>8.3000000000000007</c:v>
                </c:pt>
                <c:pt idx="5814">
                  <c:v>3.4</c:v>
                </c:pt>
                <c:pt idx="5815">
                  <c:v>8.1</c:v>
                </c:pt>
                <c:pt idx="5816">
                  <c:v>10.4</c:v>
                </c:pt>
                <c:pt idx="5817">
                  <c:v>9.1999999999999993</c:v>
                </c:pt>
                <c:pt idx="5818">
                  <c:v>1.6</c:v>
                </c:pt>
                <c:pt idx="5819">
                  <c:v>8.6999999999999993</c:v>
                </c:pt>
                <c:pt idx="5820">
                  <c:v>7.7</c:v>
                </c:pt>
                <c:pt idx="5821">
                  <c:v>6.7</c:v>
                </c:pt>
                <c:pt idx="5822">
                  <c:v>8.1999999999999993</c:v>
                </c:pt>
                <c:pt idx="5823">
                  <c:v>11.9</c:v>
                </c:pt>
                <c:pt idx="5824">
                  <c:v>6.8</c:v>
                </c:pt>
                <c:pt idx="5825">
                  <c:v>6.4</c:v>
                </c:pt>
                <c:pt idx="5826">
                  <c:v>5.9</c:v>
                </c:pt>
                <c:pt idx="5827">
                  <c:v>4.2</c:v>
                </c:pt>
                <c:pt idx="5828">
                  <c:v>6.5</c:v>
                </c:pt>
                <c:pt idx="5829">
                  <c:v>11.9</c:v>
                </c:pt>
                <c:pt idx="5830">
                  <c:v>9.5</c:v>
                </c:pt>
                <c:pt idx="5831">
                  <c:v>3.8</c:v>
                </c:pt>
                <c:pt idx="5832">
                  <c:v>7.2</c:v>
                </c:pt>
                <c:pt idx="5833">
                  <c:v>7.7</c:v>
                </c:pt>
                <c:pt idx="5834">
                  <c:v>7.7</c:v>
                </c:pt>
                <c:pt idx="5835">
                  <c:v>4.5999999999999996</c:v>
                </c:pt>
                <c:pt idx="5836">
                  <c:v>3.5</c:v>
                </c:pt>
                <c:pt idx="5837">
                  <c:v>11.4</c:v>
                </c:pt>
                <c:pt idx="5838">
                  <c:v>10.7</c:v>
                </c:pt>
                <c:pt idx="5839">
                  <c:v>9</c:v>
                </c:pt>
                <c:pt idx="5840">
                  <c:v>12</c:v>
                </c:pt>
                <c:pt idx="5841">
                  <c:v>9.1</c:v>
                </c:pt>
                <c:pt idx="5842">
                  <c:v>4.4000000000000004</c:v>
                </c:pt>
                <c:pt idx="5843">
                  <c:v>6.5</c:v>
                </c:pt>
                <c:pt idx="5844">
                  <c:v>5.0999999999999996</c:v>
                </c:pt>
                <c:pt idx="5845">
                  <c:v>10.199999999999999</c:v>
                </c:pt>
                <c:pt idx="5846">
                  <c:v>9.1999999999999993</c:v>
                </c:pt>
                <c:pt idx="5847">
                  <c:v>11.1</c:v>
                </c:pt>
                <c:pt idx="5848">
                  <c:v>7.5</c:v>
                </c:pt>
                <c:pt idx="5849">
                  <c:v>1.5</c:v>
                </c:pt>
                <c:pt idx="5850">
                  <c:v>8.6999999999999993</c:v>
                </c:pt>
                <c:pt idx="5851">
                  <c:v>4.0999999999999996</c:v>
                </c:pt>
                <c:pt idx="5852">
                  <c:v>11.3</c:v>
                </c:pt>
                <c:pt idx="5853">
                  <c:v>6.7</c:v>
                </c:pt>
                <c:pt idx="5854">
                  <c:v>1.4</c:v>
                </c:pt>
                <c:pt idx="5855">
                  <c:v>9.6</c:v>
                </c:pt>
                <c:pt idx="5856">
                  <c:v>8.5</c:v>
                </c:pt>
                <c:pt idx="5857">
                  <c:v>7.4</c:v>
                </c:pt>
                <c:pt idx="5858">
                  <c:v>8.3000000000000007</c:v>
                </c:pt>
                <c:pt idx="5859">
                  <c:v>9.5</c:v>
                </c:pt>
                <c:pt idx="5860">
                  <c:v>7</c:v>
                </c:pt>
                <c:pt idx="5861">
                  <c:v>5.9</c:v>
                </c:pt>
                <c:pt idx="5862">
                  <c:v>7.7</c:v>
                </c:pt>
                <c:pt idx="5863">
                  <c:v>8.1</c:v>
                </c:pt>
                <c:pt idx="5864">
                  <c:v>7.6</c:v>
                </c:pt>
                <c:pt idx="5865">
                  <c:v>0.3</c:v>
                </c:pt>
                <c:pt idx="5866">
                  <c:v>9.1</c:v>
                </c:pt>
                <c:pt idx="5867">
                  <c:v>10.8</c:v>
                </c:pt>
                <c:pt idx="5868">
                  <c:v>16.8</c:v>
                </c:pt>
                <c:pt idx="5869">
                  <c:v>7.9</c:v>
                </c:pt>
                <c:pt idx="5870">
                  <c:v>7.3</c:v>
                </c:pt>
                <c:pt idx="5871">
                  <c:v>11.8</c:v>
                </c:pt>
                <c:pt idx="5872">
                  <c:v>5</c:v>
                </c:pt>
                <c:pt idx="5873">
                  <c:v>8.1999999999999993</c:v>
                </c:pt>
                <c:pt idx="5874">
                  <c:v>15.8</c:v>
                </c:pt>
                <c:pt idx="5875">
                  <c:v>6.3</c:v>
                </c:pt>
                <c:pt idx="5876">
                  <c:v>8</c:v>
                </c:pt>
                <c:pt idx="5877">
                  <c:v>4</c:v>
                </c:pt>
                <c:pt idx="5878">
                  <c:v>6.3</c:v>
                </c:pt>
                <c:pt idx="5879">
                  <c:v>6.4</c:v>
                </c:pt>
                <c:pt idx="5880">
                  <c:v>12.4</c:v>
                </c:pt>
                <c:pt idx="5881">
                  <c:v>1.6</c:v>
                </c:pt>
                <c:pt idx="5882">
                  <c:v>10.8</c:v>
                </c:pt>
                <c:pt idx="5883">
                  <c:v>6</c:v>
                </c:pt>
                <c:pt idx="5884">
                  <c:v>6.9</c:v>
                </c:pt>
                <c:pt idx="5885">
                  <c:v>11.3</c:v>
                </c:pt>
                <c:pt idx="5886">
                  <c:v>8.1</c:v>
                </c:pt>
                <c:pt idx="5887">
                  <c:v>9.5</c:v>
                </c:pt>
                <c:pt idx="5888">
                  <c:v>3.7</c:v>
                </c:pt>
                <c:pt idx="5889">
                  <c:v>10.199999999999999</c:v>
                </c:pt>
                <c:pt idx="5890">
                  <c:v>4.9000000000000004</c:v>
                </c:pt>
                <c:pt idx="5891">
                  <c:v>5.0999999999999996</c:v>
                </c:pt>
                <c:pt idx="5892">
                  <c:v>7.3</c:v>
                </c:pt>
                <c:pt idx="5893">
                  <c:v>4.8</c:v>
                </c:pt>
                <c:pt idx="5894">
                  <c:v>5.9</c:v>
                </c:pt>
                <c:pt idx="5895">
                  <c:v>15.3</c:v>
                </c:pt>
                <c:pt idx="5896">
                  <c:v>8.4</c:v>
                </c:pt>
                <c:pt idx="5897">
                  <c:v>7.5</c:v>
                </c:pt>
                <c:pt idx="5898">
                  <c:v>6.1</c:v>
                </c:pt>
                <c:pt idx="5899">
                  <c:v>7.1</c:v>
                </c:pt>
                <c:pt idx="5900">
                  <c:v>9.9</c:v>
                </c:pt>
                <c:pt idx="5901">
                  <c:v>1.4</c:v>
                </c:pt>
                <c:pt idx="5902">
                  <c:v>8.9</c:v>
                </c:pt>
                <c:pt idx="5903">
                  <c:v>15.3</c:v>
                </c:pt>
                <c:pt idx="5904">
                  <c:v>9.9</c:v>
                </c:pt>
                <c:pt idx="5905">
                  <c:v>7.2</c:v>
                </c:pt>
                <c:pt idx="5906">
                  <c:v>7.8</c:v>
                </c:pt>
                <c:pt idx="5907">
                  <c:v>8.6</c:v>
                </c:pt>
                <c:pt idx="5908">
                  <c:v>6.3</c:v>
                </c:pt>
                <c:pt idx="5909">
                  <c:v>3.4</c:v>
                </c:pt>
                <c:pt idx="5910">
                  <c:v>8.6</c:v>
                </c:pt>
                <c:pt idx="5911">
                  <c:v>7.4</c:v>
                </c:pt>
                <c:pt idx="5912">
                  <c:v>10.199999999999999</c:v>
                </c:pt>
                <c:pt idx="5913">
                  <c:v>8</c:v>
                </c:pt>
                <c:pt idx="5914">
                  <c:v>7.8</c:v>
                </c:pt>
                <c:pt idx="5915">
                  <c:v>11.5</c:v>
                </c:pt>
                <c:pt idx="5916">
                  <c:v>6.7</c:v>
                </c:pt>
                <c:pt idx="5917">
                  <c:v>11.5</c:v>
                </c:pt>
                <c:pt idx="5918">
                  <c:v>4.3</c:v>
                </c:pt>
                <c:pt idx="5919">
                  <c:v>9.8000000000000007</c:v>
                </c:pt>
                <c:pt idx="5920">
                  <c:v>9.1</c:v>
                </c:pt>
                <c:pt idx="5921">
                  <c:v>9.4</c:v>
                </c:pt>
                <c:pt idx="5922">
                  <c:v>7.3</c:v>
                </c:pt>
                <c:pt idx="5923">
                  <c:v>7.6</c:v>
                </c:pt>
                <c:pt idx="5924">
                  <c:v>8.5</c:v>
                </c:pt>
                <c:pt idx="5925">
                  <c:v>11.7</c:v>
                </c:pt>
                <c:pt idx="5926">
                  <c:v>7.9</c:v>
                </c:pt>
                <c:pt idx="5927">
                  <c:v>7.5</c:v>
                </c:pt>
                <c:pt idx="5928">
                  <c:v>7.3</c:v>
                </c:pt>
                <c:pt idx="5929">
                  <c:v>12.1</c:v>
                </c:pt>
                <c:pt idx="5930">
                  <c:v>7.4</c:v>
                </c:pt>
                <c:pt idx="5931">
                  <c:v>6</c:v>
                </c:pt>
                <c:pt idx="5932">
                  <c:v>8.6999999999999993</c:v>
                </c:pt>
                <c:pt idx="5933">
                  <c:v>8</c:v>
                </c:pt>
                <c:pt idx="5934">
                  <c:v>7.3</c:v>
                </c:pt>
                <c:pt idx="5935">
                  <c:v>10.8</c:v>
                </c:pt>
                <c:pt idx="5936">
                  <c:v>11.9</c:v>
                </c:pt>
                <c:pt idx="5937">
                  <c:v>7.5</c:v>
                </c:pt>
                <c:pt idx="5938">
                  <c:v>8.5</c:v>
                </c:pt>
                <c:pt idx="5939">
                  <c:v>7.8</c:v>
                </c:pt>
                <c:pt idx="5940">
                  <c:v>8</c:v>
                </c:pt>
                <c:pt idx="5941">
                  <c:v>8.8000000000000007</c:v>
                </c:pt>
                <c:pt idx="5942">
                  <c:v>7.2</c:v>
                </c:pt>
                <c:pt idx="5943">
                  <c:v>6.9</c:v>
                </c:pt>
                <c:pt idx="5944">
                  <c:v>10.9</c:v>
                </c:pt>
                <c:pt idx="5945">
                  <c:v>7.4</c:v>
                </c:pt>
                <c:pt idx="5946">
                  <c:v>7.8</c:v>
                </c:pt>
                <c:pt idx="5947">
                  <c:v>4.4000000000000004</c:v>
                </c:pt>
                <c:pt idx="5948">
                  <c:v>0.6</c:v>
                </c:pt>
                <c:pt idx="5949">
                  <c:v>4.5</c:v>
                </c:pt>
                <c:pt idx="5950">
                  <c:v>12.2</c:v>
                </c:pt>
                <c:pt idx="5951">
                  <c:v>5.3</c:v>
                </c:pt>
                <c:pt idx="5952">
                  <c:v>6.7</c:v>
                </c:pt>
                <c:pt idx="5953">
                  <c:v>5.8</c:v>
                </c:pt>
                <c:pt idx="5954">
                  <c:v>5.9</c:v>
                </c:pt>
                <c:pt idx="5955">
                  <c:v>7.2</c:v>
                </c:pt>
                <c:pt idx="5956">
                  <c:v>1.4</c:v>
                </c:pt>
                <c:pt idx="5957">
                  <c:v>5.4</c:v>
                </c:pt>
                <c:pt idx="5958">
                  <c:v>7.9</c:v>
                </c:pt>
                <c:pt idx="5959">
                  <c:v>9.1</c:v>
                </c:pt>
                <c:pt idx="5960">
                  <c:v>14.1</c:v>
                </c:pt>
                <c:pt idx="5961">
                  <c:v>5.4</c:v>
                </c:pt>
                <c:pt idx="5962">
                  <c:v>6.9</c:v>
                </c:pt>
                <c:pt idx="5963">
                  <c:v>6.9</c:v>
                </c:pt>
                <c:pt idx="5964">
                  <c:v>12.6</c:v>
                </c:pt>
                <c:pt idx="5965">
                  <c:v>11.2</c:v>
                </c:pt>
                <c:pt idx="5966">
                  <c:v>8.6</c:v>
                </c:pt>
                <c:pt idx="5967">
                  <c:v>9.6999999999999993</c:v>
                </c:pt>
                <c:pt idx="5968">
                  <c:v>5.2</c:v>
                </c:pt>
                <c:pt idx="5969">
                  <c:v>8.9</c:v>
                </c:pt>
                <c:pt idx="5970">
                  <c:v>7.7</c:v>
                </c:pt>
                <c:pt idx="5971">
                  <c:v>10.199999999999999</c:v>
                </c:pt>
                <c:pt idx="5972">
                  <c:v>6</c:v>
                </c:pt>
                <c:pt idx="5973">
                  <c:v>5.8</c:v>
                </c:pt>
                <c:pt idx="5974">
                  <c:v>14.2</c:v>
                </c:pt>
                <c:pt idx="5975">
                  <c:v>6.1</c:v>
                </c:pt>
                <c:pt idx="5976">
                  <c:v>6.7</c:v>
                </c:pt>
                <c:pt idx="5977">
                  <c:v>11.5</c:v>
                </c:pt>
                <c:pt idx="5978">
                  <c:v>8.6</c:v>
                </c:pt>
                <c:pt idx="5979">
                  <c:v>9.4</c:v>
                </c:pt>
                <c:pt idx="5980">
                  <c:v>7.2</c:v>
                </c:pt>
                <c:pt idx="5981">
                  <c:v>11.1</c:v>
                </c:pt>
                <c:pt idx="5982">
                  <c:v>9.9</c:v>
                </c:pt>
                <c:pt idx="5983">
                  <c:v>6.2</c:v>
                </c:pt>
                <c:pt idx="5984">
                  <c:v>7.1</c:v>
                </c:pt>
                <c:pt idx="5985">
                  <c:v>6.5</c:v>
                </c:pt>
                <c:pt idx="5986">
                  <c:v>8.4</c:v>
                </c:pt>
                <c:pt idx="5987">
                  <c:v>17.100000000000001</c:v>
                </c:pt>
                <c:pt idx="5988">
                  <c:v>10.7</c:v>
                </c:pt>
                <c:pt idx="5989">
                  <c:v>4.2</c:v>
                </c:pt>
                <c:pt idx="5990">
                  <c:v>5.7</c:v>
                </c:pt>
                <c:pt idx="5991">
                  <c:v>8.1999999999999993</c:v>
                </c:pt>
                <c:pt idx="5992">
                  <c:v>6.5</c:v>
                </c:pt>
                <c:pt idx="5993">
                  <c:v>7.7</c:v>
                </c:pt>
                <c:pt idx="5994">
                  <c:v>11.1</c:v>
                </c:pt>
                <c:pt idx="5995">
                  <c:v>5.7</c:v>
                </c:pt>
                <c:pt idx="5996">
                  <c:v>6.5</c:v>
                </c:pt>
                <c:pt idx="5997">
                  <c:v>8.8000000000000007</c:v>
                </c:pt>
                <c:pt idx="5998">
                  <c:v>1.7</c:v>
                </c:pt>
                <c:pt idx="5999">
                  <c:v>10.199999999999999</c:v>
                </c:pt>
                <c:pt idx="6000">
                  <c:v>8.8000000000000007</c:v>
                </c:pt>
                <c:pt idx="6001">
                  <c:v>6.2</c:v>
                </c:pt>
                <c:pt idx="6002">
                  <c:v>8.9</c:v>
                </c:pt>
                <c:pt idx="6003">
                  <c:v>7.2</c:v>
                </c:pt>
                <c:pt idx="6004">
                  <c:v>4</c:v>
                </c:pt>
                <c:pt idx="6005">
                  <c:v>9.5</c:v>
                </c:pt>
                <c:pt idx="6006">
                  <c:v>6.1</c:v>
                </c:pt>
                <c:pt idx="6007">
                  <c:v>14.6</c:v>
                </c:pt>
                <c:pt idx="6008">
                  <c:v>6.6</c:v>
                </c:pt>
                <c:pt idx="6009">
                  <c:v>13</c:v>
                </c:pt>
                <c:pt idx="6010">
                  <c:v>5.8</c:v>
                </c:pt>
                <c:pt idx="6011">
                  <c:v>1.1000000000000001</c:v>
                </c:pt>
                <c:pt idx="6012">
                  <c:v>6.3</c:v>
                </c:pt>
                <c:pt idx="6013">
                  <c:v>1.5</c:v>
                </c:pt>
                <c:pt idx="6014">
                  <c:v>9.6</c:v>
                </c:pt>
                <c:pt idx="6015">
                  <c:v>8.5</c:v>
                </c:pt>
                <c:pt idx="6016">
                  <c:v>8.1</c:v>
                </c:pt>
                <c:pt idx="6017">
                  <c:v>7.6</c:v>
                </c:pt>
                <c:pt idx="6018">
                  <c:v>6</c:v>
                </c:pt>
                <c:pt idx="6019">
                  <c:v>1.7</c:v>
                </c:pt>
                <c:pt idx="6020">
                  <c:v>5.8</c:v>
                </c:pt>
                <c:pt idx="6021">
                  <c:v>5.4</c:v>
                </c:pt>
                <c:pt idx="6022">
                  <c:v>6.5</c:v>
                </c:pt>
                <c:pt idx="6023">
                  <c:v>12.2</c:v>
                </c:pt>
                <c:pt idx="6024">
                  <c:v>7.4</c:v>
                </c:pt>
                <c:pt idx="6025">
                  <c:v>10.199999999999999</c:v>
                </c:pt>
                <c:pt idx="6026">
                  <c:v>9.6999999999999993</c:v>
                </c:pt>
                <c:pt idx="6027">
                  <c:v>6</c:v>
                </c:pt>
                <c:pt idx="6028">
                  <c:v>7.1</c:v>
                </c:pt>
                <c:pt idx="6029">
                  <c:v>9.1</c:v>
                </c:pt>
                <c:pt idx="6030">
                  <c:v>11</c:v>
                </c:pt>
                <c:pt idx="6031">
                  <c:v>6.6</c:v>
                </c:pt>
                <c:pt idx="6032">
                  <c:v>8.8000000000000007</c:v>
                </c:pt>
                <c:pt idx="6033">
                  <c:v>7.4</c:v>
                </c:pt>
                <c:pt idx="6034">
                  <c:v>11.9</c:v>
                </c:pt>
                <c:pt idx="6035">
                  <c:v>8.8000000000000007</c:v>
                </c:pt>
                <c:pt idx="6036">
                  <c:v>7.4</c:v>
                </c:pt>
                <c:pt idx="6037">
                  <c:v>5.8</c:v>
                </c:pt>
                <c:pt idx="6038">
                  <c:v>2.2999999999999998</c:v>
                </c:pt>
                <c:pt idx="6039">
                  <c:v>12.4</c:v>
                </c:pt>
                <c:pt idx="6040">
                  <c:v>11.3</c:v>
                </c:pt>
                <c:pt idx="6041">
                  <c:v>7.1</c:v>
                </c:pt>
                <c:pt idx="6042">
                  <c:v>10.1</c:v>
                </c:pt>
                <c:pt idx="6043">
                  <c:v>8.6</c:v>
                </c:pt>
                <c:pt idx="6044">
                  <c:v>7.1</c:v>
                </c:pt>
                <c:pt idx="6045">
                  <c:v>4.8</c:v>
                </c:pt>
                <c:pt idx="6046">
                  <c:v>4</c:v>
                </c:pt>
                <c:pt idx="6047">
                  <c:v>6</c:v>
                </c:pt>
                <c:pt idx="6048">
                  <c:v>7.6</c:v>
                </c:pt>
                <c:pt idx="6049">
                  <c:v>5.6</c:v>
                </c:pt>
                <c:pt idx="6050">
                  <c:v>7.2</c:v>
                </c:pt>
                <c:pt idx="6051">
                  <c:v>6.3</c:v>
                </c:pt>
                <c:pt idx="6052">
                  <c:v>10.5</c:v>
                </c:pt>
                <c:pt idx="6053">
                  <c:v>8.9</c:v>
                </c:pt>
                <c:pt idx="6054">
                  <c:v>6.8</c:v>
                </c:pt>
                <c:pt idx="6055">
                  <c:v>9.8000000000000007</c:v>
                </c:pt>
                <c:pt idx="6056">
                  <c:v>8.6999999999999993</c:v>
                </c:pt>
                <c:pt idx="6057">
                  <c:v>7.4</c:v>
                </c:pt>
                <c:pt idx="6058">
                  <c:v>6.5</c:v>
                </c:pt>
                <c:pt idx="6059">
                  <c:v>7.3</c:v>
                </c:pt>
                <c:pt idx="6060">
                  <c:v>10.3</c:v>
                </c:pt>
                <c:pt idx="6061">
                  <c:v>9.9</c:v>
                </c:pt>
                <c:pt idx="6062">
                  <c:v>5.4</c:v>
                </c:pt>
                <c:pt idx="6063">
                  <c:v>1.5</c:v>
                </c:pt>
                <c:pt idx="6064">
                  <c:v>10</c:v>
                </c:pt>
                <c:pt idx="6065">
                  <c:v>6.7</c:v>
                </c:pt>
                <c:pt idx="6066">
                  <c:v>7.6</c:v>
                </c:pt>
                <c:pt idx="6067">
                  <c:v>6.1</c:v>
                </c:pt>
                <c:pt idx="6068">
                  <c:v>10.9</c:v>
                </c:pt>
                <c:pt idx="6069">
                  <c:v>7.9</c:v>
                </c:pt>
                <c:pt idx="6070">
                  <c:v>11.7</c:v>
                </c:pt>
                <c:pt idx="6071">
                  <c:v>0.1</c:v>
                </c:pt>
                <c:pt idx="6072">
                  <c:v>9</c:v>
                </c:pt>
                <c:pt idx="6073">
                  <c:v>10.9</c:v>
                </c:pt>
                <c:pt idx="6074">
                  <c:v>8.1</c:v>
                </c:pt>
                <c:pt idx="6075">
                  <c:v>12.3</c:v>
                </c:pt>
                <c:pt idx="6076">
                  <c:v>10</c:v>
                </c:pt>
                <c:pt idx="6077">
                  <c:v>6.1</c:v>
                </c:pt>
                <c:pt idx="6078">
                  <c:v>8.9</c:v>
                </c:pt>
                <c:pt idx="6079">
                  <c:v>5.6</c:v>
                </c:pt>
                <c:pt idx="6080">
                  <c:v>13.1</c:v>
                </c:pt>
                <c:pt idx="6081">
                  <c:v>7.5</c:v>
                </c:pt>
                <c:pt idx="6082">
                  <c:v>8.1</c:v>
                </c:pt>
                <c:pt idx="6083">
                  <c:v>3.9</c:v>
                </c:pt>
                <c:pt idx="6084">
                  <c:v>6.6</c:v>
                </c:pt>
                <c:pt idx="6085">
                  <c:v>8.9</c:v>
                </c:pt>
                <c:pt idx="6086">
                  <c:v>5.7</c:v>
                </c:pt>
                <c:pt idx="6087">
                  <c:v>10.3</c:v>
                </c:pt>
                <c:pt idx="6088">
                  <c:v>10.7</c:v>
                </c:pt>
                <c:pt idx="6089">
                  <c:v>6.2</c:v>
                </c:pt>
                <c:pt idx="6090">
                  <c:v>4.9000000000000004</c:v>
                </c:pt>
                <c:pt idx="6091">
                  <c:v>9.5</c:v>
                </c:pt>
                <c:pt idx="6092">
                  <c:v>7.3</c:v>
                </c:pt>
                <c:pt idx="6093">
                  <c:v>4.4000000000000004</c:v>
                </c:pt>
                <c:pt idx="6094">
                  <c:v>8.9</c:v>
                </c:pt>
                <c:pt idx="6095">
                  <c:v>6.8</c:v>
                </c:pt>
                <c:pt idx="6096">
                  <c:v>10.1</c:v>
                </c:pt>
                <c:pt idx="6097">
                  <c:v>8.4</c:v>
                </c:pt>
                <c:pt idx="6098">
                  <c:v>2</c:v>
                </c:pt>
                <c:pt idx="6099">
                  <c:v>6.1</c:v>
                </c:pt>
                <c:pt idx="6100">
                  <c:v>7</c:v>
                </c:pt>
                <c:pt idx="6101">
                  <c:v>6.5</c:v>
                </c:pt>
                <c:pt idx="6102">
                  <c:v>8.5</c:v>
                </c:pt>
                <c:pt idx="6103">
                  <c:v>6.3</c:v>
                </c:pt>
                <c:pt idx="6104">
                  <c:v>2.5</c:v>
                </c:pt>
                <c:pt idx="6105">
                  <c:v>6</c:v>
                </c:pt>
                <c:pt idx="6106">
                  <c:v>6.6</c:v>
                </c:pt>
                <c:pt idx="6107">
                  <c:v>10.6</c:v>
                </c:pt>
                <c:pt idx="6108">
                  <c:v>11.6</c:v>
                </c:pt>
                <c:pt idx="6109">
                  <c:v>7.7</c:v>
                </c:pt>
                <c:pt idx="6110">
                  <c:v>9.3000000000000007</c:v>
                </c:pt>
                <c:pt idx="6111">
                  <c:v>6.6</c:v>
                </c:pt>
                <c:pt idx="6112">
                  <c:v>4.3</c:v>
                </c:pt>
                <c:pt idx="6113">
                  <c:v>4.5999999999999996</c:v>
                </c:pt>
                <c:pt idx="6114">
                  <c:v>9.6999999999999993</c:v>
                </c:pt>
                <c:pt idx="6115">
                  <c:v>8.6</c:v>
                </c:pt>
                <c:pt idx="6116">
                  <c:v>3.9</c:v>
                </c:pt>
                <c:pt idx="6117">
                  <c:v>8.8000000000000007</c:v>
                </c:pt>
                <c:pt idx="6118">
                  <c:v>12.6</c:v>
                </c:pt>
                <c:pt idx="6119">
                  <c:v>9</c:v>
                </c:pt>
                <c:pt idx="6120">
                  <c:v>11.8</c:v>
                </c:pt>
                <c:pt idx="6121">
                  <c:v>5.5</c:v>
                </c:pt>
                <c:pt idx="6122">
                  <c:v>8.6999999999999993</c:v>
                </c:pt>
                <c:pt idx="6123">
                  <c:v>10.199999999999999</c:v>
                </c:pt>
                <c:pt idx="6124">
                  <c:v>9.1999999999999993</c:v>
                </c:pt>
                <c:pt idx="6125">
                  <c:v>10.8</c:v>
                </c:pt>
                <c:pt idx="6126">
                  <c:v>8.1</c:v>
                </c:pt>
                <c:pt idx="6127">
                  <c:v>8.1</c:v>
                </c:pt>
                <c:pt idx="6128">
                  <c:v>9.1</c:v>
                </c:pt>
                <c:pt idx="6129">
                  <c:v>6.4</c:v>
                </c:pt>
                <c:pt idx="6130">
                  <c:v>0</c:v>
                </c:pt>
                <c:pt idx="6131">
                  <c:v>1.4</c:v>
                </c:pt>
                <c:pt idx="6132">
                  <c:v>12.3</c:v>
                </c:pt>
                <c:pt idx="6133">
                  <c:v>7.6</c:v>
                </c:pt>
                <c:pt idx="6134">
                  <c:v>9.5</c:v>
                </c:pt>
                <c:pt idx="6135">
                  <c:v>6</c:v>
                </c:pt>
                <c:pt idx="6136">
                  <c:v>7.3</c:v>
                </c:pt>
                <c:pt idx="6137">
                  <c:v>8.5</c:v>
                </c:pt>
                <c:pt idx="6138">
                  <c:v>8</c:v>
                </c:pt>
                <c:pt idx="6139">
                  <c:v>4.5999999999999996</c:v>
                </c:pt>
                <c:pt idx="6140">
                  <c:v>7.2</c:v>
                </c:pt>
                <c:pt idx="6141">
                  <c:v>9.1</c:v>
                </c:pt>
                <c:pt idx="6142">
                  <c:v>6.5</c:v>
                </c:pt>
                <c:pt idx="6143">
                  <c:v>1</c:v>
                </c:pt>
                <c:pt idx="6144">
                  <c:v>9.3000000000000007</c:v>
                </c:pt>
                <c:pt idx="6145">
                  <c:v>2.2000000000000002</c:v>
                </c:pt>
                <c:pt idx="6146">
                  <c:v>6.5</c:v>
                </c:pt>
                <c:pt idx="6147">
                  <c:v>7.9</c:v>
                </c:pt>
                <c:pt idx="6148">
                  <c:v>6.8</c:v>
                </c:pt>
                <c:pt idx="6149">
                  <c:v>10.9</c:v>
                </c:pt>
                <c:pt idx="6150">
                  <c:v>11</c:v>
                </c:pt>
                <c:pt idx="6151">
                  <c:v>7.8</c:v>
                </c:pt>
                <c:pt idx="6152">
                  <c:v>8.9</c:v>
                </c:pt>
                <c:pt idx="6153">
                  <c:v>8.1999999999999993</c:v>
                </c:pt>
                <c:pt idx="6154">
                  <c:v>4.5</c:v>
                </c:pt>
                <c:pt idx="6155">
                  <c:v>8.1</c:v>
                </c:pt>
                <c:pt idx="6156">
                  <c:v>11.8</c:v>
                </c:pt>
                <c:pt idx="6157">
                  <c:v>5.8</c:v>
                </c:pt>
                <c:pt idx="6158">
                  <c:v>9.9</c:v>
                </c:pt>
                <c:pt idx="6159">
                  <c:v>5.4</c:v>
                </c:pt>
                <c:pt idx="6160">
                  <c:v>4</c:v>
                </c:pt>
                <c:pt idx="6161">
                  <c:v>10.4</c:v>
                </c:pt>
                <c:pt idx="6162">
                  <c:v>9.9</c:v>
                </c:pt>
                <c:pt idx="6163">
                  <c:v>10.199999999999999</c:v>
                </c:pt>
                <c:pt idx="6164">
                  <c:v>10.6</c:v>
                </c:pt>
                <c:pt idx="6165">
                  <c:v>9.6</c:v>
                </c:pt>
                <c:pt idx="6166">
                  <c:v>8.6999999999999993</c:v>
                </c:pt>
                <c:pt idx="6167">
                  <c:v>1.5</c:v>
                </c:pt>
                <c:pt idx="6168">
                  <c:v>3.3</c:v>
                </c:pt>
                <c:pt idx="6169">
                  <c:v>9</c:v>
                </c:pt>
                <c:pt idx="6170">
                  <c:v>4.9000000000000004</c:v>
                </c:pt>
                <c:pt idx="6171">
                  <c:v>8.8000000000000007</c:v>
                </c:pt>
                <c:pt idx="6172">
                  <c:v>15.6</c:v>
                </c:pt>
                <c:pt idx="6173">
                  <c:v>4</c:v>
                </c:pt>
                <c:pt idx="6174">
                  <c:v>11.5</c:v>
                </c:pt>
                <c:pt idx="6175">
                  <c:v>6.8</c:v>
                </c:pt>
                <c:pt idx="6176">
                  <c:v>6.1</c:v>
                </c:pt>
                <c:pt idx="6177">
                  <c:v>8.5</c:v>
                </c:pt>
                <c:pt idx="6178">
                  <c:v>11.6</c:v>
                </c:pt>
                <c:pt idx="6179">
                  <c:v>8.6</c:v>
                </c:pt>
                <c:pt idx="6180">
                  <c:v>6.8</c:v>
                </c:pt>
                <c:pt idx="6181">
                  <c:v>5.8</c:v>
                </c:pt>
                <c:pt idx="6182">
                  <c:v>11.2</c:v>
                </c:pt>
                <c:pt idx="6183">
                  <c:v>11</c:v>
                </c:pt>
                <c:pt idx="6184">
                  <c:v>10.8</c:v>
                </c:pt>
                <c:pt idx="6185">
                  <c:v>8.1999999999999993</c:v>
                </c:pt>
                <c:pt idx="6186">
                  <c:v>16.600000000000001</c:v>
                </c:pt>
                <c:pt idx="6187">
                  <c:v>5.2</c:v>
                </c:pt>
                <c:pt idx="6188">
                  <c:v>8.5</c:v>
                </c:pt>
                <c:pt idx="6189">
                  <c:v>5.2</c:v>
                </c:pt>
                <c:pt idx="6190">
                  <c:v>11.7</c:v>
                </c:pt>
                <c:pt idx="6191">
                  <c:v>7.6</c:v>
                </c:pt>
                <c:pt idx="6192">
                  <c:v>8.4</c:v>
                </c:pt>
                <c:pt idx="6193">
                  <c:v>6.5</c:v>
                </c:pt>
                <c:pt idx="6194">
                  <c:v>8.8000000000000007</c:v>
                </c:pt>
                <c:pt idx="6195">
                  <c:v>9.1</c:v>
                </c:pt>
                <c:pt idx="6196">
                  <c:v>9.3000000000000007</c:v>
                </c:pt>
                <c:pt idx="6197">
                  <c:v>7</c:v>
                </c:pt>
                <c:pt idx="6198">
                  <c:v>7.9</c:v>
                </c:pt>
                <c:pt idx="6199">
                  <c:v>8.9</c:v>
                </c:pt>
                <c:pt idx="6200">
                  <c:v>11</c:v>
                </c:pt>
                <c:pt idx="6201">
                  <c:v>3.7</c:v>
                </c:pt>
                <c:pt idx="6202">
                  <c:v>12.6</c:v>
                </c:pt>
                <c:pt idx="6203">
                  <c:v>9.1</c:v>
                </c:pt>
                <c:pt idx="6204">
                  <c:v>5.5</c:v>
                </c:pt>
                <c:pt idx="6205">
                  <c:v>8.1999999999999993</c:v>
                </c:pt>
                <c:pt idx="6206">
                  <c:v>6.9</c:v>
                </c:pt>
                <c:pt idx="6207">
                  <c:v>11.1</c:v>
                </c:pt>
                <c:pt idx="6208">
                  <c:v>8.6</c:v>
                </c:pt>
                <c:pt idx="6209">
                  <c:v>4.5999999999999996</c:v>
                </c:pt>
                <c:pt idx="6210">
                  <c:v>9.6999999999999993</c:v>
                </c:pt>
                <c:pt idx="6211">
                  <c:v>10.8</c:v>
                </c:pt>
                <c:pt idx="6212">
                  <c:v>14.8</c:v>
                </c:pt>
                <c:pt idx="6213">
                  <c:v>6.5</c:v>
                </c:pt>
                <c:pt idx="6214">
                  <c:v>6.6</c:v>
                </c:pt>
                <c:pt idx="6215">
                  <c:v>8.8000000000000007</c:v>
                </c:pt>
                <c:pt idx="6216">
                  <c:v>6.2</c:v>
                </c:pt>
                <c:pt idx="6217">
                  <c:v>8.1</c:v>
                </c:pt>
                <c:pt idx="6218">
                  <c:v>8.5</c:v>
                </c:pt>
                <c:pt idx="6219">
                  <c:v>1.6</c:v>
                </c:pt>
                <c:pt idx="6220">
                  <c:v>2.4</c:v>
                </c:pt>
                <c:pt idx="6221">
                  <c:v>12.1</c:v>
                </c:pt>
                <c:pt idx="6222">
                  <c:v>10.8</c:v>
                </c:pt>
                <c:pt idx="6223">
                  <c:v>11.1</c:v>
                </c:pt>
                <c:pt idx="6224">
                  <c:v>11.8</c:v>
                </c:pt>
                <c:pt idx="6225">
                  <c:v>7.8</c:v>
                </c:pt>
                <c:pt idx="6226">
                  <c:v>8.3000000000000007</c:v>
                </c:pt>
                <c:pt idx="6227">
                  <c:v>8.5</c:v>
                </c:pt>
                <c:pt idx="6228">
                  <c:v>12.3</c:v>
                </c:pt>
                <c:pt idx="6229">
                  <c:v>9.1999999999999993</c:v>
                </c:pt>
                <c:pt idx="6230">
                  <c:v>7.5</c:v>
                </c:pt>
                <c:pt idx="6231">
                  <c:v>12.5</c:v>
                </c:pt>
                <c:pt idx="6232">
                  <c:v>6.5</c:v>
                </c:pt>
                <c:pt idx="6233">
                  <c:v>8.1</c:v>
                </c:pt>
                <c:pt idx="6234">
                  <c:v>9.5</c:v>
                </c:pt>
                <c:pt idx="6235">
                  <c:v>8.6</c:v>
                </c:pt>
                <c:pt idx="6236">
                  <c:v>8.1999999999999993</c:v>
                </c:pt>
                <c:pt idx="6237">
                  <c:v>10.6</c:v>
                </c:pt>
                <c:pt idx="6238">
                  <c:v>13.8</c:v>
                </c:pt>
                <c:pt idx="6239">
                  <c:v>10.9</c:v>
                </c:pt>
                <c:pt idx="6240">
                  <c:v>6.7</c:v>
                </c:pt>
                <c:pt idx="6241">
                  <c:v>9.1999999999999993</c:v>
                </c:pt>
                <c:pt idx="6242">
                  <c:v>6.9</c:v>
                </c:pt>
                <c:pt idx="6243">
                  <c:v>0</c:v>
                </c:pt>
                <c:pt idx="6244">
                  <c:v>12.6</c:v>
                </c:pt>
                <c:pt idx="6245">
                  <c:v>12</c:v>
                </c:pt>
                <c:pt idx="6246">
                  <c:v>6</c:v>
                </c:pt>
                <c:pt idx="6247">
                  <c:v>0.7</c:v>
                </c:pt>
                <c:pt idx="6248">
                  <c:v>12.8</c:v>
                </c:pt>
                <c:pt idx="6249">
                  <c:v>5.5</c:v>
                </c:pt>
                <c:pt idx="6250">
                  <c:v>10.3</c:v>
                </c:pt>
                <c:pt idx="6251">
                  <c:v>8.1</c:v>
                </c:pt>
                <c:pt idx="6252">
                  <c:v>5.8</c:v>
                </c:pt>
                <c:pt idx="6253">
                  <c:v>2.5</c:v>
                </c:pt>
                <c:pt idx="6254">
                  <c:v>4.7</c:v>
                </c:pt>
                <c:pt idx="6255">
                  <c:v>7.4</c:v>
                </c:pt>
                <c:pt idx="6256">
                  <c:v>5</c:v>
                </c:pt>
                <c:pt idx="6257">
                  <c:v>11.9</c:v>
                </c:pt>
                <c:pt idx="6258">
                  <c:v>3.5</c:v>
                </c:pt>
                <c:pt idx="6259">
                  <c:v>6.9</c:v>
                </c:pt>
                <c:pt idx="6260">
                  <c:v>4</c:v>
                </c:pt>
                <c:pt idx="6261">
                  <c:v>4.8</c:v>
                </c:pt>
                <c:pt idx="6262">
                  <c:v>8.1999999999999993</c:v>
                </c:pt>
                <c:pt idx="6263">
                  <c:v>6.6</c:v>
                </c:pt>
                <c:pt idx="6264">
                  <c:v>7.3</c:v>
                </c:pt>
                <c:pt idx="6265">
                  <c:v>4</c:v>
                </c:pt>
                <c:pt idx="6266">
                  <c:v>8.6</c:v>
                </c:pt>
                <c:pt idx="6267">
                  <c:v>9.1999999999999993</c:v>
                </c:pt>
                <c:pt idx="6268">
                  <c:v>8.1999999999999993</c:v>
                </c:pt>
                <c:pt idx="6269">
                  <c:v>7.9</c:v>
                </c:pt>
                <c:pt idx="6270">
                  <c:v>8.6999999999999993</c:v>
                </c:pt>
                <c:pt idx="6271">
                  <c:v>5.6</c:v>
                </c:pt>
                <c:pt idx="6272">
                  <c:v>2</c:v>
                </c:pt>
                <c:pt idx="6273">
                  <c:v>6.2</c:v>
                </c:pt>
                <c:pt idx="6274">
                  <c:v>6.2</c:v>
                </c:pt>
                <c:pt idx="6275">
                  <c:v>9.3000000000000007</c:v>
                </c:pt>
                <c:pt idx="6276">
                  <c:v>10.7</c:v>
                </c:pt>
                <c:pt idx="6277">
                  <c:v>10.6</c:v>
                </c:pt>
                <c:pt idx="6278">
                  <c:v>6.3</c:v>
                </c:pt>
                <c:pt idx="6279">
                  <c:v>7.3</c:v>
                </c:pt>
                <c:pt idx="6280">
                  <c:v>2.1</c:v>
                </c:pt>
                <c:pt idx="6281">
                  <c:v>6.3</c:v>
                </c:pt>
                <c:pt idx="6282">
                  <c:v>12</c:v>
                </c:pt>
                <c:pt idx="6283">
                  <c:v>6.5</c:v>
                </c:pt>
                <c:pt idx="6284">
                  <c:v>7.4</c:v>
                </c:pt>
                <c:pt idx="6285">
                  <c:v>8</c:v>
                </c:pt>
                <c:pt idx="6286">
                  <c:v>6.4</c:v>
                </c:pt>
                <c:pt idx="6287">
                  <c:v>7.9</c:v>
                </c:pt>
                <c:pt idx="6288">
                  <c:v>6.2</c:v>
                </c:pt>
                <c:pt idx="6289">
                  <c:v>13.3</c:v>
                </c:pt>
                <c:pt idx="6290">
                  <c:v>8.5</c:v>
                </c:pt>
                <c:pt idx="6291">
                  <c:v>6.5</c:v>
                </c:pt>
                <c:pt idx="6292">
                  <c:v>8.8000000000000007</c:v>
                </c:pt>
                <c:pt idx="6293">
                  <c:v>9.3000000000000007</c:v>
                </c:pt>
                <c:pt idx="6294">
                  <c:v>15</c:v>
                </c:pt>
                <c:pt idx="6295">
                  <c:v>5.2</c:v>
                </c:pt>
                <c:pt idx="6296">
                  <c:v>11.6</c:v>
                </c:pt>
                <c:pt idx="6297">
                  <c:v>1.9</c:v>
                </c:pt>
                <c:pt idx="6298">
                  <c:v>4.7</c:v>
                </c:pt>
                <c:pt idx="6299">
                  <c:v>8.6</c:v>
                </c:pt>
                <c:pt idx="6300">
                  <c:v>5.6</c:v>
                </c:pt>
                <c:pt idx="6301">
                  <c:v>7.4</c:v>
                </c:pt>
                <c:pt idx="6302">
                  <c:v>11.2</c:v>
                </c:pt>
                <c:pt idx="6303">
                  <c:v>8.1</c:v>
                </c:pt>
                <c:pt idx="6304">
                  <c:v>2.2999999999999998</c:v>
                </c:pt>
                <c:pt idx="6305">
                  <c:v>4.9000000000000004</c:v>
                </c:pt>
                <c:pt idx="6306">
                  <c:v>5</c:v>
                </c:pt>
                <c:pt idx="6307">
                  <c:v>12.5</c:v>
                </c:pt>
                <c:pt idx="6308">
                  <c:v>8.6</c:v>
                </c:pt>
                <c:pt idx="6309">
                  <c:v>4.8</c:v>
                </c:pt>
                <c:pt idx="6310">
                  <c:v>8.3000000000000007</c:v>
                </c:pt>
                <c:pt idx="6311">
                  <c:v>10.5</c:v>
                </c:pt>
                <c:pt idx="6312">
                  <c:v>0.2</c:v>
                </c:pt>
                <c:pt idx="6313">
                  <c:v>7.1</c:v>
                </c:pt>
                <c:pt idx="6314">
                  <c:v>11.2</c:v>
                </c:pt>
                <c:pt idx="6315">
                  <c:v>8.6</c:v>
                </c:pt>
                <c:pt idx="6316">
                  <c:v>6.7</c:v>
                </c:pt>
                <c:pt idx="6317">
                  <c:v>9.5</c:v>
                </c:pt>
                <c:pt idx="6318">
                  <c:v>11.4</c:v>
                </c:pt>
                <c:pt idx="6319">
                  <c:v>5.2</c:v>
                </c:pt>
                <c:pt idx="6320">
                  <c:v>5.4</c:v>
                </c:pt>
                <c:pt idx="6321">
                  <c:v>8.6</c:v>
                </c:pt>
                <c:pt idx="6322">
                  <c:v>6.2</c:v>
                </c:pt>
                <c:pt idx="6323">
                  <c:v>6.4</c:v>
                </c:pt>
                <c:pt idx="6324">
                  <c:v>5.6</c:v>
                </c:pt>
                <c:pt idx="6325">
                  <c:v>11.7</c:v>
                </c:pt>
                <c:pt idx="6326">
                  <c:v>4.0999999999999996</c:v>
                </c:pt>
                <c:pt idx="6327">
                  <c:v>9.3000000000000007</c:v>
                </c:pt>
                <c:pt idx="6328">
                  <c:v>7.4</c:v>
                </c:pt>
                <c:pt idx="6329">
                  <c:v>1.5</c:v>
                </c:pt>
                <c:pt idx="6330">
                  <c:v>9.5</c:v>
                </c:pt>
                <c:pt idx="6331">
                  <c:v>8</c:v>
                </c:pt>
                <c:pt idx="6332">
                  <c:v>12.1</c:v>
                </c:pt>
                <c:pt idx="6333">
                  <c:v>8.8000000000000007</c:v>
                </c:pt>
                <c:pt idx="6334">
                  <c:v>7.8</c:v>
                </c:pt>
                <c:pt idx="6335">
                  <c:v>11.2</c:v>
                </c:pt>
                <c:pt idx="6336">
                  <c:v>10</c:v>
                </c:pt>
                <c:pt idx="6337">
                  <c:v>3</c:v>
                </c:pt>
                <c:pt idx="6338">
                  <c:v>9.8000000000000007</c:v>
                </c:pt>
                <c:pt idx="6339">
                  <c:v>4.5999999999999996</c:v>
                </c:pt>
                <c:pt idx="6340">
                  <c:v>6.9</c:v>
                </c:pt>
                <c:pt idx="6341">
                  <c:v>5.9</c:v>
                </c:pt>
                <c:pt idx="6342">
                  <c:v>7.8</c:v>
                </c:pt>
                <c:pt idx="6343">
                  <c:v>11</c:v>
                </c:pt>
                <c:pt idx="6344">
                  <c:v>5.8</c:v>
                </c:pt>
                <c:pt idx="6345">
                  <c:v>13.7</c:v>
                </c:pt>
                <c:pt idx="6346">
                  <c:v>8.6</c:v>
                </c:pt>
                <c:pt idx="6347">
                  <c:v>6.4</c:v>
                </c:pt>
                <c:pt idx="6348">
                  <c:v>12.8</c:v>
                </c:pt>
                <c:pt idx="6349">
                  <c:v>7.7</c:v>
                </c:pt>
                <c:pt idx="6350">
                  <c:v>9</c:v>
                </c:pt>
                <c:pt idx="6351">
                  <c:v>5</c:v>
                </c:pt>
                <c:pt idx="6352">
                  <c:v>7.8</c:v>
                </c:pt>
                <c:pt idx="6353">
                  <c:v>2.9</c:v>
                </c:pt>
                <c:pt idx="6354">
                  <c:v>6.3</c:v>
                </c:pt>
                <c:pt idx="6355">
                  <c:v>6.1</c:v>
                </c:pt>
                <c:pt idx="6356">
                  <c:v>6.2</c:v>
                </c:pt>
                <c:pt idx="6357">
                  <c:v>9.1999999999999993</c:v>
                </c:pt>
                <c:pt idx="6358">
                  <c:v>6.2</c:v>
                </c:pt>
                <c:pt idx="6359">
                  <c:v>7.3</c:v>
                </c:pt>
                <c:pt idx="6360">
                  <c:v>6.9</c:v>
                </c:pt>
                <c:pt idx="6361">
                  <c:v>6.6</c:v>
                </c:pt>
                <c:pt idx="6362">
                  <c:v>2</c:v>
                </c:pt>
                <c:pt idx="6363">
                  <c:v>7.3</c:v>
                </c:pt>
                <c:pt idx="6364">
                  <c:v>6.5</c:v>
                </c:pt>
                <c:pt idx="6365">
                  <c:v>12.3</c:v>
                </c:pt>
                <c:pt idx="6366">
                  <c:v>8.8000000000000007</c:v>
                </c:pt>
                <c:pt idx="6367">
                  <c:v>1.6</c:v>
                </c:pt>
                <c:pt idx="6368">
                  <c:v>7.4</c:v>
                </c:pt>
                <c:pt idx="6369">
                  <c:v>4</c:v>
                </c:pt>
                <c:pt idx="6370">
                  <c:v>8.5</c:v>
                </c:pt>
                <c:pt idx="6371">
                  <c:v>4.4000000000000004</c:v>
                </c:pt>
                <c:pt idx="6372">
                  <c:v>7</c:v>
                </c:pt>
                <c:pt idx="6373">
                  <c:v>9.4</c:v>
                </c:pt>
                <c:pt idx="6374">
                  <c:v>11.5</c:v>
                </c:pt>
                <c:pt idx="6375">
                  <c:v>11.5</c:v>
                </c:pt>
                <c:pt idx="6376">
                  <c:v>6.5</c:v>
                </c:pt>
                <c:pt idx="6377">
                  <c:v>8.3000000000000007</c:v>
                </c:pt>
                <c:pt idx="6378">
                  <c:v>10.1</c:v>
                </c:pt>
                <c:pt idx="6379">
                  <c:v>6</c:v>
                </c:pt>
                <c:pt idx="6380">
                  <c:v>12</c:v>
                </c:pt>
                <c:pt idx="6381">
                  <c:v>5.8</c:v>
                </c:pt>
                <c:pt idx="6382">
                  <c:v>3.3</c:v>
                </c:pt>
                <c:pt idx="6383">
                  <c:v>7.4</c:v>
                </c:pt>
                <c:pt idx="6384">
                  <c:v>9.6</c:v>
                </c:pt>
                <c:pt idx="6385">
                  <c:v>10</c:v>
                </c:pt>
                <c:pt idx="6386">
                  <c:v>8.3000000000000007</c:v>
                </c:pt>
                <c:pt idx="6387">
                  <c:v>6.1</c:v>
                </c:pt>
                <c:pt idx="6388">
                  <c:v>6.4</c:v>
                </c:pt>
                <c:pt idx="6389">
                  <c:v>10.3</c:v>
                </c:pt>
                <c:pt idx="6390">
                  <c:v>2</c:v>
                </c:pt>
                <c:pt idx="6391">
                  <c:v>7.6</c:v>
                </c:pt>
                <c:pt idx="6392">
                  <c:v>6.6</c:v>
                </c:pt>
                <c:pt idx="6393">
                  <c:v>7.4</c:v>
                </c:pt>
                <c:pt idx="6394">
                  <c:v>8.4</c:v>
                </c:pt>
                <c:pt idx="6395">
                  <c:v>6.3</c:v>
                </c:pt>
                <c:pt idx="6396">
                  <c:v>8</c:v>
                </c:pt>
                <c:pt idx="6397">
                  <c:v>4.7</c:v>
                </c:pt>
                <c:pt idx="6398">
                  <c:v>3.7</c:v>
                </c:pt>
                <c:pt idx="6399">
                  <c:v>6.9</c:v>
                </c:pt>
                <c:pt idx="6400">
                  <c:v>8.1999999999999993</c:v>
                </c:pt>
                <c:pt idx="6401">
                  <c:v>3.8</c:v>
                </c:pt>
                <c:pt idx="6402">
                  <c:v>6.7</c:v>
                </c:pt>
                <c:pt idx="6403">
                  <c:v>5.9</c:v>
                </c:pt>
                <c:pt idx="6404">
                  <c:v>7.8</c:v>
                </c:pt>
                <c:pt idx="6405">
                  <c:v>7.9</c:v>
                </c:pt>
                <c:pt idx="6406">
                  <c:v>9</c:v>
                </c:pt>
                <c:pt idx="6407">
                  <c:v>10.9</c:v>
                </c:pt>
                <c:pt idx="6408">
                  <c:v>6.7</c:v>
                </c:pt>
                <c:pt idx="6409">
                  <c:v>5.4</c:v>
                </c:pt>
                <c:pt idx="6410">
                  <c:v>5.7</c:v>
                </c:pt>
                <c:pt idx="6411">
                  <c:v>6.9</c:v>
                </c:pt>
                <c:pt idx="6412">
                  <c:v>7.4</c:v>
                </c:pt>
                <c:pt idx="6413">
                  <c:v>8.9</c:v>
                </c:pt>
                <c:pt idx="6414">
                  <c:v>4.8</c:v>
                </c:pt>
                <c:pt idx="6415">
                  <c:v>7.9</c:v>
                </c:pt>
                <c:pt idx="6416">
                  <c:v>11.1</c:v>
                </c:pt>
                <c:pt idx="6417">
                  <c:v>7.5</c:v>
                </c:pt>
                <c:pt idx="6418">
                  <c:v>8.4</c:v>
                </c:pt>
                <c:pt idx="6419">
                  <c:v>7.7</c:v>
                </c:pt>
                <c:pt idx="6420">
                  <c:v>9.8000000000000007</c:v>
                </c:pt>
                <c:pt idx="6421">
                  <c:v>10.7</c:v>
                </c:pt>
                <c:pt idx="6422">
                  <c:v>7.6</c:v>
                </c:pt>
                <c:pt idx="6423">
                  <c:v>6.5</c:v>
                </c:pt>
                <c:pt idx="6424">
                  <c:v>1.3</c:v>
                </c:pt>
                <c:pt idx="6425">
                  <c:v>4.8</c:v>
                </c:pt>
                <c:pt idx="6426">
                  <c:v>5.0999999999999996</c:v>
                </c:pt>
                <c:pt idx="6427">
                  <c:v>7.4</c:v>
                </c:pt>
                <c:pt idx="6428">
                  <c:v>5.3</c:v>
                </c:pt>
                <c:pt idx="6429">
                  <c:v>9.1999999999999993</c:v>
                </c:pt>
                <c:pt idx="6430">
                  <c:v>4.7</c:v>
                </c:pt>
                <c:pt idx="6431">
                  <c:v>6.8</c:v>
                </c:pt>
                <c:pt idx="6432">
                  <c:v>5.5</c:v>
                </c:pt>
                <c:pt idx="6433">
                  <c:v>8.1999999999999993</c:v>
                </c:pt>
                <c:pt idx="6434">
                  <c:v>9.9</c:v>
                </c:pt>
                <c:pt idx="6435">
                  <c:v>10.1</c:v>
                </c:pt>
                <c:pt idx="6436">
                  <c:v>10.5</c:v>
                </c:pt>
                <c:pt idx="6437">
                  <c:v>9.1</c:v>
                </c:pt>
                <c:pt idx="6438">
                  <c:v>11.3</c:v>
                </c:pt>
                <c:pt idx="6439">
                  <c:v>5.7</c:v>
                </c:pt>
                <c:pt idx="6440">
                  <c:v>1.6</c:v>
                </c:pt>
                <c:pt idx="6441">
                  <c:v>8.5</c:v>
                </c:pt>
                <c:pt idx="6442">
                  <c:v>6.4</c:v>
                </c:pt>
                <c:pt idx="6443">
                  <c:v>8.4</c:v>
                </c:pt>
                <c:pt idx="6444">
                  <c:v>3.2</c:v>
                </c:pt>
                <c:pt idx="6445">
                  <c:v>8.3000000000000007</c:v>
                </c:pt>
                <c:pt idx="6446">
                  <c:v>7.5</c:v>
                </c:pt>
                <c:pt idx="6447">
                  <c:v>5.5</c:v>
                </c:pt>
                <c:pt idx="6448">
                  <c:v>9.6999999999999993</c:v>
                </c:pt>
                <c:pt idx="6449">
                  <c:v>4</c:v>
                </c:pt>
                <c:pt idx="6450">
                  <c:v>7</c:v>
                </c:pt>
                <c:pt idx="6451">
                  <c:v>4.3</c:v>
                </c:pt>
                <c:pt idx="6452">
                  <c:v>4.7</c:v>
                </c:pt>
                <c:pt idx="6453">
                  <c:v>7.5</c:v>
                </c:pt>
                <c:pt idx="6454">
                  <c:v>10.7</c:v>
                </c:pt>
                <c:pt idx="6455">
                  <c:v>9.1</c:v>
                </c:pt>
                <c:pt idx="6456">
                  <c:v>6.8</c:v>
                </c:pt>
                <c:pt idx="6457">
                  <c:v>2.1</c:v>
                </c:pt>
                <c:pt idx="6458">
                  <c:v>7.7</c:v>
                </c:pt>
                <c:pt idx="6459">
                  <c:v>13.3</c:v>
                </c:pt>
                <c:pt idx="6460">
                  <c:v>1.7</c:v>
                </c:pt>
                <c:pt idx="6461">
                  <c:v>8.3000000000000007</c:v>
                </c:pt>
                <c:pt idx="6462">
                  <c:v>7.2</c:v>
                </c:pt>
                <c:pt idx="6463">
                  <c:v>12.3</c:v>
                </c:pt>
                <c:pt idx="6464">
                  <c:v>7.6</c:v>
                </c:pt>
                <c:pt idx="6465">
                  <c:v>7.5</c:v>
                </c:pt>
                <c:pt idx="6466">
                  <c:v>11.1</c:v>
                </c:pt>
                <c:pt idx="6467">
                  <c:v>2.4</c:v>
                </c:pt>
                <c:pt idx="6468">
                  <c:v>6.3</c:v>
                </c:pt>
                <c:pt idx="6469">
                  <c:v>7.1</c:v>
                </c:pt>
                <c:pt idx="6470">
                  <c:v>10</c:v>
                </c:pt>
                <c:pt idx="6471">
                  <c:v>5.7</c:v>
                </c:pt>
                <c:pt idx="6472">
                  <c:v>11.2</c:v>
                </c:pt>
                <c:pt idx="6473">
                  <c:v>5.7</c:v>
                </c:pt>
                <c:pt idx="6474">
                  <c:v>7</c:v>
                </c:pt>
                <c:pt idx="6475">
                  <c:v>9.1999999999999993</c:v>
                </c:pt>
                <c:pt idx="6476">
                  <c:v>8.4</c:v>
                </c:pt>
                <c:pt idx="6477">
                  <c:v>10.1</c:v>
                </c:pt>
                <c:pt idx="6478">
                  <c:v>5.6</c:v>
                </c:pt>
                <c:pt idx="6479">
                  <c:v>8.8000000000000007</c:v>
                </c:pt>
                <c:pt idx="6480">
                  <c:v>10.3</c:v>
                </c:pt>
                <c:pt idx="6481">
                  <c:v>4.5999999999999996</c:v>
                </c:pt>
                <c:pt idx="6482">
                  <c:v>4.0999999999999996</c:v>
                </c:pt>
                <c:pt idx="6483">
                  <c:v>8.9</c:v>
                </c:pt>
                <c:pt idx="6484">
                  <c:v>11</c:v>
                </c:pt>
                <c:pt idx="6485">
                  <c:v>7.6</c:v>
                </c:pt>
                <c:pt idx="6486">
                  <c:v>6</c:v>
                </c:pt>
                <c:pt idx="6487">
                  <c:v>7.3</c:v>
                </c:pt>
                <c:pt idx="6488">
                  <c:v>8.9</c:v>
                </c:pt>
                <c:pt idx="6489">
                  <c:v>5.5</c:v>
                </c:pt>
                <c:pt idx="6490">
                  <c:v>7.6</c:v>
                </c:pt>
                <c:pt idx="6491">
                  <c:v>5.6</c:v>
                </c:pt>
                <c:pt idx="6492">
                  <c:v>8.1</c:v>
                </c:pt>
                <c:pt idx="6493">
                  <c:v>11.7</c:v>
                </c:pt>
                <c:pt idx="6494">
                  <c:v>10.4</c:v>
                </c:pt>
                <c:pt idx="6495">
                  <c:v>7</c:v>
                </c:pt>
                <c:pt idx="6496">
                  <c:v>6.4</c:v>
                </c:pt>
                <c:pt idx="6497">
                  <c:v>1.5</c:v>
                </c:pt>
                <c:pt idx="6498">
                  <c:v>11.3</c:v>
                </c:pt>
                <c:pt idx="6499">
                  <c:v>6.8</c:v>
                </c:pt>
                <c:pt idx="6500">
                  <c:v>11.5</c:v>
                </c:pt>
                <c:pt idx="6501">
                  <c:v>11.5</c:v>
                </c:pt>
                <c:pt idx="6502">
                  <c:v>7</c:v>
                </c:pt>
                <c:pt idx="6503">
                  <c:v>6.1</c:v>
                </c:pt>
                <c:pt idx="6504">
                  <c:v>10.8</c:v>
                </c:pt>
                <c:pt idx="6505">
                  <c:v>13.6</c:v>
                </c:pt>
                <c:pt idx="6506">
                  <c:v>8.1</c:v>
                </c:pt>
                <c:pt idx="6507">
                  <c:v>10.5</c:v>
                </c:pt>
                <c:pt idx="6508">
                  <c:v>8.6</c:v>
                </c:pt>
                <c:pt idx="6509">
                  <c:v>3.7</c:v>
                </c:pt>
                <c:pt idx="6510">
                  <c:v>7.9</c:v>
                </c:pt>
                <c:pt idx="6511">
                  <c:v>10.1</c:v>
                </c:pt>
                <c:pt idx="6512">
                  <c:v>9.4</c:v>
                </c:pt>
                <c:pt idx="6513">
                  <c:v>7.3</c:v>
                </c:pt>
                <c:pt idx="6514">
                  <c:v>7.9</c:v>
                </c:pt>
                <c:pt idx="6515">
                  <c:v>9.1</c:v>
                </c:pt>
                <c:pt idx="6516">
                  <c:v>4.4000000000000004</c:v>
                </c:pt>
                <c:pt idx="6517">
                  <c:v>6.3</c:v>
                </c:pt>
                <c:pt idx="6518">
                  <c:v>10.7</c:v>
                </c:pt>
                <c:pt idx="6519">
                  <c:v>7.1</c:v>
                </c:pt>
                <c:pt idx="6520">
                  <c:v>6.5</c:v>
                </c:pt>
                <c:pt idx="6521">
                  <c:v>16.2</c:v>
                </c:pt>
                <c:pt idx="6522">
                  <c:v>4.2</c:v>
                </c:pt>
                <c:pt idx="6523">
                  <c:v>3.9</c:v>
                </c:pt>
                <c:pt idx="6524">
                  <c:v>8.1</c:v>
                </c:pt>
                <c:pt idx="6525">
                  <c:v>8.1999999999999993</c:v>
                </c:pt>
                <c:pt idx="6526">
                  <c:v>10.1</c:v>
                </c:pt>
                <c:pt idx="6527">
                  <c:v>9.4</c:v>
                </c:pt>
                <c:pt idx="6528">
                  <c:v>7.2</c:v>
                </c:pt>
                <c:pt idx="6529">
                  <c:v>6.8</c:v>
                </c:pt>
                <c:pt idx="6530">
                  <c:v>8.1</c:v>
                </c:pt>
                <c:pt idx="6531">
                  <c:v>1.8</c:v>
                </c:pt>
                <c:pt idx="6532">
                  <c:v>10.7</c:v>
                </c:pt>
                <c:pt idx="6533">
                  <c:v>5.7</c:v>
                </c:pt>
                <c:pt idx="6534">
                  <c:v>9.6</c:v>
                </c:pt>
                <c:pt idx="6535">
                  <c:v>6.7</c:v>
                </c:pt>
                <c:pt idx="6536">
                  <c:v>9</c:v>
                </c:pt>
                <c:pt idx="6537">
                  <c:v>11.9</c:v>
                </c:pt>
                <c:pt idx="6538">
                  <c:v>0.4</c:v>
                </c:pt>
                <c:pt idx="6539">
                  <c:v>7.8</c:v>
                </c:pt>
                <c:pt idx="6540">
                  <c:v>10</c:v>
                </c:pt>
                <c:pt idx="6541">
                  <c:v>4.7</c:v>
                </c:pt>
                <c:pt idx="6542">
                  <c:v>8.6</c:v>
                </c:pt>
                <c:pt idx="6543">
                  <c:v>9.4</c:v>
                </c:pt>
                <c:pt idx="6544">
                  <c:v>10.5</c:v>
                </c:pt>
                <c:pt idx="6545">
                  <c:v>10.5</c:v>
                </c:pt>
                <c:pt idx="6546">
                  <c:v>0.9</c:v>
                </c:pt>
                <c:pt idx="6547">
                  <c:v>6.1</c:v>
                </c:pt>
                <c:pt idx="6548">
                  <c:v>7.6</c:v>
                </c:pt>
                <c:pt idx="6549">
                  <c:v>6</c:v>
                </c:pt>
                <c:pt idx="6550">
                  <c:v>10.5</c:v>
                </c:pt>
                <c:pt idx="6551">
                  <c:v>5.3</c:v>
                </c:pt>
                <c:pt idx="6552">
                  <c:v>4.5</c:v>
                </c:pt>
                <c:pt idx="6553">
                  <c:v>6.4</c:v>
                </c:pt>
                <c:pt idx="6554">
                  <c:v>3.7</c:v>
                </c:pt>
                <c:pt idx="6555">
                  <c:v>7.3</c:v>
                </c:pt>
                <c:pt idx="6556">
                  <c:v>4.5</c:v>
                </c:pt>
                <c:pt idx="6557">
                  <c:v>9.4</c:v>
                </c:pt>
                <c:pt idx="6558">
                  <c:v>6.1</c:v>
                </c:pt>
                <c:pt idx="6559">
                  <c:v>9</c:v>
                </c:pt>
                <c:pt idx="6560">
                  <c:v>5.8</c:v>
                </c:pt>
                <c:pt idx="6561">
                  <c:v>10.8</c:v>
                </c:pt>
                <c:pt idx="6562">
                  <c:v>7.9</c:v>
                </c:pt>
                <c:pt idx="6563">
                  <c:v>7.5</c:v>
                </c:pt>
                <c:pt idx="6564">
                  <c:v>4.2</c:v>
                </c:pt>
                <c:pt idx="6565">
                  <c:v>4.0999999999999996</c:v>
                </c:pt>
                <c:pt idx="6566">
                  <c:v>10.5</c:v>
                </c:pt>
                <c:pt idx="6567">
                  <c:v>10.4</c:v>
                </c:pt>
                <c:pt idx="6568">
                  <c:v>1.7</c:v>
                </c:pt>
                <c:pt idx="6569">
                  <c:v>2.6</c:v>
                </c:pt>
                <c:pt idx="6570">
                  <c:v>11.7</c:v>
                </c:pt>
                <c:pt idx="6571">
                  <c:v>1</c:v>
                </c:pt>
                <c:pt idx="6572">
                  <c:v>6.8</c:v>
                </c:pt>
                <c:pt idx="6573">
                  <c:v>6.9</c:v>
                </c:pt>
                <c:pt idx="6574">
                  <c:v>5.0999999999999996</c:v>
                </c:pt>
                <c:pt idx="6575">
                  <c:v>9.6999999999999993</c:v>
                </c:pt>
                <c:pt idx="6576">
                  <c:v>10.8</c:v>
                </c:pt>
                <c:pt idx="6577">
                  <c:v>7</c:v>
                </c:pt>
                <c:pt idx="6578">
                  <c:v>10.5</c:v>
                </c:pt>
                <c:pt idx="6579">
                  <c:v>9.5</c:v>
                </c:pt>
                <c:pt idx="6580">
                  <c:v>9.1999999999999993</c:v>
                </c:pt>
                <c:pt idx="6581">
                  <c:v>1.5</c:v>
                </c:pt>
                <c:pt idx="6582">
                  <c:v>5</c:v>
                </c:pt>
                <c:pt idx="6583">
                  <c:v>13.6</c:v>
                </c:pt>
                <c:pt idx="6584">
                  <c:v>6</c:v>
                </c:pt>
                <c:pt idx="6585">
                  <c:v>6.8</c:v>
                </c:pt>
                <c:pt idx="6586">
                  <c:v>8.8000000000000007</c:v>
                </c:pt>
                <c:pt idx="6587">
                  <c:v>5.6</c:v>
                </c:pt>
                <c:pt idx="6588">
                  <c:v>4.5</c:v>
                </c:pt>
                <c:pt idx="6589">
                  <c:v>11.9</c:v>
                </c:pt>
                <c:pt idx="6590">
                  <c:v>6.3</c:v>
                </c:pt>
                <c:pt idx="6591">
                  <c:v>6.2</c:v>
                </c:pt>
                <c:pt idx="6592">
                  <c:v>13.7</c:v>
                </c:pt>
                <c:pt idx="6593">
                  <c:v>10.5</c:v>
                </c:pt>
                <c:pt idx="6594">
                  <c:v>9.3000000000000007</c:v>
                </c:pt>
                <c:pt idx="6595">
                  <c:v>6.3</c:v>
                </c:pt>
                <c:pt idx="6596">
                  <c:v>6.1</c:v>
                </c:pt>
                <c:pt idx="6597">
                  <c:v>10.199999999999999</c:v>
                </c:pt>
                <c:pt idx="6598">
                  <c:v>8.6</c:v>
                </c:pt>
                <c:pt idx="6599">
                  <c:v>5.6</c:v>
                </c:pt>
                <c:pt idx="6600">
                  <c:v>4.9000000000000004</c:v>
                </c:pt>
                <c:pt idx="6601">
                  <c:v>7.5</c:v>
                </c:pt>
                <c:pt idx="6602">
                  <c:v>9.1</c:v>
                </c:pt>
                <c:pt idx="6603">
                  <c:v>8.5</c:v>
                </c:pt>
                <c:pt idx="6604">
                  <c:v>8.6999999999999993</c:v>
                </c:pt>
                <c:pt idx="6605">
                  <c:v>10.9</c:v>
                </c:pt>
                <c:pt idx="6606">
                  <c:v>5.7</c:v>
                </c:pt>
                <c:pt idx="6607">
                  <c:v>6.8</c:v>
                </c:pt>
                <c:pt idx="6608">
                  <c:v>10.9</c:v>
                </c:pt>
                <c:pt idx="6609">
                  <c:v>9.9</c:v>
                </c:pt>
                <c:pt idx="6610">
                  <c:v>6.9</c:v>
                </c:pt>
                <c:pt idx="6611">
                  <c:v>11.5</c:v>
                </c:pt>
                <c:pt idx="6612">
                  <c:v>5.4</c:v>
                </c:pt>
                <c:pt idx="6613">
                  <c:v>4.8</c:v>
                </c:pt>
                <c:pt idx="6614">
                  <c:v>5.5</c:v>
                </c:pt>
                <c:pt idx="6615">
                  <c:v>14.5</c:v>
                </c:pt>
                <c:pt idx="6616">
                  <c:v>9.9</c:v>
                </c:pt>
                <c:pt idx="6617">
                  <c:v>3.9</c:v>
                </c:pt>
                <c:pt idx="6618">
                  <c:v>3.6</c:v>
                </c:pt>
                <c:pt idx="6619">
                  <c:v>8.1999999999999993</c:v>
                </c:pt>
                <c:pt idx="6620">
                  <c:v>3.8</c:v>
                </c:pt>
                <c:pt idx="6621">
                  <c:v>6.4</c:v>
                </c:pt>
                <c:pt idx="6622">
                  <c:v>9.6999999999999993</c:v>
                </c:pt>
                <c:pt idx="6623">
                  <c:v>7</c:v>
                </c:pt>
                <c:pt idx="6624">
                  <c:v>8.5</c:v>
                </c:pt>
                <c:pt idx="6625">
                  <c:v>7.5</c:v>
                </c:pt>
                <c:pt idx="6626">
                  <c:v>5.5</c:v>
                </c:pt>
                <c:pt idx="6627">
                  <c:v>8.6</c:v>
                </c:pt>
                <c:pt idx="6628">
                  <c:v>8.5</c:v>
                </c:pt>
                <c:pt idx="6629">
                  <c:v>9.5</c:v>
                </c:pt>
                <c:pt idx="6630">
                  <c:v>10</c:v>
                </c:pt>
                <c:pt idx="6631">
                  <c:v>10.3</c:v>
                </c:pt>
                <c:pt idx="6632">
                  <c:v>6.8</c:v>
                </c:pt>
                <c:pt idx="6633">
                  <c:v>2.9</c:v>
                </c:pt>
                <c:pt idx="6634">
                  <c:v>8</c:v>
                </c:pt>
                <c:pt idx="6635">
                  <c:v>1.4</c:v>
                </c:pt>
                <c:pt idx="6636">
                  <c:v>7.5</c:v>
                </c:pt>
                <c:pt idx="6637">
                  <c:v>8.6</c:v>
                </c:pt>
                <c:pt idx="6638">
                  <c:v>9.5</c:v>
                </c:pt>
                <c:pt idx="6639">
                  <c:v>6.1</c:v>
                </c:pt>
                <c:pt idx="6640">
                  <c:v>7.1</c:v>
                </c:pt>
                <c:pt idx="6641">
                  <c:v>7</c:v>
                </c:pt>
                <c:pt idx="6642">
                  <c:v>8.4</c:v>
                </c:pt>
                <c:pt idx="6643">
                  <c:v>6.1</c:v>
                </c:pt>
                <c:pt idx="6644">
                  <c:v>6.8</c:v>
                </c:pt>
                <c:pt idx="6645">
                  <c:v>9.5</c:v>
                </c:pt>
                <c:pt idx="6646">
                  <c:v>7.2</c:v>
                </c:pt>
                <c:pt idx="6647">
                  <c:v>4.2</c:v>
                </c:pt>
                <c:pt idx="6648">
                  <c:v>10.9</c:v>
                </c:pt>
                <c:pt idx="6649">
                  <c:v>9.9</c:v>
                </c:pt>
                <c:pt idx="6650">
                  <c:v>7.7</c:v>
                </c:pt>
                <c:pt idx="6651">
                  <c:v>3.9</c:v>
                </c:pt>
                <c:pt idx="6652">
                  <c:v>8.6</c:v>
                </c:pt>
                <c:pt idx="6653">
                  <c:v>5</c:v>
                </c:pt>
                <c:pt idx="6654">
                  <c:v>5</c:v>
                </c:pt>
                <c:pt idx="6655">
                  <c:v>5.9</c:v>
                </c:pt>
                <c:pt idx="6656">
                  <c:v>8.1</c:v>
                </c:pt>
                <c:pt idx="6657">
                  <c:v>7.4</c:v>
                </c:pt>
                <c:pt idx="6658">
                  <c:v>9.1</c:v>
                </c:pt>
                <c:pt idx="6659">
                  <c:v>10.7</c:v>
                </c:pt>
                <c:pt idx="6660">
                  <c:v>3.7</c:v>
                </c:pt>
                <c:pt idx="6661">
                  <c:v>6.9</c:v>
                </c:pt>
                <c:pt idx="6662">
                  <c:v>6.9</c:v>
                </c:pt>
                <c:pt idx="6663">
                  <c:v>6.9</c:v>
                </c:pt>
                <c:pt idx="6664">
                  <c:v>10.8</c:v>
                </c:pt>
                <c:pt idx="6665">
                  <c:v>7.6</c:v>
                </c:pt>
                <c:pt idx="6666">
                  <c:v>7.1</c:v>
                </c:pt>
                <c:pt idx="6667">
                  <c:v>8.3000000000000007</c:v>
                </c:pt>
                <c:pt idx="6668">
                  <c:v>11.2</c:v>
                </c:pt>
                <c:pt idx="6669">
                  <c:v>8.8000000000000007</c:v>
                </c:pt>
                <c:pt idx="6670">
                  <c:v>4.7</c:v>
                </c:pt>
                <c:pt idx="6671">
                  <c:v>4.7</c:v>
                </c:pt>
                <c:pt idx="6672">
                  <c:v>9.6</c:v>
                </c:pt>
                <c:pt idx="6673">
                  <c:v>9.9</c:v>
                </c:pt>
                <c:pt idx="6674">
                  <c:v>4.0999999999999996</c:v>
                </c:pt>
                <c:pt idx="6675">
                  <c:v>7.7</c:v>
                </c:pt>
                <c:pt idx="6676">
                  <c:v>4.8</c:v>
                </c:pt>
                <c:pt idx="6677">
                  <c:v>3.3</c:v>
                </c:pt>
                <c:pt idx="6678">
                  <c:v>9</c:v>
                </c:pt>
                <c:pt idx="6679">
                  <c:v>6.4</c:v>
                </c:pt>
                <c:pt idx="6680">
                  <c:v>10.5</c:v>
                </c:pt>
                <c:pt idx="6681">
                  <c:v>11</c:v>
                </c:pt>
                <c:pt idx="6682">
                  <c:v>6.9</c:v>
                </c:pt>
                <c:pt idx="6683">
                  <c:v>6.2</c:v>
                </c:pt>
                <c:pt idx="6684">
                  <c:v>8.8000000000000007</c:v>
                </c:pt>
                <c:pt idx="6685">
                  <c:v>6.8</c:v>
                </c:pt>
                <c:pt idx="6686">
                  <c:v>9.1999999999999993</c:v>
                </c:pt>
                <c:pt idx="6687">
                  <c:v>5.8</c:v>
                </c:pt>
                <c:pt idx="6688">
                  <c:v>1.6</c:v>
                </c:pt>
                <c:pt idx="6689">
                  <c:v>7.7</c:v>
                </c:pt>
                <c:pt idx="6690">
                  <c:v>7.6</c:v>
                </c:pt>
                <c:pt idx="6691">
                  <c:v>8.5</c:v>
                </c:pt>
                <c:pt idx="6692">
                  <c:v>7.8</c:v>
                </c:pt>
                <c:pt idx="6693">
                  <c:v>8.3000000000000007</c:v>
                </c:pt>
                <c:pt idx="6694">
                  <c:v>1.3</c:v>
                </c:pt>
                <c:pt idx="6695">
                  <c:v>7.1</c:v>
                </c:pt>
                <c:pt idx="6696">
                  <c:v>7.6</c:v>
                </c:pt>
                <c:pt idx="6697">
                  <c:v>6.3</c:v>
                </c:pt>
                <c:pt idx="6698">
                  <c:v>1.2</c:v>
                </c:pt>
                <c:pt idx="6699">
                  <c:v>8.8000000000000007</c:v>
                </c:pt>
                <c:pt idx="6700">
                  <c:v>0.7</c:v>
                </c:pt>
                <c:pt idx="6701">
                  <c:v>9.1999999999999993</c:v>
                </c:pt>
                <c:pt idx="6702">
                  <c:v>12.1</c:v>
                </c:pt>
                <c:pt idx="6703">
                  <c:v>10.6</c:v>
                </c:pt>
                <c:pt idx="6704">
                  <c:v>8.1</c:v>
                </c:pt>
                <c:pt idx="6705">
                  <c:v>7.8</c:v>
                </c:pt>
                <c:pt idx="6706">
                  <c:v>7.7</c:v>
                </c:pt>
                <c:pt idx="6707">
                  <c:v>3.9</c:v>
                </c:pt>
                <c:pt idx="6708">
                  <c:v>6.5</c:v>
                </c:pt>
                <c:pt idx="6709">
                  <c:v>8</c:v>
                </c:pt>
                <c:pt idx="6710">
                  <c:v>11.4</c:v>
                </c:pt>
                <c:pt idx="6711">
                  <c:v>13.5</c:v>
                </c:pt>
                <c:pt idx="6712">
                  <c:v>4.5</c:v>
                </c:pt>
                <c:pt idx="6713">
                  <c:v>7.3</c:v>
                </c:pt>
                <c:pt idx="6714">
                  <c:v>6.5</c:v>
                </c:pt>
                <c:pt idx="6715">
                  <c:v>8.3000000000000007</c:v>
                </c:pt>
                <c:pt idx="6716">
                  <c:v>6.3</c:v>
                </c:pt>
                <c:pt idx="6717">
                  <c:v>8</c:v>
                </c:pt>
                <c:pt idx="6718">
                  <c:v>6.3</c:v>
                </c:pt>
                <c:pt idx="6719">
                  <c:v>10.8</c:v>
                </c:pt>
                <c:pt idx="6720">
                  <c:v>5.2</c:v>
                </c:pt>
                <c:pt idx="6721">
                  <c:v>8.4</c:v>
                </c:pt>
                <c:pt idx="6722">
                  <c:v>5.8</c:v>
                </c:pt>
                <c:pt idx="6723">
                  <c:v>5.8</c:v>
                </c:pt>
                <c:pt idx="6724">
                  <c:v>7.1</c:v>
                </c:pt>
                <c:pt idx="6725">
                  <c:v>7.8</c:v>
                </c:pt>
                <c:pt idx="6726">
                  <c:v>5.8</c:v>
                </c:pt>
                <c:pt idx="6727">
                  <c:v>6.8</c:v>
                </c:pt>
                <c:pt idx="6728">
                  <c:v>6.4</c:v>
                </c:pt>
                <c:pt idx="6729">
                  <c:v>9.6999999999999993</c:v>
                </c:pt>
                <c:pt idx="6730">
                  <c:v>8.5</c:v>
                </c:pt>
                <c:pt idx="6731">
                  <c:v>8.5</c:v>
                </c:pt>
                <c:pt idx="6732">
                  <c:v>6.7</c:v>
                </c:pt>
                <c:pt idx="6733">
                  <c:v>6.3</c:v>
                </c:pt>
                <c:pt idx="6734">
                  <c:v>7.9</c:v>
                </c:pt>
                <c:pt idx="6735">
                  <c:v>11.5</c:v>
                </c:pt>
                <c:pt idx="6736">
                  <c:v>9.3000000000000007</c:v>
                </c:pt>
                <c:pt idx="6737">
                  <c:v>10.199999999999999</c:v>
                </c:pt>
                <c:pt idx="6738">
                  <c:v>9.8000000000000007</c:v>
                </c:pt>
                <c:pt idx="6739">
                  <c:v>9</c:v>
                </c:pt>
                <c:pt idx="6740">
                  <c:v>8.9</c:v>
                </c:pt>
                <c:pt idx="6741">
                  <c:v>7.6</c:v>
                </c:pt>
                <c:pt idx="6742">
                  <c:v>8.5</c:v>
                </c:pt>
                <c:pt idx="6743">
                  <c:v>9.1</c:v>
                </c:pt>
                <c:pt idx="6744">
                  <c:v>6.6</c:v>
                </c:pt>
                <c:pt idx="6745">
                  <c:v>6.5</c:v>
                </c:pt>
                <c:pt idx="6746">
                  <c:v>6</c:v>
                </c:pt>
                <c:pt idx="6747">
                  <c:v>11.7</c:v>
                </c:pt>
                <c:pt idx="6748">
                  <c:v>4</c:v>
                </c:pt>
                <c:pt idx="6749">
                  <c:v>8.3000000000000007</c:v>
                </c:pt>
                <c:pt idx="6750">
                  <c:v>9.1999999999999993</c:v>
                </c:pt>
                <c:pt idx="6751">
                  <c:v>8</c:v>
                </c:pt>
                <c:pt idx="6752">
                  <c:v>7.6</c:v>
                </c:pt>
                <c:pt idx="6753">
                  <c:v>4.8</c:v>
                </c:pt>
                <c:pt idx="6754">
                  <c:v>9.8000000000000007</c:v>
                </c:pt>
                <c:pt idx="6755">
                  <c:v>5.5</c:v>
                </c:pt>
                <c:pt idx="6756">
                  <c:v>11</c:v>
                </c:pt>
                <c:pt idx="6757">
                  <c:v>6.1</c:v>
                </c:pt>
                <c:pt idx="6758">
                  <c:v>10.4</c:v>
                </c:pt>
                <c:pt idx="6759">
                  <c:v>5.6</c:v>
                </c:pt>
                <c:pt idx="6760">
                  <c:v>6.4</c:v>
                </c:pt>
                <c:pt idx="6761">
                  <c:v>6.9</c:v>
                </c:pt>
                <c:pt idx="6762">
                  <c:v>8</c:v>
                </c:pt>
                <c:pt idx="6763">
                  <c:v>6.7</c:v>
                </c:pt>
                <c:pt idx="6764">
                  <c:v>7</c:v>
                </c:pt>
                <c:pt idx="6765">
                  <c:v>5.6</c:v>
                </c:pt>
                <c:pt idx="6766">
                  <c:v>6.3</c:v>
                </c:pt>
                <c:pt idx="6767">
                  <c:v>5.7</c:v>
                </c:pt>
                <c:pt idx="6768">
                  <c:v>7.9</c:v>
                </c:pt>
                <c:pt idx="6769">
                  <c:v>9.9</c:v>
                </c:pt>
                <c:pt idx="6770">
                  <c:v>6.4</c:v>
                </c:pt>
                <c:pt idx="6771">
                  <c:v>12.4</c:v>
                </c:pt>
                <c:pt idx="6772">
                  <c:v>5.6</c:v>
                </c:pt>
                <c:pt idx="6773">
                  <c:v>7.6</c:v>
                </c:pt>
                <c:pt idx="6774">
                  <c:v>9.4</c:v>
                </c:pt>
                <c:pt idx="6775">
                  <c:v>9.4</c:v>
                </c:pt>
                <c:pt idx="6776">
                  <c:v>9.9</c:v>
                </c:pt>
                <c:pt idx="6777">
                  <c:v>11.5</c:v>
                </c:pt>
                <c:pt idx="6778">
                  <c:v>7.7</c:v>
                </c:pt>
                <c:pt idx="6779">
                  <c:v>5.9</c:v>
                </c:pt>
                <c:pt idx="6780">
                  <c:v>5.4</c:v>
                </c:pt>
                <c:pt idx="6781">
                  <c:v>5.3</c:v>
                </c:pt>
                <c:pt idx="6782">
                  <c:v>8.5</c:v>
                </c:pt>
                <c:pt idx="6783">
                  <c:v>6.8</c:v>
                </c:pt>
                <c:pt idx="6784">
                  <c:v>9.1999999999999993</c:v>
                </c:pt>
                <c:pt idx="6785">
                  <c:v>9.1999999999999993</c:v>
                </c:pt>
                <c:pt idx="6786">
                  <c:v>9.6999999999999993</c:v>
                </c:pt>
                <c:pt idx="6787">
                  <c:v>11.1</c:v>
                </c:pt>
                <c:pt idx="6788">
                  <c:v>6.9</c:v>
                </c:pt>
                <c:pt idx="6789">
                  <c:v>8.6999999999999993</c:v>
                </c:pt>
                <c:pt idx="6790">
                  <c:v>6.5</c:v>
                </c:pt>
                <c:pt idx="6791">
                  <c:v>7.9</c:v>
                </c:pt>
                <c:pt idx="6792">
                  <c:v>6.7</c:v>
                </c:pt>
                <c:pt idx="6793">
                  <c:v>14.2</c:v>
                </c:pt>
                <c:pt idx="6794">
                  <c:v>2.2000000000000002</c:v>
                </c:pt>
                <c:pt idx="6795">
                  <c:v>6.9</c:v>
                </c:pt>
                <c:pt idx="6796">
                  <c:v>2.6</c:v>
                </c:pt>
                <c:pt idx="6797">
                  <c:v>6.5</c:v>
                </c:pt>
                <c:pt idx="6798">
                  <c:v>4.5</c:v>
                </c:pt>
                <c:pt idx="6799">
                  <c:v>7.6</c:v>
                </c:pt>
                <c:pt idx="6800">
                  <c:v>10.4</c:v>
                </c:pt>
                <c:pt idx="6801">
                  <c:v>6.2</c:v>
                </c:pt>
                <c:pt idx="6802">
                  <c:v>9.1999999999999993</c:v>
                </c:pt>
                <c:pt idx="6803">
                  <c:v>7.7</c:v>
                </c:pt>
                <c:pt idx="6804">
                  <c:v>7.9</c:v>
                </c:pt>
                <c:pt idx="6805">
                  <c:v>7.5</c:v>
                </c:pt>
                <c:pt idx="6806">
                  <c:v>6.2</c:v>
                </c:pt>
                <c:pt idx="6807">
                  <c:v>11.4</c:v>
                </c:pt>
                <c:pt idx="6808">
                  <c:v>10.7</c:v>
                </c:pt>
                <c:pt idx="6809">
                  <c:v>9.6</c:v>
                </c:pt>
                <c:pt idx="6810">
                  <c:v>8.1999999999999993</c:v>
                </c:pt>
                <c:pt idx="6811">
                  <c:v>8.4</c:v>
                </c:pt>
                <c:pt idx="6812">
                  <c:v>5.5</c:v>
                </c:pt>
                <c:pt idx="6813">
                  <c:v>6.8</c:v>
                </c:pt>
                <c:pt idx="6814">
                  <c:v>9.4</c:v>
                </c:pt>
                <c:pt idx="6815">
                  <c:v>7.3</c:v>
                </c:pt>
                <c:pt idx="6816">
                  <c:v>5.6</c:v>
                </c:pt>
                <c:pt idx="6817">
                  <c:v>10.6</c:v>
                </c:pt>
                <c:pt idx="6818">
                  <c:v>7.2</c:v>
                </c:pt>
                <c:pt idx="6819">
                  <c:v>6.2</c:v>
                </c:pt>
                <c:pt idx="6820">
                  <c:v>14.5</c:v>
                </c:pt>
                <c:pt idx="6821">
                  <c:v>3.8</c:v>
                </c:pt>
                <c:pt idx="6822">
                  <c:v>8.9</c:v>
                </c:pt>
                <c:pt idx="6823">
                  <c:v>7.9</c:v>
                </c:pt>
                <c:pt idx="6824">
                  <c:v>6.3</c:v>
                </c:pt>
                <c:pt idx="6825">
                  <c:v>8.4</c:v>
                </c:pt>
                <c:pt idx="6826">
                  <c:v>5.7</c:v>
                </c:pt>
                <c:pt idx="6827">
                  <c:v>8.5</c:v>
                </c:pt>
                <c:pt idx="6828">
                  <c:v>12.9</c:v>
                </c:pt>
                <c:pt idx="6829">
                  <c:v>9.6999999999999993</c:v>
                </c:pt>
                <c:pt idx="6830">
                  <c:v>5.9</c:v>
                </c:pt>
                <c:pt idx="6831">
                  <c:v>7.1</c:v>
                </c:pt>
                <c:pt idx="6832">
                  <c:v>6.6</c:v>
                </c:pt>
                <c:pt idx="6833">
                  <c:v>11</c:v>
                </c:pt>
                <c:pt idx="6834">
                  <c:v>1.5</c:v>
                </c:pt>
                <c:pt idx="6835">
                  <c:v>11.1</c:v>
                </c:pt>
                <c:pt idx="6836">
                  <c:v>13.2</c:v>
                </c:pt>
                <c:pt idx="6837">
                  <c:v>7.1</c:v>
                </c:pt>
                <c:pt idx="6838">
                  <c:v>7.1</c:v>
                </c:pt>
                <c:pt idx="6839">
                  <c:v>5.5</c:v>
                </c:pt>
                <c:pt idx="6840">
                  <c:v>6.8</c:v>
                </c:pt>
                <c:pt idx="6841">
                  <c:v>8.3000000000000007</c:v>
                </c:pt>
                <c:pt idx="6842">
                  <c:v>5.5</c:v>
                </c:pt>
                <c:pt idx="6843">
                  <c:v>5.4</c:v>
                </c:pt>
                <c:pt idx="6844">
                  <c:v>2.8</c:v>
                </c:pt>
                <c:pt idx="6845">
                  <c:v>11.9</c:v>
                </c:pt>
                <c:pt idx="6846">
                  <c:v>8.5</c:v>
                </c:pt>
                <c:pt idx="6847">
                  <c:v>9</c:v>
                </c:pt>
                <c:pt idx="6848">
                  <c:v>6</c:v>
                </c:pt>
                <c:pt idx="6849">
                  <c:v>6.2</c:v>
                </c:pt>
                <c:pt idx="6850">
                  <c:v>7.4</c:v>
                </c:pt>
                <c:pt idx="6851">
                  <c:v>8.6</c:v>
                </c:pt>
                <c:pt idx="6852">
                  <c:v>10.5</c:v>
                </c:pt>
                <c:pt idx="6853">
                  <c:v>7.1</c:v>
                </c:pt>
                <c:pt idx="6854">
                  <c:v>7.7</c:v>
                </c:pt>
                <c:pt idx="6855">
                  <c:v>11.2</c:v>
                </c:pt>
                <c:pt idx="6856">
                  <c:v>5.0999999999999996</c:v>
                </c:pt>
                <c:pt idx="6857">
                  <c:v>6.4</c:v>
                </c:pt>
                <c:pt idx="6858">
                  <c:v>6.1</c:v>
                </c:pt>
                <c:pt idx="6859">
                  <c:v>6.1</c:v>
                </c:pt>
                <c:pt idx="6860">
                  <c:v>7</c:v>
                </c:pt>
                <c:pt idx="6861">
                  <c:v>9.1</c:v>
                </c:pt>
                <c:pt idx="6862">
                  <c:v>7.7</c:v>
                </c:pt>
                <c:pt idx="6863">
                  <c:v>7.4</c:v>
                </c:pt>
                <c:pt idx="6864">
                  <c:v>5.2</c:v>
                </c:pt>
                <c:pt idx="6865">
                  <c:v>6.7</c:v>
                </c:pt>
                <c:pt idx="6866">
                  <c:v>9.4</c:v>
                </c:pt>
                <c:pt idx="6867">
                  <c:v>2.6</c:v>
                </c:pt>
                <c:pt idx="6868">
                  <c:v>8.9</c:v>
                </c:pt>
                <c:pt idx="6869">
                  <c:v>3.2</c:v>
                </c:pt>
                <c:pt idx="6870">
                  <c:v>10.199999999999999</c:v>
                </c:pt>
                <c:pt idx="6871">
                  <c:v>5.6</c:v>
                </c:pt>
                <c:pt idx="6872">
                  <c:v>7.7</c:v>
                </c:pt>
                <c:pt idx="6873">
                  <c:v>7.7</c:v>
                </c:pt>
                <c:pt idx="6874">
                  <c:v>5.5</c:v>
                </c:pt>
                <c:pt idx="6875">
                  <c:v>1.8</c:v>
                </c:pt>
                <c:pt idx="6876">
                  <c:v>5.8</c:v>
                </c:pt>
                <c:pt idx="6877">
                  <c:v>7</c:v>
                </c:pt>
                <c:pt idx="6878">
                  <c:v>13.5</c:v>
                </c:pt>
                <c:pt idx="6879">
                  <c:v>8.4</c:v>
                </c:pt>
                <c:pt idx="6880">
                  <c:v>4.2</c:v>
                </c:pt>
                <c:pt idx="6881">
                  <c:v>14.2</c:v>
                </c:pt>
                <c:pt idx="6882">
                  <c:v>4.7</c:v>
                </c:pt>
                <c:pt idx="6883">
                  <c:v>9.1</c:v>
                </c:pt>
                <c:pt idx="6884">
                  <c:v>5.4</c:v>
                </c:pt>
                <c:pt idx="6885">
                  <c:v>9</c:v>
                </c:pt>
                <c:pt idx="6886">
                  <c:v>7.4</c:v>
                </c:pt>
                <c:pt idx="6887">
                  <c:v>4.8</c:v>
                </c:pt>
                <c:pt idx="6888">
                  <c:v>13.3</c:v>
                </c:pt>
                <c:pt idx="6889">
                  <c:v>5.7</c:v>
                </c:pt>
                <c:pt idx="6890">
                  <c:v>6.2</c:v>
                </c:pt>
                <c:pt idx="6891">
                  <c:v>7.9</c:v>
                </c:pt>
                <c:pt idx="6892">
                  <c:v>0.4</c:v>
                </c:pt>
                <c:pt idx="6893">
                  <c:v>8.3000000000000007</c:v>
                </c:pt>
                <c:pt idx="6894">
                  <c:v>7.7</c:v>
                </c:pt>
                <c:pt idx="6895">
                  <c:v>7.4</c:v>
                </c:pt>
                <c:pt idx="6896">
                  <c:v>12.9</c:v>
                </c:pt>
                <c:pt idx="6897">
                  <c:v>5</c:v>
                </c:pt>
                <c:pt idx="6898">
                  <c:v>6.4</c:v>
                </c:pt>
                <c:pt idx="6899">
                  <c:v>4.3</c:v>
                </c:pt>
                <c:pt idx="6900">
                  <c:v>9.9</c:v>
                </c:pt>
                <c:pt idx="6901">
                  <c:v>7.7</c:v>
                </c:pt>
                <c:pt idx="6902">
                  <c:v>6.6</c:v>
                </c:pt>
                <c:pt idx="6903">
                  <c:v>7.4</c:v>
                </c:pt>
                <c:pt idx="6904">
                  <c:v>5.9</c:v>
                </c:pt>
                <c:pt idx="6905">
                  <c:v>4.8</c:v>
                </c:pt>
                <c:pt idx="6906">
                  <c:v>7.4</c:v>
                </c:pt>
                <c:pt idx="6907">
                  <c:v>1.2</c:v>
                </c:pt>
                <c:pt idx="6908">
                  <c:v>7.2</c:v>
                </c:pt>
                <c:pt idx="6909">
                  <c:v>3.5</c:v>
                </c:pt>
                <c:pt idx="6910">
                  <c:v>5.8</c:v>
                </c:pt>
                <c:pt idx="6911">
                  <c:v>8.1</c:v>
                </c:pt>
                <c:pt idx="6912">
                  <c:v>8.6999999999999993</c:v>
                </c:pt>
                <c:pt idx="6913">
                  <c:v>9.9</c:v>
                </c:pt>
                <c:pt idx="6914">
                  <c:v>6.8</c:v>
                </c:pt>
                <c:pt idx="6915">
                  <c:v>6.1</c:v>
                </c:pt>
                <c:pt idx="6916">
                  <c:v>8.4</c:v>
                </c:pt>
                <c:pt idx="6917">
                  <c:v>5.7</c:v>
                </c:pt>
                <c:pt idx="6918">
                  <c:v>6.8</c:v>
                </c:pt>
                <c:pt idx="6919">
                  <c:v>6.1</c:v>
                </c:pt>
                <c:pt idx="6920">
                  <c:v>10.6</c:v>
                </c:pt>
                <c:pt idx="6921">
                  <c:v>7.5</c:v>
                </c:pt>
                <c:pt idx="6922">
                  <c:v>10.4</c:v>
                </c:pt>
                <c:pt idx="6923">
                  <c:v>7.4</c:v>
                </c:pt>
                <c:pt idx="6924">
                  <c:v>8.1</c:v>
                </c:pt>
                <c:pt idx="6925">
                  <c:v>8.6</c:v>
                </c:pt>
                <c:pt idx="6926">
                  <c:v>5.0999999999999996</c:v>
                </c:pt>
                <c:pt idx="6927">
                  <c:v>2.1</c:v>
                </c:pt>
                <c:pt idx="6928">
                  <c:v>6.9</c:v>
                </c:pt>
                <c:pt idx="6929">
                  <c:v>5.2</c:v>
                </c:pt>
                <c:pt idx="6930">
                  <c:v>2.2000000000000002</c:v>
                </c:pt>
                <c:pt idx="6931">
                  <c:v>9.4</c:v>
                </c:pt>
                <c:pt idx="6932">
                  <c:v>9.8000000000000007</c:v>
                </c:pt>
                <c:pt idx="6933">
                  <c:v>6.7</c:v>
                </c:pt>
                <c:pt idx="6934">
                  <c:v>7.8</c:v>
                </c:pt>
                <c:pt idx="6935">
                  <c:v>8.8000000000000007</c:v>
                </c:pt>
                <c:pt idx="6936">
                  <c:v>5.0999999999999996</c:v>
                </c:pt>
                <c:pt idx="6937">
                  <c:v>5.0999999999999996</c:v>
                </c:pt>
                <c:pt idx="6938">
                  <c:v>7.6</c:v>
                </c:pt>
                <c:pt idx="6939">
                  <c:v>9.8000000000000007</c:v>
                </c:pt>
                <c:pt idx="6940">
                  <c:v>5.8</c:v>
                </c:pt>
                <c:pt idx="6941">
                  <c:v>6.8</c:v>
                </c:pt>
                <c:pt idx="6942">
                  <c:v>11.1</c:v>
                </c:pt>
                <c:pt idx="6943">
                  <c:v>8.5</c:v>
                </c:pt>
                <c:pt idx="6944">
                  <c:v>7.9</c:v>
                </c:pt>
                <c:pt idx="6945">
                  <c:v>0</c:v>
                </c:pt>
                <c:pt idx="6946">
                  <c:v>6</c:v>
                </c:pt>
                <c:pt idx="6947">
                  <c:v>7.6</c:v>
                </c:pt>
                <c:pt idx="6948">
                  <c:v>4.4000000000000004</c:v>
                </c:pt>
                <c:pt idx="6949">
                  <c:v>2.6</c:v>
                </c:pt>
                <c:pt idx="6950">
                  <c:v>8.6999999999999993</c:v>
                </c:pt>
                <c:pt idx="6951">
                  <c:v>7.2</c:v>
                </c:pt>
                <c:pt idx="6952">
                  <c:v>8.1999999999999993</c:v>
                </c:pt>
                <c:pt idx="6953">
                  <c:v>3.8</c:v>
                </c:pt>
                <c:pt idx="6954">
                  <c:v>10.7</c:v>
                </c:pt>
                <c:pt idx="6955">
                  <c:v>2.6</c:v>
                </c:pt>
                <c:pt idx="6956">
                  <c:v>7.5</c:v>
                </c:pt>
                <c:pt idx="6957">
                  <c:v>5.5</c:v>
                </c:pt>
                <c:pt idx="6958">
                  <c:v>7.6</c:v>
                </c:pt>
                <c:pt idx="6959">
                  <c:v>7.7</c:v>
                </c:pt>
                <c:pt idx="6960">
                  <c:v>6.8</c:v>
                </c:pt>
                <c:pt idx="6961">
                  <c:v>10.5</c:v>
                </c:pt>
                <c:pt idx="6962">
                  <c:v>7.1</c:v>
                </c:pt>
                <c:pt idx="6963">
                  <c:v>1.7</c:v>
                </c:pt>
                <c:pt idx="6964">
                  <c:v>9.6</c:v>
                </c:pt>
                <c:pt idx="6965">
                  <c:v>7.5</c:v>
                </c:pt>
                <c:pt idx="6966">
                  <c:v>10.5</c:v>
                </c:pt>
                <c:pt idx="6967">
                  <c:v>13.5</c:v>
                </c:pt>
                <c:pt idx="6968">
                  <c:v>6</c:v>
                </c:pt>
                <c:pt idx="6969">
                  <c:v>6.4</c:v>
                </c:pt>
                <c:pt idx="6970">
                  <c:v>1.5</c:v>
                </c:pt>
                <c:pt idx="6971">
                  <c:v>9.6999999999999993</c:v>
                </c:pt>
                <c:pt idx="6972">
                  <c:v>6.3</c:v>
                </c:pt>
                <c:pt idx="6973">
                  <c:v>9.9</c:v>
                </c:pt>
                <c:pt idx="6974">
                  <c:v>6.5</c:v>
                </c:pt>
                <c:pt idx="6975">
                  <c:v>11.9</c:v>
                </c:pt>
                <c:pt idx="6976">
                  <c:v>3.2</c:v>
                </c:pt>
                <c:pt idx="6977">
                  <c:v>5.9</c:v>
                </c:pt>
                <c:pt idx="6978">
                  <c:v>6.3</c:v>
                </c:pt>
                <c:pt idx="6979">
                  <c:v>1.1000000000000001</c:v>
                </c:pt>
                <c:pt idx="6980">
                  <c:v>7.7</c:v>
                </c:pt>
                <c:pt idx="6981">
                  <c:v>3.6</c:v>
                </c:pt>
                <c:pt idx="6982">
                  <c:v>10</c:v>
                </c:pt>
                <c:pt idx="6983">
                  <c:v>12.8</c:v>
                </c:pt>
                <c:pt idx="6984">
                  <c:v>6.7</c:v>
                </c:pt>
                <c:pt idx="6985">
                  <c:v>4.2</c:v>
                </c:pt>
                <c:pt idx="6986">
                  <c:v>11.7</c:v>
                </c:pt>
                <c:pt idx="6987">
                  <c:v>8.3000000000000007</c:v>
                </c:pt>
                <c:pt idx="6988">
                  <c:v>9</c:v>
                </c:pt>
                <c:pt idx="6989">
                  <c:v>8.1</c:v>
                </c:pt>
                <c:pt idx="6990">
                  <c:v>12.4</c:v>
                </c:pt>
                <c:pt idx="6991">
                  <c:v>3.5</c:v>
                </c:pt>
                <c:pt idx="6992">
                  <c:v>4.5</c:v>
                </c:pt>
                <c:pt idx="6993">
                  <c:v>7.5</c:v>
                </c:pt>
                <c:pt idx="6994">
                  <c:v>9.9</c:v>
                </c:pt>
                <c:pt idx="6995">
                  <c:v>2.7</c:v>
                </c:pt>
                <c:pt idx="6996">
                  <c:v>7.6</c:v>
                </c:pt>
                <c:pt idx="6997">
                  <c:v>6.9</c:v>
                </c:pt>
                <c:pt idx="6998">
                  <c:v>8.4</c:v>
                </c:pt>
                <c:pt idx="6999">
                  <c:v>6.3</c:v>
                </c:pt>
                <c:pt idx="7000">
                  <c:v>9.8000000000000007</c:v>
                </c:pt>
                <c:pt idx="7001">
                  <c:v>4.8</c:v>
                </c:pt>
                <c:pt idx="7002">
                  <c:v>6.9</c:v>
                </c:pt>
                <c:pt idx="7003">
                  <c:v>8.1999999999999993</c:v>
                </c:pt>
                <c:pt idx="7004">
                  <c:v>8.1999999999999993</c:v>
                </c:pt>
                <c:pt idx="7005">
                  <c:v>9</c:v>
                </c:pt>
                <c:pt idx="7006">
                  <c:v>4.5</c:v>
                </c:pt>
                <c:pt idx="7007">
                  <c:v>2.7</c:v>
                </c:pt>
                <c:pt idx="7008">
                  <c:v>7.1</c:v>
                </c:pt>
                <c:pt idx="7009">
                  <c:v>1.3</c:v>
                </c:pt>
                <c:pt idx="7010">
                  <c:v>11.2</c:v>
                </c:pt>
                <c:pt idx="7011">
                  <c:v>2.6</c:v>
                </c:pt>
                <c:pt idx="7012">
                  <c:v>0.4</c:v>
                </c:pt>
                <c:pt idx="7013">
                  <c:v>12.3</c:v>
                </c:pt>
                <c:pt idx="7014">
                  <c:v>7.3</c:v>
                </c:pt>
                <c:pt idx="7015">
                  <c:v>8</c:v>
                </c:pt>
                <c:pt idx="7016">
                  <c:v>4.2</c:v>
                </c:pt>
                <c:pt idx="7017">
                  <c:v>9.5</c:v>
                </c:pt>
                <c:pt idx="7018">
                  <c:v>5.9</c:v>
                </c:pt>
                <c:pt idx="7019">
                  <c:v>5.3</c:v>
                </c:pt>
                <c:pt idx="7020">
                  <c:v>6.3</c:v>
                </c:pt>
                <c:pt idx="7021">
                  <c:v>7.6</c:v>
                </c:pt>
                <c:pt idx="7022">
                  <c:v>9.8000000000000007</c:v>
                </c:pt>
                <c:pt idx="7023">
                  <c:v>5</c:v>
                </c:pt>
                <c:pt idx="7024">
                  <c:v>9.1</c:v>
                </c:pt>
                <c:pt idx="7025">
                  <c:v>7.7</c:v>
                </c:pt>
                <c:pt idx="7026">
                  <c:v>6.1</c:v>
                </c:pt>
                <c:pt idx="7027">
                  <c:v>8.8000000000000007</c:v>
                </c:pt>
                <c:pt idx="7028">
                  <c:v>10.3</c:v>
                </c:pt>
                <c:pt idx="7029">
                  <c:v>10.199999999999999</c:v>
                </c:pt>
                <c:pt idx="7030">
                  <c:v>5.8</c:v>
                </c:pt>
                <c:pt idx="7031">
                  <c:v>7.7</c:v>
                </c:pt>
                <c:pt idx="7032">
                  <c:v>11.8</c:v>
                </c:pt>
                <c:pt idx="7033">
                  <c:v>6.8</c:v>
                </c:pt>
                <c:pt idx="7034">
                  <c:v>11</c:v>
                </c:pt>
                <c:pt idx="7035">
                  <c:v>4.5999999999999996</c:v>
                </c:pt>
                <c:pt idx="7036">
                  <c:v>5.0999999999999996</c:v>
                </c:pt>
                <c:pt idx="7037">
                  <c:v>5.9</c:v>
                </c:pt>
                <c:pt idx="7038">
                  <c:v>1.1000000000000001</c:v>
                </c:pt>
                <c:pt idx="7039">
                  <c:v>6.8</c:v>
                </c:pt>
                <c:pt idx="7040">
                  <c:v>8.9</c:v>
                </c:pt>
                <c:pt idx="7041">
                  <c:v>7.1</c:v>
                </c:pt>
                <c:pt idx="7042">
                  <c:v>6.5</c:v>
                </c:pt>
                <c:pt idx="7043">
                  <c:v>9.1</c:v>
                </c:pt>
                <c:pt idx="7044">
                  <c:v>7.4</c:v>
                </c:pt>
                <c:pt idx="7045">
                  <c:v>8.6999999999999993</c:v>
                </c:pt>
                <c:pt idx="7046">
                  <c:v>15.1</c:v>
                </c:pt>
                <c:pt idx="7047">
                  <c:v>10.9</c:v>
                </c:pt>
                <c:pt idx="7048">
                  <c:v>7.8</c:v>
                </c:pt>
                <c:pt idx="7049">
                  <c:v>9.8000000000000007</c:v>
                </c:pt>
                <c:pt idx="7050">
                  <c:v>7.1</c:v>
                </c:pt>
                <c:pt idx="7051">
                  <c:v>5.9</c:v>
                </c:pt>
                <c:pt idx="7052">
                  <c:v>9.6999999999999993</c:v>
                </c:pt>
                <c:pt idx="7053">
                  <c:v>8.3000000000000007</c:v>
                </c:pt>
                <c:pt idx="7054">
                  <c:v>1.6</c:v>
                </c:pt>
                <c:pt idx="7055">
                  <c:v>3.7</c:v>
                </c:pt>
                <c:pt idx="7056">
                  <c:v>11.4</c:v>
                </c:pt>
                <c:pt idx="7057">
                  <c:v>9.6999999999999993</c:v>
                </c:pt>
                <c:pt idx="7058">
                  <c:v>11.5</c:v>
                </c:pt>
                <c:pt idx="7059">
                  <c:v>12</c:v>
                </c:pt>
                <c:pt idx="7060">
                  <c:v>10.8</c:v>
                </c:pt>
                <c:pt idx="7061">
                  <c:v>2.8</c:v>
                </c:pt>
                <c:pt idx="7062">
                  <c:v>9.5</c:v>
                </c:pt>
                <c:pt idx="7063">
                  <c:v>7.5</c:v>
                </c:pt>
                <c:pt idx="7064">
                  <c:v>5.6</c:v>
                </c:pt>
                <c:pt idx="7065">
                  <c:v>11</c:v>
                </c:pt>
                <c:pt idx="7066">
                  <c:v>11.5</c:v>
                </c:pt>
                <c:pt idx="7067">
                  <c:v>10.8</c:v>
                </c:pt>
                <c:pt idx="7068">
                  <c:v>1.2</c:v>
                </c:pt>
                <c:pt idx="7069">
                  <c:v>11.5</c:v>
                </c:pt>
                <c:pt idx="7070">
                  <c:v>9.1</c:v>
                </c:pt>
                <c:pt idx="7071">
                  <c:v>7.3</c:v>
                </c:pt>
                <c:pt idx="7072">
                  <c:v>2.2000000000000002</c:v>
                </c:pt>
                <c:pt idx="7073">
                  <c:v>8</c:v>
                </c:pt>
                <c:pt idx="7074">
                  <c:v>8</c:v>
                </c:pt>
                <c:pt idx="7075">
                  <c:v>9</c:v>
                </c:pt>
                <c:pt idx="7076">
                  <c:v>8.5</c:v>
                </c:pt>
                <c:pt idx="7077">
                  <c:v>9.1</c:v>
                </c:pt>
                <c:pt idx="7078">
                  <c:v>7.9</c:v>
                </c:pt>
                <c:pt idx="7079">
                  <c:v>5.5</c:v>
                </c:pt>
                <c:pt idx="7080">
                  <c:v>7.5</c:v>
                </c:pt>
                <c:pt idx="7081">
                  <c:v>7.1</c:v>
                </c:pt>
                <c:pt idx="7082">
                  <c:v>9.1</c:v>
                </c:pt>
                <c:pt idx="7083">
                  <c:v>13.6</c:v>
                </c:pt>
                <c:pt idx="7084">
                  <c:v>5.2</c:v>
                </c:pt>
                <c:pt idx="7085">
                  <c:v>8.1</c:v>
                </c:pt>
                <c:pt idx="7086">
                  <c:v>12.5</c:v>
                </c:pt>
                <c:pt idx="7087">
                  <c:v>10.4</c:v>
                </c:pt>
                <c:pt idx="7088">
                  <c:v>8.4</c:v>
                </c:pt>
                <c:pt idx="7089">
                  <c:v>11.3</c:v>
                </c:pt>
                <c:pt idx="7090">
                  <c:v>2.9</c:v>
                </c:pt>
                <c:pt idx="7091">
                  <c:v>6.3</c:v>
                </c:pt>
                <c:pt idx="7092">
                  <c:v>5.3</c:v>
                </c:pt>
                <c:pt idx="7093">
                  <c:v>10</c:v>
                </c:pt>
                <c:pt idx="7094">
                  <c:v>6.7</c:v>
                </c:pt>
                <c:pt idx="7095">
                  <c:v>1.3</c:v>
                </c:pt>
                <c:pt idx="7096">
                  <c:v>8</c:v>
                </c:pt>
                <c:pt idx="7097">
                  <c:v>12</c:v>
                </c:pt>
                <c:pt idx="7098">
                  <c:v>5.4</c:v>
                </c:pt>
                <c:pt idx="7099">
                  <c:v>5.0999999999999996</c:v>
                </c:pt>
                <c:pt idx="7100">
                  <c:v>7.3</c:v>
                </c:pt>
                <c:pt idx="7101">
                  <c:v>8.4</c:v>
                </c:pt>
                <c:pt idx="7102">
                  <c:v>3.3</c:v>
                </c:pt>
                <c:pt idx="7103">
                  <c:v>9</c:v>
                </c:pt>
                <c:pt idx="7104">
                  <c:v>9.8000000000000007</c:v>
                </c:pt>
                <c:pt idx="7105">
                  <c:v>1.6</c:v>
                </c:pt>
                <c:pt idx="7106">
                  <c:v>4</c:v>
                </c:pt>
                <c:pt idx="7107">
                  <c:v>6.5</c:v>
                </c:pt>
                <c:pt idx="7108">
                  <c:v>12.3</c:v>
                </c:pt>
                <c:pt idx="7109">
                  <c:v>7.6</c:v>
                </c:pt>
                <c:pt idx="7110">
                  <c:v>6.2</c:v>
                </c:pt>
                <c:pt idx="7111">
                  <c:v>7.3</c:v>
                </c:pt>
                <c:pt idx="7112">
                  <c:v>3.9</c:v>
                </c:pt>
                <c:pt idx="7113">
                  <c:v>8.6</c:v>
                </c:pt>
                <c:pt idx="7114">
                  <c:v>2.4</c:v>
                </c:pt>
                <c:pt idx="7115">
                  <c:v>4.2</c:v>
                </c:pt>
                <c:pt idx="7116">
                  <c:v>1.7</c:v>
                </c:pt>
                <c:pt idx="7117">
                  <c:v>7.3</c:v>
                </c:pt>
                <c:pt idx="7118">
                  <c:v>7.5</c:v>
                </c:pt>
                <c:pt idx="7119">
                  <c:v>10.7</c:v>
                </c:pt>
                <c:pt idx="7120">
                  <c:v>11.5</c:v>
                </c:pt>
                <c:pt idx="7121">
                  <c:v>8.1</c:v>
                </c:pt>
                <c:pt idx="7122">
                  <c:v>11.7</c:v>
                </c:pt>
                <c:pt idx="7123">
                  <c:v>10.7</c:v>
                </c:pt>
                <c:pt idx="7124">
                  <c:v>8.5</c:v>
                </c:pt>
                <c:pt idx="7125">
                  <c:v>5.9</c:v>
                </c:pt>
                <c:pt idx="7126">
                  <c:v>4.8</c:v>
                </c:pt>
                <c:pt idx="7127">
                  <c:v>8.8000000000000007</c:v>
                </c:pt>
                <c:pt idx="7128">
                  <c:v>8</c:v>
                </c:pt>
                <c:pt idx="7129">
                  <c:v>7.8</c:v>
                </c:pt>
                <c:pt idx="7130">
                  <c:v>6.3</c:v>
                </c:pt>
                <c:pt idx="7131">
                  <c:v>1.3</c:v>
                </c:pt>
                <c:pt idx="7132">
                  <c:v>3.2</c:v>
                </c:pt>
                <c:pt idx="7133">
                  <c:v>6.6</c:v>
                </c:pt>
                <c:pt idx="7134">
                  <c:v>10.6</c:v>
                </c:pt>
                <c:pt idx="7135">
                  <c:v>8</c:v>
                </c:pt>
                <c:pt idx="7136">
                  <c:v>7.5</c:v>
                </c:pt>
                <c:pt idx="7137">
                  <c:v>0.3</c:v>
                </c:pt>
                <c:pt idx="7138">
                  <c:v>8.1999999999999993</c:v>
                </c:pt>
                <c:pt idx="7139">
                  <c:v>6.2</c:v>
                </c:pt>
                <c:pt idx="7140">
                  <c:v>0.7</c:v>
                </c:pt>
                <c:pt idx="7141">
                  <c:v>11.4</c:v>
                </c:pt>
                <c:pt idx="7142">
                  <c:v>6.3</c:v>
                </c:pt>
                <c:pt idx="7143">
                  <c:v>9.9</c:v>
                </c:pt>
                <c:pt idx="7144">
                  <c:v>5.2</c:v>
                </c:pt>
                <c:pt idx="7145">
                  <c:v>7.4</c:v>
                </c:pt>
                <c:pt idx="7146">
                  <c:v>6.5</c:v>
                </c:pt>
                <c:pt idx="7147">
                  <c:v>6.7</c:v>
                </c:pt>
                <c:pt idx="7148">
                  <c:v>13.4</c:v>
                </c:pt>
                <c:pt idx="7149">
                  <c:v>12.6</c:v>
                </c:pt>
                <c:pt idx="7150">
                  <c:v>8.1</c:v>
                </c:pt>
                <c:pt idx="7151">
                  <c:v>7</c:v>
                </c:pt>
                <c:pt idx="7152">
                  <c:v>6.6</c:v>
                </c:pt>
                <c:pt idx="7153">
                  <c:v>1.8</c:v>
                </c:pt>
                <c:pt idx="7154">
                  <c:v>8.9</c:v>
                </c:pt>
                <c:pt idx="7155">
                  <c:v>7.5</c:v>
                </c:pt>
                <c:pt idx="7156">
                  <c:v>14</c:v>
                </c:pt>
                <c:pt idx="7157">
                  <c:v>1.2</c:v>
                </c:pt>
                <c:pt idx="7158">
                  <c:v>11.5</c:v>
                </c:pt>
                <c:pt idx="7159">
                  <c:v>1.7</c:v>
                </c:pt>
                <c:pt idx="7160">
                  <c:v>8.4</c:v>
                </c:pt>
                <c:pt idx="7161">
                  <c:v>7.7</c:v>
                </c:pt>
                <c:pt idx="7162">
                  <c:v>13.6</c:v>
                </c:pt>
                <c:pt idx="7163">
                  <c:v>4.9000000000000004</c:v>
                </c:pt>
                <c:pt idx="7164">
                  <c:v>8.5</c:v>
                </c:pt>
                <c:pt idx="7165">
                  <c:v>6.3</c:v>
                </c:pt>
                <c:pt idx="7166">
                  <c:v>10</c:v>
                </c:pt>
                <c:pt idx="7167">
                  <c:v>6.3</c:v>
                </c:pt>
                <c:pt idx="7168">
                  <c:v>7.3</c:v>
                </c:pt>
                <c:pt idx="7169">
                  <c:v>8.8000000000000007</c:v>
                </c:pt>
                <c:pt idx="7170">
                  <c:v>8.4</c:v>
                </c:pt>
                <c:pt idx="7171">
                  <c:v>11</c:v>
                </c:pt>
                <c:pt idx="7172">
                  <c:v>5.6</c:v>
                </c:pt>
                <c:pt idx="7173">
                  <c:v>7.9</c:v>
                </c:pt>
                <c:pt idx="7174">
                  <c:v>6.4</c:v>
                </c:pt>
                <c:pt idx="7175">
                  <c:v>8.3000000000000007</c:v>
                </c:pt>
                <c:pt idx="7176">
                  <c:v>9.3000000000000007</c:v>
                </c:pt>
                <c:pt idx="7177">
                  <c:v>11.2</c:v>
                </c:pt>
                <c:pt idx="7178">
                  <c:v>8.4</c:v>
                </c:pt>
                <c:pt idx="7179">
                  <c:v>5.0999999999999996</c:v>
                </c:pt>
                <c:pt idx="7180">
                  <c:v>3.7</c:v>
                </c:pt>
                <c:pt idx="7181">
                  <c:v>12.1</c:v>
                </c:pt>
                <c:pt idx="7182">
                  <c:v>5.5</c:v>
                </c:pt>
                <c:pt idx="7183">
                  <c:v>10.5</c:v>
                </c:pt>
                <c:pt idx="7184">
                  <c:v>4</c:v>
                </c:pt>
                <c:pt idx="7185">
                  <c:v>9.4</c:v>
                </c:pt>
                <c:pt idx="7186">
                  <c:v>9.5</c:v>
                </c:pt>
                <c:pt idx="7187">
                  <c:v>3.3</c:v>
                </c:pt>
                <c:pt idx="7188">
                  <c:v>6</c:v>
                </c:pt>
                <c:pt idx="7189">
                  <c:v>6.5</c:v>
                </c:pt>
                <c:pt idx="7190">
                  <c:v>14.2</c:v>
                </c:pt>
                <c:pt idx="7191">
                  <c:v>6.5</c:v>
                </c:pt>
                <c:pt idx="7192">
                  <c:v>8.3000000000000007</c:v>
                </c:pt>
                <c:pt idx="7193">
                  <c:v>4.5</c:v>
                </c:pt>
                <c:pt idx="7194">
                  <c:v>13.8</c:v>
                </c:pt>
                <c:pt idx="7195">
                  <c:v>4.5</c:v>
                </c:pt>
                <c:pt idx="7196">
                  <c:v>4.2</c:v>
                </c:pt>
                <c:pt idx="7197">
                  <c:v>1.8</c:v>
                </c:pt>
                <c:pt idx="7198">
                  <c:v>7.2</c:v>
                </c:pt>
                <c:pt idx="7199">
                  <c:v>2.7</c:v>
                </c:pt>
                <c:pt idx="7200">
                  <c:v>11</c:v>
                </c:pt>
                <c:pt idx="7201">
                  <c:v>7.1</c:v>
                </c:pt>
                <c:pt idx="7202">
                  <c:v>10</c:v>
                </c:pt>
                <c:pt idx="7203">
                  <c:v>4.0999999999999996</c:v>
                </c:pt>
                <c:pt idx="7204">
                  <c:v>11.3</c:v>
                </c:pt>
                <c:pt idx="7205">
                  <c:v>6.7</c:v>
                </c:pt>
                <c:pt idx="7206">
                  <c:v>7.3</c:v>
                </c:pt>
                <c:pt idx="7207">
                  <c:v>14.8</c:v>
                </c:pt>
                <c:pt idx="7208">
                  <c:v>10.9</c:v>
                </c:pt>
                <c:pt idx="7209">
                  <c:v>9.4</c:v>
                </c:pt>
                <c:pt idx="7210">
                  <c:v>6.8</c:v>
                </c:pt>
                <c:pt idx="7211">
                  <c:v>5.7</c:v>
                </c:pt>
                <c:pt idx="7212">
                  <c:v>13.4</c:v>
                </c:pt>
                <c:pt idx="7213">
                  <c:v>11.6</c:v>
                </c:pt>
                <c:pt idx="7214">
                  <c:v>1.1000000000000001</c:v>
                </c:pt>
                <c:pt idx="7215">
                  <c:v>4.5</c:v>
                </c:pt>
                <c:pt idx="7216">
                  <c:v>8.3000000000000007</c:v>
                </c:pt>
                <c:pt idx="7217">
                  <c:v>5.6</c:v>
                </c:pt>
                <c:pt idx="7218">
                  <c:v>7.1</c:v>
                </c:pt>
                <c:pt idx="7219">
                  <c:v>9.1</c:v>
                </c:pt>
                <c:pt idx="7220">
                  <c:v>9.6999999999999993</c:v>
                </c:pt>
                <c:pt idx="7221">
                  <c:v>10.7</c:v>
                </c:pt>
                <c:pt idx="7222">
                  <c:v>7.7</c:v>
                </c:pt>
                <c:pt idx="7223">
                  <c:v>6.6</c:v>
                </c:pt>
                <c:pt idx="7224">
                  <c:v>6.9</c:v>
                </c:pt>
                <c:pt idx="7225">
                  <c:v>10</c:v>
                </c:pt>
                <c:pt idx="7226">
                  <c:v>9.3000000000000007</c:v>
                </c:pt>
                <c:pt idx="7227">
                  <c:v>10.5</c:v>
                </c:pt>
                <c:pt idx="7228">
                  <c:v>13.5</c:v>
                </c:pt>
                <c:pt idx="7229">
                  <c:v>7.5</c:v>
                </c:pt>
                <c:pt idx="7230">
                  <c:v>8.6</c:v>
                </c:pt>
                <c:pt idx="7231">
                  <c:v>7.1</c:v>
                </c:pt>
                <c:pt idx="7232">
                  <c:v>7.6</c:v>
                </c:pt>
                <c:pt idx="7233">
                  <c:v>1.4</c:v>
                </c:pt>
                <c:pt idx="7234">
                  <c:v>5.6</c:v>
                </c:pt>
                <c:pt idx="7235">
                  <c:v>6.6</c:v>
                </c:pt>
                <c:pt idx="7236">
                  <c:v>7.8</c:v>
                </c:pt>
                <c:pt idx="7237">
                  <c:v>4.5</c:v>
                </c:pt>
                <c:pt idx="7238">
                  <c:v>7.9</c:v>
                </c:pt>
                <c:pt idx="7239">
                  <c:v>7.2</c:v>
                </c:pt>
                <c:pt idx="7240">
                  <c:v>5.7</c:v>
                </c:pt>
                <c:pt idx="7241">
                  <c:v>6.7</c:v>
                </c:pt>
                <c:pt idx="7242">
                  <c:v>9.6</c:v>
                </c:pt>
                <c:pt idx="7243">
                  <c:v>8.1999999999999993</c:v>
                </c:pt>
                <c:pt idx="7244">
                  <c:v>9.8000000000000007</c:v>
                </c:pt>
                <c:pt idx="7245">
                  <c:v>6.2</c:v>
                </c:pt>
                <c:pt idx="7246">
                  <c:v>7.4</c:v>
                </c:pt>
                <c:pt idx="7247">
                  <c:v>6.6</c:v>
                </c:pt>
                <c:pt idx="7248">
                  <c:v>6.4</c:v>
                </c:pt>
                <c:pt idx="7249">
                  <c:v>10.7</c:v>
                </c:pt>
                <c:pt idx="7250">
                  <c:v>11.3</c:v>
                </c:pt>
                <c:pt idx="7251">
                  <c:v>6.5</c:v>
                </c:pt>
                <c:pt idx="7252">
                  <c:v>6.7</c:v>
                </c:pt>
                <c:pt idx="7253">
                  <c:v>16.7</c:v>
                </c:pt>
                <c:pt idx="7254">
                  <c:v>10</c:v>
                </c:pt>
                <c:pt idx="7255">
                  <c:v>14.5</c:v>
                </c:pt>
                <c:pt idx="7256">
                  <c:v>10.5</c:v>
                </c:pt>
                <c:pt idx="7257">
                  <c:v>7.4</c:v>
                </c:pt>
                <c:pt idx="7258">
                  <c:v>7</c:v>
                </c:pt>
                <c:pt idx="7259">
                  <c:v>7.1</c:v>
                </c:pt>
                <c:pt idx="7260">
                  <c:v>5.5</c:v>
                </c:pt>
                <c:pt idx="7261">
                  <c:v>5.0999999999999996</c:v>
                </c:pt>
                <c:pt idx="7262">
                  <c:v>3.8</c:v>
                </c:pt>
                <c:pt idx="7263">
                  <c:v>9</c:v>
                </c:pt>
                <c:pt idx="7264">
                  <c:v>7.1</c:v>
                </c:pt>
                <c:pt idx="7265">
                  <c:v>8</c:v>
                </c:pt>
                <c:pt idx="7266">
                  <c:v>6.1</c:v>
                </c:pt>
                <c:pt idx="7267">
                  <c:v>9.5</c:v>
                </c:pt>
                <c:pt idx="7268">
                  <c:v>8.9</c:v>
                </c:pt>
                <c:pt idx="7269">
                  <c:v>7.7</c:v>
                </c:pt>
                <c:pt idx="7270">
                  <c:v>13.1</c:v>
                </c:pt>
                <c:pt idx="7271">
                  <c:v>6.9</c:v>
                </c:pt>
                <c:pt idx="7272">
                  <c:v>6.9</c:v>
                </c:pt>
                <c:pt idx="7273">
                  <c:v>7.2</c:v>
                </c:pt>
                <c:pt idx="7274">
                  <c:v>12.2</c:v>
                </c:pt>
                <c:pt idx="7275">
                  <c:v>2.8</c:v>
                </c:pt>
                <c:pt idx="7276">
                  <c:v>8</c:v>
                </c:pt>
                <c:pt idx="7277">
                  <c:v>5.7</c:v>
                </c:pt>
                <c:pt idx="7278">
                  <c:v>11.1</c:v>
                </c:pt>
                <c:pt idx="7279">
                  <c:v>6.3</c:v>
                </c:pt>
                <c:pt idx="7280">
                  <c:v>9.4</c:v>
                </c:pt>
                <c:pt idx="7281">
                  <c:v>5.7</c:v>
                </c:pt>
                <c:pt idx="7282">
                  <c:v>8.8000000000000007</c:v>
                </c:pt>
                <c:pt idx="7283">
                  <c:v>10.5</c:v>
                </c:pt>
                <c:pt idx="7284">
                  <c:v>9.1</c:v>
                </c:pt>
                <c:pt idx="7285">
                  <c:v>7.9</c:v>
                </c:pt>
                <c:pt idx="7286">
                  <c:v>10.8</c:v>
                </c:pt>
                <c:pt idx="7287">
                  <c:v>8.6</c:v>
                </c:pt>
                <c:pt idx="7288">
                  <c:v>13</c:v>
                </c:pt>
                <c:pt idx="7289">
                  <c:v>3</c:v>
                </c:pt>
                <c:pt idx="7290">
                  <c:v>8.1</c:v>
                </c:pt>
                <c:pt idx="7291">
                  <c:v>9.4</c:v>
                </c:pt>
                <c:pt idx="7292">
                  <c:v>5.4</c:v>
                </c:pt>
                <c:pt idx="7293">
                  <c:v>8.5</c:v>
                </c:pt>
                <c:pt idx="7294">
                  <c:v>6.6</c:v>
                </c:pt>
                <c:pt idx="7295">
                  <c:v>6.1</c:v>
                </c:pt>
                <c:pt idx="7296">
                  <c:v>5.2</c:v>
                </c:pt>
                <c:pt idx="7297">
                  <c:v>3.8</c:v>
                </c:pt>
                <c:pt idx="7298">
                  <c:v>10.8</c:v>
                </c:pt>
                <c:pt idx="7299">
                  <c:v>9.1999999999999993</c:v>
                </c:pt>
                <c:pt idx="7300">
                  <c:v>9.6999999999999993</c:v>
                </c:pt>
                <c:pt idx="7301">
                  <c:v>6.4</c:v>
                </c:pt>
                <c:pt idx="7302">
                  <c:v>9.1</c:v>
                </c:pt>
                <c:pt idx="7303">
                  <c:v>7.5</c:v>
                </c:pt>
                <c:pt idx="7304">
                  <c:v>4.8</c:v>
                </c:pt>
                <c:pt idx="7305">
                  <c:v>10.4</c:v>
                </c:pt>
                <c:pt idx="7306">
                  <c:v>7.4</c:v>
                </c:pt>
                <c:pt idx="7307">
                  <c:v>9.3000000000000007</c:v>
                </c:pt>
                <c:pt idx="7308">
                  <c:v>9.1999999999999993</c:v>
                </c:pt>
                <c:pt idx="7309">
                  <c:v>5</c:v>
                </c:pt>
                <c:pt idx="7310">
                  <c:v>7.7</c:v>
                </c:pt>
                <c:pt idx="7311">
                  <c:v>8.5</c:v>
                </c:pt>
                <c:pt idx="7312">
                  <c:v>12.2</c:v>
                </c:pt>
                <c:pt idx="7313">
                  <c:v>1.2</c:v>
                </c:pt>
                <c:pt idx="7314">
                  <c:v>9.1999999999999993</c:v>
                </c:pt>
                <c:pt idx="7315">
                  <c:v>9.4</c:v>
                </c:pt>
                <c:pt idx="7316">
                  <c:v>7.4</c:v>
                </c:pt>
                <c:pt idx="7317">
                  <c:v>4.4000000000000004</c:v>
                </c:pt>
                <c:pt idx="7318">
                  <c:v>8.3000000000000007</c:v>
                </c:pt>
                <c:pt idx="7319">
                  <c:v>1.5</c:v>
                </c:pt>
                <c:pt idx="7320">
                  <c:v>12.5</c:v>
                </c:pt>
                <c:pt idx="7321">
                  <c:v>14.6</c:v>
                </c:pt>
                <c:pt idx="7322">
                  <c:v>9.5</c:v>
                </c:pt>
                <c:pt idx="7323">
                  <c:v>9.6</c:v>
                </c:pt>
                <c:pt idx="7324">
                  <c:v>12.3</c:v>
                </c:pt>
                <c:pt idx="7325">
                  <c:v>7.2</c:v>
                </c:pt>
                <c:pt idx="7326">
                  <c:v>5.4</c:v>
                </c:pt>
                <c:pt idx="7327">
                  <c:v>6.4</c:v>
                </c:pt>
                <c:pt idx="7328">
                  <c:v>10</c:v>
                </c:pt>
                <c:pt idx="7329">
                  <c:v>11.2</c:v>
                </c:pt>
                <c:pt idx="7330">
                  <c:v>7.4</c:v>
                </c:pt>
                <c:pt idx="7331">
                  <c:v>8.9</c:v>
                </c:pt>
                <c:pt idx="7332">
                  <c:v>6.9</c:v>
                </c:pt>
                <c:pt idx="7333">
                  <c:v>0.7</c:v>
                </c:pt>
                <c:pt idx="7334">
                  <c:v>8.9</c:v>
                </c:pt>
                <c:pt idx="7335">
                  <c:v>5.8</c:v>
                </c:pt>
                <c:pt idx="7336">
                  <c:v>7.6</c:v>
                </c:pt>
                <c:pt idx="7337">
                  <c:v>5.6</c:v>
                </c:pt>
                <c:pt idx="7338">
                  <c:v>7.6</c:v>
                </c:pt>
                <c:pt idx="7339">
                  <c:v>2.2000000000000002</c:v>
                </c:pt>
                <c:pt idx="7340">
                  <c:v>9.9</c:v>
                </c:pt>
                <c:pt idx="7341">
                  <c:v>5.3</c:v>
                </c:pt>
                <c:pt idx="7342">
                  <c:v>8.5</c:v>
                </c:pt>
                <c:pt idx="7343">
                  <c:v>4.9000000000000004</c:v>
                </c:pt>
                <c:pt idx="7344">
                  <c:v>5</c:v>
                </c:pt>
                <c:pt idx="7345">
                  <c:v>8.8000000000000007</c:v>
                </c:pt>
                <c:pt idx="7346">
                  <c:v>4.3</c:v>
                </c:pt>
                <c:pt idx="7347">
                  <c:v>7</c:v>
                </c:pt>
                <c:pt idx="7348">
                  <c:v>6.5</c:v>
                </c:pt>
                <c:pt idx="7349">
                  <c:v>7.8</c:v>
                </c:pt>
                <c:pt idx="7350">
                  <c:v>3.6</c:v>
                </c:pt>
                <c:pt idx="7351">
                  <c:v>8.4</c:v>
                </c:pt>
                <c:pt idx="7352">
                  <c:v>8.1</c:v>
                </c:pt>
                <c:pt idx="7353">
                  <c:v>4.8</c:v>
                </c:pt>
                <c:pt idx="7354">
                  <c:v>7.5</c:v>
                </c:pt>
                <c:pt idx="7355">
                  <c:v>6.7</c:v>
                </c:pt>
                <c:pt idx="7356">
                  <c:v>7.8</c:v>
                </c:pt>
                <c:pt idx="7357">
                  <c:v>6</c:v>
                </c:pt>
                <c:pt idx="7358">
                  <c:v>6.9</c:v>
                </c:pt>
                <c:pt idx="7359">
                  <c:v>7.7</c:v>
                </c:pt>
                <c:pt idx="7360">
                  <c:v>1.7</c:v>
                </c:pt>
                <c:pt idx="7361">
                  <c:v>13.9</c:v>
                </c:pt>
                <c:pt idx="7362">
                  <c:v>11</c:v>
                </c:pt>
                <c:pt idx="7363">
                  <c:v>7.9</c:v>
                </c:pt>
                <c:pt idx="7364">
                  <c:v>2.9</c:v>
                </c:pt>
                <c:pt idx="7365">
                  <c:v>3.9</c:v>
                </c:pt>
                <c:pt idx="7366">
                  <c:v>7.5</c:v>
                </c:pt>
                <c:pt idx="7367">
                  <c:v>2.5</c:v>
                </c:pt>
                <c:pt idx="7368">
                  <c:v>6.7</c:v>
                </c:pt>
                <c:pt idx="7369">
                  <c:v>9.8000000000000007</c:v>
                </c:pt>
                <c:pt idx="7370">
                  <c:v>6.1</c:v>
                </c:pt>
                <c:pt idx="7371">
                  <c:v>7</c:v>
                </c:pt>
                <c:pt idx="7372">
                  <c:v>12.5</c:v>
                </c:pt>
                <c:pt idx="7373">
                  <c:v>6.4</c:v>
                </c:pt>
                <c:pt idx="7374">
                  <c:v>12.5</c:v>
                </c:pt>
                <c:pt idx="7375">
                  <c:v>9.1999999999999993</c:v>
                </c:pt>
                <c:pt idx="7376">
                  <c:v>4.9000000000000004</c:v>
                </c:pt>
                <c:pt idx="7377">
                  <c:v>7.8</c:v>
                </c:pt>
                <c:pt idx="7378">
                  <c:v>9.8000000000000007</c:v>
                </c:pt>
                <c:pt idx="7379">
                  <c:v>7.8</c:v>
                </c:pt>
                <c:pt idx="7380">
                  <c:v>8.5</c:v>
                </c:pt>
                <c:pt idx="7381">
                  <c:v>6.5</c:v>
                </c:pt>
                <c:pt idx="7382">
                  <c:v>10.4</c:v>
                </c:pt>
                <c:pt idx="7383">
                  <c:v>3</c:v>
                </c:pt>
                <c:pt idx="7384">
                  <c:v>10.3</c:v>
                </c:pt>
                <c:pt idx="7385">
                  <c:v>6.6</c:v>
                </c:pt>
                <c:pt idx="7386">
                  <c:v>0.7</c:v>
                </c:pt>
                <c:pt idx="7387">
                  <c:v>7.1</c:v>
                </c:pt>
                <c:pt idx="7388">
                  <c:v>9.1999999999999993</c:v>
                </c:pt>
                <c:pt idx="7389">
                  <c:v>7.3</c:v>
                </c:pt>
                <c:pt idx="7390">
                  <c:v>6</c:v>
                </c:pt>
                <c:pt idx="7391">
                  <c:v>11.6</c:v>
                </c:pt>
                <c:pt idx="7392">
                  <c:v>9.5</c:v>
                </c:pt>
                <c:pt idx="7393">
                  <c:v>5.6</c:v>
                </c:pt>
                <c:pt idx="7394">
                  <c:v>6</c:v>
                </c:pt>
                <c:pt idx="7395">
                  <c:v>11.6</c:v>
                </c:pt>
                <c:pt idx="7396">
                  <c:v>6.7</c:v>
                </c:pt>
                <c:pt idx="7397">
                  <c:v>7.2</c:v>
                </c:pt>
                <c:pt idx="7398">
                  <c:v>4.3</c:v>
                </c:pt>
                <c:pt idx="7399">
                  <c:v>4.4000000000000004</c:v>
                </c:pt>
                <c:pt idx="7400">
                  <c:v>10.8</c:v>
                </c:pt>
                <c:pt idx="7401">
                  <c:v>10.3</c:v>
                </c:pt>
                <c:pt idx="7402">
                  <c:v>9.6</c:v>
                </c:pt>
                <c:pt idx="7403">
                  <c:v>7.6</c:v>
                </c:pt>
                <c:pt idx="7404">
                  <c:v>8.4</c:v>
                </c:pt>
                <c:pt idx="7405">
                  <c:v>2.1</c:v>
                </c:pt>
                <c:pt idx="7406">
                  <c:v>1.4</c:v>
                </c:pt>
                <c:pt idx="7407">
                  <c:v>9.1</c:v>
                </c:pt>
                <c:pt idx="7408">
                  <c:v>5.8</c:v>
                </c:pt>
                <c:pt idx="7409">
                  <c:v>8.3000000000000007</c:v>
                </c:pt>
                <c:pt idx="7410">
                  <c:v>8.1</c:v>
                </c:pt>
                <c:pt idx="7411">
                  <c:v>6.7</c:v>
                </c:pt>
                <c:pt idx="7412">
                  <c:v>30</c:v>
                </c:pt>
                <c:pt idx="7413">
                  <c:v>11.8</c:v>
                </c:pt>
                <c:pt idx="7414">
                  <c:v>8.3000000000000007</c:v>
                </c:pt>
                <c:pt idx="7415">
                  <c:v>4.7</c:v>
                </c:pt>
                <c:pt idx="7416">
                  <c:v>4.5999999999999996</c:v>
                </c:pt>
                <c:pt idx="7417">
                  <c:v>6.2</c:v>
                </c:pt>
                <c:pt idx="7418">
                  <c:v>7.8</c:v>
                </c:pt>
                <c:pt idx="7419">
                  <c:v>0.8</c:v>
                </c:pt>
                <c:pt idx="7420">
                  <c:v>7.8</c:v>
                </c:pt>
                <c:pt idx="7421">
                  <c:v>5.9</c:v>
                </c:pt>
                <c:pt idx="7422">
                  <c:v>8.9</c:v>
                </c:pt>
                <c:pt idx="7423">
                  <c:v>5.7</c:v>
                </c:pt>
                <c:pt idx="7424">
                  <c:v>9.5</c:v>
                </c:pt>
                <c:pt idx="7425">
                  <c:v>11.8</c:v>
                </c:pt>
                <c:pt idx="7426">
                  <c:v>10.5</c:v>
                </c:pt>
                <c:pt idx="7427">
                  <c:v>14.2</c:v>
                </c:pt>
                <c:pt idx="7428">
                  <c:v>5.3</c:v>
                </c:pt>
                <c:pt idx="7429">
                  <c:v>9.6</c:v>
                </c:pt>
                <c:pt idx="7430">
                  <c:v>4.2</c:v>
                </c:pt>
                <c:pt idx="7431">
                  <c:v>11.7</c:v>
                </c:pt>
                <c:pt idx="7432">
                  <c:v>9.1</c:v>
                </c:pt>
                <c:pt idx="7433">
                  <c:v>7.2</c:v>
                </c:pt>
                <c:pt idx="7434">
                  <c:v>9</c:v>
                </c:pt>
                <c:pt idx="7435">
                  <c:v>5.6</c:v>
                </c:pt>
                <c:pt idx="7436">
                  <c:v>7.1</c:v>
                </c:pt>
                <c:pt idx="7437">
                  <c:v>6.2</c:v>
                </c:pt>
                <c:pt idx="7438">
                  <c:v>5.0999999999999996</c:v>
                </c:pt>
                <c:pt idx="7439">
                  <c:v>4.8</c:v>
                </c:pt>
                <c:pt idx="7440">
                  <c:v>5.7</c:v>
                </c:pt>
                <c:pt idx="7441">
                  <c:v>2.4</c:v>
                </c:pt>
                <c:pt idx="7442">
                  <c:v>0.2</c:v>
                </c:pt>
                <c:pt idx="7443">
                  <c:v>7.9</c:v>
                </c:pt>
                <c:pt idx="7444">
                  <c:v>7.5</c:v>
                </c:pt>
                <c:pt idx="7445">
                  <c:v>1.5</c:v>
                </c:pt>
                <c:pt idx="7446">
                  <c:v>7.2</c:v>
                </c:pt>
                <c:pt idx="7447">
                  <c:v>9.9</c:v>
                </c:pt>
                <c:pt idx="7448">
                  <c:v>8.5</c:v>
                </c:pt>
                <c:pt idx="7449">
                  <c:v>11</c:v>
                </c:pt>
                <c:pt idx="7450">
                  <c:v>11.7</c:v>
                </c:pt>
                <c:pt idx="7451">
                  <c:v>9.5</c:v>
                </c:pt>
                <c:pt idx="7452">
                  <c:v>6.9</c:v>
                </c:pt>
                <c:pt idx="7453">
                  <c:v>12</c:v>
                </c:pt>
                <c:pt idx="7454">
                  <c:v>10.8</c:v>
                </c:pt>
                <c:pt idx="7455">
                  <c:v>12</c:v>
                </c:pt>
                <c:pt idx="7456">
                  <c:v>4.5999999999999996</c:v>
                </c:pt>
                <c:pt idx="7457">
                  <c:v>11.1</c:v>
                </c:pt>
                <c:pt idx="7458">
                  <c:v>1.6</c:v>
                </c:pt>
                <c:pt idx="7459">
                  <c:v>6.7</c:v>
                </c:pt>
                <c:pt idx="7460">
                  <c:v>13.7</c:v>
                </c:pt>
                <c:pt idx="7461">
                  <c:v>8.1999999999999993</c:v>
                </c:pt>
                <c:pt idx="7462">
                  <c:v>8.6999999999999993</c:v>
                </c:pt>
                <c:pt idx="7463">
                  <c:v>8.8000000000000007</c:v>
                </c:pt>
                <c:pt idx="7464">
                  <c:v>2.4</c:v>
                </c:pt>
                <c:pt idx="7465">
                  <c:v>10.3</c:v>
                </c:pt>
                <c:pt idx="7466">
                  <c:v>9</c:v>
                </c:pt>
                <c:pt idx="7467">
                  <c:v>5</c:v>
                </c:pt>
                <c:pt idx="7468">
                  <c:v>4.9000000000000004</c:v>
                </c:pt>
                <c:pt idx="7469">
                  <c:v>8</c:v>
                </c:pt>
                <c:pt idx="7470">
                  <c:v>4.0999999999999996</c:v>
                </c:pt>
                <c:pt idx="7471">
                  <c:v>7</c:v>
                </c:pt>
                <c:pt idx="7472">
                  <c:v>7.1</c:v>
                </c:pt>
                <c:pt idx="7473">
                  <c:v>3.5</c:v>
                </c:pt>
                <c:pt idx="7474">
                  <c:v>0.7</c:v>
                </c:pt>
                <c:pt idx="7475">
                  <c:v>7.5</c:v>
                </c:pt>
                <c:pt idx="7476">
                  <c:v>7.5</c:v>
                </c:pt>
                <c:pt idx="7477">
                  <c:v>5</c:v>
                </c:pt>
                <c:pt idx="7478">
                  <c:v>7.8</c:v>
                </c:pt>
                <c:pt idx="7479">
                  <c:v>8.8000000000000007</c:v>
                </c:pt>
                <c:pt idx="7480">
                  <c:v>4.3</c:v>
                </c:pt>
                <c:pt idx="7481">
                  <c:v>9.6999999999999993</c:v>
                </c:pt>
                <c:pt idx="7482">
                  <c:v>6.3</c:v>
                </c:pt>
                <c:pt idx="7483">
                  <c:v>4.8</c:v>
                </c:pt>
                <c:pt idx="7484">
                  <c:v>7.2</c:v>
                </c:pt>
                <c:pt idx="7485">
                  <c:v>9.8000000000000007</c:v>
                </c:pt>
                <c:pt idx="7486">
                  <c:v>5.5</c:v>
                </c:pt>
                <c:pt idx="7487">
                  <c:v>10</c:v>
                </c:pt>
                <c:pt idx="7488">
                  <c:v>10.6</c:v>
                </c:pt>
                <c:pt idx="7489">
                  <c:v>6.8</c:v>
                </c:pt>
                <c:pt idx="7490">
                  <c:v>1.5</c:v>
                </c:pt>
                <c:pt idx="7491">
                  <c:v>1.5</c:v>
                </c:pt>
                <c:pt idx="7492">
                  <c:v>7.7</c:v>
                </c:pt>
                <c:pt idx="7493">
                  <c:v>6.6</c:v>
                </c:pt>
                <c:pt idx="7494">
                  <c:v>10.1</c:v>
                </c:pt>
                <c:pt idx="7495">
                  <c:v>6.1</c:v>
                </c:pt>
                <c:pt idx="7496">
                  <c:v>7.7</c:v>
                </c:pt>
                <c:pt idx="7497">
                  <c:v>4.9000000000000004</c:v>
                </c:pt>
                <c:pt idx="7498">
                  <c:v>11.3</c:v>
                </c:pt>
                <c:pt idx="7499">
                  <c:v>11.8</c:v>
                </c:pt>
                <c:pt idx="7500">
                  <c:v>13.4</c:v>
                </c:pt>
                <c:pt idx="7501">
                  <c:v>2.5</c:v>
                </c:pt>
                <c:pt idx="7502">
                  <c:v>10.1</c:v>
                </c:pt>
                <c:pt idx="7503">
                  <c:v>9.5</c:v>
                </c:pt>
                <c:pt idx="7504">
                  <c:v>10.6</c:v>
                </c:pt>
                <c:pt idx="7505">
                  <c:v>11.6</c:v>
                </c:pt>
                <c:pt idx="7506">
                  <c:v>5.6</c:v>
                </c:pt>
                <c:pt idx="7507">
                  <c:v>8.8000000000000007</c:v>
                </c:pt>
                <c:pt idx="7508">
                  <c:v>7.3</c:v>
                </c:pt>
                <c:pt idx="7509">
                  <c:v>9</c:v>
                </c:pt>
                <c:pt idx="7510">
                  <c:v>14.3</c:v>
                </c:pt>
                <c:pt idx="7511">
                  <c:v>8.6</c:v>
                </c:pt>
                <c:pt idx="7512">
                  <c:v>7.2</c:v>
                </c:pt>
                <c:pt idx="7513">
                  <c:v>11.6</c:v>
                </c:pt>
                <c:pt idx="7514">
                  <c:v>8.6999999999999993</c:v>
                </c:pt>
                <c:pt idx="7515">
                  <c:v>10.9</c:v>
                </c:pt>
                <c:pt idx="7516">
                  <c:v>7.2</c:v>
                </c:pt>
                <c:pt idx="7517">
                  <c:v>10.3</c:v>
                </c:pt>
                <c:pt idx="7518">
                  <c:v>9.6</c:v>
                </c:pt>
                <c:pt idx="7519">
                  <c:v>0.1</c:v>
                </c:pt>
                <c:pt idx="7520">
                  <c:v>9.5</c:v>
                </c:pt>
                <c:pt idx="7521">
                  <c:v>8.6</c:v>
                </c:pt>
                <c:pt idx="7522">
                  <c:v>13.7</c:v>
                </c:pt>
                <c:pt idx="7523">
                  <c:v>6.3</c:v>
                </c:pt>
                <c:pt idx="7524">
                  <c:v>6.9</c:v>
                </c:pt>
                <c:pt idx="7525">
                  <c:v>9.6999999999999993</c:v>
                </c:pt>
                <c:pt idx="7526">
                  <c:v>7.9</c:v>
                </c:pt>
                <c:pt idx="7527">
                  <c:v>9.4</c:v>
                </c:pt>
                <c:pt idx="7528">
                  <c:v>5</c:v>
                </c:pt>
                <c:pt idx="7529">
                  <c:v>7.8</c:v>
                </c:pt>
                <c:pt idx="7530">
                  <c:v>7.8</c:v>
                </c:pt>
                <c:pt idx="7531">
                  <c:v>1.3</c:v>
                </c:pt>
                <c:pt idx="7532">
                  <c:v>7.9</c:v>
                </c:pt>
                <c:pt idx="7533">
                  <c:v>9.1999999999999993</c:v>
                </c:pt>
                <c:pt idx="7534">
                  <c:v>4.4000000000000004</c:v>
                </c:pt>
                <c:pt idx="7535">
                  <c:v>5.8</c:v>
                </c:pt>
                <c:pt idx="7536">
                  <c:v>8.5</c:v>
                </c:pt>
                <c:pt idx="7537">
                  <c:v>4.5999999999999996</c:v>
                </c:pt>
                <c:pt idx="7538">
                  <c:v>7.4</c:v>
                </c:pt>
                <c:pt idx="7539">
                  <c:v>7.7</c:v>
                </c:pt>
                <c:pt idx="7540">
                  <c:v>4</c:v>
                </c:pt>
                <c:pt idx="7541">
                  <c:v>4.3</c:v>
                </c:pt>
                <c:pt idx="7542">
                  <c:v>9.9</c:v>
                </c:pt>
                <c:pt idx="7543">
                  <c:v>5.6</c:v>
                </c:pt>
                <c:pt idx="7544">
                  <c:v>11.4</c:v>
                </c:pt>
                <c:pt idx="7545">
                  <c:v>5.3</c:v>
                </c:pt>
                <c:pt idx="7546">
                  <c:v>7.8</c:v>
                </c:pt>
                <c:pt idx="7547">
                  <c:v>3.4</c:v>
                </c:pt>
                <c:pt idx="7548">
                  <c:v>5.6</c:v>
                </c:pt>
                <c:pt idx="7549">
                  <c:v>6.5</c:v>
                </c:pt>
                <c:pt idx="7550">
                  <c:v>7.8</c:v>
                </c:pt>
                <c:pt idx="7551">
                  <c:v>6.9</c:v>
                </c:pt>
                <c:pt idx="7552">
                  <c:v>8.6</c:v>
                </c:pt>
                <c:pt idx="7553">
                  <c:v>3.3</c:v>
                </c:pt>
                <c:pt idx="7554">
                  <c:v>1.2</c:v>
                </c:pt>
                <c:pt idx="7555">
                  <c:v>3</c:v>
                </c:pt>
                <c:pt idx="7556">
                  <c:v>12.1</c:v>
                </c:pt>
                <c:pt idx="7557">
                  <c:v>9</c:v>
                </c:pt>
                <c:pt idx="7558">
                  <c:v>10.199999999999999</c:v>
                </c:pt>
                <c:pt idx="7559">
                  <c:v>11.2</c:v>
                </c:pt>
                <c:pt idx="7560">
                  <c:v>12</c:v>
                </c:pt>
                <c:pt idx="7561">
                  <c:v>7.7</c:v>
                </c:pt>
                <c:pt idx="7562">
                  <c:v>5.0999999999999996</c:v>
                </c:pt>
                <c:pt idx="7563">
                  <c:v>3.3</c:v>
                </c:pt>
                <c:pt idx="7564">
                  <c:v>3.8</c:v>
                </c:pt>
                <c:pt idx="7565">
                  <c:v>11.9</c:v>
                </c:pt>
                <c:pt idx="7566">
                  <c:v>7.9</c:v>
                </c:pt>
                <c:pt idx="7567">
                  <c:v>9.1999999999999993</c:v>
                </c:pt>
                <c:pt idx="7568">
                  <c:v>1.7</c:v>
                </c:pt>
                <c:pt idx="7569">
                  <c:v>8.4</c:v>
                </c:pt>
                <c:pt idx="7570">
                  <c:v>1.2</c:v>
                </c:pt>
                <c:pt idx="7571">
                  <c:v>4.0999999999999996</c:v>
                </c:pt>
                <c:pt idx="7572">
                  <c:v>11.3</c:v>
                </c:pt>
                <c:pt idx="7573">
                  <c:v>6.9</c:v>
                </c:pt>
                <c:pt idx="7574">
                  <c:v>5.8</c:v>
                </c:pt>
                <c:pt idx="7575">
                  <c:v>9.6999999999999993</c:v>
                </c:pt>
                <c:pt idx="7576">
                  <c:v>2.6</c:v>
                </c:pt>
                <c:pt idx="7577">
                  <c:v>8.5</c:v>
                </c:pt>
                <c:pt idx="7578">
                  <c:v>5.3</c:v>
                </c:pt>
                <c:pt idx="7579">
                  <c:v>9.3000000000000007</c:v>
                </c:pt>
                <c:pt idx="7580">
                  <c:v>8.5</c:v>
                </c:pt>
                <c:pt idx="7581">
                  <c:v>5</c:v>
                </c:pt>
                <c:pt idx="7582">
                  <c:v>4.5999999999999996</c:v>
                </c:pt>
                <c:pt idx="7583">
                  <c:v>2.9</c:v>
                </c:pt>
                <c:pt idx="7584">
                  <c:v>11.3</c:v>
                </c:pt>
                <c:pt idx="7585">
                  <c:v>6.1</c:v>
                </c:pt>
                <c:pt idx="7586">
                  <c:v>5</c:v>
                </c:pt>
                <c:pt idx="7587">
                  <c:v>7.1</c:v>
                </c:pt>
                <c:pt idx="7588">
                  <c:v>4.5</c:v>
                </c:pt>
                <c:pt idx="7589">
                  <c:v>9.3000000000000007</c:v>
                </c:pt>
                <c:pt idx="7590">
                  <c:v>7.5</c:v>
                </c:pt>
                <c:pt idx="7591">
                  <c:v>8.1</c:v>
                </c:pt>
                <c:pt idx="7592">
                  <c:v>5.5</c:v>
                </c:pt>
                <c:pt idx="7593">
                  <c:v>10.6</c:v>
                </c:pt>
                <c:pt idx="7594">
                  <c:v>2.5</c:v>
                </c:pt>
                <c:pt idx="7595">
                  <c:v>3.3</c:v>
                </c:pt>
                <c:pt idx="7596">
                  <c:v>6.7</c:v>
                </c:pt>
                <c:pt idx="7597">
                  <c:v>11.4</c:v>
                </c:pt>
                <c:pt idx="7598">
                  <c:v>4.5999999999999996</c:v>
                </c:pt>
                <c:pt idx="7599">
                  <c:v>7.8</c:v>
                </c:pt>
                <c:pt idx="7600">
                  <c:v>9.6</c:v>
                </c:pt>
                <c:pt idx="7601">
                  <c:v>8.6999999999999993</c:v>
                </c:pt>
                <c:pt idx="7602">
                  <c:v>6.4</c:v>
                </c:pt>
                <c:pt idx="7603">
                  <c:v>4.3</c:v>
                </c:pt>
                <c:pt idx="7604">
                  <c:v>2.8</c:v>
                </c:pt>
                <c:pt idx="7605">
                  <c:v>12.4</c:v>
                </c:pt>
                <c:pt idx="7606">
                  <c:v>10.4</c:v>
                </c:pt>
                <c:pt idx="7607">
                  <c:v>7.5</c:v>
                </c:pt>
                <c:pt idx="7608">
                  <c:v>7</c:v>
                </c:pt>
                <c:pt idx="7609">
                  <c:v>10.199999999999999</c:v>
                </c:pt>
                <c:pt idx="7610">
                  <c:v>7.6</c:v>
                </c:pt>
                <c:pt idx="7611">
                  <c:v>7.3</c:v>
                </c:pt>
                <c:pt idx="7612">
                  <c:v>8.3000000000000007</c:v>
                </c:pt>
                <c:pt idx="7613">
                  <c:v>3.4</c:v>
                </c:pt>
                <c:pt idx="7614">
                  <c:v>7.5</c:v>
                </c:pt>
                <c:pt idx="7615">
                  <c:v>10</c:v>
                </c:pt>
                <c:pt idx="7616">
                  <c:v>9.6</c:v>
                </c:pt>
                <c:pt idx="7617">
                  <c:v>8</c:v>
                </c:pt>
                <c:pt idx="7618">
                  <c:v>11.7</c:v>
                </c:pt>
                <c:pt idx="7619">
                  <c:v>7.2</c:v>
                </c:pt>
                <c:pt idx="7620">
                  <c:v>10.5</c:v>
                </c:pt>
                <c:pt idx="7621">
                  <c:v>4.0999999999999996</c:v>
                </c:pt>
                <c:pt idx="7622">
                  <c:v>8.8000000000000007</c:v>
                </c:pt>
                <c:pt idx="7623">
                  <c:v>5.4</c:v>
                </c:pt>
                <c:pt idx="7624">
                  <c:v>1</c:v>
                </c:pt>
                <c:pt idx="7625">
                  <c:v>10.6</c:v>
                </c:pt>
                <c:pt idx="7626">
                  <c:v>7.4</c:v>
                </c:pt>
                <c:pt idx="7627">
                  <c:v>11.5</c:v>
                </c:pt>
                <c:pt idx="7628">
                  <c:v>2.6</c:v>
                </c:pt>
                <c:pt idx="7629">
                  <c:v>9</c:v>
                </c:pt>
                <c:pt idx="7630">
                  <c:v>12.2</c:v>
                </c:pt>
                <c:pt idx="7631">
                  <c:v>6.1</c:v>
                </c:pt>
                <c:pt idx="7632">
                  <c:v>9.1</c:v>
                </c:pt>
                <c:pt idx="7633">
                  <c:v>7.8</c:v>
                </c:pt>
                <c:pt idx="7634">
                  <c:v>14.5</c:v>
                </c:pt>
                <c:pt idx="7635">
                  <c:v>8.3000000000000007</c:v>
                </c:pt>
                <c:pt idx="7636">
                  <c:v>10.7</c:v>
                </c:pt>
                <c:pt idx="7637">
                  <c:v>5.2</c:v>
                </c:pt>
                <c:pt idx="7638">
                  <c:v>11</c:v>
                </c:pt>
                <c:pt idx="7639">
                  <c:v>3</c:v>
                </c:pt>
                <c:pt idx="7640">
                  <c:v>12.5</c:v>
                </c:pt>
                <c:pt idx="7641">
                  <c:v>7.6</c:v>
                </c:pt>
                <c:pt idx="7642">
                  <c:v>9.8000000000000007</c:v>
                </c:pt>
                <c:pt idx="7643">
                  <c:v>7.2</c:v>
                </c:pt>
                <c:pt idx="7644">
                  <c:v>3.4</c:v>
                </c:pt>
                <c:pt idx="7645">
                  <c:v>9.5</c:v>
                </c:pt>
                <c:pt idx="7646">
                  <c:v>10.9</c:v>
                </c:pt>
                <c:pt idx="7647">
                  <c:v>10.199999999999999</c:v>
                </c:pt>
                <c:pt idx="7648">
                  <c:v>10.5</c:v>
                </c:pt>
                <c:pt idx="7649">
                  <c:v>5.0999999999999996</c:v>
                </c:pt>
                <c:pt idx="7650">
                  <c:v>9.4</c:v>
                </c:pt>
                <c:pt idx="7651">
                  <c:v>5.8</c:v>
                </c:pt>
                <c:pt idx="7652">
                  <c:v>9.4</c:v>
                </c:pt>
                <c:pt idx="7653">
                  <c:v>12.6</c:v>
                </c:pt>
                <c:pt idx="7654">
                  <c:v>16.399999999999999</c:v>
                </c:pt>
                <c:pt idx="7655">
                  <c:v>7.9</c:v>
                </c:pt>
                <c:pt idx="7656">
                  <c:v>5.9</c:v>
                </c:pt>
                <c:pt idx="7657">
                  <c:v>8.6</c:v>
                </c:pt>
                <c:pt idx="7658">
                  <c:v>2.5</c:v>
                </c:pt>
                <c:pt idx="7659">
                  <c:v>8.6999999999999993</c:v>
                </c:pt>
                <c:pt idx="7660">
                  <c:v>14.1</c:v>
                </c:pt>
                <c:pt idx="7661">
                  <c:v>9.1</c:v>
                </c:pt>
                <c:pt idx="7662">
                  <c:v>9.8000000000000007</c:v>
                </c:pt>
                <c:pt idx="7663">
                  <c:v>12.8</c:v>
                </c:pt>
                <c:pt idx="7664">
                  <c:v>7.4</c:v>
                </c:pt>
                <c:pt idx="7665">
                  <c:v>11.9</c:v>
                </c:pt>
                <c:pt idx="7666">
                  <c:v>8.6</c:v>
                </c:pt>
              </c:numCache>
            </c:numRef>
          </c:xVal>
          <c:yVal>
            <c:numRef>
              <c:f>'Tenure vs. PS EcoDis Ach'!$C$3:$C$7980</c:f>
              <c:numCache>
                <c:formatCode>0%</c:formatCode>
                <c:ptCount val="7978"/>
                <c:pt idx="0">
                  <c:v>5.8479532163742704E-3</c:v>
                </c:pt>
                <c:pt idx="1">
                  <c:v>6.2893081761006301E-3</c:v>
                </c:pt>
                <c:pt idx="2">
                  <c:v>7.2463768115942004E-3</c:v>
                </c:pt>
                <c:pt idx="3">
                  <c:v>1.01010101010101E-2</c:v>
                </c:pt>
                <c:pt idx="4">
                  <c:v>1.05263157894737E-2</c:v>
                </c:pt>
                <c:pt idx="5">
                  <c:v>1.0752688172042999E-2</c:v>
                </c:pt>
                <c:pt idx="6">
                  <c:v>1.11731843575419E-2</c:v>
                </c:pt>
                <c:pt idx="7">
                  <c:v>1.3333333333333299E-2</c:v>
                </c:pt>
                <c:pt idx="8">
                  <c:v>1.4285714285714299E-2</c:v>
                </c:pt>
                <c:pt idx="9">
                  <c:v>1.4336917562724E-2</c:v>
                </c:pt>
                <c:pt idx="10">
                  <c:v>1.51515151515151E-2</c:v>
                </c:pt>
                <c:pt idx="11">
                  <c:v>1.5789473684210499E-2</c:v>
                </c:pt>
                <c:pt idx="12">
                  <c:v>1.58730158730159E-2</c:v>
                </c:pt>
                <c:pt idx="13">
                  <c:v>1.58730158730159E-2</c:v>
                </c:pt>
                <c:pt idx="14">
                  <c:v>1.6666666666666701E-2</c:v>
                </c:pt>
                <c:pt idx="15">
                  <c:v>1.7543859649122799E-2</c:v>
                </c:pt>
                <c:pt idx="16">
                  <c:v>1.7543859649122799E-2</c:v>
                </c:pt>
                <c:pt idx="17">
                  <c:v>1.7543859649122799E-2</c:v>
                </c:pt>
                <c:pt idx="18">
                  <c:v>1.8749999999999999E-2</c:v>
                </c:pt>
                <c:pt idx="19">
                  <c:v>1.9607843137254902E-2</c:v>
                </c:pt>
                <c:pt idx="20">
                  <c:v>2.04081632653061E-2</c:v>
                </c:pt>
                <c:pt idx="21">
                  <c:v>2.1052631578947399E-2</c:v>
                </c:pt>
                <c:pt idx="22">
                  <c:v>2.1276595744680799E-2</c:v>
                </c:pt>
                <c:pt idx="23">
                  <c:v>2.2875816993463999E-2</c:v>
                </c:pt>
                <c:pt idx="24">
                  <c:v>2.3529411764705899E-2</c:v>
                </c:pt>
                <c:pt idx="25">
                  <c:v>2.3809523809523801E-2</c:v>
                </c:pt>
                <c:pt idx="26">
                  <c:v>2.3904382470119501E-2</c:v>
                </c:pt>
                <c:pt idx="27">
                  <c:v>2.4793388429752101E-2</c:v>
                </c:pt>
                <c:pt idx="28">
                  <c:v>2.5510204081632602E-2</c:v>
                </c:pt>
                <c:pt idx="29">
                  <c:v>2.6315789473684199E-2</c:v>
                </c:pt>
                <c:pt idx="30">
                  <c:v>2.6785714285714302E-2</c:v>
                </c:pt>
                <c:pt idx="31">
                  <c:v>2.7522935779816501E-2</c:v>
                </c:pt>
                <c:pt idx="32">
                  <c:v>2.8571428571428598E-2</c:v>
                </c:pt>
                <c:pt idx="33">
                  <c:v>2.8846153846153799E-2</c:v>
                </c:pt>
                <c:pt idx="34">
                  <c:v>3.0100334448160501E-2</c:v>
                </c:pt>
                <c:pt idx="35">
                  <c:v>3.03030303030303E-2</c:v>
                </c:pt>
                <c:pt idx="36">
                  <c:v>3.06122448979592E-2</c:v>
                </c:pt>
                <c:pt idx="37">
                  <c:v>3.07017543859649E-2</c:v>
                </c:pt>
                <c:pt idx="38">
                  <c:v>3.0769230769230799E-2</c:v>
                </c:pt>
                <c:pt idx="39">
                  <c:v>3.0769230769230799E-2</c:v>
                </c:pt>
                <c:pt idx="40">
                  <c:v>3.1055900621118002E-2</c:v>
                </c:pt>
                <c:pt idx="41">
                  <c:v>3.1390134529148003E-2</c:v>
                </c:pt>
                <c:pt idx="42">
                  <c:v>3.2258064516128997E-2</c:v>
                </c:pt>
                <c:pt idx="43">
                  <c:v>3.2258064516128997E-2</c:v>
                </c:pt>
                <c:pt idx="44">
                  <c:v>3.3112582781456901E-2</c:v>
                </c:pt>
                <c:pt idx="45">
                  <c:v>3.3333333333333298E-2</c:v>
                </c:pt>
                <c:pt idx="46">
                  <c:v>3.37837837837838E-2</c:v>
                </c:pt>
                <c:pt idx="47">
                  <c:v>3.4482758620689599E-2</c:v>
                </c:pt>
                <c:pt idx="48">
                  <c:v>3.4883720930232599E-2</c:v>
                </c:pt>
                <c:pt idx="49">
                  <c:v>3.5502958579881699E-2</c:v>
                </c:pt>
                <c:pt idx="50">
                  <c:v>3.5714285714285698E-2</c:v>
                </c:pt>
                <c:pt idx="51">
                  <c:v>3.5714285714285698E-2</c:v>
                </c:pt>
                <c:pt idx="52">
                  <c:v>3.6231884057971002E-2</c:v>
                </c:pt>
                <c:pt idx="53">
                  <c:v>3.7037037037037E-2</c:v>
                </c:pt>
                <c:pt idx="54">
                  <c:v>3.7037037037037E-2</c:v>
                </c:pt>
                <c:pt idx="55">
                  <c:v>3.77358490566038E-2</c:v>
                </c:pt>
                <c:pt idx="56">
                  <c:v>3.77358490566038E-2</c:v>
                </c:pt>
                <c:pt idx="57">
                  <c:v>3.8043478260869602E-2</c:v>
                </c:pt>
                <c:pt idx="58">
                  <c:v>3.8461538461538498E-2</c:v>
                </c:pt>
                <c:pt idx="59">
                  <c:v>3.8461538461538498E-2</c:v>
                </c:pt>
                <c:pt idx="60">
                  <c:v>3.9215686274509803E-2</c:v>
                </c:pt>
                <c:pt idx="61">
                  <c:v>3.9215686274509803E-2</c:v>
                </c:pt>
                <c:pt idx="62">
                  <c:v>3.94736842105263E-2</c:v>
                </c:pt>
                <c:pt idx="63">
                  <c:v>3.9603960396039598E-2</c:v>
                </c:pt>
                <c:pt idx="64">
                  <c:v>0.04</c:v>
                </c:pt>
                <c:pt idx="65">
                  <c:v>0.04</c:v>
                </c:pt>
                <c:pt idx="66">
                  <c:v>4.0322580645161303E-2</c:v>
                </c:pt>
                <c:pt idx="67">
                  <c:v>4.0716612377850202E-2</c:v>
                </c:pt>
                <c:pt idx="68">
                  <c:v>4.08163265306122E-2</c:v>
                </c:pt>
                <c:pt idx="69">
                  <c:v>4.1025641025640998E-2</c:v>
                </c:pt>
                <c:pt idx="70">
                  <c:v>4.1666666666666699E-2</c:v>
                </c:pt>
                <c:pt idx="71">
                  <c:v>4.2553191489361701E-2</c:v>
                </c:pt>
                <c:pt idx="72">
                  <c:v>4.2553191489361701E-2</c:v>
                </c:pt>
                <c:pt idx="73">
                  <c:v>4.3478260869565202E-2</c:v>
                </c:pt>
                <c:pt idx="74">
                  <c:v>4.39024390243902E-2</c:v>
                </c:pt>
                <c:pt idx="75">
                  <c:v>4.4176706827309203E-2</c:v>
                </c:pt>
                <c:pt idx="76">
                  <c:v>4.4334975369458102E-2</c:v>
                </c:pt>
                <c:pt idx="77">
                  <c:v>4.54545454545454E-2</c:v>
                </c:pt>
                <c:pt idx="78">
                  <c:v>4.54545454545454E-2</c:v>
                </c:pt>
                <c:pt idx="79">
                  <c:v>4.57142857142857E-2</c:v>
                </c:pt>
                <c:pt idx="80">
                  <c:v>4.5977011494252901E-2</c:v>
                </c:pt>
                <c:pt idx="81">
                  <c:v>4.6875E-2</c:v>
                </c:pt>
                <c:pt idx="82">
                  <c:v>4.6875E-2</c:v>
                </c:pt>
                <c:pt idx="83">
                  <c:v>4.6979865771812103E-2</c:v>
                </c:pt>
                <c:pt idx="84">
                  <c:v>4.7619047619047603E-2</c:v>
                </c:pt>
                <c:pt idx="85">
                  <c:v>4.7619047619047603E-2</c:v>
                </c:pt>
                <c:pt idx="86">
                  <c:v>4.80769230769231E-2</c:v>
                </c:pt>
                <c:pt idx="87">
                  <c:v>4.8728813559322001E-2</c:v>
                </c:pt>
                <c:pt idx="88">
                  <c:v>4.8979591836734698E-2</c:v>
                </c:pt>
                <c:pt idx="89">
                  <c:v>4.9382716049382699E-2</c:v>
                </c:pt>
                <c:pt idx="90">
                  <c:v>4.9733570159857902E-2</c:v>
                </c:pt>
                <c:pt idx="91">
                  <c:v>0.05</c:v>
                </c:pt>
                <c:pt idx="92">
                  <c:v>0.05</c:v>
                </c:pt>
                <c:pt idx="93">
                  <c:v>5.0847457627118599E-2</c:v>
                </c:pt>
                <c:pt idx="94">
                  <c:v>5.0955414012738801E-2</c:v>
                </c:pt>
                <c:pt idx="95">
                  <c:v>5.10204081632653E-2</c:v>
                </c:pt>
                <c:pt idx="96">
                  <c:v>5.10204081632653E-2</c:v>
                </c:pt>
                <c:pt idx="97">
                  <c:v>5.1282051282051301E-2</c:v>
                </c:pt>
                <c:pt idx="98">
                  <c:v>5.1282051282051301E-2</c:v>
                </c:pt>
                <c:pt idx="99">
                  <c:v>5.1546391752577303E-2</c:v>
                </c:pt>
                <c:pt idx="100">
                  <c:v>5.2631578947368397E-2</c:v>
                </c:pt>
                <c:pt idx="101">
                  <c:v>5.2631578947368397E-2</c:v>
                </c:pt>
                <c:pt idx="102">
                  <c:v>5.2631578947368397E-2</c:v>
                </c:pt>
                <c:pt idx="103">
                  <c:v>5.2816901408450703E-2</c:v>
                </c:pt>
                <c:pt idx="104">
                  <c:v>5.3097345132743397E-2</c:v>
                </c:pt>
                <c:pt idx="105">
                  <c:v>5.3097345132743397E-2</c:v>
                </c:pt>
                <c:pt idx="106">
                  <c:v>5.32544378698225E-2</c:v>
                </c:pt>
                <c:pt idx="107">
                  <c:v>5.3398058252427202E-2</c:v>
                </c:pt>
                <c:pt idx="108">
                  <c:v>5.4054054054054002E-2</c:v>
                </c:pt>
                <c:pt idx="109">
                  <c:v>5.4347826086956499E-2</c:v>
                </c:pt>
                <c:pt idx="110">
                  <c:v>5.5555555555555497E-2</c:v>
                </c:pt>
                <c:pt idx="111">
                  <c:v>5.5555555555555497E-2</c:v>
                </c:pt>
                <c:pt idx="112">
                  <c:v>5.5555555555555497E-2</c:v>
                </c:pt>
                <c:pt idx="113">
                  <c:v>5.5555555555555497E-2</c:v>
                </c:pt>
                <c:pt idx="114">
                  <c:v>5.5718475073313803E-2</c:v>
                </c:pt>
                <c:pt idx="115">
                  <c:v>5.60747663551402E-2</c:v>
                </c:pt>
                <c:pt idx="116">
                  <c:v>5.63380281690141E-2</c:v>
                </c:pt>
                <c:pt idx="117">
                  <c:v>5.7553956834532398E-2</c:v>
                </c:pt>
                <c:pt idx="118">
                  <c:v>5.8035714285714302E-2</c:v>
                </c:pt>
                <c:pt idx="119">
                  <c:v>5.83657587548638E-2</c:v>
                </c:pt>
                <c:pt idx="120">
                  <c:v>5.8823529411764698E-2</c:v>
                </c:pt>
                <c:pt idx="121">
                  <c:v>5.9748427672956003E-2</c:v>
                </c:pt>
                <c:pt idx="122">
                  <c:v>6.0126582278481E-2</c:v>
                </c:pt>
                <c:pt idx="123">
                  <c:v>6.0606060606060601E-2</c:v>
                </c:pt>
                <c:pt idx="124">
                  <c:v>6.08108108108108E-2</c:v>
                </c:pt>
                <c:pt idx="125">
                  <c:v>6.13496932515337E-2</c:v>
                </c:pt>
                <c:pt idx="126">
                  <c:v>6.1728395061728399E-2</c:v>
                </c:pt>
                <c:pt idx="127">
                  <c:v>6.1728395061728399E-2</c:v>
                </c:pt>
                <c:pt idx="128">
                  <c:v>6.18556701030928E-2</c:v>
                </c:pt>
                <c:pt idx="129">
                  <c:v>6.25E-2</c:v>
                </c:pt>
                <c:pt idx="130">
                  <c:v>6.25E-2</c:v>
                </c:pt>
                <c:pt idx="131">
                  <c:v>6.2857142857142806E-2</c:v>
                </c:pt>
                <c:pt idx="132">
                  <c:v>6.3069908814589695E-2</c:v>
                </c:pt>
                <c:pt idx="133">
                  <c:v>6.3636363636363602E-2</c:v>
                </c:pt>
                <c:pt idx="134">
                  <c:v>6.3920454545454503E-2</c:v>
                </c:pt>
                <c:pt idx="135">
                  <c:v>6.4285714285714293E-2</c:v>
                </c:pt>
                <c:pt idx="136">
                  <c:v>6.4516129032257993E-2</c:v>
                </c:pt>
                <c:pt idx="137">
                  <c:v>6.50406504065041E-2</c:v>
                </c:pt>
                <c:pt idx="138">
                  <c:v>6.6574202496532606E-2</c:v>
                </c:pt>
                <c:pt idx="139">
                  <c:v>6.6666666666666693E-2</c:v>
                </c:pt>
                <c:pt idx="140">
                  <c:v>6.6666666666666693E-2</c:v>
                </c:pt>
                <c:pt idx="141">
                  <c:v>6.7164179104477598E-2</c:v>
                </c:pt>
                <c:pt idx="142">
                  <c:v>6.7632850241545903E-2</c:v>
                </c:pt>
                <c:pt idx="143">
                  <c:v>6.7669172932330796E-2</c:v>
                </c:pt>
                <c:pt idx="144">
                  <c:v>6.7924528301886805E-2</c:v>
                </c:pt>
                <c:pt idx="145">
                  <c:v>6.8062827225130906E-2</c:v>
                </c:pt>
                <c:pt idx="146">
                  <c:v>6.8376068376068397E-2</c:v>
                </c:pt>
                <c:pt idx="147">
                  <c:v>6.9037656903765704E-2</c:v>
                </c:pt>
                <c:pt idx="148">
                  <c:v>7.0000000000000007E-2</c:v>
                </c:pt>
                <c:pt idx="149">
                  <c:v>7.0329670329670302E-2</c:v>
                </c:pt>
                <c:pt idx="150">
                  <c:v>7.0422535211267595E-2</c:v>
                </c:pt>
                <c:pt idx="151">
                  <c:v>7.0881226053639806E-2</c:v>
                </c:pt>
                <c:pt idx="152">
                  <c:v>7.1428571428571397E-2</c:v>
                </c:pt>
                <c:pt idx="153">
                  <c:v>7.1428571428571397E-2</c:v>
                </c:pt>
                <c:pt idx="154">
                  <c:v>7.1856287425149698E-2</c:v>
                </c:pt>
                <c:pt idx="155">
                  <c:v>7.2463768115942004E-2</c:v>
                </c:pt>
                <c:pt idx="156">
                  <c:v>7.2992700729927001E-2</c:v>
                </c:pt>
                <c:pt idx="157">
                  <c:v>7.3170731707317097E-2</c:v>
                </c:pt>
                <c:pt idx="158">
                  <c:v>7.3684210526315796E-2</c:v>
                </c:pt>
                <c:pt idx="159">
                  <c:v>7.3684210526315796E-2</c:v>
                </c:pt>
                <c:pt idx="160">
                  <c:v>7.421875E-2</c:v>
                </c:pt>
                <c:pt idx="161">
                  <c:v>7.4705111402359095E-2</c:v>
                </c:pt>
                <c:pt idx="162">
                  <c:v>7.5342465753424598E-2</c:v>
                </c:pt>
                <c:pt idx="163">
                  <c:v>7.5471698113207503E-2</c:v>
                </c:pt>
                <c:pt idx="164">
                  <c:v>7.5471698113207503E-2</c:v>
                </c:pt>
                <c:pt idx="165">
                  <c:v>7.5471698113207503E-2</c:v>
                </c:pt>
                <c:pt idx="166">
                  <c:v>7.5757575757575801E-2</c:v>
                </c:pt>
                <c:pt idx="167">
                  <c:v>7.6530612244898003E-2</c:v>
                </c:pt>
                <c:pt idx="168">
                  <c:v>7.69230769230769E-2</c:v>
                </c:pt>
                <c:pt idx="169">
                  <c:v>7.69230769230769E-2</c:v>
                </c:pt>
                <c:pt idx="170">
                  <c:v>7.69230769230769E-2</c:v>
                </c:pt>
                <c:pt idx="171">
                  <c:v>7.7399380804953594E-2</c:v>
                </c:pt>
                <c:pt idx="172">
                  <c:v>7.7586206896551699E-2</c:v>
                </c:pt>
                <c:pt idx="173">
                  <c:v>7.8947368421052599E-2</c:v>
                </c:pt>
                <c:pt idx="174">
                  <c:v>7.9034028540065804E-2</c:v>
                </c:pt>
                <c:pt idx="175">
                  <c:v>7.9545454545454503E-2</c:v>
                </c:pt>
                <c:pt idx="176">
                  <c:v>7.9678814082767099E-2</c:v>
                </c:pt>
                <c:pt idx="177">
                  <c:v>7.9754601226993904E-2</c:v>
                </c:pt>
                <c:pt idx="178">
                  <c:v>7.9861111111111105E-2</c:v>
                </c:pt>
                <c:pt idx="179">
                  <c:v>0.08</c:v>
                </c:pt>
                <c:pt idx="180">
                  <c:v>0.08</c:v>
                </c:pt>
                <c:pt idx="181">
                  <c:v>8.0246913580246895E-2</c:v>
                </c:pt>
                <c:pt idx="182">
                  <c:v>8.0808080808080801E-2</c:v>
                </c:pt>
                <c:pt idx="183">
                  <c:v>8.1632653061224497E-2</c:v>
                </c:pt>
                <c:pt idx="184">
                  <c:v>8.1818181818181804E-2</c:v>
                </c:pt>
                <c:pt idx="185">
                  <c:v>8.2016553799849498E-2</c:v>
                </c:pt>
                <c:pt idx="186">
                  <c:v>8.2474226804123696E-2</c:v>
                </c:pt>
                <c:pt idx="187">
                  <c:v>8.2531645569620199E-2</c:v>
                </c:pt>
                <c:pt idx="188">
                  <c:v>8.2608695652173894E-2</c:v>
                </c:pt>
                <c:pt idx="189">
                  <c:v>8.3333333333333301E-2</c:v>
                </c:pt>
                <c:pt idx="190">
                  <c:v>8.3333333333333301E-2</c:v>
                </c:pt>
                <c:pt idx="191">
                  <c:v>8.3333333333333301E-2</c:v>
                </c:pt>
                <c:pt idx="192">
                  <c:v>8.3333333333333301E-2</c:v>
                </c:pt>
                <c:pt idx="193">
                  <c:v>8.3720930232558097E-2</c:v>
                </c:pt>
                <c:pt idx="194">
                  <c:v>8.4112149532710304E-2</c:v>
                </c:pt>
                <c:pt idx="195">
                  <c:v>8.4461637653127003E-2</c:v>
                </c:pt>
                <c:pt idx="196">
                  <c:v>8.4548104956268202E-2</c:v>
                </c:pt>
                <c:pt idx="197">
                  <c:v>8.4745762711864403E-2</c:v>
                </c:pt>
                <c:pt idx="198">
                  <c:v>8.5106382978723402E-2</c:v>
                </c:pt>
                <c:pt idx="199">
                  <c:v>8.5227272727272693E-2</c:v>
                </c:pt>
                <c:pt idx="200">
                  <c:v>8.5501858736059505E-2</c:v>
                </c:pt>
                <c:pt idx="201">
                  <c:v>8.5547290116896907E-2</c:v>
                </c:pt>
                <c:pt idx="202">
                  <c:v>8.5714285714285701E-2</c:v>
                </c:pt>
                <c:pt idx="203">
                  <c:v>8.6021505376344107E-2</c:v>
                </c:pt>
                <c:pt idx="204">
                  <c:v>8.6247086247086199E-2</c:v>
                </c:pt>
                <c:pt idx="205">
                  <c:v>8.6677367576244002E-2</c:v>
                </c:pt>
                <c:pt idx="206">
                  <c:v>8.6705202312138699E-2</c:v>
                </c:pt>
                <c:pt idx="207">
                  <c:v>8.6956521739130405E-2</c:v>
                </c:pt>
                <c:pt idx="208">
                  <c:v>8.6956521739130405E-2</c:v>
                </c:pt>
                <c:pt idx="209">
                  <c:v>8.7248322147651006E-2</c:v>
                </c:pt>
                <c:pt idx="210">
                  <c:v>8.7248322147651006E-2</c:v>
                </c:pt>
                <c:pt idx="211">
                  <c:v>8.7452471482889704E-2</c:v>
                </c:pt>
                <c:pt idx="212">
                  <c:v>8.8235294117646995E-2</c:v>
                </c:pt>
                <c:pt idx="213">
                  <c:v>8.8235294117646995E-2</c:v>
                </c:pt>
                <c:pt idx="214">
                  <c:v>8.8607594936708806E-2</c:v>
                </c:pt>
                <c:pt idx="215">
                  <c:v>8.9108910891089105E-2</c:v>
                </c:pt>
                <c:pt idx="216">
                  <c:v>8.9278752436647194E-2</c:v>
                </c:pt>
                <c:pt idx="217">
                  <c:v>8.9385474860335198E-2</c:v>
                </c:pt>
                <c:pt idx="218">
                  <c:v>8.98876404494382E-2</c:v>
                </c:pt>
                <c:pt idx="219">
                  <c:v>0.09</c:v>
                </c:pt>
                <c:pt idx="220">
                  <c:v>9.0163934426229497E-2</c:v>
                </c:pt>
                <c:pt idx="221">
                  <c:v>9.0318388564002594E-2</c:v>
                </c:pt>
                <c:pt idx="222">
                  <c:v>9.0452261306532597E-2</c:v>
                </c:pt>
                <c:pt idx="223">
                  <c:v>9.0909090909090898E-2</c:v>
                </c:pt>
                <c:pt idx="224">
                  <c:v>9.0909090909090898E-2</c:v>
                </c:pt>
                <c:pt idx="225">
                  <c:v>9.0909090909090898E-2</c:v>
                </c:pt>
                <c:pt idx="226">
                  <c:v>9.0909090909090898E-2</c:v>
                </c:pt>
                <c:pt idx="227">
                  <c:v>9.0909090909090898E-2</c:v>
                </c:pt>
                <c:pt idx="228">
                  <c:v>9.0909090909090898E-2</c:v>
                </c:pt>
                <c:pt idx="229">
                  <c:v>9.1346153846153799E-2</c:v>
                </c:pt>
                <c:pt idx="230">
                  <c:v>9.1743119266054995E-2</c:v>
                </c:pt>
                <c:pt idx="231">
                  <c:v>9.2123769338959202E-2</c:v>
                </c:pt>
                <c:pt idx="232">
                  <c:v>9.2221331194867695E-2</c:v>
                </c:pt>
                <c:pt idx="233">
                  <c:v>9.2592592592592601E-2</c:v>
                </c:pt>
                <c:pt idx="234">
                  <c:v>9.2592592592592601E-2</c:v>
                </c:pt>
                <c:pt idx="235">
                  <c:v>9.2997811816192502E-2</c:v>
                </c:pt>
                <c:pt idx="236">
                  <c:v>9.3023255813953501E-2</c:v>
                </c:pt>
                <c:pt idx="237">
                  <c:v>9.3023255813953501E-2</c:v>
                </c:pt>
                <c:pt idx="238">
                  <c:v>9.375E-2</c:v>
                </c:pt>
                <c:pt idx="239">
                  <c:v>9.375E-2</c:v>
                </c:pt>
                <c:pt idx="240">
                  <c:v>9.375E-2</c:v>
                </c:pt>
                <c:pt idx="241">
                  <c:v>9.4076655052264799E-2</c:v>
                </c:pt>
                <c:pt idx="242">
                  <c:v>9.4097519247219805E-2</c:v>
                </c:pt>
                <c:pt idx="243">
                  <c:v>9.41176470588235E-2</c:v>
                </c:pt>
                <c:pt idx="244">
                  <c:v>9.41176470588235E-2</c:v>
                </c:pt>
                <c:pt idx="245">
                  <c:v>9.4758064516129004E-2</c:v>
                </c:pt>
                <c:pt idx="246">
                  <c:v>9.4827586206896505E-2</c:v>
                </c:pt>
                <c:pt idx="247">
                  <c:v>9.4989561586638793E-2</c:v>
                </c:pt>
                <c:pt idx="248">
                  <c:v>9.5238095238095205E-2</c:v>
                </c:pt>
                <c:pt idx="249">
                  <c:v>9.5238095238095205E-2</c:v>
                </c:pt>
                <c:pt idx="250">
                  <c:v>9.5632183908045995E-2</c:v>
                </c:pt>
                <c:pt idx="251">
                  <c:v>9.5890410958904104E-2</c:v>
                </c:pt>
                <c:pt idx="252">
                  <c:v>9.5918367346938704E-2</c:v>
                </c:pt>
                <c:pt idx="253">
                  <c:v>9.6000000000000002E-2</c:v>
                </c:pt>
                <c:pt idx="254">
                  <c:v>9.6153846153846104E-2</c:v>
                </c:pt>
                <c:pt idx="255">
                  <c:v>9.6153846153846104E-2</c:v>
                </c:pt>
                <c:pt idx="256">
                  <c:v>9.6385542168674704E-2</c:v>
                </c:pt>
                <c:pt idx="257">
                  <c:v>9.6774193548387094E-2</c:v>
                </c:pt>
                <c:pt idx="258">
                  <c:v>9.6774193548387094E-2</c:v>
                </c:pt>
                <c:pt idx="259">
                  <c:v>9.7744360902255606E-2</c:v>
                </c:pt>
                <c:pt idx="260">
                  <c:v>9.8108747044917205E-2</c:v>
                </c:pt>
                <c:pt idx="261">
                  <c:v>9.8214285714285698E-2</c:v>
                </c:pt>
                <c:pt idx="262">
                  <c:v>9.8290598290598302E-2</c:v>
                </c:pt>
                <c:pt idx="263">
                  <c:v>9.85915492957746E-2</c:v>
                </c:pt>
                <c:pt idx="264">
                  <c:v>9.8684210526315805E-2</c:v>
                </c:pt>
                <c:pt idx="265">
                  <c:v>9.9065420560747602E-2</c:v>
                </c:pt>
                <c:pt idx="266">
                  <c:v>9.90990990990991E-2</c:v>
                </c:pt>
                <c:pt idx="267">
                  <c:v>9.9290780141843907E-2</c:v>
                </c:pt>
                <c:pt idx="268">
                  <c:v>0.1</c:v>
                </c:pt>
                <c:pt idx="269">
                  <c:v>0.100156494522692</c:v>
                </c:pt>
                <c:pt idx="270">
                  <c:v>0.10027100271002699</c:v>
                </c:pt>
                <c:pt idx="271">
                  <c:v>0.100478468899522</c:v>
                </c:pt>
                <c:pt idx="272">
                  <c:v>0.100591715976331</c:v>
                </c:pt>
                <c:pt idx="273">
                  <c:v>0.100591715976331</c:v>
                </c:pt>
                <c:pt idx="274">
                  <c:v>0.10062893081761</c:v>
                </c:pt>
                <c:pt idx="275">
                  <c:v>0.10092687950566399</c:v>
                </c:pt>
                <c:pt idx="276">
                  <c:v>0.10103626943005201</c:v>
                </c:pt>
                <c:pt idx="277">
                  <c:v>0.101123595505618</c:v>
                </c:pt>
                <c:pt idx="278">
                  <c:v>0.10114192495921701</c:v>
                </c:pt>
                <c:pt idx="279">
                  <c:v>0.10158311345646399</c:v>
                </c:pt>
                <c:pt idx="280">
                  <c:v>0.10160427807486599</c:v>
                </c:pt>
                <c:pt idx="281">
                  <c:v>0.101679104477612</c:v>
                </c:pt>
                <c:pt idx="282">
                  <c:v>0.101910828025478</c:v>
                </c:pt>
                <c:pt idx="283">
                  <c:v>0.102040816326531</c:v>
                </c:pt>
                <c:pt idx="284">
                  <c:v>0.102083333333333</c:v>
                </c:pt>
                <c:pt idx="285">
                  <c:v>0.102620087336245</c:v>
                </c:pt>
                <c:pt idx="286">
                  <c:v>0.102649006622517</c:v>
                </c:pt>
                <c:pt idx="287">
                  <c:v>0.102702702702703</c:v>
                </c:pt>
                <c:pt idx="288">
                  <c:v>0.102831594634873</c:v>
                </c:pt>
                <c:pt idx="289">
                  <c:v>0.10300429184549401</c:v>
                </c:pt>
                <c:pt idx="290">
                  <c:v>0.103030303030303</c:v>
                </c:pt>
                <c:pt idx="291">
                  <c:v>0.103244837758112</c:v>
                </c:pt>
                <c:pt idx="292">
                  <c:v>0.103316326530612</c:v>
                </c:pt>
                <c:pt idx="293">
                  <c:v>0.10344827586206901</c:v>
                </c:pt>
                <c:pt idx="294">
                  <c:v>0.103589743589744</c:v>
                </c:pt>
                <c:pt idx="295">
                  <c:v>0.10377358490565999</c:v>
                </c:pt>
                <c:pt idx="296">
                  <c:v>0.103865677469738</c:v>
                </c:pt>
                <c:pt idx="297">
                  <c:v>0.10411622276029101</c:v>
                </c:pt>
                <c:pt idx="298">
                  <c:v>0.10412051395657999</c:v>
                </c:pt>
                <c:pt idx="299">
                  <c:v>0.104166666666667</c:v>
                </c:pt>
                <c:pt idx="300">
                  <c:v>0.104609929078014</c:v>
                </c:pt>
                <c:pt idx="301">
                  <c:v>0.104651162790698</c:v>
                </c:pt>
                <c:pt idx="302">
                  <c:v>0.104738154613466</c:v>
                </c:pt>
                <c:pt idx="303">
                  <c:v>0.10486891385767801</c:v>
                </c:pt>
                <c:pt idx="304">
                  <c:v>0.104878048780488</c:v>
                </c:pt>
                <c:pt idx="305">
                  <c:v>0.10497237569060799</c:v>
                </c:pt>
                <c:pt idx="306">
                  <c:v>0.105058365758755</c:v>
                </c:pt>
                <c:pt idx="307">
                  <c:v>0.105065666041276</c:v>
                </c:pt>
                <c:pt idx="308">
                  <c:v>0.105232216343327</c:v>
                </c:pt>
                <c:pt idx="309">
                  <c:v>0.105263157894737</c:v>
                </c:pt>
                <c:pt idx="310">
                  <c:v>0.105263157894737</c:v>
                </c:pt>
                <c:pt idx="311">
                  <c:v>0.105263157894737</c:v>
                </c:pt>
                <c:pt idx="312">
                  <c:v>0.105345911949686</c:v>
                </c:pt>
                <c:pt idx="313">
                  <c:v>0.105504587155963</c:v>
                </c:pt>
                <c:pt idx="314">
                  <c:v>0.105726872246696</c:v>
                </c:pt>
                <c:pt idx="315">
                  <c:v>0.105882352941176</c:v>
                </c:pt>
                <c:pt idx="316">
                  <c:v>0.10606060606060599</c:v>
                </c:pt>
                <c:pt idx="317">
                  <c:v>0.106145251396648</c:v>
                </c:pt>
                <c:pt idx="318">
                  <c:v>0.10638297872340401</c:v>
                </c:pt>
                <c:pt idx="319">
                  <c:v>0.10638297872340401</c:v>
                </c:pt>
                <c:pt idx="320">
                  <c:v>0.10638297872340401</c:v>
                </c:pt>
                <c:pt idx="321">
                  <c:v>0.106571936056838</c:v>
                </c:pt>
                <c:pt idx="322">
                  <c:v>0.10662824207492801</c:v>
                </c:pt>
                <c:pt idx="323">
                  <c:v>0.10666666666666701</c:v>
                </c:pt>
                <c:pt idx="324">
                  <c:v>0.107003891050584</c:v>
                </c:pt>
                <c:pt idx="325">
                  <c:v>0.107969151670951</c:v>
                </c:pt>
                <c:pt idx="326">
                  <c:v>0.10798816568047299</c:v>
                </c:pt>
                <c:pt idx="327">
                  <c:v>0.108247422680412</c:v>
                </c:pt>
                <c:pt idx="328">
                  <c:v>0.108383233532934</c:v>
                </c:pt>
                <c:pt idx="329">
                  <c:v>0.10863005431502699</c:v>
                </c:pt>
                <c:pt idx="330">
                  <c:v>0.108695652173913</c:v>
                </c:pt>
                <c:pt idx="331">
                  <c:v>0.108974358974359</c:v>
                </c:pt>
                <c:pt idx="332">
                  <c:v>0.109243697478992</c:v>
                </c:pt>
                <c:pt idx="333">
                  <c:v>0.109375</c:v>
                </c:pt>
                <c:pt idx="334">
                  <c:v>0.109375</c:v>
                </c:pt>
                <c:pt idx="335">
                  <c:v>0.10958904109589</c:v>
                </c:pt>
                <c:pt idx="336">
                  <c:v>0.109603340292276</c:v>
                </c:pt>
                <c:pt idx="337">
                  <c:v>0.10989010989011</c:v>
                </c:pt>
                <c:pt idx="338">
                  <c:v>0.110169491525424</c:v>
                </c:pt>
                <c:pt idx="339">
                  <c:v>0.110497237569061</c:v>
                </c:pt>
                <c:pt idx="340">
                  <c:v>0.11079136690647499</c:v>
                </c:pt>
                <c:pt idx="341">
                  <c:v>0.11111111111111099</c:v>
                </c:pt>
                <c:pt idx="342">
                  <c:v>0.11111111111111099</c:v>
                </c:pt>
                <c:pt idx="343">
                  <c:v>0.11111111111111099</c:v>
                </c:pt>
                <c:pt idx="344">
                  <c:v>0.11111111111111099</c:v>
                </c:pt>
                <c:pt idx="345">
                  <c:v>0.11111111111111099</c:v>
                </c:pt>
                <c:pt idx="346">
                  <c:v>0.111295681063123</c:v>
                </c:pt>
                <c:pt idx="347">
                  <c:v>0.111498257839721</c:v>
                </c:pt>
                <c:pt idx="348">
                  <c:v>0.111668757841907</c:v>
                </c:pt>
                <c:pt idx="349">
                  <c:v>0.111880046136101</c:v>
                </c:pt>
                <c:pt idx="350">
                  <c:v>0.111975116640746</c:v>
                </c:pt>
                <c:pt idx="351">
                  <c:v>0.11206896551724101</c:v>
                </c:pt>
                <c:pt idx="352">
                  <c:v>0.112171837708831</c:v>
                </c:pt>
                <c:pt idx="353">
                  <c:v>0.112254443405051</c:v>
                </c:pt>
                <c:pt idx="354">
                  <c:v>0.112307692307692</c:v>
                </c:pt>
                <c:pt idx="355">
                  <c:v>0.11271676300578</c:v>
                </c:pt>
                <c:pt idx="356">
                  <c:v>0.112781954887218</c:v>
                </c:pt>
                <c:pt idx="357">
                  <c:v>0.112852664576803</c:v>
                </c:pt>
                <c:pt idx="358">
                  <c:v>0.11304347826087</c:v>
                </c:pt>
                <c:pt idx="359">
                  <c:v>0.11304347826087</c:v>
                </c:pt>
                <c:pt idx="360">
                  <c:v>0.113207547169811</c:v>
                </c:pt>
                <c:pt idx="361">
                  <c:v>0.113207547169811</c:v>
                </c:pt>
                <c:pt idx="362">
                  <c:v>0.11360000000000001</c:v>
                </c:pt>
                <c:pt idx="363">
                  <c:v>0.113785557986871</c:v>
                </c:pt>
                <c:pt idx="364">
                  <c:v>0.11386593204775</c:v>
                </c:pt>
                <c:pt idx="365">
                  <c:v>0.11415525114155201</c:v>
                </c:pt>
                <c:pt idx="366">
                  <c:v>0.114245416078984</c:v>
                </c:pt>
                <c:pt idx="367">
                  <c:v>0.114285714285714</c:v>
                </c:pt>
                <c:pt idx="368">
                  <c:v>0.114285714285714</c:v>
                </c:pt>
                <c:pt idx="369">
                  <c:v>0.114341085271318</c:v>
                </c:pt>
                <c:pt idx="370">
                  <c:v>0.114345114345114</c:v>
                </c:pt>
                <c:pt idx="371">
                  <c:v>0.114982578397213</c:v>
                </c:pt>
                <c:pt idx="372">
                  <c:v>0.115384615384615</c:v>
                </c:pt>
                <c:pt idx="373">
                  <c:v>0.11555555555555599</c:v>
                </c:pt>
                <c:pt idx="374">
                  <c:v>0.11562500000000001</c:v>
                </c:pt>
                <c:pt idx="375">
                  <c:v>0.115646258503401</c:v>
                </c:pt>
                <c:pt idx="376">
                  <c:v>0.115658362989324</c:v>
                </c:pt>
                <c:pt idx="377">
                  <c:v>0.11567476948868401</c:v>
                </c:pt>
                <c:pt idx="378">
                  <c:v>0.115740740740741</c:v>
                </c:pt>
                <c:pt idx="379">
                  <c:v>0.116022099447514</c:v>
                </c:pt>
                <c:pt idx="380">
                  <c:v>0.11612903225806499</c:v>
                </c:pt>
                <c:pt idx="381">
                  <c:v>0.11623246492986</c:v>
                </c:pt>
                <c:pt idx="382">
                  <c:v>0.116379310344828</c:v>
                </c:pt>
                <c:pt idx="383">
                  <c:v>0.116504854368932</c:v>
                </c:pt>
                <c:pt idx="384">
                  <c:v>0.116788321167883</c:v>
                </c:pt>
                <c:pt idx="385">
                  <c:v>0.116809116809117</c:v>
                </c:pt>
                <c:pt idx="386">
                  <c:v>0.11683848797250899</c:v>
                </c:pt>
                <c:pt idx="387">
                  <c:v>0.117021276595745</c:v>
                </c:pt>
                <c:pt idx="388">
                  <c:v>0.117056856187291</c:v>
                </c:pt>
                <c:pt idx="389">
                  <c:v>0.11706102117061</c:v>
                </c:pt>
                <c:pt idx="390">
                  <c:v>0.117117117117117</c:v>
                </c:pt>
                <c:pt idx="391">
                  <c:v>0.11764705882352899</c:v>
                </c:pt>
                <c:pt idx="392">
                  <c:v>0.11785714285714299</c:v>
                </c:pt>
                <c:pt idx="393">
                  <c:v>0.118012422360248</c:v>
                </c:pt>
                <c:pt idx="394">
                  <c:v>0.118118118118118</c:v>
                </c:pt>
                <c:pt idx="395">
                  <c:v>0.118131868131868</c:v>
                </c:pt>
                <c:pt idx="396">
                  <c:v>0.118314424635332</c:v>
                </c:pt>
                <c:pt idx="397">
                  <c:v>0.11847672778561399</c:v>
                </c:pt>
                <c:pt idx="398">
                  <c:v>0.118796992481203</c:v>
                </c:pt>
                <c:pt idx="399">
                  <c:v>0.119047619047619</c:v>
                </c:pt>
                <c:pt idx="400">
                  <c:v>0.119284294234592</c:v>
                </c:pt>
                <c:pt idx="401">
                  <c:v>0.119357306809487</c:v>
                </c:pt>
                <c:pt idx="402">
                  <c:v>0.119565217391304</c:v>
                </c:pt>
                <c:pt idx="403">
                  <c:v>0.11968085106383</c:v>
                </c:pt>
                <c:pt idx="404">
                  <c:v>0.11969111969111999</c:v>
                </c:pt>
                <c:pt idx="405">
                  <c:v>0.119760479041916</c:v>
                </c:pt>
                <c:pt idx="406">
                  <c:v>0.12</c:v>
                </c:pt>
                <c:pt idx="407">
                  <c:v>0.12</c:v>
                </c:pt>
                <c:pt idx="408">
                  <c:v>0.120089786756453</c:v>
                </c:pt>
                <c:pt idx="409">
                  <c:v>0.120141342756184</c:v>
                </c:pt>
                <c:pt idx="410">
                  <c:v>0.12021857923497301</c:v>
                </c:pt>
                <c:pt idx="411">
                  <c:v>0.12028985507246399</c:v>
                </c:pt>
                <c:pt idx="412">
                  <c:v>0.120481927710843</c:v>
                </c:pt>
                <c:pt idx="413">
                  <c:v>0.120603015075377</c:v>
                </c:pt>
                <c:pt idx="414">
                  <c:v>0.120813397129187</c:v>
                </c:pt>
                <c:pt idx="415">
                  <c:v>0.121052631578947</c:v>
                </c:pt>
                <c:pt idx="416">
                  <c:v>0.12121212121212099</c:v>
                </c:pt>
                <c:pt idx="417">
                  <c:v>0.12121212121212099</c:v>
                </c:pt>
                <c:pt idx="418">
                  <c:v>0.121301775147929</c:v>
                </c:pt>
                <c:pt idx="419">
                  <c:v>0.121379310344828</c:v>
                </c:pt>
                <c:pt idx="420">
                  <c:v>0.121405750798722</c:v>
                </c:pt>
                <c:pt idx="421">
                  <c:v>0.121739130434783</c:v>
                </c:pt>
                <c:pt idx="422">
                  <c:v>0.121758737316798</c:v>
                </c:pt>
                <c:pt idx="423">
                  <c:v>0.121900826446281</c:v>
                </c:pt>
                <c:pt idx="424">
                  <c:v>0.122055674518201</c:v>
                </c:pt>
                <c:pt idx="425">
                  <c:v>0.122340425531915</c:v>
                </c:pt>
                <c:pt idx="426">
                  <c:v>0.122448979591837</c:v>
                </c:pt>
                <c:pt idx="427">
                  <c:v>0.122448979591837</c:v>
                </c:pt>
                <c:pt idx="428">
                  <c:v>0.122448979591837</c:v>
                </c:pt>
                <c:pt idx="429">
                  <c:v>0.12276214833759599</c:v>
                </c:pt>
                <c:pt idx="430">
                  <c:v>0.122775800711744</c:v>
                </c:pt>
                <c:pt idx="431">
                  <c:v>0.123015873015873</c:v>
                </c:pt>
                <c:pt idx="432">
                  <c:v>0.123050259965338</c:v>
                </c:pt>
                <c:pt idx="433">
                  <c:v>0.12317327766179501</c:v>
                </c:pt>
                <c:pt idx="434">
                  <c:v>0.1235</c:v>
                </c:pt>
                <c:pt idx="435">
                  <c:v>0.123579545454545</c:v>
                </c:pt>
                <c:pt idx="436">
                  <c:v>0.12380952380952399</c:v>
                </c:pt>
                <c:pt idx="437">
                  <c:v>0.12380952380952399</c:v>
                </c:pt>
                <c:pt idx="438">
                  <c:v>0.12390670553935899</c:v>
                </c:pt>
                <c:pt idx="439">
                  <c:v>0.124031007751938</c:v>
                </c:pt>
                <c:pt idx="440">
                  <c:v>0.124161073825503</c:v>
                </c:pt>
                <c:pt idx="441">
                  <c:v>0.124761904761905</c:v>
                </c:pt>
                <c:pt idx="442">
                  <c:v>0.12484548825710801</c:v>
                </c:pt>
                <c:pt idx="443">
                  <c:v>0.125</c:v>
                </c:pt>
                <c:pt idx="444">
                  <c:v>0.125</c:v>
                </c:pt>
                <c:pt idx="445">
                  <c:v>0.125</c:v>
                </c:pt>
                <c:pt idx="446">
                  <c:v>0.125</c:v>
                </c:pt>
                <c:pt idx="447">
                  <c:v>0.125</c:v>
                </c:pt>
                <c:pt idx="448">
                  <c:v>0.125</c:v>
                </c:pt>
                <c:pt idx="449">
                  <c:v>0.125</c:v>
                </c:pt>
                <c:pt idx="450">
                  <c:v>0.125</c:v>
                </c:pt>
                <c:pt idx="451">
                  <c:v>0.12519319938176199</c:v>
                </c:pt>
                <c:pt idx="452">
                  <c:v>0.12542759407069601</c:v>
                </c:pt>
                <c:pt idx="453">
                  <c:v>0.12580645161290299</c:v>
                </c:pt>
                <c:pt idx="454">
                  <c:v>0.12589928057554001</c:v>
                </c:pt>
                <c:pt idx="455">
                  <c:v>0.125925925925926</c:v>
                </c:pt>
                <c:pt idx="456">
                  <c:v>0.12594458438287201</c:v>
                </c:pt>
                <c:pt idx="457">
                  <c:v>0.126126126126126</c:v>
                </c:pt>
                <c:pt idx="458">
                  <c:v>0.12616822429906499</c:v>
                </c:pt>
                <c:pt idx="459">
                  <c:v>0.12653061224489801</c:v>
                </c:pt>
                <c:pt idx="460">
                  <c:v>0.12676056338028199</c:v>
                </c:pt>
                <c:pt idx="461">
                  <c:v>0.12681912681912699</c:v>
                </c:pt>
                <c:pt idx="462">
                  <c:v>0.12707182320442001</c:v>
                </c:pt>
                <c:pt idx="463">
                  <c:v>0.12711864406779699</c:v>
                </c:pt>
                <c:pt idx="464">
                  <c:v>0.127197518097208</c:v>
                </c:pt>
                <c:pt idx="465">
                  <c:v>0.12740141557128401</c:v>
                </c:pt>
                <c:pt idx="466">
                  <c:v>0.12759643916913899</c:v>
                </c:pt>
                <c:pt idx="467">
                  <c:v>0.12765957446808501</c:v>
                </c:pt>
                <c:pt idx="468">
                  <c:v>0.127731092436975</c:v>
                </c:pt>
                <c:pt idx="469">
                  <c:v>0.12780656303972401</c:v>
                </c:pt>
                <c:pt idx="470">
                  <c:v>0.12781954887218</c:v>
                </c:pt>
                <c:pt idx="471">
                  <c:v>0.12784090909090901</c:v>
                </c:pt>
                <c:pt idx="472">
                  <c:v>0.127906976744186</c:v>
                </c:pt>
                <c:pt idx="473">
                  <c:v>0.12791828793774301</c:v>
                </c:pt>
                <c:pt idx="474">
                  <c:v>0.12798264642082399</c:v>
                </c:pt>
                <c:pt idx="475">
                  <c:v>0.12826086956521701</c:v>
                </c:pt>
                <c:pt idx="476">
                  <c:v>0.12835249042145599</c:v>
                </c:pt>
                <c:pt idx="477">
                  <c:v>0.12842465753424701</c:v>
                </c:pt>
                <c:pt idx="478">
                  <c:v>0.128837443381983</c:v>
                </c:pt>
                <c:pt idx="479">
                  <c:v>0.12886597938144301</c:v>
                </c:pt>
                <c:pt idx="480">
                  <c:v>0.12890625</c:v>
                </c:pt>
                <c:pt idx="481">
                  <c:v>0.12891344383057099</c:v>
                </c:pt>
                <c:pt idx="482">
                  <c:v>0.129172714078374</c:v>
                </c:pt>
                <c:pt idx="483">
                  <c:v>0.12944162436548201</c:v>
                </c:pt>
                <c:pt idx="484">
                  <c:v>0.12987012987013</c:v>
                </c:pt>
                <c:pt idx="485">
                  <c:v>0.13</c:v>
                </c:pt>
                <c:pt idx="486">
                  <c:v>0.13018867924528299</c:v>
                </c:pt>
                <c:pt idx="487">
                  <c:v>0.13022508038585201</c:v>
                </c:pt>
                <c:pt idx="488">
                  <c:v>0.130346232179226</c:v>
                </c:pt>
                <c:pt idx="489">
                  <c:v>0.13043478260869601</c:v>
                </c:pt>
                <c:pt idx="490">
                  <c:v>0.13043478260869601</c:v>
                </c:pt>
                <c:pt idx="491">
                  <c:v>0.13043478260869601</c:v>
                </c:pt>
                <c:pt idx="492">
                  <c:v>0.130794701986755</c:v>
                </c:pt>
                <c:pt idx="493">
                  <c:v>0.13080168776371301</c:v>
                </c:pt>
                <c:pt idx="494">
                  <c:v>0.130808950086059</c:v>
                </c:pt>
                <c:pt idx="495">
                  <c:v>0.13101604278074899</c:v>
                </c:pt>
                <c:pt idx="496">
                  <c:v>0.13125845737483099</c:v>
                </c:pt>
                <c:pt idx="497">
                  <c:v>0.131268436578171</c:v>
                </c:pt>
                <c:pt idx="498">
                  <c:v>0.13131313131313099</c:v>
                </c:pt>
                <c:pt idx="499">
                  <c:v>0.13138686131386901</c:v>
                </c:pt>
                <c:pt idx="500">
                  <c:v>0.13157894736842099</c:v>
                </c:pt>
                <c:pt idx="501">
                  <c:v>0.13171449595290699</c:v>
                </c:pt>
                <c:pt idx="502">
                  <c:v>0.13173652694610799</c:v>
                </c:pt>
                <c:pt idx="503">
                  <c:v>0.13186813186813201</c:v>
                </c:pt>
                <c:pt idx="504">
                  <c:v>0.132106339468303</c:v>
                </c:pt>
                <c:pt idx="505">
                  <c:v>0.13215859030836999</c:v>
                </c:pt>
                <c:pt idx="506">
                  <c:v>0.13248766737138801</c:v>
                </c:pt>
                <c:pt idx="507">
                  <c:v>0.13250000000000001</c:v>
                </c:pt>
                <c:pt idx="508">
                  <c:v>0.13265306122449</c:v>
                </c:pt>
                <c:pt idx="509">
                  <c:v>0.13270142180094799</c:v>
                </c:pt>
                <c:pt idx="510">
                  <c:v>0.13309352517985601</c:v>
                </c:pt>
                <c:pt idx="511">
                  <c:v>0.13325867861142199</c:v>
                </c:pt>
                <c:pt idx="512">
                  <c:v>0.133333333333333</c:v>
                </c:pt>
                <c:pt idx="513">
                  <c:v>0.133402275077559</c:v>
                </c:pt>
                <c:pt idx="514">
                  <c:v>0.133445945945946</c:v>
                </c:pt>
                <c:pt idx="515">
                  <c:v>0.13349814585908501</c:v>
                </c:pt>
                <c:pt idx="516">
                  <c:v>0.13359528487229899</c:v>
                </c:pt>
                <c:pt idx="517">
                  <c:v>0.13382899628252801</c:v>
                </c:pt>
                <c:pt idx="518">
                  <c:v>0.133874239350913</c:v>
                </c:pt>
                <c:pt idx="519">
                  <c:v>0.13407821229050301</c:v>
                </c:pt>
                <c:pt idx="520">
                  <c:v>0.134146341463415</c:v>
                </c:pt>
                <c:pt idx="521">
                  <c:v>0.13417721518987299</c:v>
                </c:pt>
                <c:pt idx="522">
                  <c:v>0.13448275862069001</c:v>
                </c:pt>
                <c:pt idx="523">
                  <c:v>0.13455882352941201</c:v>
                </c:pt>
                <c:pt idx="524">
                  <c:v>0.134615384615385</c:v>
                </c:pt>
                <c:pt idx="525">
                  <c:v>0.13471502590673601</c:v>
                </c:pt>
                <c:pt idx="526">
                  <c:v>0.13471971066907801</c:v>
                </c:pt>
                <c:pt idx="527">
                  <c:v>0.134751773049645</c:v>
                </c:pt>
                <c:pt idx="528">
                  <c:v>0.134863701578192</c:v>
                </c:pt>
                <c:pt idx="529">
                  <c:v>0.13500000000000001</c:v>
                </c:pt>
                <c:pt idx="530">
                  <c:v>0.135135135135135</c:v>
                </c:pt>
                <c:pt idx="531">
                  <c:v>0.135306553911205</c:v>
                </c:pt>
                <c:pt idx="532">
                  <c:v>0.13544018058690699</c:v>
                </c:pt>
                <c:pt idx="533">
                  <c:v>0.13559322033898299</c:v>
                </c:pt>
                <c:pt idx="534">
                  <c:v>0.13582677165354301</c:v>
                </c:pt>
                <c:pt idx="535">
                  <c:v>0.13589503280224899</c:v>
                </c:pt>
                <c:pt idx="536">
                  <c:v>0.13592233009708701</c:v>
                </c:pt>
                <c:pt idx="537">
                  <c:v>0.136069114470842</c:v>
                </c:pt>
                <c:pt idx="538">
                  <c:v>0.13609467455621299</c:v>
                </c:pt>
                <c:pt idx="539">
                  <c:v>0.13736263736263701</c:v>
                </c:pt>
                <c:pt idx="540">
                  <c:v>0.13762811127379199</c:v>
                </c:pt>
                <c:pt idx="541">
                  <c:v>0.13776435045317201</c:v>
                </c:pt>
                <c:pt idx="542">
                  <c:v>0.137791286727457</c:v>
                </c:pt>
                <c:pt idx="543">
                  <c:v>0.13779527559055099</c:v>
                </c:pt>
                <c:pt idx="544">
                  <c:v>0.13793103448275901</c:v>
                </c:pt>
                <c:pt idx="545">
                  <c:v>0.138107416879795</c:v>
                </c:pt>
                <c:pt idx="546">
                  <c:v>0.13813813813813799</c:v>
                </c:pt>
                <c:pt idx="547">
                  <c:v>0.13824884792626699</c:v>
                </c:pt>
                <c:pt idx="548">
                  <c:v>0.13835376532399299</c:v>
                </c:pt>
                <c:pt idx="549">
                  <c:v>0.138461538461538</c:v>
                </c:pt>
                <c:pt idx="550">
                  <c:v>0.138461538461538</c:v>
                </c:pt>
                <c:pt idx="551">
                  <c:v>0.138476755687438</c:v>
                </c:pt>
                <c:pt idx="552">
                  <c:v>0.13848631239935599</c:v>
                </c:pt>
                <c:pt idx="553">
                  <c:v>0.138568129330254</c:v>
                </c:pt>
                <c:pt idx="554">
                  <c:v>0.13888888888888901</c:v>
                </c:pt>
                <c:pt idx="555">
                  <c:v>0.13888888888888901</c:v>
                </c:pt>
                <c:pt idx="556">
                  <c:v>0.13888888888888901</c:v>
                </c:pt>
                <c:pt idx="557">
                  <c:v>0.13888888888888901</c:v>
                </c:pt>
                <c:pt idx="558">
                  <c:v>0.13888888888888901</c:v>
                </c:pt>
                <c:pt idx="559">
                  <c:v>0.13888888888888901</c:v>
                </c:pt>
                <c:pt idx="560">
                  <c:v>0.13905622489959801</c:v>
                </c:pt>
                <c:pt idx="561">
                  <c:v>0.13919052319842101</c:v>
                </c:pt>
                <c:pt idx="562">
                  <c:v>0.139253809774041</c:v>
                </c:pt>
                <c:pt idx="563">
                  <c:v>0.139372822299652</c:v>
                </c:pt>
                <c:pt idx="564">
                  <c:v>0.13939393939393899</c:v>
                </c:pt>
                <c:pt idx="565">
                  <c:v>0.13941480206540399</c:v>
                </c:pt>
                <c:pt idx="566">
                  <c:v>0.13942307692307701</c:v>
                </c:pt>
                <c:pt idx="567">
                  <c:v>0.13953488372093001</c:v>
                </c:pt>
                <c:pt idx="568">
                  <c:v>0.13953488372093001</c:v>
                </c:pt>
                <c:pt idx="569">
                  <c:v>0.13953488372093001</c:v>
                </c:pt>
                <c:pt idx="570">
                  <c:v>0.13953488372093001</c:v>
                </c:pt>
                <c:pt idx="571">
                  <c:v>0.13953488372093001</c:v>
                </c:pt>
                <c:pt idx="572">
                  <c:v>0.13966480446927401</c:v>
                </c:pt>
                <c:pt idx="573">
                  <c:v>0.13979416809605499</c:v>
                </c:pt>
                <c:pt idx="574">
                  <c:v>0.13982300884955801</c:v>
                </c:pt>
                <c:pt idx="575">
                  <c:v>0.13988657844990501</c:v>
                </c:pt>
                <c:pt idx="576">
                  <c:v>0.14008518693800301</c:v>
                </c:pt>
                <c:pt idx="577">
                  <c:v>0.14028776978417301</c:v>
                </c:pt>
                <c:pt idx="578">
                  <c:v>0.140625</c:v>
                </c:pt>
                <c:pt idx="579">
                  <c:v>0.140740740740741</c:v>
                </c:pt>
                <c:pt idx="580">
                  <c:v>0.14089347079037801</c:v>
                </c:pt>
                <c:pt idx="581">
                  <c:v>0.14093959731543601</c:v>
                </c:pt>
                <c:pt idx="582">
                  <c:v>0.140952380952381</c:v>
                </c:pt>
                <c:pt idx="583">
                  <c:v>0.14095744680851099</c:v>
                </c:pt>
                <c:pt idx="584">
                  <c:v>0.14105263157894701</c:v>
                </c:pt>
                <c:pt idx="585">
                  <c:v>0.14109985528220001</c:v>
                </c:pt>
                <c:pt idx="586">
                  <c:v>0.14117647058823499</c:v>
                </c:pt>
                <c:pt idx="587">
                  <c:v>0.14142194744976799</c:v>
                </c:pt>
                <c:pt idx="588">
                  <c:v>0.14149821640903701</c:v>
                </c:pt>
                <c:pt idx="589">
                  <c:v>0.141552511415525</c:v>
                </c:pt>
                <c:pt idx="590">
                  <c:v>0.14162561576354701</c:v>
                </c:pt>
                <c:pt idx="591">
                  <c:v>0.14163090128755401</c:v>
                </c:pt>
                <c:pt idx="592">
                  <c:v>0.14173228346456701</c:v>
                </c:pt>
                <c:pt idx="593">
                  <c:v>0.141809290953545</c:v>
                </c:pt>
                <c:pt idx="594">
                  <c:v>0.141809290953545</c:v>
                </c:pt>
                <c:pt idx="595">
                  <c:v>0.14191419141914199</c:v>
                </c:pt>
                <c:pt idx="596">
                  <c:v>0.14210526315789501</c:v>
                </c:pt>
                <c:pt idx="597">
                  <c:v>0.14218009478672999</c:v>
                </c:pt>
                <c:pt idx="598">
                  <c:v>0.142292490118577</c:v>
                </c:pt>
                <c:pt idx="599">
                  <c:v>0.14230019493177401</c:v>
                </c:pt>
                <c:pt idx="600">
                  <c:v>0.14244604316546799</c:v>
                </c:pt>
                <c:pt idx="601">
                  <c:v>0.142493638676845</c:v>
                </c:pt>
                <c:pt idx="602">
                  <c:v>0.14255319148936199</c:v>
                </c:pt>
                <c:pt idx="603">
                  <c:v>0.142604596346494</c:v>
                </c:pt>
                <c:pt idx="604">
                  <c:v>0.14263803680981599</c:v>
                </c:pt>
                <c:pt idx="605">
                  <c:v>0.14285714285714299</c:v>
                </c:pt>
                <c:pt idx="606">
                  <c:v>0.14285714285714299</c:v>
                </c:pt>
                <c:pt idx="607">
                  <c:v>0.14312617702448199</c:v>
                </c:pt>
                <c:pt idx="608">
                  <c:v>0.14318181818181799</c:v>
                </c:pt>
                <c:pt idx="609">
                  <c:v>0.14319526627218901</c:v>
                </c:pt>
                <c:pt idx="610">
                  <c:v>0.143250688705234</c:v>
                </c:pt>
                <c:pt idx="611">
                  <c:v>0.14325842696629201</c:v>
                </c:pt>
                <c:pt idx="612">
                  <c:v>0.14362657091561901</c:v>
                </c:pt>
                <c:pt idx="613">
                  <c:v>0.14372163388804801</c:v>
                </c:pt>
                <c:pt idx="614">
                  <c:v>0.143814747105424</c:v>
                </c:pt>
                <c:pt idx="615">
                  <c:v>0.14385964912280699</c:v>
                </c:pt>
                <c:pt idx="616">
                  <c:v>0.14393939393939401</c:v>
                </c:pt>
                <c:pt idx="617">
                  <c:v>0.144082332761578</c:v>
                </c:pt>
                <c:pt idx="618">
                  <c:v>0.144508670520231</c:v>
                </c:pt>
                <c:pt idx="619">
                  <c:v>0.144607843137255</c:v>
                </c:pt>
                <c:pt idx="620">
                  <c:v>0.144736842105263</c:v>
                </c:pt>
                <c:pt idx="621">
                  <c:v>0.144736842105263</c:v>
                </c:pt>
                <c:pt idx="622">
                  <c:v>0.144796380090498</c:v>
                </c:pt>
                <c:pt idx="623">
                  <c:v>0.14482758620689701</c:v>
                </c:pt>
                <c:pt idx="624">
                  <c:v>0.14499252615844499</c:v>
                </c:pt>
                <c:pt idx="625">
                  <c:v>0.14516129032258099</c:v>
                </c:pt>
                <c:pt idx="626">
                  <c:v>0.14516129032258099</c:v>
                </c:pt>
                <c:pt idx="627">
                  <c:v>0.14516129032258099</c:v>
                </c:pt>
                <c:pt idx="628">
                  <c:v>0.14519774011299399</c:v>
                </c:pt>
                <c:pt idx="629">
                  <c:v>0.14525139664804501</c:v>
                </c:pt>
                <c:pt idx="630">
                  <c:v>0.14532019704433499</c:v>
                </c:pt>
                <c:pt idx="631">
                  <c:v>0.145390070921986</c:v>
                </c:pt>
                <c:pt idx="632">
                  <c:v>0.14542483660130701</c:v>
                </c:pt>
                <c:pt idx="633">
                  <c:v>0.145454545454545</c:v>
                </c:pt>
                <c:pt idx="634">
                  <c:v>0.14560352978253999</c:v>
                </c:pt>
                <c:pt idx="635">
                  <c:v>0.14580031695721099</c:v>
                </c:pt>
                <c:pt idx="636">
                  <c:v>0.14583333333333301</c:v>
                </c:pt>
                <c:pt idx="637">
                  <c:v>0.14583333333333301</c:v>
                </c:pt>
                <c:pt idx="638">
                  <c:v>0.14602587800369701</c:v>
                </c:pt>
                <c:pt idx="639">
                  <c:v>0.14606741573033699</c:v>
                </c:pt>
                <c:pt idx="640">
                  <c:v>0.146082337317397</c:v>
                </c:pt>
                <c:pt idx="641">
                  <c:v>0.146164021164021</c:v>
                </c:pt>
                <c:pt idx="642">
                  <c:v>0.14622641509434001</c:v>
                </c:pt>
                <c:pt idx="643">
                  <c:v>0.146341463414634</c:v>
                </c:pt>
                <c:pt idx="644">
                  <c:v>0.146341463414634</c:v>
                </c:pt>
                <c:pt idx="645">
                  <c:v>0.14640522875817</c:v>
                </c:pt>
                <c:pt idx="646">
                  <c:v>0.146634615384615</c:v>
                </c:pt>
                <c:pt idx="647">
                  <c:v>0.14673913043478301</c:v>
                </c:pt>
                <c:pt idx="648">
                  <c:v>0.146926536731634</c:v>
                </c:pt>
                <c:pt idx="649">
                  <c:v>0.146942017474186</c:v>
                </c:pt>
                <c:pt idx="650">
                  <c:v>0.146969696969697</c:v>
                </c:pt>
                <c:pt idx="651">
                  <c:v>0.14701130856219699</c:v>
                </c:pt>
                <c:pt idx="652">
                  <c:v>0.14705882352941199</c:v>
                </c:pt>
                <c:pt idx="653">
                  <c:v>0.14705882352941199</c:v>
                </c:pt>
                <c:pt idx="654">
                  <c:v>0.14705882352941199</c:v>
                </c:pt>
                <c:pt idx="655">
                  <c:v>0.14705882352941199</c:v>
                </c:pt>
                <c:pt idx="656">
                  <c:v>0.14736842105263201</c:v>
                </c:pt>
                <c:pt idx="657">
                  <c:v>0.14736842105263201</c:v>
                </c:pt>
                <c:pt idx="658">
                  <c:v>0.147410358565737</c:v>
                </c:pt>
                <c:pt idx="659">
                  <c:v>0.147435897435897</c:v>
                </c:pt>
                <c:pt idx="660">
                  <c:v>0.14772727272727301</c:v>
                </c:pt>
                <c:pt idx="661">
                  <c:v>0.14772727272727301</c:v>
                </c:pt>
                <c:pt idx="662">
                  <c:v>0.14772727272727301</c:v>
                </c:pt>
                <c:pt idx="663">
                  <c:v>0.147826086956522</c:v>
                </c:pt>
                <c:pt idx="664">
                  <c:v>0.14786967418546401</c:v>
                </c:pt>
                <c:pt idx="665">
                  <c:v>0.147964796479648</c:v>
                </c:pt>
                <c:pt idx="666">
                  <c:v>0.14798206278026901</c:v>
                </c:pt>
                <c:pt idx="667">
                  <c:v>0.14803625377643501</c:v>
                </c:pt>
                <c:pt idx="668">
                  <c:v>0.14803625377643501</c:v>
                </c:pt>
                <c:pt idx="669">
                  <c:v>0.148148148148148</c:v>
                </c:pt>
                <c:pt idx="670">
                  <c:v>0.148148148148148</c:v>
                </c:pt>
                <c:pt idx="671">
                  <c:v>0.148199445983379</c:v>
                </c:pt>
                <c:pt idx="672">
                  <c:v>0.148392415498763</c:v>
                </c:pt>
                <c:pt idx="673">
                  <c:v>0.148562300319489</c:v>
                </c:pt>
                <c:pt idx="674">
                  <c:v>0.14861460957178799</c:v>
                </c:pt>
                <c:pt idx="675">
                  <c:v>0.14871794871794899</c:v>
                </c:pt>
                <c:pt idx="676">
                  <c:v>0.148727984344423</c:v>
                </c:pt>
                <c:pt idx="677">
                  <c:v>0.14876033057851201</c:v>
                </c:pt>
                <c:pt idx="678">
                  <c:v>0.148864592094197</c:v>
                </c:pt>
                <c:pt idx="679">
                  <c:v>0.14893617021276601</c:v>
                </c:pt>
                <c:pt idx="680">
                  <c:v>0.14893617021276601</c:v>
                </c:pt>
                <c:pt idx="681">
                  <c:v>0.14898177920686001</c:v>
                </c:pt>
                <c:pt idx="682">
                  <c:v>0.14905660377358501</c:v>
                </c:pt>
                <c:pt idx="683">
                  <c:v>0.14911903738719401</c:v>
                </c:pt>
                <c:pt idx="684">
                  <c:v>0.14920634920634901</c:v>
                </c:pt>
                <c:pt idx="685">
                  <c:v>0.14935064935064901</c:v>
                </c:pt>
                <c:pt idx="686">
                  <c:v>0.14953271028037399</c:v>
                </c:pt>
                <c:pt idx="687">
                  <c:v>0.14960629921259799</c:v>
                </c:pt>
                <c:pt idx="688">
                  <c:v>0.14965986394557801</c:v>
                </c:pt>
                <c:pt idx="689">
                  <c:v>0.14976133651551299</c:v>
                </c:pt>
                <c:pt idx="690">
                  <c:v>0.149922720247295</c:v>
                </c:pt>
                <c:pt idx="691">
                  <c:v>0.15</c:v>
                </c:pt>
                <c:pt idx="692">
                  <c:v>0.15</c:v>
                </c:pt>
                <c:pt idx="693">
                  <c:v>0.15</c:v>
                </c:pt>
                <c:pt idx="694">
                  <c:v>0.15</c:v>
                </c:pt>
                <c:pt idx="695">
                  <c:v>0.150068212824011</c:v>
                </c:pt>
                <c:pt idx="696">
                  <c:v>0.15006947660954101</c:v>
                </c:pt>
                <c:pt idx="697">
                  <c:v>0.15009041591320099</c:v>
                </c:pt>
                <c:pt idx="698">
                  <c:v>0.150105708245243</c:v>
                </c:pt>
                <c:pt idx="699">
                  <c:v>0.15045871559633001</c:v>
                </c:pt>
                <c:pt idx="700">
                  <c:v>0.15053763440860199</c:v>
                </c:pt>
                <c:pt idx="701">
                  <c:v>0.150684931506849</c:v>
                </c:pt>
                <c:pt idx="702">
                  <c:v>0.150746268656716</c:v>
                </c:pt>
                <c:pt idx="703">
                  <c:v>0.15094339622641501</c:v>
                </c:pt>
                <c:pt idx="704">
                  <c:v>0.1509705248023</c:v>
                </c:pt>
                <c:pt idx="705">
                  <c:v>0.15112540192925999</c:v>
                </c:pt>
                <c:pt idx="706">
                  <c:v>0.15116279069767399</c:v>
                </c:pt>
                <c:pt idx="707">
                  <c:v>0.15116279069767399</c:v>
                </c:pt>
                <c:pt idx="708">
                  <c:v>0.151260504201681</c:v>
                </c:pt>
                <c:pt idx="709">
                  <c:v>0.15127388535031799</c:v>
                </c:pt>
                <c:pt idx="710">
                  <c:v>0.15131578947368399</c:v>
                </c:pt>
                <c:pt idx="711">
                  <c:v>0.151394422310757</c:v>
                </c:pt>
                <c:pt idx="712">
                  <c:v>0.151428571428571</c:v>
                </c:pt>
                <c:pt idx="713">
                  <c:v>0.151658767772512</c:v>
                </c:pt>
                <c:pt idx="714">
                  <c:v>0.151685393258427</c:v>
                </c:pt>
                <c:pt idx="715">
                  <c:v>0.15172413793103401</c:v>
                </c:pt>
                <c:pt idx="716">
                  <c:v>0.15172413793103401</c:v>
                </c:pt>
                <c:pt idx="717">
                  <c:v>0.15204678362573101</c:v>
                </c:pt>
                <c:pt idx="718">
                  <c:v>0.15217391304347799</c:v>
                </c:pt>
                <c:pt idx="719">
                  <c:v>0.15217391304347799</c:v>
                </c:pt>
                <c:pt idx="720">
                  <c:v>0.15231400117164601</c:v>
                </c:pt>
                <c:pt idx="721">
                  <c:v>0.15231788079470199</c:v>
                </c:pt>
                <c:pt idx="722">
                  <c:v>0.15238095238095201</c:v>
                </c:pt>
                <c:pt idx="723">
                  <c:v>0.152592592592593</c:v>
                </c:pt>
                <c:pt idx="724">
                  <c:v>0.15263157894736801</c:v>
                </c:pt>
                <c:pt idx="725">
                  <c:v>0.15267175572519101</c:v>
                </c:pt>
                <c:pt idx="726">
                  <c:v>0.15268817204301099</c:v>
                </c:pt>
                <c:pt idx="727">
                  <c:v>0.152709359605911</c:v>
                </c:pt>
                <c:pt idx="728">
                  <c:v>0.15272727272727299</c:v>
                </c:pt>
                <c:pt idx="729">
                  <c:v>0.15282012195121999</c:v>
                </c:pt>
                <c:pt idx="730">
                  <c:v>0.152902698282911</c:v>
                </c:pt>
                <c:pt idx="731">
                  <c:v>0.15296495956873299</c:v>
                </c:pt>
                <c:pt idx="732">
                  <c:v>0.15301724137931</c:v>
                </c:pt>
                <c:pt idx="733">
                  <c:v>0.153284671532847</c:v>
                </c:pt>
                <c:pt idx="734">
                  <c:v>0.153563218390805</c:v>
                </c:pt>
                <c:pt idx="735">
                  <c:v>0.15364238410596001</c:v>
                </c:pt>
                <c:pt idx="736">
                  <c:v>0.153795811518325</c:v>
                </c:pt>
                <c:pt idx="737">
                  <c:v>0.15384615384615399</c:v>
                </c:pt>
                <c:pt idx="738">
                  <c:v>0.15384615384615399</c:v>
                </c:pt>
                <c:pt idx="739">
                  <c:v>0.15384615384615399</c:v>
                </c:pt>
                <c:pt idx="740">
                  <c:v>0.15384615384615399</c:v>
                </c:pt>
                <c:pt idx="741">
                  <c:v>0.15417457305502799</c:v>
                </c:pt>
                <c:pt idx="742">
                  <c:v>0.15421303656597801</c:v>
                </c:pt>
                <c:pt idx="743">
                  <c:v>0.15424164524421599</c:v>
                </c:pt>
                <c:pt idx="744">
                  <c:v>0.154285714285714</c:v>
                </c:pt>
                <c:pt idx="745">
                  <c:v>0.15433403805496801</c:v>
                </c:pt>
                <c:pt idx="746">
                  <c:v>0.15436241610738299</c:v>
                </c:pt>
                <c:pt idx="747">
                  <c:v>0.154407294832827</c:v>
                </c:pt>
                <c:pt idx="748">
                  <c:v>0.154471544715447</c:v>
                </c:pt>
                <c:pt idx="749">
                  <c:v>0.15471698113207499</c:v>
                </c:pt>
                <c:pt idx="750">
                  <c:v>0.15472779369627501</c:v>
                </c:pt>
                <c:pt idx="751">
                  <c:v>0.154929577464789</c:v>
                </c:pt>
                <c:pt idx="752">
                  <c:v>0.15494296577946801</c:v>
                </c:pt>
                <c:pt idx="753">
                  <c:v>0.15503875968992201</c:v>
                </c:pt>
                <c:pt idx="754">
                  <c:v>0.15503875968992201</c:v>
                </c:pt>
                <c:pt idx="755">
                  <c:v>0.15507411630558701</c:v>
                </c:pt>
                <c:pt idx="756">
                  <c:v>0.15512820512820499</c:v>
                </c:pt>
                <c:pt idx="757">
                  <c:v>0.155196304849885</c:v>
                </c:pt>
                <c:pt idx="758">
                  <c:v>0.15521628498727699</c:v>
                </c:pt>
                <c:pt idx="759">
                  <c:v>0.15527950310558999</c:v>
                </c:pt>
                <c:pt idx="760">
                  <c:v>0.155292479108635</c:v>
                </c:pt>
                <c:pt idx="761">
                  <c:v>0.15531335149863801</c:v>
                </c:pt>
                <c:pt idx="762">
                  <c:v>0.155425219941349</c:v>
                </c:pt>
                <c:pt idx="763">
                  <c:v>0.155555555555556</c:v>
                </c:pt>
                <c:pt idx="764">
                  <c:v>0.155555555555556</c:v>
                </c:pt>
                <c:pt idx="765">
                  <c:v>0.15584415584415601</c:v>
                </c:pt>
                <c:pt idx="766">
                  <c:v>0.15584415584415601</c:v>
                </c:pt>
                <c:pt idx="767">
                  <c:v>0.155864197530864</c:v>
                </c:pt>
                <c:pt idx="768">
                  <c:v>0.15592203898050999</c:v>
                </c:pt>
                <c:pt idx="769">
                  <c:v>0.15601023017902799</c:v>
                </c:pt>
                <c:pt idx="770">
                  <c:v>0.156046814044213</c:v>
                </c:pt>
                <c:pt idx="771">
                  <c:v>0.15625</c:v>
                </c:pt>
                <c:pt idx="772">
                  <c:v>0.15625</c:v>
                </c:pt>
                <c:pt idx="773">
                  <c:v>0.15625</c:v>
                </c:pt>
                <c:pt idx="774">
                  <c:v>0.156351791530945</c:v>
                </c:pt>
                <c:pt idx="775">
                  <c:v>0.15636363636363601</c:v>
                </c:pt>
                <c:pt idx="776">
                  <c:v>0.156448202959831</c:v>
                </c:pt>
                <c:pt idx="777">
                  <c:v>0.156462585034014</c:v>
                </c:pt>
                <c:pt idx="778">
                  <c:v>0.15656565656565699</c:v>
                </c:pt>
                <c:pt idx="779">
                  <c:v>0.15658747300216</c:v>
                </c:pt>
                <c:pt idx="780">
                  <c:v>0.15660377358490599</c:v>
                </c:pt>
                <c:pt idx="781">
                  <c:v>0.156706507304117</c:v>
                </c:pt>
                <c:pt idx="782">
                  <c:v>0.15675675675675699</c:v>
                </c:pt>
                <c:pt idx="783">
                  <c:v>0.15675675675675699</c:v>
                </c:pt>
                <c:pt idx="784">
                  <c:v>0.15684882895670699</c:v>
                </c:pt>
                <c:pt idx="785">
                  <c:v>0.15686274509803899</c:v>
                </c:pt>
                <c:pt idx="786">
                  <c:v>0.15695067264574</c:v>
                </c:pt>
                <c:pt idx="787">
                  <c:v>0.15702891326021901</c:v>
                </c:pt>
                <c:pt idx="788">
                  <c:v>0.157079646017699</c:v>
                </c:pt>
                <c:pt idx="789">
                  <c:v>0.15709969788519601</c:v>
                </c:pt>
                <c:pt idx="790">
                  <c:v>0.157142857142857</c:v>
                </c:pt>
                <c:pt idx="791">
                  <c:v>0.157156220767072</c:v>
                </c:pt>
                <c:pt idx="792">
                  <c:v>0.157200811359026</c:v>
                </c:pt>
                <c:pt idx="793">
                  <c:v>0.15726495726495701</c:v>
                </c:pt>
                <c:pt idx="794">
                  <c:v>0.15727002967358999</c:v>
                </c:pt>
                <c:pt idx="795">
                  <c:v>0.15729047072330701</c:v>
                </c:pt>
                <c:pt idx="796">
                  <c:v>0.15730337078651699</c:v>
                </c:pt>
                <c:pt idx="797">
                  <c:v>0.157446808510638</c:v>
                </c:pt>
                <c:pt idx="798">
                  <c:v>0.15746971736204601</c:v>
                </c:pt>
                <c:pt idx="799">
                  <c:v>0.15748031496063</c:v>
                </c:pt>
                <c:pt idx="800">
                  <c:v>0.15752461322081601</c:v>
                </c:pt>
                <c:pt idx="801">
                  <c:v>0.157563025210084</c:v>
                </c:pt>
                <c:pt idx="802">
                  <c:v>0.157563025210084</c:v>
                </c:pt>
                <c:pt idx="803">
                  <c:v>0.15765765765765799</c:v>
                </c:pt>
                <c:pt idx="804">
                  <c:v>0.15766164747564201</c:v>
                </c:pt>
                <c:pt idx="805">
                  <c:v>0.15776699029126201</c:v>
                </c:pt>
                <c:pt idx="806">
                  <c:v>0.157894736842105</c:v>
                </c:pt>
                <c:pt idx="807">
                  <c:v>0.157894736842105</c:v>
                </c:pt>
                <c:pt idx="808">
                  <c:v>0.157971014492754</c:v>
                </c:pt>
                <c:pt idx="809">
                  <c:v>0.158031088082902</c:v>
                </c:pt>
                <c:pt idx="810">
                  <c:v>0.15809523809523801</c:v>
                </c:pt>
                <c:pt idx="811">
                  <c:v>0.158102766798419</c:v>
                </c:pt>
                <c:pt idx="812">
                  <c:v>0.15817694369973201</c:v>
                </c:pt>
                <c:pt idx="813">
                  <c:v>0.158282208588957</c:v>
                </c:pt>
                <c:pt idx="814">
                  <c:v>0.15831134564643801</c:v>
                </c:pt>
                <c:pt idx="815">
                  <c:v>0.15833333333333299</c:v>
                </c:pt>
                <c:pt idx="816">
                  <c:v>0.15846994535519099</c:v>
                </c:pt>
                <c:pt idx="817">
                  <c:v>0.15850903614457801</c:v>
                </c:pt>
                <c:pt idx="818">
                  <c:v>0.15853658536585399</c:v>
                </c:pt>
                <c:pt idx="819">
                  <c:v>0.15856236786469299</c:v>
                </c:pt>
                <c:pt idx="820">
                  <c:v>0.15859564164648901</c:v>
                </c:pt>
                <c:pt idx="821">
                  <c:v>0.15866388308977</c:v>
                </c:pt>
                <c:pt idx="822">
                  <c:v>0.15870570107858201</c:v>
                </c:pt>
                <c:pt idx="823">
                  <c:v>0.158730158730159</c:v>
                </c:pt>
                <c:pt idx="824">
                  <c:v>0.158774373259053</c:v>
                </c:pt>
                <c:pt idx="825">
                  <c:v>0.15909090909090901</c:v>
                </c:pt>
                <c:pt idx="826">
                  <c:v>0.15910780669145</c:v>
                </c:pt>
                <c:pt idx="827">
                  <c:v>0.15912208504801101</c:v>
                </c:pt>
                <c:pt idx="828">
                  <c:v>0.159153005464481</c:v>
                </c:pt>
                <c:pt idx="829">
                  <c:v>0.15917602996254701</c:v>
                </c:pt>
                <c:pt idx="830">
                  <c:v>0.159199237368923</c:v>
                </c:pt>
                <c:pt idx="831">
                  <c:v>0.15923566878980899</c:v>
                </c:pt>
                <c:pt idx="832">
                  <c:v>0.159340659340659</c:v>
                </c:pt>
                <c:pt idx="833">
                  <c:v>0.15936952714535901</c:v>
                </c:pt>
                <c:pt idx="834">
                  <c:v>0.15938303341902299</c:v>
                </c:pt>
                <c:pt idx="835">
                  <c:v>0.15956284153005501</c:v>
                </c:pt>
                <c:pt idx="836">
                  <c:v>0.159574468085106</c:v>
                </c:pt>
                <c:pt idx="837">
                  <c:v>0.159574468085106</c:v>
                </c:pt>
                <c:pt idx="838">
                  <c:v>0.159574468085106</c:v>
                </c:pt>
                <c:pt idx="839">
                  <c:v>0.159592529711375</c:v>
                </c:pt>
                <c:pt idx="840">
                  <c:v>0.159613059250302</c:v>
                </c:pt>
                <c:pt idx="841">
                  <c:v>0.159903089036947</c:v>
                </c:pt>
                <c:pt idx="842">
                  <c:v>0.15993788819875801</c:v>
                </c:pt>
                <c:pt idx="843">
                  <c:v>0.16</c:v>
                </c:pt>
                <c:pt idx="844">
                  <c:v>0.16022099447513799</c:v>
                </c:pt>
                <c:pt idx="845">
                  <c:v>0.16022099447513799</c:v>
                </c:pt>
                <c:pt idx="846">
                  <c:v>0.16034082106893899</c:v>
                </c:pt>
                <c:pt idx="847">
                  <c:v>0.160377358490566</c:v>
                </c:pt>
                <c:pt idx="848">
                  <c:v>0.160377358490566</c:v>
                </c:pt>
                <c:pt idx="849">
                  <c:v>0.16040955631399301</c:v>
                </c:pt>
                <c:pt idx="850">
                  <c:v>0.16049382716049401</c:v>
                </c:pt>
                <c:pt idx="851">
                  <c:v>0.16057233704292501</c:v>
                </c:pt>
                <c:pt idx="852">
                  <c:v>0.16064981949458501</c:v>
                </c:pt>
                <c:pt idx="853">
                  <c:v>0.16066066066066101</c:v>
                </c:pt>
                <c:pt idx="854">
                  <c:v>0.16079812206572799</c:v>
                </c:pt>
                <c:pt idx="855">
                  <c:v>0.160818713450292</c:v>
                </c:pt>
                <c:pt idx="856">
                  <c:v>0.16088328075709801</c:v>
                </c:pt>
                <c:pt idx="857">
                  <c:v>0.160919540229885</c:v>
                </c:pt>
                <c:pt idx="858">
                  <c:v>0.16099071207430299</c:v>
                </c:pt>
                <c:pt idx="859">
                  <c:v>0.16118421052631601</c:v>
                </c:pt>
                <c:pt idx="860">
                  <c:v>0.16129032258064499</c:v>
                </c:pt>
                <c:pt idx="861">
                  <c:v>0.16153846153846199</c:v>
                </c:pt>
                <c:pt idx="862">
                  <c:v>0.16157205240174699</c:v>
                </c:pt>
                <c:pt idx="863">
                  <c:v>0.16161616161616199</c:v>
                </c:pt>
                <c:pt idx="864">
                  <c:v>0.16165413533834599</c:v>
                </c:pt>
                <c:pt idx="865">
                  <c:v>0.16165413533834599</c:v>
                </c:pt>
                <c:pt idx="866">
                  <c:v>0.16181229773462799</c:v>
                </c:pt>
                <c:pt idx="867">
                  <c:v>0.16184971098265899</c:v>
                </c:pt>
                <c:pt idx="868">
                  <c:v>0.16186485070717699</c:v>
                </c:pt>
                <c:pt idx="869">
                  <c:v>0.161993769470405</c:v>
                </c:pt>
                <c:pt idx="870">
                  <c:v>0.162109375</c:v>
                </c:pt>
                <c:pt idx="871">
                  <c:v>0.162162162162162</c:v>
                </c:pt>
                <c:pt idx="872">
                  <c:v>0.162162162162162</c:v>
                </c:pt>
                <c:pt idx="873">
                  <c:v>0.16222760290556901</c:v>
                </c:pt>
                <c:pt idx="874">
                  <c:v>0.16234887737478401</c:v>
                </c:pt>
                <c:pt idx="875">
                  <c:v>0.162454873646209</c:v>
                </c:pt>
                <c:pt idx="876">
                  <c:v>0.16250000000000001</c:v>
                </c:pt>
                <c:pt idx="877">
                  <c:v>0.16254416961130699</c:v>
                </c:pt>
                <c:pt idx="878">
                  <c:v>0.16274864376130199</c:v>
                </c:pt>
                <c:pt idx="879">
                  <c:v>0.162765957446809</c:v>
                </c:pt>
                <c:pt idx="880">
                  <c:v>0.162790697674419</c:v>
                </c:pt>
                <c:pt idx="881">
                  <c:v>0.162790697674419</c:v>
                </c:pt>
                <c:pt idx="882">
                  <c:v>0.16284403669724801</c:v>
                </c:pt>
                <c:pt idx="883">
                  <c:v>0.162921348314607</c:v>
                </c:pt>
                <c:pt idx="884">
                  <c:v>0.16302186878727601</c:v>
                </c:pt>
                <c:pt idx="885">
                  <c:v>0.163064833005894</c:v>
                </c:pt>
                <c:pt idx="886">
                  <c:v>0.163065843621399</c:v>
                </c:pt>
                <c:pt idx="887">
                  <c:v>0.16316639741518599</c:v>
                </c:pt>
                <c:pt idx="888">
                  <c:v>0.163179916317992</c:v>
                </c:pt>
                <c:pt idx="889">
                  <c:v>0.16318785578747599</c:v>
                </c:pt>
                <c:pt idx="890">
                  <c:v>0.16321839080459799</c:v>
                </c:pt>
                <c:pt idx="891">
                  <c:v>0.16335740072202201</c:v>
                </c:pt>
                <c:pt idx="892">
                  <c:v>0.163385826771654</c:v>
                </c:pt>
                <c:pt idx="893">
                  <c:v>0.16339869281045799</c:v>
                </c:pt>
                <c:pt idx="894">
                  <c:v>0.16352201257861601</c:v>
                </c:pt>
                <c:pt idx="895">
                  <c:v>0.163586315375541</c:v>
                </c:pt>
                <c:pt idx="896">
                  <c:v>0.163636363636364</c:v>
                </c:pt>
                <c:pt idx="897">
                  <c:v>0.163636363636364</c:v>
                </c:pt>
                <c:pt idx="898">
                  <c:v>0.163636363636364</c:v>
                </c:pt>
                <c:pt idx="899">
                  <c:v>0.163636363636364</c:v>
                </c:pt>
                <c:pt idx="900">
                  <c:v>0.163661581137309</c:v>
                </c:pt>
                <c:pt idx="901">
                  <c:v>0.16374269005847999</c:v>
                </c:pt>
                <c:pt idx="902">
                  <c:v>0.163787587971849</c:v>
                </c:pt>
                <c:pt idx="903">
                  <c:v>0.16396396396396401</c:v>
                </c:pt>
                <c:pt idx="904">
                  <c:v>0.16415410385259599</c:v>
                </c:pt>
                <c:pt idx="905">
                  <c:v>0.16427104722792599</c:v>
                </c:pt>
                <c:pt idx="906">
                  <c:v>0.16431924882629101</c:v>
                </c:pt>
                <c:pt idx="907">
                  <c:v>0.164351851851852</c:v>
                </c:pt>
                <c:pt idx="908">
                  <c:v>0.164383561643836</c:v>
                </c:pt>
                <c:pt idx="909">
                  <c:v>0.164556962025316</c:v>
                </c:pt>
                <c:pt idx="910">
                  <c:v>0.16463414634146301</c:v>
                </c:pt>
                <c:pt idx="911">
                  <c:v>0.16469194312796201</c:v>
                </c:pt>
                <c:pt idx="912">
                  <c:v>0.16470588235294101</c:v>
                </c:pt>
                <c:pt idx="913">
                  <c:v>0.164739884393064</c:v>
                </c:pt>
                <c:pt idx="914">
                  <c:v>0.16475095785440599</c:v>
                </c:pt>
                <c:pt idx="915">
                  <c:v>0.16477857878475799</c:v>
                </c:pt>
                <c:pt idx="916">
                  <c:v>0.16478873239436601</c:v>
                </c:pt>
                <c:pt idx="917">
                  <c:v>0.16486902927580899</c:v>
                </c:pt>
                <c:pt idx="918">
                  <c:v>0.164902506963788</c:v>
                </c:pt>
                <c:pt idx="919">
                  <c:v>0.164926931106472</c:v>
                </c:pt>
                <c:pt idx="920">
                  <c:v>0.165075800112296</c:v>
                </c:pt>
                <c:pt idx="921">
                  <c:v>0.165103189493433</c:v>
                </c:pt>
                <c:pt idx="922">
                  <c:v>0.16513761467889901</c:v>
                </c:pt>
                <c:pt idx="923">
                  <c:v>0.16515151515151499</c:v>
                </c:pt>
                <c:pt idx="924">
                  <c:v>0.16525423728813601</c:v>
                </c:pt>
                <c:pt idx="925">
                  <c:v>0.16544655929721799</c:v>
                </c:pt>
                <c:pt idx="926">
                  <c:v>0.165510864539991</c:v>
                </c:pt>
                <c:pt idx="927">
                  <c:v>0.16557591623036599</c:v>
                </c:pt>
                <c:pt idx="928">
                  <c:v>0.16560509554140099</c:v>
                </c:pt>
                <c:pt idx="929">
                  <c:v>0.16573348264277701</c:v>
                </c:pt>
                <c:pt idx="930">
                  <c:v>0.16580310880829</c:v>
                </c:pt>
                <c:pt idx="931">
                  <c:v>0.16582914572864299</c:v>
                </c:pt>
                <c:pt idx="932">
                  <c:v>0.16620111731843601</c:v>
                </c:pt>
                <c:pt idx="933">
                  <c:v>0.16630196936542699</c:v>
                </c:pt>
                <c:pt idx="934">
                  <c:v>0.166358595194085</c:v>
                </c:pt>
                <c:pt idx="935">
                  <c:v>0.16636363636363599</c:v>
                </c:pt>
                <c:pt idx="936">
                  <c:v>0.16637323943662</c:v>
                </c:pt>
                <c:pt idx="937">
                  <c:v>0.16640746500777601</c:v>
                </c:pt>
                <c:pt idx="938">
                  <c:v>0.16643929058663001</c:v>
                </c:pt>
                <c:pt idx="939">
                  <c:v>0.16644993498049401</c:v>
                </c:pt>
                <c:pt idx="940">
                  <c:v>0.16666666666666699</c:v>
                </c:pt>
                <c:pt idx="941">
                  <c:v>0.16666666666666699</c:v>
                </c:pt>
                <c:pt idx="942">
                  <c:v>0.16666666666666699</c:v>
                </c:pt>
                <c:pt idx="943">
                  <c:v>0.16666666666666699</c:v>
                </c:pt>
                <c:pt idx="944">
                  <c:v>0.16666666666666699</c:v>
                </c:pt>
                <c:pt idx="945">
                  <c:v>0.16666666666666699</c:v>
                </c:pt>
                <c:pt idx="946">
                  <c:v>0.16666666666666699</c:v>
                </c:pt>
                <c:pt idx="947">
                  <c:v>0.16666666666666699</c:v>
                </c:pt>
                <c:pt idx="948">
                  <c:v>0.16666666666666699</c:v>
                </c:pt>
                <c:pt idx="949">
                  <c:v>0.16666666666666699</c:v>
                </c:pt>
                <c:pt idx="950">
                  <c:v>0.16666666666666699</c:v>
                </c:pt>
                <c:pt idx="951">
                  <c:v>0.166755177907594</c:v>
                </c:pt>
                <c:pt idx="952">
                  <c:v>0.166781056966369</c:v>
                </c:pt>
                <c:pt idx="953">
                  <c:v>0.16701902748414399</c:v>
                </c:pt>
                <c:pt idx="954">
                  <c:v>0.167173252279635</c:v>
                </c:pt>
                <c:pt idx="955">
                  <c:v>0.16720257234726699</c:v>
                </c:pt>
                <c:pt idx="956">
                  <c:v>0.16721581548599701</c:v>
                </c:pt>
                <c:pt idx="957">
                  <c:v>0.167400881057269</c:v>
                </c:pt>
                <c:pt idx="958">
                  <c:v>0.16742375081116201</c:v>
                </c:pt>
                <c:pt idx="959">
                  <c:v>0.16747572815534001</c:v>
                </c:pt>
                <c:pt idx="960">
                  <c:v>0.16761363636363599</c:v>
                </c:pt>
                <c:pt idx="961">
                  <c:v>0.16764705882352901</c:v>
                </c:pt>
                <c:pt idx="962">
                  <c:v>0.167657550535077</c:v>
                </c:pt>
                <c:pt idx="963">
                  <c:v>0.167682926829268</c:v>
                </c:pt>
                <c:pt idx="964">
                  <c:v>0.167701863354037</c:v>
                </c:pt>
                <c:pt idx="965">
                  <c:v>0.16774193548387101</c:v>
                </c:pt>
                <c:pt idx="966">
                  <c:v>0.16783216783216801</c:v>
                </c:pt>
                <c:pt idx="967">
                  <c:v>0.16783216783216801</c:v>
                </c:pt>
                <c:pt idx="968">
                  <c:v>0.16790123456790099</c:v>
                </c:pt>
                <c:pt idx="969">
                  <c:v>0.16790123456790099</c:v>
                </c:pt>
                <c:pt idx="970">
                  <c:v>0.167919799498747</c:v>
                </c:pt>
                <c:pt idx="971">
                  <c:v>0.16796267496112</c:v>
                </c:pt>
                <c:pt idx="972">
                  <c:v>0.16806722689075601</c:v>
                </c:pt>
                <c:pt idx="973">
                  <c:v>0.168079096045198</c:v>
                </c:pt>
                <c:pt idx="974">
                  <c:v>0.16808149405772499</c:v>
                </c:pt>
                <c:pt idx="975">
                  <c:v>0.16809605488850801</c:v>
                </c:pt>
                <c:pt idx="976">
                  <c:v>0.16814159292035399</c:v>
                </c:pt>
                <c:pt idx="977">
                  <c:v>0.16817359855334499</c:v>
                </c:pt>
                <c:pt idx="978">
                  <c:v>0.16831683168316799</c:v>
                </c:pt>
                <c:pt idx="979">
                  <c:v>0.168421052631579</c:v>
                </c:pt>
                <c:pt idx="980">
                  <c:v>0.16853932584269701</c:v>
                </c:pt>
                <c:pt idx="981">
                  <c:v>0.16867469879518099</c:v>
                </c:pt>
                <c:pt idx="982">
                  <c:v>0.16876122082585299</c:v>
                </c:pt>
                <c:pt idx="983">
                  <c:v>0.16876122082585299</c:v>
                </c:pt>
                <c:pt idx="984">
                  <c:v>0.16877637130801701</c:v>
                </c:pt>
                <c:pt idx="985">
                  <c:v>0.168937329700272</c:v>
                </c:pt>
                <c:pt idx="986">
                  <c:v>0.169014084507042</c:v>
                </c:pt>
                <c:pt idx="987">
                  <c:v>0.16903633491311201</c:v>
                </c:pt>
                <c:pt idx="988">
                  <c:v>0.16913946587537099</c:v>
                </c:pt>
                <c:pt idx="989">
                  <c:v>0.16926713947990499</c:v>
                </c:pt>
                <c:pt idx="990">
                  <c:v>0.16935483870967699</c:v>
                </c:pt>
                <c:pt idx="991">
                  <c:v>0.16937669376693801</c:v>
                </c:pt>
                <c:pt idx="992">
                  <c:v>0.169491525423729</c:v>
                </c:pt>
                <c:pt idx="993">
                  <c:v>0.169556840077071</c:v>
                </c:pt>
                <c:pt idx="994">
                  <c:v>0.16959798994974901</c:v>
                </c:pt>
                <c:pt idx="995">
                  <c:v>0.169722614010343</c:v>
                </c:pt>
                <c:pt idx="996">
                  <c:v>0.17004048582995901</c:v>
                </c:pt>
                <c:pt idx="997">
                  <c:v>0.17006802721088399</c:v>
                </c:pt>
                <c:pt idx="998">
                  <c:v>0.170172084130019</c:v>
                </c:pt>
                <c:pt idx="999">
                  <c:v>0.170212765957447</c:v>
                </c:pt>
                <c:pt idx="1000">
                  <c:v>0.170212765957447</c:v>
                </c:pt>
                <c:pt idx="1001">
                  <c:v>0.170258620689655</c:v>
                </c:pt>
                <c:pt idx="1002">
                  <c:v>0.17027863777089799</c:v>
                </c:pt>
                <c:pt idx="1003">
                  <c:v>0.170289855072464</c:v>
                </c:pt>
                <c:pt idx="1004">
                  <c:v>0.17030567685589501</c:v>
                </c:pt>
                <c:pt idx="1005">
                  <c:v>0.170353982300885</c:v>
                </c:pt>
                <c:pt idx="1006">
                  <c:v>0.17035775127768299</c:v>
                </c:pt>
                <c:pt idx="1007">
                  <c:v>0.17037037037037001</c:v>
                </c:pt>
                <c:pt idx="1008">
                  <c:v>0.170454545454545</c:v>
                </c:pt>
                <c:pt idx="1009">
                  <c:v>0.170454545454545</c:v>
                </c:pt>
                <c:pt idx="1010">
                  <c:v>0.170698924731183</c:v>
                </c:pt>
                <c:pt idx="1011">
                  <c:v>0.17073170731707299</c:v>
                </c:pt>
                <c:pt idx="1012">
                  <c:v>0.17081850533807799</c:v>
                </c:pt>
                <c:pt idx="1013">
                  <c:v>0.17082294264339101</c:v>
                </c:pt>
                <c:pt idx="1014">
                  <c:v>0.170833333333333</c:v>
                </c:pt>
                <c:pt idx="1015">
                  <c:v>0.170844327176781</c:v>
                </c:pt>
                <c:pt idx="1016">
                  <c:v>0.17084639498432599</c:v>
                </c:pt>
                <c:pt idx="1017">
                  <c:v>0.17086092715231799</c:v>
                </c:pt>
                <c:pt idx="1018">
                  <c:v>0.17096018735363</c:v>
                </c:pt>
                <c:pt idx="1019">
                  <c:v>0.17097170971709699</c:v>
                </c:pt>
                <c:pt idx="1020">
                  <c:v>0.17105263157894701</c:v>
                </c:pt>
                <c:pt idx="1021">
                  <c:v>0.17111459968602799</c:v>
                </c:pt>
                <c:pt idx="1022">
                  <c:v>0.17115902964959601</c:v>
                </c:pt>
                <c:pt idx="1023">
                  <c:v>0.171195652173913</c:v>
                </c:pt>
                <c:pt idx="1024">
                  <c:v>0.171211160431198</c:v>
                </c:pt>
                <c:pt idx="1025">
                  <c:v>0.171314741035857</c:v>
                </c:pt>
                <c:pt idx="1026">
                  <c:v>0.17134629229661599</c:v>
                </c:pt>
                <c:pt idx="1027">
                  <c:v>0.17136329017517099</c:v>
                </c:pt>
                <c:pt idx="1028">
                  <c:v>0.17138599105812199</c:v>
                </c:pt>
                <c:pt idx="1029">
                  <c:v>0.17142857142857101</c:v>
                </c:pt>
                <c:pt idx="1030">
                  <c:v>0.17142857142857101</c:v>
                </c:pt>
                <c:pt idx="1031">
                  <c:v>0.171469740634006</c:v>
                </c:pt>
                <c:pt idx="1032">
                  <c:v>0.171597633136095</c:v>
                </c:pt>
                <c:pt idx="1033">
                  <c:v>0.17171717171717199</c:v>
                </c:pt>
                <c:pt idx="1034">
                  <c:v>0.17198275862069001</c:v>
                </c:pt>
                <c:pt idx="1035">
                  <c:v>0.17206477732793499</c:v>
                </c:pt>
                <c:pt idx="1036">
                  <c:v>0.17208413001912001</c:v>
                </c:pt>
                <c:pt idx="1037">
                  <c:v>0.17209302325581399</c:v>
                </c:pt>
                <c:pt idx="1038">
                  <c:v>0.17211328976034901</c:v>
                </c:pt>
                <c:pt idx="1039">
                  <c:v>0.172195303764443</c:v>
                </c:pt>
                <c:pt idx="1040">
                  <c:v>0.17224880382775101</c:v>
                </c:pt>
                <c:pt idx="1041">
                  <c:v>0.17232597623090001</c:v>
                </c:pt>
                <c:pt idx="1042">
                  <c:v>0.17241379310344801</c:v>
                </c:pt>
                <c:pt idx="1043">
                  <c:v>0.17241379310344801</c:v>
                </c:pt>
                <c:pt idx="1044">
                  <c:v>0.17241379310344801</c:v>
                </c:pt>
                <c:pt idx="1045">
                  <c:v>0.17249999999999999</c:v>
                </c:pt>
                <c:pt idx="1046">
                  <c:v>0.172566371681416</c:v>
                </c:pt>
                <c:pt idx="1047">
                  <c:v>0.17264573991031401</c:v>
                </c:pt>
                <c:pt idx="1048">
                  <c:v>0.17272727272727301</c:v>
                </c:pt>
                <c:pt idx="1049">
                  <c:v>0.17272727272727301</c:v>
                </c:pt>
                <c:pt idx="1050">
                  <c:v>0.172732524552282</c:v>
                </c:pt>
                <c:pt idx="1051">
                  <c:v>0.172762645914397</c:v>
                </c:pt>
                <c:pt idx="1052">
                  <c:v>0.17280701754385999</c:v>
                </c:pt>
                <c:pt idx="1053">
                  <c:v>0.17282127031019201</c:v>
                </c:pt>
                <c:pt idx="1054">
                  <c:v>0.17289719626168201</c:v>
                </c:pt>
                <c:pt idx="1055">
                  <c:v>0.17295980511571299</c:v>
                </c:pt>
                <c:pt idx="1056">
                  <c:v>0.17296222664015901</c:v>
                </c:pt>
                <c:pt idx="1057">
                  <c:v>0.17307692307692299</c:v>
                </c:pt>
                <c:pt idx="1058">
                  <c:v>0.17307692307692299</c:v>
                </c:pt>
                <c:pt idx="1059">
                  <c:v>0.17312072892938499</c:v>
                </c:pt>
                <c:pt idx="1060">
                  <c:v>0.17316017316017299</c:v>
                </c:pt>
                <c:pt idx="1061">
                  <c:v>0.17316017316017299</c:v>
                </c:pt>
                <c:pt idx="1062">
                  <c:v>0.17321428571428599</c:v>
                </c:pt>
                <c:pt idx="1063">
                  <c:v>0.17322834645669299</c:v>
                </c:pt>
                <c:pt idx="1064">
                  <c:v>0.173295454545455</c:v>
                </c:pt>
                <c:pt idx="1065">
                  <c:v>0.17339901477832501</c:v>
                </c:pt>
                <c:pt idx="1066">
                  <c:v>0.17357762777242</c:v>
                </c:pt>
                <c:pt idx="1067">
                  <c:v>0.17359050445103899</c:v>
                </c:pt>
                <c:pt idx="1068">
                  <c:v>0.17360114777618399</c:v>
                </c:pt>
                <c:pt idx="1069">
                  <c:v>0.173684210526316</c:v>
                </c:pt>
                <c:pt idx="1070">
                  <c:v>0.17369308600337299</c:v>
                </c:pt>
                <c:pt idx="1071">
                  <c:v>0.17372881355932199</c:v>
                </c:pt>
                <c:pt idx="1072">
                  <c:v>0.173913043478261</c:v>
                </c:pt>
                <c:pt idx="1073">
                  <c:v>0.173913043478261</c:v>
                </c:pt>
                <c:pt idx="1074">
                  <c:v>0.173913043478261</c:v>
                </c:pt>
                <c:pt idx="1075">
                  <c:v>0.173913043478261</c:v>
                </c:pt>
                <c:pt idx="1076">
                  <c:v>0.173913043478261</c:v>
                </c:pt>
                <c:pt idx="1077">
                  <c:v>0.17393238434163699</c:v>
                </c:pt>
                <c:pt idx="1078">
                  <c:v>0.17395264116575601</c:v>
                </c:pt>
                <c:pt idx="1079">
                  <c:v>0.17400419287211699</c:v>
                </c:pt>
                <c:pt idx="1080">
                  <c:v>0.17402826855123699</c:v>
                </c:pt>
                <c:pt idx="1081">
                  <c:v>0.17410714285714299</c:v>
                </c:pt>
                <c:pt idx="1082">
                  <c:v>0.174157303370787</c:v>
                </c:pt>
                <c:pt idx="1083">
                  <c:v>0.17416378316032299</c:v>
                </c:pt>
                <c:pt idx="1084">
                  <c:v>0.174216027874564</c:v>
                </c:pt>
                <c:pt idx="1085">
                  <c:v>0.17427385892116201</c:v>
                </c:pt>
                <c:pt idx="1086">
                  <c:v>0.17445185891325099</c:v>
                </c:pt>
                <c:pt idx="1087">
                  <c:v>0.17447916666666699</c:v>
                </c:pt>
                <c:pt idx="1088">
                  <c:v>0.174493554327808</c:v>
                </c:pt>
                <c:pt idx="1089">
                  <c:v>0.17449664429530201</c:v>
                </c:pt>
                <c:pt idx="1090">
                  <c:v>0.17449664429530201</c:v>
                </c:pt>
                <c:pt idx="1091">
                  <c:v>0.17456359102244401</c:v>
                </c:pt>
                <c:pt idx="1092">
                  <c:v>0.17462686567164201</c:v>
                </c:pt>
                <c:pt idx="1093">
                  <c:v>0.17466307277627999</c:v>
                </c:pt>
                <c:pt idx="1094">
                  <c:v>0.17482517482517501</c:v>
                </c:pt>
                <c:pt idx="1095">
                  <c:v>0.17487266553480499</c:v>
                </c:pt>
                <c:pt idx="1096">
                  <c:v>0.17487684729063999</c:v>
                </c:pt>
                <c:pt idx="1097">
                  <c:v>0.17487834549878301</c:v>
                </c:pt>
                <c:pt idx="1098">
                  <c:v>0.17495711835334499</c:v>
                </c:pt>
                <c:pt idx="1099">
                  <c:v>0.17502917152858799</c:v>
                </c:pt>
                <c:pt idx="1100">
                  <c:v>0.17503805175038001</c:v>
                </c:pt>
                <c:pt idx="1101">
                  <c:v>0.17504332755632601</c:v>
                </c:pt>
                <c:pt idx="1102">
                  <c:v>0.17508417508417501</c:v>
                </c:pt>
                <c:pt idx="1103">
                  <c:v>0.175156389633601</c:v>
                </c:pt>
                <c:pt idx="1104">
                  <c:v>0.175206611570248</c:v>
                </c:pt>
                <c:pt idx="1105">
                  <c:v>0.175206611570248</c:v>
                </c:pt>
                <c:pt idx="1106">
                  <c:v>0.17521367521367501</c:v>
                </c:pt>
                <c:pt idx="1107">
                  <c:v>0.17529215358931599</c:v>
                </c:pt>
                <c:pt idx="1108">
                  <c:v>0.17532467532467499</c:v>
                </c:pt>
                <c:pt idx="1109">
                  <c:v>0.17557251908396901</c:v>
                </c:pt>
                <c:pt idx="1110">
                  <c:v>0.17567567567567599</c:v>
                </c:pt>
                <c:pt idx="1111">
                  <c:v>0.17567567567567599</c:v>
                </c:pt>
                <c:pt idx="1112">
                  <c:v>0.17573221757322199</c:v>
                </c:pt>
                <c:pt idx="1113">
                  <c:v>0.17578125</c:v>
                </c:pt>
                <c:pt idx="1114">
                  <c:v>0.175836030204962</c:v>
                </c:pt>
                <c:pt idx="1115">
                  <c:v>0.17592592592592601</c:v>
                </c:pt>
                <c:pt idx="1116">
                  <c:v>0.17597292724196301</c:v>
                </c:pt>
                <c:pt idx="1117">
                  <c:v>0.17601547388781399</c:v>
                </c:pt>
                <c:pt idx="1118">
                  <c:v>0.176056338028169</c:v>
                </c:pt>
                <c:pt idx="1119">
                  <c:v>0.17617554858934201</c:v>
                </c:pt>
                <c:pt idx="1120">
                  <c:v>0.17619047619047601</c:v>
                </c:pt>
                <c:pt idx="1121">
                  <c:v>0.17623762376237601</c:v>
                </c:pt>
                <c:pt idx="1122">
                  <c:v>0.17624999999999999</c:v>
                </c:pt>
                <c:pt idx="1123">
                  <c:v>0.17625899280575499</c:v>
                </c:pt>
                <c:pt idx="1124">
                  <c:v>0.17625899280575499</c:v>
                </c:pt>
                <c:pt idx="1125">
                  <c:v>0.17627677100494199</c:v>
                </c:pt>
                <c:pt idx="1126">
                  <c:v>0.176287051482059</c:v>
                </c:pt>
                <c:pt idx="1127">
                  <c:v>0.17647058823529399</c:v>
                </c:pt>
                <c:pt idx="1128">
                  <c:v>0.17647058823529399</c:v>
                </c:pt>
                <c:pt idx="1129">
                  <c:v>0.176541717049577</c:v>
                </c:pt>
                <c:pt idx="1130">
                  <c:v>0.17661691542288599</c:v>
                </c:pt>
                <c:pt idx="1131">
                  <c:v>0.17661691542288599</c:v>
                </c:pt>
                <c:pt idx="1132">
                  <c:v>0.176625659050967</c:v>
                </c:pt>
                <c:pt idx="1133">
                  <c:v>0.17664233576642299</c:v>
                </c:pt>
                <c:pt idx="1134">
                  <c:v>0.17669172932330801</c:v>
                </c:pt>
                <c:pt idx="1135">
                  <c:v>0.17669172932330801</c:v>
                </c:pt>
                <c:pt idx="1136">
                  <c:v>0.17673179396092401</c:v>
                </c:pt>
                <c:pt idx="1137">
                  <c:v>0.17679558011049701</c:v>
                </c:pt>
                <c:pt idx="1138">
                  <c:v>0.17679558011049701</c:v>
                </c:pt>
                <c:pt idx="1139">
                  <c:v>0.17681159420289899</c:v>
                </c:pt>
                <c:pt idx="1140">
                  <c:v>0.176966292134831</c:v>
                </c:pt>
                <c:pt idx="1141">
                  <c:v>0.17701149425287399</c:v>
                </c:pt>
                <c:pt idx="1142">
                  <c:v>0.17709923664122099</c:v>
                </c:pt>
                <c:pt idx="1143">
                  <c:v>0.177111716621253</c:v>
                </c:pt>
                <c:pt idx="1144">
                  <c:v>0.17716535433070901</c:v>
                </c:pt>
                <c:pt idx="1145">
                  <c:v>0.177272727272727</c:v>
                </c:pt>
                <c:pt idx="1146">
                  <c:v>0.17730496453900699</c:v>
                </c:pt>
                <c:pt idx="1147">
                  <c:v>0.17731029301277201</c:v>
                </c:pt>
                <c:pt idx="1148">
                  <c:v>0.177358490566038</c:v>
                </c:pt>
                <c:pt idx="1149">
                  <c:v>0.17744543249797901</c:v>
                </c:pt>
                <c:pt idx="1150">
                  <c:v>0.17747440273037501</c:v>
                </c:pt>
                <c:pt idx="1151">
                  <c:v>0.177506775067751</c:v>
                </c:pt>
                <c:pt idx="1152">
                  <c:v>0.177554438860972</c:v>
                </c:pt>
                <c:pt idx="1153">
                  <c:v>0.17766497461928901</c:v>
                </c:pt>
                <c:pt idx="1154">
                  <c:v>0.17771883289124699</c:v>
                </c:pt>
                <c:pt idx="1155">
                  <c:v>0.17792068595927099</c:v>
                </c:pt>
                <c:pt idx="1156">
                  <c:v>0.177978883861237</c:v>
                </c:pt>
                <c:pt idx="1157">
                  <c:v>0.177993527508091</c:v>
                </c:pt>
                <c:pt idx="1158">
                  <c:v>0.178041543026706</c:v>
                </c:pt>
                <c:pt idx="1159">
                  <c:v>0.17816091954023</c:v>
                </c:pt>
                <c:pt idx="1160">
                  <c:v>0.17821782178217799</c:v>
                </c:pt>
                <c:pt idx="1161">
                  <c:v>0.17821782178217799</c:v>
                </c:pt>
                <c:pt idx="1162">
                  <c:v>0.17822736030828501</c:v>
                </c:pt>
                <c:pt idx="1163">
                  <c:v>0.178260869565217</c:v>
                </c:pt>
                <c:pt idx="1164">
                  <c:v>0.178269617706237</c:v>
                </c:pt>
                <c:pt idx="1165">
                  <c:v>0.17831325301204801</c:v>
                </c:pt>
                <c:pt idx="1166">
                  <c:v>0.178419711129991</c:v>
                </c:pt>
                <c:pt idx="1167">
                  <c:v>0.17846607669616499</c:v>
                </c:pt>
                <c:pt idx="1168">
                  <c:v>0.17857142857142899</c:v>
                </c:pt>
                <c:pt idx="1169">
                  <c:v>0.17857142857142899</c:v>
                </c:pt>
                <c:pt idx="1170">
                  <c:v>0.17857142857142899</c:v>
                </c:pt>
                <c:pt idx="1171">
                  <c:v>0.17857142857142899</c:v>
                </c:pt>
                <c:pt idx="1172">
                  <c:v>0.178617992177314</c:v>
                </c:pt>
                <c:pt idx="1173">
                  <c:v>0.17870722433460101</c:v>
                </c:pt>
                <c:pt idx="1174">
                  <c:v>0.17873510540788301</c:v>
                </c:pt>
                <c:pt idx="1175">
                  <c:v>0.17877094972067001</c:v>
                </c:pt>
                <c:pt idx="1176">
                  <c:v>0.178787878787879</c:v>
                </c:pt>
                <c:pt idx="1177">
                  <c:v>0.178794178794179</c:v>
                </c:pt>
                <c:pt idx="1178">
                  <c:v>0.17882352941176499</c:v>
                </c:pt>
                <c:pt idx="1179">
                  <c:v>0.17882919005613501</c:v>
                </c:pt>
                <c:pt idx="1180">
                  <c:v>0.17886178861788599</c:v>
                </c:pt>
                <c:pt idx="1181">
                  <c:v>0.178966789667897</c:v>
                </c:pt>
                <c:pt idx="1182">
                  <c:v>0.17928286852589601</c:v>
                </c:pt>
                <c:pt idx="1183">
                  <c:v>0.17931034482758601</c:v>
                </c:pt>
                <c:pt idx="1184">
                  <c:v>0.17932148626817401</c:v>
                </c:pt>
                <c:pt idx="1185">
                  <c:v>0.17948717948717899</c:v>
                </c:pt>
                <c:pt idx="1186">
                  <c:v>0.17948717948717899</c:v>
                </c:pt>
                <c:pt idx="1187">
                  <c:v>0.179640718562874</c:v>
                </c:pt>
                <c:pt idx="1188">
                  <c:v>0.17977528089887601</c:v>
                </c:pt>
                <c:pt idx="1189">
                  <c:v>0.179902755267423</c:v>
                </c:pt>
                <c:pt idx="1190">
                  <c:v>0.17993079584775101</c:v>
                </c:pt>
                <c:pt idx="1191">
                  <c:v>0.17994858611825201</c:v>
                </c:pt>
                <c:pt idx="1192">
                  <c:v>0.18</c:v>
                </c:pt>
                <c:pt idx="1193">
                  <c:v>0.18012422360248401</c:v>
                </c:pt>
                <c:pt idx="1194">
                  <c:v>0.180152671755725</c:v>
                </c:pt>
                <c:pt idx="1195">
                  <c:v>0.18023255813953501</c:v>
                </c:pt>
                <c:pt idx="1196">
                  <c:v>0.18032786885245899</c:v>
                </c:pt>
                <c:pt idx="1197">
                  <c:v>0.180451127819549</c:v>
                </c:pt>
                <c:pt idx="1198">
                  <c:v>0.18048505358149999</c:v>
                </c:pt>
                <c:pt idx="1199">
                  <c:v>0.180487804878049</c:v>
                </c:pt>
                <c:pt idx="1200">
                  <c:v>0.18051771117166199</c:v>
                </c:pt>
                <c:pt idx="1201">
                  <c:v>0.180555555555556</c:v>
                </c:pt>
                <c:pt idx="1202">
                  <c:v>0.180555555555556</c:v>
                </c:pt>
                <c:pt idx="1203">
                  <c:v>0.18057142857142899</c:v>
                </c:pt>
                <c:pt idx="1204">
                  <c:v>0.18060200668896301</c:v>
                </c:pt>
                <c:pt idx="1205">
                  <c:v>0.18079096045197701</c:v>
                </c:pt>
                <c:pt idx="1206">
                  <c:v>0.18082191780821899</c:v>
                </c:pt>
                <c:pt idx="1207">
                  <c:v>0.180851063829787</c:v>
                </c:pt>
                <c:pt idx="1208">
                  <c:v>0.18093819806403599</c:v>
                </c:pt>
                <c:pt idx="1209">
                  <c:v>0.18097014925373101</c:v>
                </c:pt>
                <c:pt idx="1210">
                  <c:v>0.180987202925046</c:v>
                </c:pt>
                <c:pt idx="1211">
                  <c:v>0.18099861303744799</c:v>
                </c:pt>
                <c:pt idx="1212">
                  <c:v>0.181034482758621</c:v>
                </c:pt>
                <c:pt idx="1213">
                  <c:v>0.181102362204724</c:v>
                </c:pt>
                <c:pt idx="1214">
                  <c:v>0.18117977528089901</c:v>
                </c:pt>
                <c:pt idx="1215">
                  <c:v>0.18120805369127499</c:v>
                </c:pt>
                <c:pt idx="1216">
                  <c:v>0.18120805369127499</c:v>
                </c:pt>
                <c:pt idx="1217">
                  <c:v>0.18123393316195399</c:v>
                </c:pt>
                <c:pt idx="1218">
                  <c:v>0.18124341412012601</c:v>
                </c:pt>
                <c:pt idx="1219">
                  <c:v>0.18126428027418101</c:v>
                </c:pt>
                <c:pt idx="1220">
                  <c:v>0.18126888217522699</c:v>
                </c:pt>
                <c:pt idx="1221">
                  <c:v>0.181372549019608</c:v>
                </c:pt>
                <c:pt idx="1222">
                  <c:v>0.18145695364238401</c:v>
                </c:pt>
                <c:pt idx="1223">
                  <c:v>0.18146718146718099</c:v>
                </c:pt>
                <c:pt idx="1224">
                  <c:v>0.18149466192170799</c:v>
                </c:pt>
                <c:pt idx="1225">
                  <c:v>0.181506849315068</c:v>
                </c:pt>
                <c:pt idx="1226">
                  <c:v>0.18181818181818199</c:v>
                </c:pt>
                <c:pt idx="1227">
                  <c:v>0.18181818181818199</c:v>
                </c:pt>
                <c:pt idx="1228">
                  <c:v>0.18181818181818199</c:v>
                </c:pt>
                <c:pt idx="1229">
                  <c:v>0.18181818181818199</c:v>
                </c:pt>
                <c:pt idx="1230">
                  <c:v>0.18181818181818199</c:v>
                </c:pt>
                <c:pt idx="1231">
                  <c:v>0.18196457326892099</c:v>
                </c:pt>
                <c:pt idx="1232">
                  <c:v>0.18198198198198201</c:v>
                </c:pt>
                <c:pt idx="1233">
                  <c:v>0.18201284796573899</c:v>
                </c:pt>
                <c:pt idx="1234">
                  <c:v>0.18205804749340401</c:v>
                </c:pt>
                <c:pt idx="1235">
                  <c:v>0.18217054263565899</c:v>
                </c:pt>
                <c:pt idx="1236">
                  <c:v>0.18220338983050799</c:v>
                </c:pt>
                <c:pt idx="1237">
                  <c:v>0.18225419664268599</c:v>
                </c:pt>
                <c:pt idx="1238">
                  <c:v>0.18228279386712101</c:v>
                </c:pt>
                <c:pt idx="1239">
                  <c:v>0.18229801055623199</c:v>
                </c:pt>
                <c:pt idx="1240">
                  <c:v>0.18231046931407899</c:v>
                </c:pt>
                <c:pt idx="1241">
                  <c:v>0.18232044198895</c:v>
                </c:pt>
                <c:pt idx="1242">
                  <c:v>0.182444061962134</c:v>
                </c:pt>
                <c:pt idx="1243">
                  <c:v>0.18279569892473099</c:v>
                </c:pt>
                <c:pt idx="1244">
                  <c:v>0.182835820895522</c:v>
                </c:pt>
                <c:pt idx="1245">
                  <c:v>0.182835820895522</c:v>
                </c:pt>
                <c:pt idx="1246">
                  <c:v>0.18300653594771199</c:v>
                </c:pt>
                <c:pt idx="1247">
                  <c:v>0.18306636155606401</c:v>
                </c:pt>
                <c:pt idx="1248">
                  <c:v>0.183098591549296</c:v>
                </c:pt>
                <c:pt idx="1249">
                  <c:v>0.183098591549296</c:v>
                </c:pt>
                <c:pt idx="1250">
                  <c:v>0.183098591549296</c:v>
                </c:pt>
                <c:pt idx="1251">
                  <c:v>0.183098591549296</c:v>
                </c:pt>
                <c:pt idx="1252">
                  <c:v>0.18311403508771901</c:v>
                </c:pt>
                <c:pt idx="1253">
                  <c:v>0.18332022029897699</c:v>
                </c:pt>
                <c:pt idx="1254">
                  <c:v>0.18341307814992</c:v>
                </c:pt>
                <c:pt idx="1255">
                  <c:v>0.18347010550996501</c:v>
                </c:pt>
                <c:pt idx="1256">
                  <c:v>0.18348623853210999</c:v>
                </c:pt>
                <c:pt idx="1257">
                  <c:v>0.183544303797468</c:v>
                </c:pt>
                <c:pt idx="1258">
                  <c:v>0.18355359765051399</c:v>
                </c:pt>
                <c:pt idx="1259">
                  <c:v>0.18358208955223901</c:v>
                </c:pt>
                <c:pt idx="1260">
                  <c:v>0.183589743589744</c:v>
                </c:pt>
                <c:pt idx="1261">
                  <c:v>0.18359375</c:v>
                </c:pt>
                <c:pt idx="1262">
                  <c:v>0.183856502242152</c:v>
                </c:pt>
                <c:pt idx="1263">
                  <c:v>0.18396226415094299</c:v>
                </c:pt>
                <c:pt idx="1264">
                  <c:v>0.18396591789310601</c:v>
                </c:pt>
                <c:pt idx="1265">
                  <c:v>0.184</c:v>
                </c:pt>
                <c:pt idx="1266">
                  <c:v>0.18402777777777801</c:v>
                </c:pt>
                <c:pt idx="1267">
                  <c:v>0.18409159385356999</c:v>
                </c:pt>
                <c:pt idx="1268">
                  <c:v>0.18416206261510101</c:v>
                </c:pt>
                <c:pt idx="1269">
                  <c:v>0.18421052631578899</c:v>
                </c:pt>
                <c:pt idx="1270">
                  <c:v>0.18421052631578899</c:v>
                </c:pt>
                <c:pt idx="1271">
                  <c:v>0.184254606365159</c:v>
                </c:pt>
                <c:pt idx="1272">
                  <c:v>0.184254606365159</c:v>
                </c:pt>
                <c:pt idx="1273">
                  <c:v>0.18426501035196699</c:v>
                </c:pt>
                <c:pt idx="1274">
                  <c:v>0.184339314845024</c:v>
                </c:pt>
                <c:pt idx="1275">
                  <c:v>0.18437500000000001</c:v>
                </c:pt>
                <c:pt idx="1276">
                  <c:v>0.184388444990781</c:v>
                </c:pt>
                <c:pt idx="1277">
                  <c:v>0.18442622950819701</c:v>
                </c:pt>
                <c:pt idx="1278">
                  <c:v>0.18444444444444399</c:v>
                </c:pt>
                <c:pt idx="1279">
                  <c:v>0.18449389806173699</c:v>
                </c:pt>
                <c:pt idx="1280">
                  <c:v>0.18461538461538499</c:v>
                </c:pt>
                <c:pt idx="1281">
                  <c:v>0.18461538461538499</c:v>
                </c:pt>
                <c:pt idx="1282">
                  <c:v>0.18461538461538499</c:v>
                </c:pt>
                <c:pt idx="1283">
                  <c:v>0.184639663335087</c:v>
                </c:pt>
                <c:pt idx="1284">
                  <c:v>0.18464730290456399</c:v>
                </c:pt>
                <c:pt idx="1285">
                  <c:v>0.18472222222222201</c:v>
                </c:pt>
                <c:pt idx="1286">
                  <c:v>0.184796854521625</c:v>
                </c:pt>
                <c:pt idx="1287">
                  <c:v>0.184859154929577</c:v>
                </c:pt>
                <c:pt idx="1288">
                  <c:v>0.184931506849315</c:v>
                </c:pt>
                <c:pt idx="1289">
                  <c:v>0.184971098265896</c:v>
                </c:pt>
                <c:pt idx="1290">
                  <c:v>0.18518518518518501</c:v>
                </c:pt>
                <c:pt idx="1291">
                  <c:v>0.18518518518518501</c:v>
                </c:pt>
                <c:pt idx="1292">
                  <c:v>0.18518518518518501</c:v>
                </c:pt>
                <c:pt idx="1293">
                  <c:v>0.18526315789473699</c:v>
                </c:pt>
                <c:pt idx="1294">
                  <c:v>0.185414091470952</c:v>
                </c:pt>
                <c:pt idx="1295">
                  <c:v>0.18548387096774199</c:v>
                </c:pt>
                <c:pt idx="1296">
                  <c:v>0.18548387096774199</c:v>
                </c:pt>
                <c:pt idx="1297">
                  <c:v>0.18550724637681201</c:v>
                </c:pt>
                <c:pt idx="1298">
                  <c:v>0.18551236749116601</c:v>
                </c:pt>
                <c:pt idx="1299">
                  <c:v>0.18552774755168699</c:v>
                </c:pt>
                <c:pt idx="1300">
                  <c:v>0.18567251461988299</c:v>
                </c:pt>
                <c:pt idx="1301">
                  <c:v>0.18568232662192399</c:v>
                </c:pt>
                <c:pt idx="1302">
                  <c:v>0.185714285714286</c:v>
                </c:pt>
                <c:pt idx="1303">
                  <c:v>0.185714285714286</c:v>
                </c:pt>
                <c:pt idx="1304">
                  <c:v>0.185714285714286</c:v>
                </c:pt>
                <c:pt idx="1305">
                  <c:v>0.185738444193912</c:v>
                </c:pt>
                <c:pt idx="1306">
                  <c:v>0.18575063613231499</c:v>
                </c:pt>
                <c:pt idx="1307">
                  <c:v>0.185770750988142</c:v>
                </c:pt>
                <c:pt idx="1308">
                  <c:v>0.18577777777777801</c:v>
                </c:pt>
                <c:pt idx="1309">
                  <c:v>0.18582541054451199</c:v>
                </c:pt>
                <c:pt idx="1310">
                  <c:v>0.18589743589743599</c:v>
                </c:pt>
                <c:pt idx="1311">
                  <c:v>0.185929648241206</c:v>
                </c:pt>
                <c:pt idx="1312">
                  <c:v>0.185964912280702</c:v>
                </c:pt>
                <c:pt idx="1313">
                  <c:v>0.18598382749326101</c:v>
                </c:pt>
                <c:pt idx="1314">
                  <c:v>0.186046511627907</c:v>
                </c:pt>
                <c:pt idx="1315">
                  <c:v>0.186046511627907</c:v>
                </c:pt>
                <c:pt idx="1316">
                  <c:v>0.18617021276595699</c:v>
                </c:pt>
                <c:pt idx="1317">
                  <c:v>0.186180422264875</c:v>
                </c:pt>
                <c:pt idx="1318">
                  <c:v>0.18624467437614101</c:v>
                </c:pt>
                <c:pt idx="1319">
                  <c:v>0.18635607321131401</c:v>
                </c:pt>
                <c:pt idx="1320">
                  <c:v>0.186379928315412</c:v>
                </c:pt>
                <c:pt idx="1321">
                  <c:v>0.186413902053712</c:v>
                </c:pt>
                <c:pt idx="1322">
                  <c:v>0.186440677966102</c:v>
                </c:pt>
                <c:pt idx="1323">
                  <c:v>0.186440677966102</c:v>
                </c:pt>
                <c:pt idx="1324">
                  <c:v>0.18653846153846201</c:v>
                </c:pt>
                <c:pt idx="1325">
                  <c:v>0.18668831168831199</c:v>
                </c:pt>
                <c:pt idx="1326">
                  <c:v>0.186746987951807</c:v>
                </c:pt>
                <c:pt idx="1327">
                  <c:v>0.186746987951807</c:v>
                </c:pt>
                <c:pt idx="1328">
                  <c:v>0.18686868686868699</c:v>
                </c:pt>
                <c:pt idx="1329">
                  <c:v>0.18699186991869901</c:v>
                </c:pt>
                <c:pt idx="1330">
                  <c:v>0.18699186991869901</c:v>
                </c:pt>
                <c:pt idx="1331">
                  <c:v>0.187087307410125</c:v>
                </c:pt>
                <c:pt idx="1332">
                  <c:v>0.187245590230665</c:v>
                </c:pt>
                <c:pt idx="1333">
                  <c:v>0.18727915194346301</c:v>
                </c:pt>
                <c:pt idx="1334">
                  <c:v>0.18744662681468799</c:v>
                </c:pt>
                <c:pt idx="1335">
                  <c:v>0.1875</c:v>
                </c:pt>
                <c:pt idx="1336">
                  <c:v>0.1875</c:v>
                </c:pt>
                <c:pt idx="1337">
                  <c:v>0.1875</c:v>
                </c:pt>
                <c:pt idx="1338">
                  <c:v>0.1875</c:v>
                </c:pt>
                <c:pt idx="1339">
                  <c:v>0.1875</c:v>
                </c:pt>
                <c:pt idx="1340">
                  <c:v>0.187604690117253</c:v>
                </c:pt>
                <c:pt idx="1341">
                  <c:v>0.187607573149742</c:v>
                </c:pt>
                <c:pt idx="1342">
                  <c:v>0.18786464410735099</c:v>
                </c:pt>
                <c:pt idx="1343">
                  <c:v>0.18796992481203001</c:v>
                </c:pt>
                <c:pt idx="1344">
                  <c:v>0.187995469988675</c:v>
                </c:pt>
                <c:pt idx="1345">
                  <c:v>0.18804920913883999</c:v>
                </c:pt>
                <c:pt idx="1346">
                  <c:v>0.18808411214953299</c:v>
                </c:pt>
                <c:pt idx="1347">
                  <c:v>0.18817204301075299</c:v>
                </c:pt>
                <c:pt idx="1348">
                  <c:v>0.188176519567027</c:v>
                </c:pt>
                <c:pt idx="1349">
                  <c:v>0.18825722273998099</c:v>
                </c:pt>
                <c:pt idx="1350">
                  <c:v>0.188316151202749</c:v>
                </c:pt>
                <c:pt idx="1351">
                  <c:v>0.188372093023256</c:v>
                </c:pt>
                <c:pt idx="1352">
                  <c:v>0.188405797101449</c:v>
                </c:pt>
                <c:pt idx="1353">
                  <c:v>0.188405797101449</c:v>
                </c:pt>
                <c:pt idx="1354">
                  <c:v>0.188427299703264</c:v>
                </c:pt>
                <c:pt idx="1355">
                  <c:v>0.188505747126437</c:v>
                </c:pt>
                <c:pt idx="1356">
                  <c:v>0.188559322033898</c:v>
                </c:pt>
                <c:pt idx="1357">
                  <c:v>0.18861209964412801</c:v>
                </c:pt>
                <c:pt idx="1358">
                  <c:v>0.18863049095607201</c:v>
                </c:pt>
                <c:pt idx="1359">
                  <c:v>0.188644688644689</c:v>
                </c:pt>
                <c:pt idx="1360">
                  <c:v>0.18867924528301899</c:v>
                </c:pt>
                <c:pt idx="1361">
                  <c:v>0.18867924528301899</c:v>
                </c:pt>
                <c:pt idx="1362">
                  <c:v>0.18874332848132</c:v>
                </c:pt>
                <c:pt idx="1363">
                  <c:v>0.18877551020408201</c:v>
                </c:pt>
                <c:pt idx="1364">
                  <c:v>0.18879056047197601</c:v>
                </c:pt>
                <c:pt idx="1365">
                  <c:v>0.18879056047197601</c:v>
                </c:pt>
                <c:pt idx="1366">
                  <c:v>0.18898240244835501</c:v>
                </c:pt>
                <c:pt idx="1367">
                  <c:v>0.18910256410256401</c:v>
                </c:pt>
                <c:pt idx="1368">
                  <c:v>0.18911174785100299</c:v>
                </c:pt>
                <c:pt idx="1369">
                  <c:v>0.18918918918918901</c:v>
                </c:pt>
                <c:pt idx="1370">
                  <c:v>0.18918918918918901</c:v>
                </c:pt>
                <c:pt idx="1371">
                  <c:v>0.18918918918918901</c:v>
                </c:pt>
                <c:pt idx="1372">
                  <c:v>0.18918918918918901</c:v>
                </c:pt>
                <c:pt idx="1373">
                  <c:v>0.18918918918918901</c:v>
                </c:pt>
                <c:pt idx="1374">
                  <c:v>0.18918918918918901</c:v>
                </c:pt>
                <c:pt idx="1375">
                  <c:v>0.18925831202046001</c:v>
                </c:pt>
                <c:pt idx="1376">
                  <c:v>0.18930041152263399</c:v>
                </c:pt>
                <c:pt idx="1377">
                  <c:v>0.18930481283422501</c:v>
                </c:pt>
                <c:pt idx="1378">
                  <c:v>0.18944519621109601</c:v>
                </c:pt>
                <c:pt idx="1379">
                  <c:v>0.189723320158103</c:v>
                </c:pt>
                <c:pt idx="1380">
                  <c:v>0.18978102189780999</c:v>
                </c:pt>
                <c:pt idx="1381">
                  <c:v>0.18981481481481499</c:v>
                </c:pt>
                <c:pt idx="1382">
                  <c:v>0.18981481481481499</c:v>
                </c:pt>
                <c:pt idx="1383">
                  <c:v>0.18983957219251299</c:v>
                </c:pt>
                <c:pt idx="1384">
                  <c:v>0.18985215053763399</c:v>
                </c:pt>
                <c:pt idx="1385">
                  <c:v>0.18991416309012901</c:v>
                </c:pt>
                <c:pt idx="1386">
                  <c:v>0.19008264462809901</c:v>
                </c:pt>
                <c:pt idx="1387">
                  <c:v>0.19008264462809901</c:v>
                </c:pt>
                <c:pt idx="1388">
                  <c:v>0.19011082693947101</c:v>
                </c:pt>
                <c:pt idx="1389">
                  <c:v>0.19012345679012299</c:v>
                </c:pt>
                <c:pt idx="1390">
                  <c:v>0.190240889437925</c:v>
                </c:pt>
                <c:pt idx="1391">
                  <c:v>0.19029126213592201</c:v>
                </c:pt>
                <c:pt idx="1392">
                  <c:v>0.190317195325543</c:v>
                </c:pt>
                <c:pt idx="1393">
                  <c:v>0.190348525469169</c:v>
                </c:pt>
                <c:pt idx="1394">
                  <c:v>0.19039145907473301</c:v>
                </c:pt>
                <c:pt idx="1395">
                  <c:v>0.19047619047618999</c:v>
                </c:pt>
                <c:pt idx="1396">
                  <c:v>0.19047619047618999</c:v>
                </c:pt>
                <c:pt idx="1397">
                  <c:v>0.19047619047618999</c:v>
                </c:pt>
                <c:pt idx="1398">
                  <c:v>0.19053549190535499</c:v>
                </c:pt>
                <c:pt idx="1399">
                  <c:v>0.19056603773584899</c:v>
                </c:pt>
                <c:pt idx="1400">
                  <c:v>0.19060773480663001</c:v>
                </c:pt>
                <c:pt idx="1401">
                  <c:v>0.19072164948453599</c:v>
                </c:pt>
                <c:pt idx="1402">
                  <c:v>0.190781049935979</c:v>
                </c:pt>
                <c:pt idx="1403">
                  <c:v>0.190806591500434</c:v>
                </c:pt>
                <c:pt idx="1404">
                  <c:v>0.190883190883191</c:v>
                </c:pt>
                <c:pt idx="1405">
                  <c:v>0.190909090909091</c:v>
                </c:pt>
                <c:pt idx="1406">
                  <c:v>0.19094922737306799</c:v>
                </c:pt>
                <c:pt idx="1407">
                  <c:v>0.19104716227018401</c:v>
                </c:pt>
                <c:pt idx="1408">
                  <c:v>0.19109195402298801</c:v>
                </c:pt>
                <c:pt idx="1409">
                  <c:v>0.19113924050632899</c:v>
                </c:pt>
                <c:pt idx="1410">
                  <c:v>0.19135802469135799</c:v>
                </c:pt>
                <c:pt idx="1411">
                  <c:v>0.191383595691798</c:v>
                </c:pt>
                <c:pt idx="1412">
                  <c:v>0.19148936170212799</c:v>
                </c:pt>
                <c:pt idx="1413">
                  <c:v>0.19148936170212799</c:v>
                </c:pt>
                <c:pt idx="1414">
                  <c:v>0.19151670951156799</c:v>
                </c:pt>
                <c:pt idx="1415">
                  <c:v>0.191601049868766</c:v>
                </c:pt>
                <c:pt idx="1416">
                  <c:v>0.19168173598553301</c:v>
                </c:pt>
                <c:pt idx="1417">
                  <c:v>0.191685912240185</c:v>
                </c:pt>
                <c:pt idx="1418">
                  <c:v>0.191693290734824</c:v>
                </c:pt>
                <c:pt idx="1419">
                  <c:v>0.191729323308271</c:v>
                </c:pt>
                <c:pt idx="1420">
                  <c:v>0.19178082191780799</c:v>
                </c:pt>
                <c:pt idx="1421">
                  <c:v>0.19180633147113599</c:v>
                </c:pt>
                <c:pt idx="1422">
                  <c:v>0.191823899371069</c:v>
                </c:pt>
                <c:pt idx="1423">
                  <c:v>0.19184290030211501</c:v>
                </c:pt>
                <c:pt idx="1424">
                  <c:v>0.19186652763295101</c:v>
                </c:pt>
                <c:pt idx="1425">
                  <c:v>0.19188191881918801</c:v>
                </c:pt>
                <c:pt idx="1426">
                  <c:v>0.19195046439628499</c:v>
                </c:pt>
                <c:pt idx="1427">
                  <c:v>0.191964285714286</c:v>
                </c:pt>
                <c:pt idx="1428">
                  <c:v>0.19197896120972999</c:v>
                </c:pt>
                <c:pt idx="1429">
                  <c:v>0.19205298013245001</c:v>
                </c:pt>
                <c:pt idx="1430">
                  <c:v>0.19205298013245001</c:v>
                </c:pt>
                <c:pt idx="1431">
                  <c:v>0.19209039548022599</c:v>
                </c:pt>
                <c:pt idx="1432">
                  <c:v>0.192164179104478</c:v>
                </c:pt>
                <c:pt idx="1433">
                  <c:v>0.19228210246174299</c:v>
                </c:pt>
                <c:pt idx="1434">
                  <c:v>0.19229103508012099</c:v>
                </c:pt>
                <c:pt idx="1435">
                  <c:v>0.19230769230769201</c:v>
                </c:pt>
                <c:pt idx="1436">
                  <c:v>0.19230769230769201</c:v>
                </c:pt>
                <c:pt idx="1437">
                  <c:v>0.19230769230769201</c:v>
                </c:pt>
                <c:pt idx="1438">
                  <c:v>0.19230769230769201</c:v>
                </c:pt>
                <c:pt idx="1439">
                  <c:v>0.19233186675047101</c:v>
                </c:pt>
                <c:pt idx="1440">
                  <c:v>0.19238476953907799</c:v>
                </c:pt>
                <c:pt idx="1441">
                  <c:v>0.192393736017897</c:v>
                </c:pt>
                <c:pt idx="1442">
                  <c:v>0.192393736017897</c:v>
                </c:pt>
                <c:pt idx="1443">
                  <c:v>0.19245283018867901</c:v>
                </c:pt>
                <c:pt idx="1444">
                  <c:v>0.19251336898395699</c:v>
                </c:pt>
                <c:pt idx="1445">
                  <c:v>0.19259259259259301</c:v>
                </c:pt>
                <c:pt idx="1446">
                  <c:v>0.19262981574539401</c:v>
                </c:pt>
                <c:pt idx="1447">
                  <c:v>0.19263456090651601</c:v>
                </c:pt>
                <c:pt idx="1448">
                  <c:v>0.192660550458716</c:v>
                </c:pt>
                <c:pt idx="1449">
                  <c:v>0.192697768762677</c:v>
                </c:pt>
                <c:pt idx="1450">
                  <c:v>0.19270833333333301</c:v>
                </c:pt>
                <c:pt idx="1451">
                  <c:v>0.19273743016759801</c:v>
                </c:pt>
                <c:pt idx="1452">
                  <c:v>0.19275461380724501</c:v>
                </c:pt>
                <c:pt idx="1453">
                  <c:v>0.19275549805950801</c:v>
                </c:pt>
                <c:pt idx="1454">
                  <c:v>0.192857142857143</c:v>
                </c:pt>
                <c:pt idx="1455">
                  <c:v>0.192857142857143</c:v>
                </c:pt>
                <c:pt idx="1456">
                  <c:v>0.19289340101522801</c:v>
                </c:pt>
                <c:pt idx="1457">
                  <c:v>0.19298245614035101</c:v>
                </c:pt>
                <c:pt idx="1458">
                  <c:v>0.19305856832971799</c:v>
                </c:pt>
                <c:pt idx="1459">
                  <c:v>0.19306930693069299</c:v>
                </c:pt>
                <c:pt idx="1460">
                  <c:v>0.19310344827586201</c:v>
                </c:pt>
                <c:pt idx="1461">
                  <c:v>0.193129062209842</c:v>
                </c:pt>
                <c:pt idx="1462">
                  <c:v>0.19315403422982899</c:v>
                </c:pt>
                <c:pt idx="1463">
                  <c:v>0.19318181818181801</c:v>
                </c:pt>
                <c:pt idx="1464">
                  <c:v>0.19320987654321001</c:v>
                </c:pt>
                <c:pt idx="1465">
                  <c:v>0.19327731092437</c:v>
                </c:pt>
                <c:pt idx="1466">
                  <c:v>0.19341563786008201</c:v>
                </c:pt>
                <c:pt idx="1467">
                  <c:v>0.193426042983565</c:v>
                </c:pt>
                <c:pt idx="1468">
                  <c:v>0.19345238095238099</c:v>
                </c:pt>
                <c:pt idx="1469">
                  <c:v>0.19354838709677399</c:v>
                </c:pt>
                <c:pt idx="1470">
                  <c:v>0.19354838709677399</c:v>
                </c:pt>
                <c:pt idx="1471">
                  <c:v>0.193656093489149</c:v>
                </c:pt>
                <c:pt idx="1472">
                  <c:v>0.19371282922684799</c:v>
                </c:pt>
                <c:pt idx="1473">
                  <c:v>0.19377729257641901</c:v>
                </c:pt>
                <c:pt idx="1474">
                  <c:v>0.193808882907133</c:v>
                </c:pt>
                <c:pt idx="1475">
                  <c:v>0.19382504288164701</c:v>
                </c:pt>
                <c:pt idx="1476">
                  <c:v>0.19383259911894299</c:v>
                </c:pt>
                <c:pt idx="1477">
                  <c:v>0.19383886255924199</c:v>
                </c:pt>
                <c:pt idx="1478">
                  <c:v>0.193887297039159</c:v>
                </c:pt>
                <c:pt idx="1479">
                  <c:v>0.193998309382925</c:v>
                </c:pt>
                <c:pt idx="1480">
                  <c:v>0.19402985074626899</c:v>
                </c:pt>
                <c:pt idx="1481">
                  <c:v>0.19402985074626899</c:v>
                </c:pt>
                <c:pt idx="1482">
                  <c:v>0.19402985074626899</c:v>
                </c:pt>
                <c:pt idx="1483">
                  <c:v>0.19405940594059401</c:v>
                </c:pt>
                <c:pt idx="1484">
                  <c:v>0.19413092550790101</c:v>
                </c:pt>
                <c:pt idx="1485">
                  <c:v>0.194154488517745</c:v>
                </c:pt>
                <c:pt idx="1486">
                  <c:v>0.19417475728155301</c:v>
                </c:pt>
                <c:pt idx="1487">
                  <c:v>0.194244604316547</c:v>
                </c:pt>
                <c:pt idx="1488">
                  <c:v>0.194244604316547</c:v>
                </c:pt>
                <c:pt idx="1489">
                  <c:v>0.194267515923567</c:v>
                </c:pt>
                <c:pt idx="1490">
                  <c:v>0.19431554524361899</c:v>
                </c:pt>
                <c:pt idx="1491">
                  <c:v>0.19439252336448601</c:v>
                </c:pt>
                <c:pt idx="1492">
                  <c:v>0.194444444444444</c:v>
                </c:pt>
                <c:pt idx="1493">
                  <c:v>0.194444444444444</c:v>
                </c:pt>
                <c:pt idx="1494">
                  <c:v>0.194444444444444</c:v>
                </c:pt>
                <c:pt idx="1495">
                  <c:v>0.194444444444444</c:v>
                </c:pt>
                <c:pt idx="1496">
                  <c:v>0.19446704637917001</c:v>
                </c:pt>
                <c:pt idx="1497">
                  <c:v>0.194477791116447</c:v>
                </c:pt>
                <c:pt idx="1498">
                  <c:v>0.19464285714285701</c:v>
                </c:pt>
                <c:pt idx="1499">
                  <c:v>0.19465648854961801</c:v>
                </c:pt>
                <c:pt idx="1500">
                  <c:v>0.19468085106383001</c:v>
                </c:pt>
                <c:pt idx="1501">
                  <c:v>0.19469026548672599</c:v>
                </c:pt>
                <c:pt idx="1502">
                  <c:v>0.19469026548672599</c:v>
                </c:pt>
                <c:pt idx="1503">
                  <c:v>0.194698354661792</c:v>
                </c:pt>
                <c:pt idx="1504">
                  <c:v>0.19480519480519501</c:v>
                </c:pt>
                <c:pt idx="1505">
                  <c:v>0.194819212088505</c:v>
                </c:pt>
                <c:pt idx="1506">
                  <c:v>0.19485294117647101</c:v>
                </c:pt>
                <c:pt idx="1507">
                  <c:v>0.19487179487179501</c:v>
                </c:pt>
                <c:pt idx="1508">
                  <c:v>0.19496855345911901</c:v>
                </c:pt>
                <c:pt idx="1509">
                  <c:v>0.19500000000000001</c:v>
                </c:pt>
                <c:pt idx="1510">
                  <c:v>0.19502868068833601</c:v>
                </c:pt>
                <c:pt idx="1511">
                  <c:v>0.19509345794392499</c:v>
                </c:pt>
                <c:pt idx="1512">
                  <c:v>0.19512195121951201</c:v>
                </c:pt>
                <c:pt idx="1513">
                  <c:v>0.19512195121951201</c:v>
                </c:pt>
                <c:pt idx="1514">
                  <c:v>0.19514767932489399</c:v>
                </c:pt>
                <c:pt idx="1515">
                  <c:v>0.19515774027879701</c:v>
                </c:pt>
                <c:pt idx="1516">
                  <c:v>0.19525801952580199</c:v>
                </c:pt>
                <c:pt idx="1517">
                  <c:v>0.19534050179211501</c:v>
                </c:pt>
                <c:pt idx="1518">
                  <c:v>0.19534145050291199</c:v>
                </c:pt>
                <c:pt idx="1519">
                  <c:v>0.19534883720930199</c:v>
                </c:pt>
                <c:pt idx="1520">
                  <c:v>0.19534883720930199</c:v>
                </c:pt>
                <c:pt idx="1521">
                  <c:v>0.19559585492227999</c:v>
                </c:pt>
                <c:pt idx="1522">
                  <c:v>0.19565217391304299</c:v>
                </c:pt>
                <c:pt idx="1523">
                  <c:v>0.19565217391304299</c:v>
                </c:pt>
                <c:pt idx="1524">
                  <c:v>0.19565217391304299</c:v>
                </c:pt>
                <c:pt idx="1525">
                  <c:v>0.19565217391304299</c:v>
                </c:pt>
                <c:pt idx="1526">
                  <c:v>0.19577308120133499</c:v>
                </c:pt>
                <c:pt idx="1527">
                  <c:v>0.19587628865979401</c:v>
                </c:pt>
                <c:pt idx="1528">
                  <c:v>0.19589552238805999</c:v>
                </c:pt>
                <c:pt idx="1529">
                  <c:v>0.19605077574047999</c:v>
                </c:pt>
                <c:pt idx="1530">
                  <c:v>0.19605568445475599</c:v>
                </c:pt>
                <c:pt idx="1531">
                  <c:v>0.19608908202064099</c:v>
                </c:pt>
                <c:pt idx="1532">
                  <c:v>0.19613259668508301</c:v>
                </c:pt>
                <c:pt idx="1533">
                  <c:v>0.196141479099678</c:v>
                </c:pt>
                <c:pt idx="1534">
                  <c:v>0.196273291925466</c:v>
                </c:pt>
                <c:pt idx="1535">
                  <c:v>0.19634703196347</c:v>
                </c:pt>
                <c:pt idx="1536">
                  <c:v>0.19642857142857101</c:v>
                </c:pt>
                <c:pt idx="1537">
                  <c:v>0.19642857142857101</c:v>
                </c:pt>
                <c:pt idx="1538">
                  <c:v>0.19646526921496099</c:v>
                </c:pt>
                <c:pt idx="1539">
                  <c:v>0.19647355163728</c:v>
                </c:pt>
                <c:pt idx="1540">
                  <c:v>0.196544276457883</c:v>
                </c:pt>
                <c:pt idx="1541">
                  <c:v>0.19655667144906699</c:v>
                </c:pt>
                <c:pt idx="1542">
                  <c:v>0.19665271966527201</c:v>
                </c:pt>
                <c:pt idx="1543">
                  <c:v>0.19665271966527201</c:v>
                </c:pt>
                <c:pt idx="1544">
                  <c:v>0.19677419354838699</c:v>
                </c:pt>
                <c:pt idx="1545">
                  <c:v>0.19678217821782201</c:v>
                </c:pt>
                <c:pt idx="1546">
                  <c:v>0.196850393700787</c:v>
                </c:pt>
                <c:pt idx="1547">
                  <c:v>0.19689119170984501</c:v>
                </c:pt>
                <c:pt idx="1548">
                  <c:v>0.19691119691119699</c:v>
                </c:pt>
                <c:pt idx="1549">
                  <c:v>0.19696969696969699</c:v>
                </c:pt>
                <c:pt idx="1550">
                  <c:v>0.19696969696969699</c:v>
                </c:pt>
                <c:pt idx="1551">
                  <c:v>0.197002141327623</c:v>
                </c:pt>
                <c:pt idx="1552">
                  <c:v>0.197006277160792</c:v>
                </c:pt>
                <c:pt idx="1553">
                  <c:v>0.197014925373134</c:v>
                </c:pt>
                <c:pt idx="1554">
                  <c:v>0.19705882352941201</c:v>
                </c:pt>
                <c:pt idx="1555">
                  <c:v>0.19708029197080301</c:v>
                </c:pt>
                <c:pt idx="1556">
                  <c:v>0.19718309859154901</c:v>
                </c:pt>
                <c:pt idx="1557">
                  <c:v>0.19719953325554301</c:v>
                </c:pt>
                <c:pt idx="1558">
                  <c:v>0.197333333333333</c:v>
                </c:pt>
                <c:pt idx="1559">
                  <c:v>0.19734151329243399</c:v>
                </c:pt>
                <c:pt idx="1560">
                  <c:v>0.19735006973500699</c:v>
                </c:pt>
                <c:pt idx="1561">
                  <c:v>0.19735503560529</c:v>
                </c:pt>
                <c:pt idx="1562">
                  <c:v>0.197357555739059</c:v>
                </c:pt>
                <c:pt idx="1563">
                  <c:v>0.197383390216155</c:v>
                </c:pt>
                <c:pt idx="1564">
                  <c:v>0.19742883379247</c:v>
                </c:pt>
                <c:pt idx="1565">
                  <c:v>0.19749652294854</c:v>
                </c:pt>
                <c:pt idx="1566">
                  <c:v>0.19753086419753099</c:v>
                </c:pt>
                <c:pt idx="1567">
                  <c:v>0.19753086419753099</c:v>
                </c:pt>
                <c:pt idx="1568">
                  <c:v>0.197560975609756</c:v>
                </c:pt>
                <c:pt idx="1569">
                  <c:v>0.19764279238440599</c:v>
                </c:pt>
                <c:pt idx="1570">
                  <c:v>0.19767441860465099</c:v>
                </c:pt>
                <c:pt idx="1571">
                  <c:v>0.19780219780219799</c:v>
                </c:pt>
                <c:pt idx="1572">
                  <c:v>0.19786368260427301</c:v>
                </c:pt>
                <c:pt idx="1573">
                  <c:v>0.19788918205804701</c:v>
                </c:pt>
                <c:pt idx="1574">
                  <c:v>0.19793814432989701</c:v>
                </c:pt>
                <c:pt idx="1575">
                  <c:v>0.19800000000000001</c:v>
                </c:pt>
                <c:pt idx="1576">
                  <c:v>0.198019801980198</c:v>
                </c:pt>
                <c:pt idx="1577">
                  <c:v>0.198019801980198</c:v>
                </c:pt>
                <c:pt idx="1578">
                  <c:v>0.19807692307692301</c:v>
                </c:pt>
                <c:pt idx="1579">
                  <c:v>0.19812426729191099</c:v>
                </c:pt>
                <c:pt idx="1580">
                  <c:v>0.19816138917262499</c:v>
                </c:pt>
                <c:pt idx="1581">
                  <c:v>0.19817351598173499</c:v>
                </c:pt>
                <c:pt idx="1582">
                  <c:v>0.198189134808853</c:v>
                </c:pt>
                <c:pt idx="1583">
                  <c:v>0.19819819819819801</c:v>
                </c:pt>
                <c:pt idx="1584">
                  <c:v>0.198237885462555</c:v>
                </c:pt>
                <c:pt idx="1585">
                  <c:v>0.198237885462555</c:v>
                </c:pt>
                <c:pt idx="1586">
                  <c:v>0.19825072886297401</c:v>
                </c:pt>
                <c:pt idx="1587">
                  <c:v>0.198290598290598</c:v>
                </c:pt>
                <c:pt idx="1588">
                  <c:v>0.19830028328611901</c:v>
                </c:pt>
                <c:pt idx="1589">
                  <c:v>0.19831223628691999</c:v>
                </c:pt>
                <c:pt idx="1590">
                  <c:v>0.19839999999999999</c:v>
                </c:pt>
                <c:pt idx="1591">
                  <c:v>0.19846596356663501</c:v>
                </c:pt>
                <c:pt idx="1592">
                  <c:v>0.19855595667869999</c:v>
                </c:pt>
                <c:pt idx="1593">
                  <c:v>0.19856630824372801</c:v>
                </c:pt>
                <c:pt idx="1594">
                  <c:v>0.198653198653199</c:v>
                </c:pt>
                <c:pt idx="1595">
                  <c:v>0.19867549668874199</c:v>
                </c:pt>
                <c:pt idx="1596">
                  <c:v>0.19875776397515499</c:v>
                </c:pt>
                <c:pt idx="1597">
                  <c:v>0.19902319902319901</c:v>
                </c:pt>
                <c:pt idx="1598">
                  <c:v>0.19908466819222001</c:v>
                </c:pt>
                <c:pt idx="1599">
                  <c:v>0.199134199134199</c:v>
                </c:pt>
                <c:pt idx="1600">
                  <c:v>0.19915254237288099</c:v>
                </c:pt>
                <c:pt idx="1601">
                  <c:v>0.19916267942583701</c:v>
                </c:pt>
                <c:pt idx="1602">
                  <c:v>0.199167244968772</c:v>
                </c:pt>
                <c:pt idx="1603">
                  <c:v>0.19920318725099601</c:v>
                </c:pt>
                <c:pt idx="1604">
                  <c:v>0.19921104536489101</c:v>
                </c:pt>
                <c:pt idx="1605">
                  <c:v>0.19929660023446699</c:v>
                </c:pt>
                <c:pt idx="1606">
                  <c:v>0.19938650306748501</c:v>
                </c:pt>
                <c:pt idx="1607">
                  <c:v>0.199438202247191</c:v>
                </c:pt>
                <c:pt idx="1608">
                  <c:v>0.19944444444444401</c:v>
                </c:pt>
                <c:pt idx="1609">
                  <c:v>0.19945167923235099</c:v>
                </c:pt>
                <c:pt idx="1610">
                  <c:v>0.199460916442048</c:v>
                </c:pt>
                <c:pt idx="1611">
                  <c:v>0.19946236559139799</c:v>
                </c:pt>
                <c:pt idx="1612">
                  <c:v>0.199498117942284</c:v>
                </c:pt>
                <c:pt idx="1613">
                  <c:v>0.2</c:v>
                </c:pt>
                <c:pt idx="1614">
                  <c:v>0.2</c:v>
                </c:pt>
                <c:pt idx="1615">
                  <c:v>0.2</c:v>
                </c:pt>
                <c:pt idx="1616">
                  <c:v>0.2</c:v>
                </c:pt>
                <c:pt idx="1617">
                  <c:v>0.2</c:v>
                </c:pt>
                <c:pt idx="1618">
                  <c:v>0.2</c:v>
                </c:pt>
                <c:pt idx="1619">
                  <c:v>0.2</c:v>
                </c:pt>
                <c:pt idx="1620">
                  <c:v>0.2</c:v>
                </c:pt>
                <c:pt idx="1621">
                  <c:v>0.2</c:v>
                </c:pt>
                <c:pt idx="1622">
                  <c:v>0.2</c:v>
                </c:pt>
                <c:pt idx="1623">
                  <c:v>0.2</c:v>
                </c:pt>
                <c:pt idx="1624">
                  <c:v>0.2</c:v>
                </c:pt>
                <c:pt idx="1625">
                  <c:v>0.2</c:v>
                </c:pt>
                <c:pt idx="1626">
                  <c:v>0.2</c:v>
                </c:pt>
                <c:pt idx="1627">
                  <c:v>0.2</c:v>
                </c:pt>
                <c:pt idx="1628">
                  <c:v>0.2</c:v>
                </c:pt>
                <c:pt idx="1629">
                  <c:v>0.2</c:v>
                </c:pt>
                <c:pt idx="1630">
                  <c:v>0.2</c:v>
                </c:pt>
                <c:pt idx="1631">
                  <c:v>0.20022002200219999</c:v>
                </c:pt>
                <c:pt idx="1632">
                  <c:v>0.200239808153477</c:v>
                </c:pt>
                <c:pt idx="1633">
                  <c:v>0.200250312891114</c:v>
                </c:pt>
                <c:pt idx="1634">
                  <c:v>0.20033955857385399</c:v>
                </c:pt>
                <c:pt idx="1635">
                  <c:v>0.200354609929078</c:v>
                </c:pt>
                <c:pt idx="1636">
                  <c:v>0.200354609929078</c:v>
                </c:pt>
                <c:pt idx="1637">
                  <c:v>0.20040899795500999</c:v>
                </c:pt>
                <c:pt idx="1638">
                  <c:v>0.200455580865604</c:v>
                </c:pt>
                <c:pt idx="1639">
                  <c:v>0.20046082949308799</c:v>
                </c:pt>
                <c:pt idx="1640">
                  <c:v>0.20057581573896399</c:v>
                </c:pt>
                <c:pt idx="1641">
                  <c:v>0.20062695924764901</c:v>
                </c:pt>
                <c:pt idx="1642">
                  <c:v>0.20062695924764901</c:v>
                </c:pt>
                <c:pt idx="1643">
                  <c:v>0.20065252854812399</c:v>
                </c:pt>
                <c:pt idx="1644">
                  <c:v>0.20078354554358499</c:v>
                </c:pt>
                <c:pt idx="1645">
                  <c:v>0.20081967213114801</c:v>
                </c:pt>
                <c:pt idx="1646">
                  <c:v>0.20089786756453401</c:v>
                </c:pt>
                <c:pt idx="1647">
                  <c:v>0.200923787528868</c:v>
                </c:pt>
                <c:pt idx="1648">
                  <c:v>0.20093823299452701</c:v>
                </c:pt>
                <c:pt idx="1649">
                  <c:v>0.201030927835052</c:v>
                </c:pt>
                <c:pt idx="1650">
                  <c:v>0.201030927835052</c:v>
                </c:pt>
                <c:pt idx="1651">
                  <c:v>0.201035375323555</c:v>
                </c:pt>
                <c:pt idx="1652">
                  <c:v>0.20114394661582499</c:v>
                </c:pt>
                <c:pt idx="1653">
                  <c:v>0.201156069364162</c:v>
                </c:pt>
                <c:pt idx="1654">
                  <c:v>0.20121951219512199</c:v>
                </c:pt>
                <c:pt idx="1655">
                  <c:v>0.20121951219512199</c:v>
                </c:pt>
                <c:pt idx="1656">
                  <c:v>0.201244813278008</c:v>
                </c:pt>
                <c:pt idx="1657">
                  <c:v>0.20125786163522</c:v>
                </c:pt>
                <c:pt idx="1658">
                  <c:v>0.20125786163522</c:v>
                </c:pt>
                <c:pt idx="1659">
                  <c:v>0.20133111480865201</c:v>
                </c:pt>
                <c:pt idx="1660">
                  <c:v>0.20134228187919501</c:v>
                </c:pt>
                <c:pt idx="1661">
                  <c:v>0.20134228187919501</c:v>
                </c:pt>
                <c:pt idx="1662">
                  <c:v>0.20138888888888901</c:v>
                </c:pt>
                <c:pt idx="1663">
                  <c:v>0.20142602495543699</c:v>
                </c:pt>
                <c:pt idx="1664">
                  <c:v>0.20148247978436701</c:v>
                </c:pt>
                <c:pt idx="1665">
                  <c:v>0.201492537313433</c:v>
                </c:pt>
                <c:pt idx="1666">
                  <c:v>0.20159151193634001</c:v>
                </c:pt>
                <c:pt idx="1667">
                  <c:v>0.20162932790224</c:v>
                </c:pt>
                <c:pt idx="1668">
                  <c:v>0.201716738197425</c:v>
                </c:pt>
                <c:pt idx="1669">
                  <c:v>0.20173535791757</c:v>
                </c:pt>
                <c:pt idx="1670">
                  <c:v>0.20175438596491199</c:v>
                </c:pt>
                <c:pt idx="1671">
                  <c:v>0.20175438596491199</c:v>
                </c:pt>
                <c:pt idx="1672">
                  <c:v>0.201834862385321</c:v>
                </c:pt>
                <c:pt idx="1673">
                  <c:v>0.2018779342723</c:v>
                </c:pt>
                <c:pt idx="1674">
                  <c:v>0.201900237529691</c:v>
                </c:pt>
                <c:pt idx="1675">
                  <c:v>0.20192307692307701</c:v>
                </c:pt>
                <c:pt idx="1676">
                  <c:v>0.20194384449244099</c:v>
                </c:pt>
                <c:pt idx="1677">
                  <c:v>0.201946472019465</c:v>
                </c:pt>
                <c:pt idx="1678">
                  <c:v>0.20198675496688701</c:v>
                </c:pt>
                <c:pt idx="1679">
                  <c:v>0.20202020202020199</c:v>
                </c:pt>
                <c:pt idx="1680">
                  <c:v>0.20204081632653101</c:v>
                </c:pt>
                <c:pt idx="1681">
                  <c:v>0.20204402515723299</c:v>
                </c:pt>
                <c:pt idx="1682">
                  <c:v>0.20212765957446799</c:v>
                </c:pt>
                <c:pt idx="1683">
                  <c:v>0.20216049382716</c:v>
                </c:pt>
                <c:pt idx="1684">
                  <c:v>0.202166064981949</c:v>
                </c:pt>
                <c:pt idx="1685">
                  <c:v>0.202185792349727</c:v>
                </c:pt>
                <c:pt idx="1686">
                  <c:v>0.20220082530949099</c:v>
                </c:pt>
                <c:pt idx="1687">
                  <c:v>0.202229299363057</c:v>
                </c:pt>
                <c:pt idx="1688">
                  <c:v>0.20227272727272699</c:v>
                </c:pt>
                <c:pt idx="1689">
                  <c:v>0.202349869451697</c:v>
                </c:pt>
                <c:pt idx="1690">
                  <c:v>0.20235294117647101</c:v>
                </c:pt>
                <c:pt idx="1691">
                  <c:v>0.202399582681273</c:v>
                </c:pt>
                <c:pt idx="1692">
                  <c:v>0.20240963855421701</c:v>
                </c:pt>
                <c:pt idx="1693">
                  <c:v>0.20250000000000001</c:v>
                </c:pt>
                <c:pt idx="1694">
                  <c:v>0.202597402597403</c:v>
                </c:pt>
                <c:pt idx="1695">
                  <c:v>0.20262390670553901</c:v>
                </c:pt>
                <c:pt idx="1696">
                  <c:v>0.20265780730897001</c:v>
                </c:pt>
                <c:pt idx="1697">
                  <c:v>0.20266272189349099</c:v>
                </c:pt>
                <c:pt idx="1698">
                  <c:v>0.20270270270270299</c:v>
                </c:pt>
                <c:pt idx="1699">
                  <c:v>0.20273972602739701</c:v>
                </c:pt>
                <c:pt idx="1700">
                  <c:v>0.202764976958525</c:v>
                </c:pt>
                <c:pt idx="1701">
                  <c:v>0.202764976958525</c:v>
                </c:pt>
                <c:pt idx="1702">
                  <c:v>0.20279720279720301</c:v>
                </c:pt>
                <c:pt idx="1703">
                  <c:v>0.202842377260982</c:v>
                </c:pt>
                <c:pt idx="1704">
                  <c:v>0.20286195286195299</c:v>
                </c:pt>
                <c:pt idx="1705">
                  <c:v>0.202898550724638</c:v>
                </c:pt>
                <c:pt idx="1706">
                  <c:v>0.202898550724638</c:v>
                </c:pt>
                <c:pt idx="1707">
                  <c:v>0.202898550724638</c:v>
                </c:pt>
                <c:pt idx="1708">
                  <c:v>0.20297029702970301</c:v>
                </c:pt>
                <c:pt idx="1709">
                  <c:v>0.203007518796992</c:v>
                </c:pt>
                <c:pt idx="1710">
                  <c:v>0.20303030303030301</c:v>
                </c:pt>
                <c:pt idx="1711">
                  <c:v>0.20305781175346399</c:v>
                </c:pt>
                <c:pt idx="1712">
                  <c:v>0.20306513409961699</c:v>
                </c:pt>
                <c:pt idx="1713">
                  <c:v>0.20307405682347501</c:v>
                </c:pt>
                <c:pt idx="1714">
                  <c:v>0.203125</c:v>
                </c:pt>
                <c:pt idx="1715">
                  <c:v>0.20314173509460901</c:v>
                </c:pt>
                <c:pt idx="1716">
                  <c:v>0.20317246034424599</c:v>
                </c:pt>
                <c:pt idx="1717">
                  <c:v>0.203180212014134</c:v>
                </c:pt>
                <c:pt idx="1718">
                  <c:v>0.20318725099601601</c:v>
                </c:pt>
                <c:pt idx="1719">
                  <c:v>0.20319634703196299</c:v>
                </c:pt>
                <c:pt idx="1720">
                  <c:v>0.203252032520325</c:v>
                </c:pt>
                <c:pt idx="1721">
                  <c:v>0.20326936744847199</c:v>
                </c:pt>
                <c:pt idx="1722">
                  <c:v>0.20329670329670299</c:v>
                </c:pt>
                <c:pt idx="1723">
                  <c:v>0.20336391437308901</c:v>
                </c:pt>
                <c:pt idx="1724">
                  <c:v>0.20338983050847501</c:v>
                </c:pt>
                <c:pt idx="1725">
                  <c:v>0.20338983050847501</c:v>
                </c:pt>
                <c:pt idx="1726">
                  <c:v>0.20345744680851099</c:v>
                </c:pt>
                <c:pt idx="1727">
                  <c:v>0.203483768804434</c:v>
                </c:pt>
                <c:pt idx="1728">
                  <c:v>0.20348837209302301</c:v>
                </c:pt>
                <c:pt idx="1729">
                  <c:v>0.20348837209302301</c:v>
                </c:pt>
                <c:pt idx="1730">
                  <c:v>0.20355951056729699</c:v>
                </c:pt>
                <c:pt idx="1731">
                  <c:v>0.20357142857142899</c:v>
                </c:pt>
                <c:pt idx="1732">
                  <c:v>0.20358235037134101</c:v>
                </c:pt>
                <c:pt idx="1733">
                  <c:v>0.20359281437125701</c:v>
                </c:pt>
                <c:pt idx="1734">
                  <c:v>0.203631647211414</c:v>
                </c:pt>
                <c:pt idx="1735">
                  <c:v>0.203703703703704</c:v>
                </c:pt>
                <c:pt idx="1736">
                  <c:v>0.203703703703704</c:v>
                </c:pt>
                <c:pt idx="1737">
                  <c:v>0.20377019748653499</c:v>
                </c:pt>
                <c:pt idx="1738">
                  <c:v>0.20383779869659699</c:v>
                </c:pt>
                <c:pt idx="1739">
                  <c:v>0.20394736842105299</c:v>
                </c:pt>
                <c:pt idx="1740">
                  <c:v>0.20396776193428401</c:v>
                </c:pt>
                <c:pt idx="1741">
                  <c:v>0.20398009950248799</c:v>
                </c:pt>
                <c:pt idx="1742">
                  <c:v>0.20404040404040399</c:v>
                </c:pt>
                <c:pt idx="1743">
                  <c:v>0.20408163265306101</c:v>
                </c:pt>
                <c:pt idx="1744">
                  <c:v>0.20408163265306101</c:v>
                </c:pt>
                <c:pt idx="1745">
                  <c:v>0.204113924050633</c:v>
                </c:pt>
                <c:pt idx="1746">
                  <c:v>0.20412371134020599</c:v>
                </c:pt>
                <c:pt idx="1747">
                  <c:v>0.20413026211278801</c:v>
                </c:pt>
                <c:pt idx="1748">
                  <c:v>0.20415224913494801</c:v>
                </c:pt>
                <c:pt idx="1749">
                  <c:v>0.204166666666667</c:v>
                </c:pt>
                <c:pt idx="1750">
                  <c:v>0.20417124039517001</c:v>
                </c:pt>
                <c:pt idx="1751">
                  <c:v>0.20423412204234101</c:v>
                </c:pt>
                <c:pt idx="1752">
                  <c:v>0.20425531914893599</c:v>
                </c:pt>
                <c:pt idx="1753">
                  <c:v>0.204301075268817</c:v>
                </c:pt>
                <c:pt idx="1754">
                  <c:v>0.204353083434099</c:v>
                </c:pt>
                <c:pt idx="1755">
                  <c:v>0.204424103737605</c:v>
                </c:pt>
                <c:pt idx="1756">
                  <c:v>0.20443349753694601</c:v>
                </c:pt>
                <c:pt idx="1757">
                  <c:v>0.204481792717087</c:v>
                </c:pt>
                <c:pt idx="1758">
                  <c:v>0.20451339915373801</c:v>
                </c:pt>
                <c:pt idx="1759">
                  <c:v>0.20451339915373801</c:v>
                </c:pt>
                <c:pt idx="1760">
                  <c:v>0.204545454545455</c:v>
                </c:pt>
                <c:pt idx="1761">
                  <c:v>0.204545454545455</c:v>
                </c:pt>
                <c:pt idx="1762">
                  <c:v>0.204545454545455</c:v>
                </c:pt>
                <c:pt idx="1763">
                  <c:v>0.20460704607046101</c:v>
                </c:pt>
                <c:pt idx="1764">
                  <c:v>0.204783258594918</c:v>
                </c:pt>
                <c:pt idx="1765">
                  <c:v>0.20483870967741899</c:v>
                </c:pt>
                <c:pt idx="1766">
                  <c:v>0.204841713221601</c:v>
                </c:pt>
                <c:pt idx="1767">
                  <c:v>0.20484581497797399</c:v>
                </c:pt>
                <c:pt idx="1768">
                  <c:v>0.20485584218512901</c:v>
                </c:pt>
                <c:pt idx="1769">
                  <c:v>0.204918032786885</c:v>
                </c:pt>
                <c:pt idx="1770">
                  <c:v>0.204946996466431</c:v>
                </c:pt>
                <c:pt idx="1771">
                  <c:v>0.20499999999999999</c:v>
                </c:pt>
                <c:pt idx="1772">
                  <c:v>0.20512820512820501</c:v>
                </c:pt>
                <c:pt idx="1773">
                  <c:v>0.20512820512820501</c:v>
                </c:pt>
                <c:pt idx="1774">
                  <c:v>0.205164992826399</c:v>
                </c:pt>
                <c:pt idx="1775">
                  <c:v>0.20520673813170001</c:v>
                </c:pt>
                <c:pt idx="1776">
                  <c:v>0.20522388059701499</c:v>
                </c:pt>
                <c:pt idx="1777">
                  <c:v>0.20532319391635001</c:v>
                </c:pt>
                <c:pt idx="1778">
                  <c:v>0.20535714285714299</c:v>
                </c:pt>
                <c:pt idx="1779">
                  <c:v>0.205405405405405</c:v>
                </c:pt>
                <c:pt idx="1780">
                  <c:v>0.205410821643287</c:v>
                </c:pt>
                <c:pt idx="1781">
                  <c:v>0.20544918998527201</c:v>
                </c:pt>
                <c:pt idx="1782">
                  <c:v>0.20547945205479401</c:v>
                </c:pt>
                <c:pt idx="1783">
                  <c:v>0.205496828752643</c:v>
                </c:pt>
                <c:pt idx="1784">
                  <c:v>0.20549927641099899</c:v>
                </c:pt>
                <c:pt idx="1785">
                  <c:v>0.20550458715596301</c:v>
                </c:pt>
                <c:pt idx="1786">
                  <c:v>0.20552147239263799</c:v>
                </c:pt>
                <c:pt idx="1787">
                  <c:v>0.20552677029360999</c:v>
                </c:pt>
                <c:pt idx="1788">
                  <c:v>0.20555555555555599</c:v>
                </c:pt>
                <c:pt idx="1789">
                  <c:v>0.20555555555555599</c:v>
                </c:pt>
                <c:pt idx="1790">
                  <c:v>0.20562770562770599</c:v>
                </c:pt>
                <c:pt idx="1791">
                  <c:v>0.205663189269747</c:v>
                </c:pt>
                <c:pt idx="1792">
                  <c:v>0.20568070519098899</c:v>
                </c:pt>
                <c:pt idx="1793">
                  <c:v>0.205755395683453</c:v>
                </c:pt>
                <c:pt idx="1794">
                  <c:v>0.205821205821206</c:v>
                </c:pt>
                <c:pt idx="1795">
                  <c:v>0.20588235294117599</c:v>
                </c:pt>
                <c:pt idx="1796">
                  <c:v>0.20588235294117599</c:v>
                </c:pt>
                <c:pt idx="1797">
                  <c:v>0.206081081081081</c:v>
                </c:pt>
                <c:pt idx="1798">
                  <c:v>0.20612117426608401</c:v>
                </c:pt>
                <c:pt idx="1799">
                  <c:v>0.20612813370473501</c:v>
                </c:pt>
                <c:pt idx="1800">
                  <c:v>0.206180589087397</c:v>
                </c:pt>
                <c:pt idx="1801">
                  <c:v>0.20621931260229101</c:v>
                </c:pt>
                <c:pt idx="1802">
                  <c:v>0.206244864420707</c:v>
                </c:pt>
                <c:pt idx="1803">
                  <c:v>0.20627062706270599</c:v>
                </c:pt>
                <c:pt idx="1804">
                  <c:v>0.206451612903226</c:v>
                </c:pt>
                <c:pt idx="1805">
                  <c:v>0.20653789004457601</c:v>
                </c:pt>
                <c:pt idx="1806">
                  <c:v>0.20656370656370701</c:v>
                </c:pt>
                <c:pt idx="1807">
                  <c:v>0.206611570247934</c:v>
                </c:pt>
                <c:pt idx="1808">
                  <c:v>0.206666666666667</c:v>
                </c:pt>
                <c:pt idx="1809">
                  <c:v>0.206666666666667</c:v>
                </c:pt>
                <c:pt idx="1810">
                  <c:v>0.20669110907424401</c:v>
                </c:pt>
                <c:pt idx="1811">
                  <c:v>0.206703910614525</c:v>
                </c:pt>
                <c:pt idx="1812">
                  <c:v>0.20679012345678999</c:v>
                </c:pt>
                <c:pt idx="1813">
                  <c:v>0.20679012345678999</c:v>
                </c:pt>
                <c:pt idx="1814">
                  <c:v>0.20679886685552401</c:v>
                </c:pt>
                <c:pt idx="1815">
                  <c:v>0.20683453237410099</c:v>
                </c:pt>
                <c:pt idx="1816">
                  <c:v>0.206859592711683</c:v>
                </c:pt>
                <c:pt idx="1817">
                  <c:v>0.20688259109311699</c:v>
                </c:pt>
                <c:pt idx="1818">
                  <c:v>0.20689655172413801</c:v>
                </c:pt>
                <c:pt idx="1819">
                  <c:v>0.20689655172413801</c:v>
                </c:pt>
                <c:pt idx="1820">
                  <c:v>0.20693641618497099</c:v>
                </c:pt>
                <c:pt idx="1821">
                  <c:v>0.20694444444444399</c:v>
                </c:pt>
                <c:pt idx="1822">
                  <c:v>0.20695020746887999</c:v>
                </c:pt>
                <c:pt idx="1823">
                  <c:v>0.20696142991533401</c:v>
                </c:pt>
                <c:pt idx="1824">
                  <c:v>0.20700152207001499</c:v>
                </c:pt>
                <c:pt idx="1825">
                  <c:v>0.20715350223546899</c:v>
                </c:pt>
                <c:pt idx="1826">
                  <c:v>0.20720720720720701</c:v>
                </c:pt>
                <c:pt idx="1827">
                  <c:v>0.20720720720720701</c:v>
                </c:pt>
                <c:pt idx="1828">
                  <c:v>0.20720720720720701</c:v>
                </c:pt>
                <c:pt idx="1829">
                  <c:v>0.207219251336898</c:v>
                </c:pt>
                <c:pt idx="1830">
                  <c:v>0.20725075528700901</c:v>
                </c:pt>
                <c:pt idx="1831">
                  <c:v>0.207256046705588</c:v>
                </c:pt>
                <c:pt idx="1832">
                  <c:v>0.20730738681493199</c:v>
                </c:pt>
                <c:pt idx="1833">
                  <c:v>0.207317073170732</c:v>
                </c:pt>
                <c:pt idx="1834">
                  <c:v>0.207317073170732</c:v>
                </c:pt>
                <c:pt idx="1835">
                  <c:v>0.20735027223230501</c:v>
                </c:pt>
                <c:pt idx="1836">
                  <c:v>0.20738137082601099</c:v>
                </c:pt>
                <c:pt idx="1837">
                  <c:v>0.20743639921722101</c:v>
                </c:pt>
                <c:pt idx="1838">
                  <c:v>0.207538601271571</c:v>
                </c:pt>
                <c:pt idx="1839">
                  <c:v>0.207612456747405</c:v>
                </c:pt>
                <c:pt idx="1840">
                  <c:v>0.207612456747405</c:v>
                </c:pt>
                <c:pt idx="1841">
                  <c:v>0.20768940821711299</c:v>
                </c:pt>
                <c:pt idx="1842">
                  <c:v>0.20769230769230801</c:v>
                </c:pt>
                <c:pt idx="1843">
                  <c:v>0.207858048162231</c:v>
                </c:pt>
                <c:pt idx="1844">
                  <c:v>0.20787401574803099</c:v>
                </c:pt>
                <c:pt idx="1845">
                  <c:v>0.207955338450803</c:v>
                </c:pt>
                <c:pt idx="1846">
                  <c:v>0.20799999999999999</c:v>
                </c:pt>
                <c:pt idx="1847">
                  <c:v>0.20799999999999999</c:v>
                </c:pt>
                <c:pt idx="1848">
                  <c:v>0.20799999999999999</c:v>
                </c:pt>
                <c:pt idx="1849">
                  <c:v>0.20802005012531299</c:v>
                </c:pt>
                <c:pt idx="1850">
                  <c:v>0.20802005012531299</c:v>
                </c:pt>
                <c:pt idx="1851">
                  <c:v>0.20802919708029199</c:v>
                </c:pt>
                <c:pt idx="1852">
                  <c:v>0.20803782505910201</c:v>
                </c:pt>
                <c:pt idx="1853">
                  <c:v>0.20803782505910201</c:v>
                </c:pt>
                <c:pt idx="1854">
                  <c:v>0.20804794520547901</c:v>
                </c:pt>
                <c:pt idx="1855">
                  <c:v>0.20805369127516801</c:v>
                </c:pt>
                <c:pt idx="1856">
                  <c:v>0.20805369127516801</c:v>
                </c:pt>
                <c:pt idx="1857">
                  <c:v>0.20820668693009101</c:v>
                </c:pt>
                <c:pt idx="1858">
                  <c:v>0.20822942643391501</c:v>
                </c:pt>
                <c:pt idx="1859">
                  <c:v>0.20825688073394499</c:v>
                </c:pt>
                <c:pt idx="1860">
                  <c:v>0.20833333333333301</c:v>
                </c:pt>
                <c:pt idx="1861">
                  <c:v>0.20833333333333301</c:v>
                </c:pt>
                <c:pt idx="1862">
                  <c:v>0.20833333333333301</c:v>
                </c:pt>
                <c:pt idx="1863">
                  <c:v>0.20833333333333301</c:v>
                </c:pt>
                <c:pt idx="1864">
                  <c:v>0.20833333333333301</c:v>
                </c:pt>
                <c:pt idx="1865">
                  <c:v>0.208361429534727</c:v>
                </c:pt>
                <c:pt idx="1866">
                  <c:v>0.20844686648501401</c:v>
                </c:pt>
                <c:pt idx="1867">
                  <c:v>0.208465189873418</c:v>
                </c:pt>
                <c:pt idx="1868">
                  <c:v>0.208519068845963</c:v>
                </c:pt>
                <c:pt idx="1869">
                  <c:v>0.20860495436766599</c:v>
                </c:pt>
                <c:pt idx="1870">
                  <c:v>0.208695652173913</c:v>
                </c:pt>
                <c:pt idx="1871">
                  <c:v>0.208695652173913</c:v>
                </c:pt>
                <c:pt idx="1872">
                  <c:v>0.208754208754209</c:v>
                </c:pt>
                <c:pt idx="1873">
                  <c:v>0.208835341365462</c:v>
                </c:pt>
                <c:pt idx="1874">
                  <c:v>0.20895522388059701</c:v>
                </c:pt>
                <c:pt idx="1875">
                  <c:v>0.20895522388059701</c:v>
                </c:pt>
                <c:pt idx="1876">
                  <c:v>0.209039548022599</c:v>
                </c:pt>
                <c:pt idx="1877">
                  <c:v>0.20911528150134001</c:v>
                </c:pt>
                <c:pt idx="1878">
                  <c:v>0.209134615384615</c:v>
                </c:pt>
                <c:pt idx="1879">
                  <c:v>0.20915032679738599</c:v>
                </c:pt>
                <c:pt idx="1880">
                  <c:v>0.20916162489196199</c:v>
                </c:pt>
                <c:pt idx="1881">
                  <c:v>0.209205020920502</c:v>
                </c:pt>
                <c:pt idx="1882">
                  <c:v>0.209205020920502</c:v>
                </c:pt>
                <c:pt idx="1883">
                  <c:v>0.209246901811249</c:v>
                </c:pt>
                <c:pt idx="1884">
                  <c:v>0.209302325581395</c:v>
                </c:pt>
                <c:pt idx="1885">
                  <c:v>0.20937500000000001</c:v>
                </c:pt>
                <c:pt idx="1886">
                  <c:v>0.20937500000000001</c:v>
                </c:pt>
                <c:pt idx="1887">
                  <c:v>0.209382151029748</c:v>
                </c:pt>
                <c:pt idx="1888">
                  <c:v>0.209497206703911</c:v>
                </c:pt>
                <c:pt idx="1889">
                  <c:v>0.209537572254335</c:v>
                </c:pt>
                <c:pt idx="1890">
                  <c:v>0.20955315870570099</c:v>
                </c:pt>
                <c:pt idx="1891">
                  <c:v>0.209580838323353</c:v>
                </c:pt>
                <c:pt idx="1892">
                  <c:v>0.20962732919254701</c:v>
                </c:pt>
                <c:pt idx="1893">
                  <c:v>0.20979020979021001</c:v>
                </c:pt>
                <c:pt idx="1894">
                  <c:v>0.20983606557376999</c:v>
                </c:pt>
                <c:pt idx="1895">
                  <c:v>0.20986687548942801</c:v>
                </c:pt>
                <c:pt idx="1896">
                  <c:v>0.209876543209877</c:v>
                </c:pt>
                <c:pt idx="1897">
                  <c:v>0.209964412811388</c:v>
                </c:pt>
                <c:pt idx="1898">
                  <c:v>0.209964412811388</c:v>
                </c:pt>
                <c:pt idx="1899">
                  <c:v>0.21001221001220999</c:v>
                </c:pt>
                <c:pt idx="1900">
                  <c:v>0.210045662100457</c:v>
                </c:pt>
                <c:pt idx="1901">
                  <c:v>0.210069444444444</c:v>
                </c:pt>
                <c:pt idx="1902">
                  <c:v>0.210169491525424</c:v>
                </c:pt>
                <c:pt idx="1903">
                  <c:v>0.21018593371058999</c:v>
                </c:pt>
                <c:pt idx="1904">
                  <c:v>0.21033868092691599</c:v>
                </c:pt>
                <c:pt idx="1905">
                  <c:v>0.21036846615252799</c:v>
                </c:pt>
                <c:pt idx="1906">
                  <c:v>0.210374639769452</c:v>
                </c:pt>
                <c:pt idx="1907">
                  <c:v>0.21052631578947401</c:v>
                </c:pt>
                <c:pt idx="1908">
                  <c:v>0.21052631578947401</c:v>
                </c:pt>
                <c:pt idx="1909">
                  <c:v>0.21052631578947401</c:v>
                </c:pt>
                <c:pt idx="1910">
                  <c:v>0.21063122923588001</c:v>
                </c:pt>
                <c:pt idx="1911">
                  <c:v>0.21068702290076299</c:v>
                </c:pt>
                <c:pt idx="1912">
                  <c:v>0.21069182389937099</c:v>
                </c:pt>
                <c:pt idx="1913">
                  <c:v>0.21071428571428599</c:v>
                </c:pt>
                <c:pt idx="1914">
                  <c:v>0.21076233183856499</c:v>
                </c:pt>
                <c:pt idx="1915">
                  <c:v>0.21076233183856499</c:v>
                </c:pt>
                <c:pt idx="1916">
                  <c:v>0.21076923076923099</c:v>
                </c:pt>
                <c:pt idx="1917">
                  <c:v>0.210843373493976</c:v>
                </c:pt>
                <c:pt idx="1918">
                  <c:v>0.21089808274470201</c:v>
                </c:pt>
                <c:pt idx="1919">
                  <c:v>0.21093372036768299</c:v>
                </c:pt>
                <c:pt idx="1920">
                  <c:v>0.21096345514950199</c:v>
                </c:pt>
                <c:pt idx="1921">
                  <c:v>0.21097046413502099</c:v>
                </c:pt>
                <c:pt idx="1922">
                  <c:v>0.21098901098901099</c:v>
                </c:pt>
                <c:pt idx="1923">
                  <c:v>0.21100917431192701</c:v>
                </c:pt>
                <c:pt idx="1924">
                  <c:v>0.21115537848605601</c:v>
                </c:pt>
                <c:pt idx="1925">
                  <c:v>0.21118012422360199</c:v>
                </c:pt>
                <c:pt idx="1926">
                  <c:v>0.21118012422360199</c:v>
                </c:pt>
                <c:pt idx="1927">
                  <c:v>0.21126760563380301</c:v>
                </c:pt>
                <c:pt idx="1928">
                  <c:v>0.21131447587354399</c:v>
                </c:pt>
                <c:pt idx="1929">
                  <c:v>0.21132596685082899</c:v>
                </c:pt>
                <c:pt idx="1930">
                  <c:v>0.21134020618556701</c:v>
                </c:pt>
                <c:pt idx="1931">
                  <c:v>0.21135646687697199</c:v>
                </c:pt>
                <c:pt idx="1932">
                  <c:v>0.21135831381733</c:v>
                </c:pt>
                <c:pt idx="1933">
                  <c:v>0.21148459383753501</c:v>
                </c:pt>
                <c:pt idx="1934">
                  <c:v>0.21153846153846201</c:v>
                </c:pt>
                <c:pt idx="1935">
                  <c:v>0.21153846153846201</c:v>
                </c:pt>
                <c:pt idx="1936">
                  <c:v>0.21153846153846201</c:v>
                </c:pt>
                <c:pt idx="1937">
                  <c:v>0.21161825726141101</c:v>
                </c:pt>
                <c:pt idx="1938">
                  <c:v>0.21171171171171199</c:v>
                </c:pt>
                <c:pt idx="1939">
                  <c:v>0.21176470588235299</c:v>
                </c:pt>
                <c:pt idx="1940">
                  <c:v>0.21184510250569499</c:v>
                </c:pt>
                <c:pt idx="1941">
                  <c:v>0.21186440677966101</c:v>
                </c:pt>
                <c:pt idx="1942">
                  <c:v>0.21186440677966101</c:v>
                </c:pt>
                <c:pt idx="1943">
                  <c:v>0.21191680719505299</c:v>
                </c:pt>
                <c:pt idx="1944">
                  <c:v>0.212034383954155</c:v>
                </c:pt>
                <c:pt idx="1945">
                  <c:v>0.212034383954155</c:v>
                </c:pt>
                <c:pt idx="1946">
                  <c:v>0.21209858103061999</c:v>
                </c:pt>
                <c:pt idx="1947">
                  <c:v>0.21210191082802499</c:v>
                </c:pt>
                <c:pt idx="1948">
                  <c:v>0.21212121212121199</c:v>
                </c:pt>
                <c:pt idx="1949">
                  <c:v>0.21216617210682501</c:v>
                </c:pt>
                <c:pt idx="1950">
                  <c:v>0.212307692307692</c:v>
                </c:pt>
                <c:pt idx="1951">
                  <c:v>0.212389380530973</c:v>
                </c:pt>
                <c:pt idx="1952">
                  <c:v>0.212389380530973</c:v>
                </c:pt>
                <c:pt idx="1953">
                  <c:v>0.21242484969939901</c:v>
                </c:pt>
                <c:pt idx="1954">
                  <c:v>0.21249999999999999</c:v>
                </c:pt>
                <c:pt idx="1955">
                  <c:v>0.21249999999999999</c:v>
                </c:pt>
                <c:pt idx="1956">
                  <c:v>0.212543554006969</c:v>
                </c:pt>
                <c:pt idx="1957">
                  <c:v>0.21256038647343001</c:v>
                </c:pt>
                <c:pt idx="1958">
                  <c:v>0.21259842519684999</c:v>
                </c:pt>
                <c:pt idx="1959">
                  <c:v>0.21264367816092</c:v>
                </c:pt>
                <c:pt idx="1960">
                  <c:v>0.21266968325791899</c:v>
                </c:pt>
                <c:pt idx="1961">
                  <c:v>0.212678936605317</c:v>
                </c:pt>
                <c:pt idx="1962">
                  <c:v>0.212686567164179</c:v>
                </c:pt>
                <c:pt idx="1963">
                  <c:v>0.212686567164179</c:v>
                </c:pt>
                <c:pt idx="1964">
                  <c:v>0.212703101920236</c:v>
                </c:pt>
                <c:pt idx="1965">
                  <c:v>0.212844036697248</c:v>
                </c:pt>
                <c:pt idx="1966">
                  <c:v>0.21285140562249</c:v>
                </c:pt>
                <c:pt idx="1967">
                  <c:v>0.21296296296296299</c:v>
                </c:pt>
                <c:pt idx="1968">
                  <c:v>0.21301775147929</c:v>
                </c:pt>
                <c:pt idx="1969">
                  <c:v>0.21301775147929</c:v>
                </c:pt>
                <c:pt idx="1970">
                  <c:v>0.213114754098361</c:v>
                </c:pt>
                <c:pt idx="1971">
                  <c:v>0.213114754098361</c:v>
                </c:pt>
                <c:pt idx="1972">
                  <c:v>0.21314741035856599</c:v>
                </c:pt>
                <c:pt idx="1973">
                  <c:v>0.21316614420062699</c:v>
                </c:pt>
                <c:pt idx="1974">
                  <c:v>0.213173119715176</c:v>
                </c:pt>
                <c:pt idx="1975">
                  <c:v>0.21317829457364301</c:v>
                </c:pt>
                <c:pt idx="1976">
                  <c:v>0.21319796954314699</c:v>
                </c:pt>
                <c:pt idx="1977">
                  <c:v>0.21334503950834099</c:v>
                </c:pt>
                <c:pt idx="1978">
                  <c:v>0.21336760925449899</c:v>
                </c:pt>
                <c:pt idx="1979">
                  <c:v>0.21338155515370699</c:v>
                </c:pt>
                <c:pt idx="1980">
                  <c:v>0.213406292749658</c:v>
                </c:pt>
                <c:pt idx="1981">
                  <c:v>0.21346153846153801</c:v>
                </c:pt>
                <c:pt idx="1982">
                  <c:v>0.213483146067416</c:v>
                </c:pt>
                <c:pt idx="1983">
                  <c:v>0.21354166666666699</c:v>
                </c:pt>
                <c:pt idx="1984">
                  <c:v>0.21356783919597999</c:v>
                </c:pt>
                <c:pt idx="1985">
                  <c:v>0.213592233009709</c:v>
                </c:pt>
                <c:pt idx="1986">
                  <c:v>0.213592233009709</c:v>
                </c:pt>
                <c:pt idx="1987">
                  <c:v>0.213592233009709</c:v>
                </c:pt>
                <c:pt idx="1988">
                  <c:v>0.213592233009709</c:v>
                </c:pt>
                <c:pt idx="1989">
                  <c:v>0.21370967741935501</c:v>
                </c:pt>
                <c:pt idx="1990">
                  <c:v>0.213776722090261</c:v>
                </c:pt>
                <c:pt idx="1991">
                  <c:v>0.21381578947368399</c:v>
                </c:pt>
                <c:pt idx="1992">
                  <c:v>0.21390374331550799</c:v>
                </c:pt>
                <c:pt idx="1993">
                  <c:v>0.21392190152801399</c:v>
                </c:pt>
                <c:pt idx="1994">
                  <c:v>0.21393034825870599</c:v>
                </c:pt>
                <c:pt idx="1995">
                  <c:v>0.21393034825870599</c:v>
                </c:pt>
                <c:pt idx="1996">
                  <c:v>0.21394230769230799</c:v>
                </c:pt>
                <c:pt idx="1997">
                  <c:v>0.213973799126638</c:v>
                </c:pt>
                <c:pt idx="1998">
                  <c:v>0.21401515151515199</c:v>
                </c:pt>
                <c:pt idx="1999">
                  <c:v>0.214067278287462</c:v>
                </c:pt>
                <c:pt idx="2000">
                  <c:v>0.21409214092140899</c:v>
                </c:pt>
                <c:pt idx="2001">
                  <c:v>0.21409574468085099</c:v>
                </c:pt>
                <c:pt idx="2002">
                  <c:v>0.21418439716312099</c:v>
                </c:pt>
                <c:pt idx="2003">
                  <c:v>0.214285714285714</c:v>
                </c:pt>
                <c:pt idx="2004">
                  <c:v>0.214285714285714</c:v>
                </c:pt>
                <c:pt idx="2005">
                  <c:v>0.214285714285714</c:v>
                </c:pt>
                <c:pt idx="2006">
                  <c:v>0.214285714285714</c:v>
                </c:pt>
                <c:pt idx="2007">
                  <c:v>0.214285714285714</c:v>
                </c:pt>
                <c:pt idx="2008">
                  <c:v>0.214285714285714</c:v>
                </c:pt>
                <c:pt idx="2009">
                  <c:v>0.214285714285714</c:v>
                </c:pt>
                <c:pt idx="2010">
                  <c:v>0.214285714285714</c:v>
                </c:pt>
                <c:pt idx="2011">
                  <c:v>0.214285714285714</c:v>
                </c:pt>
                <c:pt idx="2012">
                  <c:v>0.214285714285714</c:v>
                </c:pt>
                <c:pt idx="2013">
                  <c:v>0.214285714285714</c:v>
                </c:pt>
                <c:pt idx="2014">
                  <c:v>0.214285714285714</c:v>
                </c:pt>
                <c:pt idx="2015">
                  <c:v>0.21436004162330899</c:v>
                </c:pt>
                <c:pt idx="2016">
                  <c:v>0.214482126489459</c:v>
                </c:pt>
                <c:pt idx="2017">
                  <c:v>0.214511041009464</c:v>
                </c:pt>
                <c:pt idx="2018">
                  <c:v>0.21453287197231799</c:v>
                </c:pt>
                <c:pt idx="2019">
                  <c:v>0.214539007092199</c:v>
                </c:pt>
                <c:pt idx="2020">
                  <c:v>0.21455223880596999</c:v>
                </c:pt>
                <c:pt idx="2021">
                  <c:v>0.21456364647026099</c:v>
                </c:pt>
                <c:pt idx="2022">
                  <c:v>0.21457489878542499</c:v>
                </c:pt>
                <c:pt idx="2023">
                  <c:v>0.214622641509434</c:v>
                </c:pt>
                <c:pt idx="2024">
                  <c:v>0.21464393179538599</c:v>
                </c:pt>
                <c:pt idx="2025">
                  <c:v>0.21467391304347799</c:v>
                </c:pt>
                <c:pt idx="2026">
                  <c:v>0.21468298109010001</c:v>
                </c:pt>
                <c:pt idx="2027">
                  <c:v>0.21476510067114099</c:v>
                </c:pt>
                <c:pt idx="2028">
                  <c:v>0.21478873239436599</c:v>
                </c:pt>
                <c:pt idx="2029">
                  <c:v>0.21480709071949899</c:v>
                </c:pt>
                <c:pt idx="2030">
                  <c:v>0.214876033057851</c:v>
                </c:pt>
                <c:pt idx="2031">
                  <c:v>0.214876033057851</c:v>
                </c:pt>
                <c:pt idx="2032">
                  <c:v>0.214876033057851</c:v>
                </c:pt>
                <c:pt idx="2033">
                  <c:v>0.21495327102803699</c:v>
                </c:pt>
                <c:pt idx="2034">
                  <c:v>0.21505376344086</c:v>
                </c:pt>
                <c:pt idx="2035">
                  <c:v>0.21505376344086</c:v>
                </c:pt>
                <c:pt idx="2036">
                  <c:v>0.215189873417722</c:v>
                </c:pt>
                <c:pt idx="2037">
                  <c:v>0.21524201853759001</c:v>
                </c:pt>
                <c:pt idx="2038">
                  <c:v>0.21527777777777801</c:v>
                </c:pt>
                <c:pt idx="2039">
                  <c:v>0.21527777777777801</c:v>
                </c:pt>
                <c:pt idx="2040">
                  <c:v>0.21527777777777801</c:v>
                </c:pt>
                <c:pt idx="2041">
                  <c:v>0.21531100478468901</c:v>
                </c:pt>
                <c:pt idx="2042">
                  <c:v>0.21533258173618899</c:v>
                </c:pt>
                <c:pt idx="2043">
                  <c:v>0.21533923303834801</c:v>
                </c:pt>
                <c:pt idx="2044">
                  <c:v>0.215439856373429</c:v>
                </c:pt>
                <c:pt idx="2045">
                  <c:v>0.21551724137931</c:v>
                </c:pt>
                <c:pt idx="2046">
                  <c:v>0.215538847117794</c:v>
                </c:pt>
                <c:pt idx="2047">
                  <c:v>0.215568862275449</c:v>
                </c:pt>
                <c:pt idx="2048">
                  <c:v>0.21557971014492799</c:v>
                </c:pt>
                <c:pt idx="2049">
                  <c:v>0.215608465608466</c:v>
                </c:pt>
                <c:pt idx="2050">
                  <c:v>0.21563088512241099</c:v>
                </c:pt>
                <c:pt idx="2051">
                  <c:v>0.215633423180593</c:v>
                </c:pt>
                <c:pt idx="2052">
                  <c:v>0.21563981042654001</c:v>
                </c:pt>
                <c:pt idx="2053">
                  <c:v>0.215753424657534</c:v>
                </c:pt>
                <c:pt idx="2054">
                  <c:v>0.21589561091340401</c:v>
                </c:pt>
                <c:pt idx="2055">
                  <c:v>0.21594684385382101</c:v>
                </c:pt>
                <c:pt idx="2056">
                  <c:v>0.215962441314554</c:v>
                </c:pt>
                <c:pt idx="2057">
                  <c:v>0.216</c:v>
                </c:pt>
                <c:pt idx="2058">
                  <c:v>0.21601489757914299</c:v>
                </c:pt>
                <c:pt idx="2059">
                  <c:v>0.21602288984263199</c:v>
                </c:pt>
                <c:pt idx="2060">
                  <c:v>0.21608832807570999</c:v>
                </c:pt>
                <c:pt idx="2061">
                  <c:v>0.21611721611721599</c:v>
                </c:pt>
                <c:pt idx="2062">
                  <c:v>0.21614035087719299</c:v>
                </c:pt>
                <c:pt idx="2063">
                  <c:v>0.21621621621621601</c:v>
                </c:pt>
                <c:pt idx="2064">
                  <c:v>0.21627050552393701</c:v>
                </c:pt>
                <c:pt idx="2065">
                  <c:v>0.21627906976744199</c:v>
                </c:pt>
                <c:pt idx="2066">
                  <c:v>0.216322517207473</c:v>
                </c:pt>
                <c:pt idx="2067">
                  <c:v>0.216432865731463</c:v>
                </c:pt>
                <c:pt idx="2068">
                  <c:v>0.21652421652421699</c:v>
                </c:pt>
                <c:pt idx="2069">
                  <c:v>0.21656050955414</c:v>
                </c:pt>
                <c:pt idx="2070">
                  <c:v>0.216572504708098</c:v>
                </c:pt>
                <c:pt idx="2071">
                  <c:v>0.21661721068249301</c:v>
                </c:pt>
                <c:pt idx="2072">
                  <c:v>0.21663778162911601</c:v>
                </c:pt>
                <c:pt idx="2073">
                  <c:v>0.21663778162911601</c:v>
                </c:pt>
                <c:pt idx="2074">
                  <c:v>0.21666666666666701</c:v>
                </c:pt>
                <c:pt idx="2075">
                  <c:v>0.216796875</c:v>
                </c:pt>
                <c:pt idx="2076">
                  <c:v>0.216911764705882</c:v>
                </c:pt>
                <c:pt idx="2077">
                  <c:v>0.21702127659574499</c:v>
                </c:pt>
                <c:pt idx="2078">
                  <c:v>0.21704297159504701</c:v>
                </c:pt>
                <c:pt idx="2079">
                  <c:v>0.217105263157895</c:v>
                </c:pt>
                <c:pt idx="2080">
                  <c:v>0.21717877094972099</c:v>
                </c:pt>
                <c:pt idx="2081">
                  <c:v>0.21721311475409799</c:v>
                </c:pt>
                <c:pt idx="2082">
                  <c:v>0.21726862302483099</c:v>
                </c:pt>
                <c:pt idx="2083">
                  <c:v>0.21731123388581999</c:v>
                </c:pt>
                <c:pt idx="2084">
                  <c:v>0.21734939759036101</c:v>
                </c:pt>
                <c:pt idx="2085">
                  <c:v>0.217391304347826</c:v>
                </c:pt>
                <c:pt idx="2086">
                  <c:v>0.217391304347826</c:v>
                </c:pt>
                <c:pt idx="2087">
                  <c:v>0.217391304347826</c:v>
                </c:pt>
                <c:pt idx="2088">
                  <c:v>0.217391304347826</c:v>
                </c:pt>
                <c:pt idx="2089">
                  <c:v>0.217391304347826</c:v>
                </c:pt>
                <c:pt idx="2090">
                  <c:v>0.217391304347826</c:v>
                </c:pt>
                <c:pt idx="2091">
                  <c:v>0.21756487025948101</c:v>
                </c:pt>
                <c:pt idx="2092">
                  <c:v>0.21757322175732199</c:v>
                </c:pt>
                <c:pt idx="2093">
                  <c:v>0.217647058823529</c:v>
                </c:pt>
                <c:pt idx="2094">
                  <c:v>0.21772639691714801</c:v>
                </c:pt>
                <c:pt idx="2095">
                  <c:v>0.21776259607173401</c:v>
                </c:pt>
                <c:pt idx="2096">
                  <c:v>0.21780303030303</c:v>
                </c:pt>
                <c:pt idx="2097">
                  <c:v>0.217914438502674</c:v>
                </c:pt>
                <c:pt idx="2098">
                  <c:v>0.217936354869817</c:v>
                </c:pt>
                <c:pt idx="2099">
                  <c:v>0.21796071094480801</c:v>
                </c:pt>
                <c:pt idx="2100">
                  <c:v>0.21798365122615801</c:v>
                </c:pt>
                <c:pt idx="2101">
                  <c:v>0.21802518223989401</c:v>
                </c:pt>
                <c:pt idx="2102">
                  <c:v>0.21806167400881099</c:v>
                </c:pt>
                <c:pt idx="2103">
                  <c:v>0.21807747489239601</c:v>
                </c:pt>
                <c:pt idx="2104">
                  <c:v>0.21808510638297901</c:v>
                </c:pt>
                <c:pt idx="2105">
                  <c:v>0.218092566619916</c:v>
                </c:pt>
                <c:pt idx="2106">
                  <c:v>0.21812080536912701</c:v>
                </c:pt>
                <c:pt idx="2107">
                  <c:v>0.218181818181818</c:v>
                </c:pt>
                <c:pt idx="2108">
                  <c:v>0.218181818181818</c:v>
                </c:pt>
                <c:pt idx="2109">
                  <c:v>0.218274111675127</c:v>
                </c:pt>
                <c:pt idx="2110">
                  <c:v>0.21827861579414401</c:v>
                </c:pt>
                <c:pt idx="2111">
                  <c:v>0.21829268292682899</c:v>
                </c:pt>
                <c:pt idx="2112">
                  <c:v>0.21842105263157899</c:v>
                </c:pt>
                <c:pt idx="2113">
                  <c:v>0.218430034129693</c:v>
                </c:pt>
                <c:pt idx="2114">
                  <c:v>0.218500797448166</c:v>
                </c:pt>
                <c:pt idx="2115">
                  <c:v>0.218556701030928</c:v>
                </c:pt>
                <c:pt idx="2116">
                  <c:v>0.21863799283154101</c:v>
                </c:pt>
                <c:pt idx="2117">
                  <c:v>0.21875</c:v>
                </c:pt>
                <c:pt idx="2118">
                  <c:v>0.21875</c:v>
                </c:pt>
                <c:pt idx="2119">
                  <c:v>0.218823529411765</c:v>
                </c:pt>
                <c:pt idx="2120">
                  <c:v>0.218855218855219</c:v>
                </c:pt>
                <c:pt idx="2121">
                  <c:v>0.218867924528302</c:v>
                </c:pt>
                <c:pt idx="2122">
                  <c:v>0.21891311022413301</c:v>
                </c:pt>
                <c:pt idx="2123">
                  <c:v>0.21892393320964701</c:v>
                </c:pt>
                <c:pt idx="2124">
                  <c:v>0.218992248062015</c:v>
                </c:pt>
                <c:pt idx="2125">
                  <c:v>0.21900161030595799</c:v>
                </c:pt>
                <c:pt idx="2126">
                  <c:v>0.219015280135823</c:v>
                </c:pt>
                <c:pt idx="2127">
                  <c:v>0.219020172910663</c:v>
                </c:pt>
                <c:pt idx="2128">
                  <c:v>0.219064535227946</c:v>
                </c:pt>
                <c:pt idx="2129">
                  <c:v>0.21910415542363701</c:v>
                </c:pt>
                <c:pt idx="2130">
                  <c:v>0.21911262798634801</c:v>
                </c:pt>
                <c:pt idx="2131">
                  <c:v>0.21914480077745399</c:v>
                </c:pt>
                <c:pt idx="2132">
                  <c:v>0.21925754060324801</c:v>
                </c:pt>
                <c:pt idx="2133">
                  <c:v>0.21926910299003299</c:v>
                </c:pt>
                <c:pt idx="2134">
                  <c:v>0.21945701357466099</c:v>
                </c:pt>
                <c:pt idx="2135">
                  <c:v>0.219512195121951</c:v>
                </c:pt>
                <c:pt idx="2136">
                  <c:v>0.219512195121951</c:v>
                </c:pt>
                <c:pt idx="2137">
                  <c:v>0.21955128205128199</c:v>
                </c:pt>
                <c:pt idx="2138">
                  <c:v>0.219554030874786</c:v>
                </c:pt>
                <c:pt idx="2139">
                  <c:v>0.21968365553602801</c:v>
                </c:pt>
                <c:pt idx="2140">
                  <c:v>0.21969696969697</c:v>
                </c:pt>
                <c:pt idx="2141">
                  <c:v>0.21976744186046501</c:v>
                </c:pt>
                <c:pt idx="2142">
                  <c:v>0.21978021978022</c:v>
                </c:pt>
                <c:pt idx="2143">
                  <c:v>0.21978021978022</c:v>
                </c:pt>
                <c:pt idx="2144">
                  <c:v>0.22003284072249599</c:v>
                </c:pt>
                <c:pt idx="2145">
                  <c:v>0.220055710306407</c:v>
                </c:pt>
                <c:pt idx="2146">
                  <c:v>0.22029702970296999</c:v>
                </c:pt>
                <c:pt idx="2147">
                  <c:v>0.22030981067125599</c:v>
                </c:pt>
                <c:pt idx="2148">
                  <c:v>0.22033898305084701</c:v>
                </c:pt>
                <c:pt idx="2149">
                  <c:v>0.22038567493112901</c:v>
                </c:pt>
                <c:pt idx="2150">
                  <c:v>0.220472440944882</c:v>
                </c:pt>
                <c:pt idx="2151">
                  <c:v>0.220472440944882</c:v>
                </c:pt>
                <c:pt idx="2152">
                  <c:v>0.22051282051282001</c:v>
                </c:pt>
                <c:pt idx="2153">
                  <c:v>0.22051773729626101</c:v>
                </c:pt>
                <c:pt idx="2154">
                  <c:v>0.22054380664652601</c:v>
                </c:pt>
                <c:pt idx="2155">
                  <c:v>0.220588235294118</c:v>
                </c:pt>
                <c:pt idx="2156">
                  <c:v>0.220661157024793</c:v>
                </c:pt>
                <c:pt idx="2157">
                  <c:v>0.22072072072072099</c:v>
                </c:pt>
                <c:pt idx="2158">
                  <c:v>0.22072936660268699</c:v>
                </c:pt>
                <c:pt idx="2159">
                  <c:v>0.22077922077922099</c:v>
                </c:pt>
                <c:pt idx="2160">
                  <c:v>0.22077922077922099</c:v>
                </c:pt>
                <c:pt idx="2161">
                  <c:v>0.22083333333333299</c:v>
                </c:pt>
                <c:pt idx="2162">
                  <c:v>0.22085308056871999</c:v>
                </c:pt>
                <c:pt idx="2163">
                  <c:v>0.22089947089947101</c:v>
                </c:pt>
                <c:pt idx="2164">
                  <c:v>0.22090261282660301</c:v>
                </c:pt>
                <c:pt idx="2165">
                  <c:v>0.22093023255814001</c:v>
                </c:pt>
                <c:pt idx="2166">
                  <c:v>0.22093023255814001</c:v>
                </c:pt>
                <c:pt idx="2167">
                  <c:v>0.22093023255814001</c:v>
                </c:pt>
                <c:pt idx="2168">
                  <c:v>0.220949263502455</c:v>
                </c:pt>
                <c:pt idx="2169">
                  <c:v>0.221052631578947</c:v>
                </c:pt>
                <c:pt idx="2170">
                  <c:v>0.221052631578947</c:v>
                </c:pt>
                <c:pt idx="2171">
                  <c:v>0.221070811744387</c:v>
                </c:pt>
                <c:pt idx="2172">
                  <c:v>0.22108843537414999</c:v>
                </c:pt>
                <c:pt idx="2173">
                  <c:v>0.221176470588235</c:v>
                </c:pt>
                <c:pt idx="2174">
                  <c:v>0.221179624664879</c:v>
                </c:pt>
                <c:pt idx="2175">
                  <c:v>0.22124863088718499</c:v>
                </c:pt>
                <c:pt idx="2176">
                  <c:v>0.22125813449023901</c:v>
                </c:pt>
                <c:pt idx="2177">
                  <c:v>0.22135922330097099</c:v>
                </c:pt>
                <c:pt idx="2178">
                  <c:v>0.221374045801527</c:v>
                </c:pt>
                <c:pt idx="2179">
                  <c:v>0.22148394241417499</c:v>
                </c:pt>
                <c:pt idx="2180">
                  <c:v>0.22162162162162199</c:v>
                </c:pt>
                <c:pt idx="2181">
                  <c:v>0.22166246851385399</c:v>
                </c:pt>
                <c:pt idx="2182">
                  <c:v>0.22168087697929401</c:v>
                </c:pt>
                <c:pt idx="2183">
                  <c:v>0.22171945701357501</c:v>
                </c:pt>
                <c:pt idx="2184">
                  <c:v>0.22172949002217299</c:v>
                </c:pt>
                <c:pt idx="2185">
                  <c:v>0.221748400852878</c:v>
                </c:pt>
                <c:pt idx="2186">
                  <c:v>0.221763085399449</c:v>
                </c:pt>
                <c:pt idx="2187">
                  <c:v>0.22178988326848201</c:v>
                </c:pt>
                <c:pt idx="2188">
                  <c:v>0.221818181818182</c:v>
                </c:pt>
                <c:pt idx="2189">
                  <c:v>0.221830985915493</c:v>
                </c:pt>
                <c:pt idx="2190">
                  <c:v>0.221941992433796</c:v>
                </c:pt>
                <c:pt idx="2191">
                  <c:v>0.22199170124481299</c:v>
                </c:pt>
                <c:pt idx="2192">
                  <c:v>0.22200895713371699</c:v>
                </c:pt>
                <c:pt idx="2193">
                  <c:v>0.22208883553421399</c:v>
                </c:pt>
                <c:pt idx="2194">
                  <c:v>0.22211004543160001</c:v>
                </c:pt>
                <c:pt idx="2195">
                  <c:v>0.22222222222222199</c:v>
                </c:pt>
                <c:pt idx="2196">
                  <c:v>0.22222222222222199</c:v>
                </c:pt>
                <c:pt idx="2197">
                  <c:v>0.22222222222222199</c:v>
                </c:pt>
                <c:pt idx="2198">
                  <c:v>0.22222222222222199</c:v>
                </c:pt>
                <c:pt idx="2199">
                  <c:v>0.22222222222222199</c:v>
                </c:pt>
                <c:pt idx="2200">
                  <c:v>0.22222222222222199</c:v>
                </c:pt>
                <c:pt idx="2201">
                  <c:v>0.22222222222222199</c:v>
                </c:pt>
                <c:pt idx="2202">
                  <c:v>0.22239263803681</c:v>
                </c:pt>
                <c:pt idx="2203">
                  <c:v>0.222457627118644</c:v>
                </c:pt>
                <c:pt idx="2204">
                  <c:v>0.22264770240700199</c:v>
                </c:pt>
                <c:pt idx="2205">
                  <c:v>0.22267206477732801</c:v>
                </c:pt>
                <c:pt idx="2206">
                  <c:v>0.222689075630252</c:v>
                </c:pt>
                <c:pt idx="2207">
                  <c:v>0.222689075630252</c:v>
                </c:pt>
                <c:pt idx="2208">
                  <c:v>0.22271517302573199</c:v>
                </c:pt>
                <c:pt idx="2209">
                  <c:v>0.222780569514238</c:v>
                </c:pt>
                <c:pt idx="2210">
                  <c:v>0.22279792746113999</c:v>
                </c:pt>
                <c:pt idx="2211">
                  <c:v>0.222857142857143</c:v>
                </c:pt>
                <c:pt idx="2212">
                  <c:v>0.222857142857143</c:v>
                </c:pt>
                <c:pt idx="2213">
                  <c:v>0.222857142857143</c:v>
                </c:pt>
                <c:pt idx="2214">
                  <c:v>0.22289156626505999</c:v>
                </c:pt>
                <c:pt idx="2215">
                  <c:v>0.22291904218928199</c:v>
                </c:pt>
                <c:pt idx="2216">
                  <c:v>0.222932651321398</c:v>
                </c:pt>
                <c:pt idx="2217">
                  <c:v>0.22300884955752201</c:v>
                </c:pt>
                <c:pt idx="2218">
                  <c:v>0.223118279569892</c:v>
                </c:pt>
                <c:pt idx="2219">
                  <c:v>0.223196881091618</c:v>
                </c:pt>
                <c:pt idx="2220">
                  <c:v>0.223214285714286</c:v>
                </c:pt>
                <c:pt idx="2221">
                  <c:v>0.223227752639517</c:v>
                </c:pt>
                <c:pt idx="2222">
                  <c:v>0.223300970873786</c:v>
                </c:pt>
                <c:pt idx="2223">
                  <c:v>0.223306894447834</c:v>
                </c:pt>
                <c:pt idx="2224">
                  <c:v>0.22334293948126799</c:v>
                </c:pt>
                <c:pt idx="2225">
                  <c:v>0.22340425531914901</c:v>
                </c:pt>
                <c:pt idx="2226">
                  <c:v>0.22340425531914901</c:v>
                </c:pt>
                <c:pt idx="2227">
                  <c:v>0.22340425531914901</c:v>
                </c:pt>
                <c:pt idx="2228">
                  <c:v>0.223423423423423</c:v>
                </c:pt>
                <c:pt idx="2229">
                  <c:v>0.223502304147465</c:v>
                </c:pt>
                <c:pt idx="2230">
                  <c:v>0.223570190641248</c:v>
                </c:pt>
                <c:pt idx="2231">
                  <c:v>0.223580158159597</c:v>
                </c:pt>
                <c:pt idx="2232">
                  <c:v>0.22362869198312199</c:v>
                </c:pt>
                <c:pt idx="2233">
                  <c:v>0.22365591397849499</c:v>
                </c:pt>
                <c:pt idx="2234">
                  <c:v>0.22368421052631601</c:v>
                </c:pt>
                <c:pt idx="2235">
                  <c:v>0.22368421052631601</c:v>
                </c:pt>
                <c:pt idx="2236">
                  <c:v>0.22368421052631601</c:v>
                </c:pt>
                <c:pt idx="2237">
                  <c:v>0.22382198952879601</c:v>
                </c:pt>
                <c:pt idx="2238">
                  <c:v>0.223856209150327</c:v>
                </c:pt>
                <c:pt idx="2239">
                  <c:v>0.22388059701492499</c:v>
                </c:pt>
                <c:pt idx="2240">
                  <c:v>0.22395833333333301</c:v>
                </c:pt>
                <c:pt idx="2241">
                  <c:v>0.224</c:v>
                </c:pt>
                <c:pt idx="2242">
                  <c:v>0.22401847575057701</c:v>
                </c:pt>
                <c:pt idx="2243">
                  <c:v>0.22404371584699501</c:v>
                </c:pt>
                <c:pt idx="2244">
                  <c:v>0.22413793103448301</c:v>
                </c:pt>
                <c:pt idx="2245">
                  <c:v>0.22413793103448301</c:v>
                </c:pt>
                <c:pt idx="2246">
                  <c:v>0.22413793103448301</c:v>
                </c:pt>
                <c:pt idx="2247">
                  <c:v>0.22413793103448301</c:v>
                </c:pt>
                <c:pt idx="2248">
                  <c:v>0.22413793103448301</c:v>
                </c:pt>
                <c:pt idx="2249">
                  <c:v>0.224165341812401</c:v>
                </c:pt>
                <c:pt idx="2250">
                  <c:v>0.22417582417582399</c:v>
                </c:pt>
                <c:pt idx="2251">
                  <c:v>0.224188790560472</c:v>
                </c:pt>
                <c:pt idx="2252">
                  <c:v>0.22429906542056099</c:v>
                </c:pt>
                <c:pt idx="2253">
                  <c:v>0.22432701894317</c:v>
                </c:pt>
                <c:pt idx="2254">
                  <c:v>0.22452504317789301</c:v>
                </c:pt>
                <c:pt idx="2255">
                  <c:v>0.224586288416076</c:v>
                </c:pt>
                <c:pt idx="2256">
                  <c:v>0.22459893048128299</c:v>
                </c:pt>
                <c:pt idx="2257">
                  <c:v>0.22459893048128299</c:v>
                </c:pt>
                <c:pt idx="2258">
                  <c:v>0.22466960352422899</c:v>
                </c:pt>
                <c:pt idx="2259">
                  <c:v>0.224719101123595</c:v>
                </c:pt>
                <c:pt idx="2260">
                  <c:v>0.224719101123595</c:v>
                </c:pt>
                <c:pt idx="2261">
                  <c:v>0.224738675958188</c:v>
                </c:pt>
                <c:pt idx="2262">
                  <c:v>0.224761904761905</c:v>
                </c:pt>
                <c:pt idx="2263">
                  <c:v>0.22482014388489199</c:v>
                </c:pt>
                <c:pt idx="2264">
                  <c:v>0.22486772486772499</c:v>
                </c:pt>
                <c:pt idx="2265">
                  <c:v>0.22492836676217801</c:v>
                </c:pt>
                <c:pt idx="2266">
                  <c:v>0.22500000000000001</c:v>
                </c:pt>
                <c:pt idx="2267">
                  <c:v>0.22500000000000001</c:v>
                </c:pt>
                <c:pt idx="2268">
                  <c:v>0.22503082614056699</c:v>
                </c:pt>
                <c:pt idx="2269">
                  <c:v>0.22508038585209</c:v>
                </c:pt>
                <c:pt idx="2270">
                  <c:v>0.225247524752475</c:v>
                </c:pt>
                <c:pt idx="2271">
                  <c:v>0.22526737967914401</c:v>
                </c:pt>
                <c:pt idx="2272">
                  <c:v>0.22527158376215001</c:v>
                </c:pt>
                <c:pt idx="2273">
                  <c:v>0.225274725274725</c:v>
                </c:pt>
                <c:pt idx="2274">
                  <c:v>0.22535211267605601</c:v>
                </c:pt>
                <c:pt idx="2275">
                  <c:v>0.22540983606557399</c:v>
                </c:pt>
                <c:pt idx="2276">
                  <c:v>0.22542204568023799</c:v>
                </c:pt>
                <c:pt idx="2277">
                  <c:v>0.22546012269938601</c:v>
                </c:pt>
                <c:pt idx="2278">
                  <c:v>0.22550432276657101</c:v>
                </c:pt>
                <c:pt idx="2279">
                  <c:v>0.22551928783382799</c:v>
                </c:pt>
                <c:pt idx="2280">
                  <c:v>0.22559999999999999</c:v>
                </c:pt>
                <c:pt idx="2281">
                  <c:v>0.225663716814159</c:v>
                </c:pt>
                <c:pt idx="2282">
                  <c:v>0.22575640031031799</c:v>
                </c:pt>
                <c:pt idx="2283">
                  <c:v>0.22575757575757599</c:v>
                </c:pt>
                <c:pt idx="2284">
                  <c:v>0.225806451612903</c:v>
                </c:pt>
                <c:pt idx="2285">
                  <c:v>0.225806451612903</c:v>
                </c:pt>
                <c:pt idx="2286">
                  <c:v>0.225806451612903</c:v>
                </c:pt>
                <c:pt idx="2287">
                  <c:v>0.225806451612903</c:v>
                </c:pt>
                <c:pt idx="2288">
                  <c:v>0.225806451612903</c:v>
                </c:pt>
                <c:pt idx="2289">
                  <c:v>0.225806451612903</c:v>
                </c:pt>
                <c:pt idx="2290">
                  <c:v>0.225806451612903</c:v>
                </c:pt>
                <c:pt idx="2291">
                  <c:v>0.225925925925926</c:v>
                </c:pt>
                <c:pt idx="2292">
                  <c:v>0.225988700564972</c:v>
                </c:pt>
                <c:pt idx="2293">
                  <c:v>0.22602739726027399</c:v>
                </c:pt>
                <c:pt idx="2294">
                  <c:v>0.226123595505618</c:v>
                </c:pt>
                <c:pt idx="2295">
                  <c:v>0.226130653266332</c:v>
                </c:pt>
                <c:pt idx="2296">
                  <c:v>0.22616033755274301</c:v>
                </c:pt>
                <c:pt idx="2297">
                  <c:v>0.22617124394184199</c:v>
                </c:pt>
                <c:pt idx="2298">
                  <c:v>0.22636815920398001</c:v>
                </c:pt>
                <c:pt idx="2299">
                  <c:v>0.226377952755905</c:v>
                </c:pt>
                <c:pt idx="2300">
                  <c:v>0.22637889688249399</c:v>
                </c:pt>
                <c:pt idx="2301">
                  <c:v>0.22641509433962301</c:v>
                </c:pt>
                <c:pt idx="2302">
                  <c:v>0.22651933701657501</c:v>
                </c:pt>
                <c:pt idx="2303">
                  <c:v>0.2265625</c:v>
                </c:pt>
                <c:pt idx="2304">
                  <c:v>0.22662889518413601</c:v>
                </c:pt>
                <c:pt idx="2305">
                  <c:v>0.22666666666666699</c:v>
                </c:pt>
                <c:pt idx="2306">
                  <c:v>0.22666666666666699</c:v>
                </c:pt>
                <c:pt idx="2307">
                  <c:v>0.22675736961451201</c:v>
                </c:pt>
                <c:pt idx="2308">
                  <c:v>0.226765799256506</c:v>
                </c:pt>
                <c:pt idx="2309">
                  <c:v>0.22677925211097699</c:v>
                </c:pt>
                <c:pt idx="2310">
                  <c:v>0.226781857451404</c:v>
                </c:pt>
                <c:pt idx="2311">
                  <c:v>0.22680412371134001</c:v>
                </c:pt>
                <c:pt idx="2312">
                  <c:v>0.22683706070287499</c:v>
                </c:pt>
                <c:pt idx="2313">
                  <c:v>0.226851851851852</c:v>
                </c:pt>
                <c:pt idx="2314">
                  <c:v>0.22690058479532199</c:v>
                </c:pt>
                <c:pt idx="2315">
                  <c:v>0.22690763052208801</c:v>
                </c:pt>
                <c:pt idx="2316">
                  <c:v>0.226932668329177</c:v>
                </c:pt>
                <c:pt idx="2317">
                  <c:v>0.22694174757281599</c:v>
                </c:pt>
                <c:pt idx="2318">
                  <c:v>0.22697368421052599</c:v>
                </c:pt>
                <c:pt idx="2319">
                  <c:v>0.22700054436581399</c:v>
                </c:pt>
                <c:pt idx="2320">
                  <c:v>0.22702702702702701</c:v>
                </c:pt>
                <c:pt idx="2321">
                  <c:v>0.22707423580785999</c:v>
                </c:pt>
                <c:pt idx="2322">
                  <c:v>0.227087576374745</c:v>
                </c:pt>
                <c:pt idx="2323">
                  <c:v>0.22725663716814201</c:v>
                </c:pt>
                <c:pt idx="2324">
                  <c:v>0.22727272727272699</c:v>
                </c:pt>
                <c:pt idx="2325">
                  <c:v>0.22727272727272699</c:v>
                </c:pt>
                <c:pt idx="2326">
                  <c:v>0.22727272727272699</c:v>
                </c:pt>
                <c:pt idx="2327">
                  <c:v>0.22727272727272699</c:v>
                </c:pt>
                <c:pt idx="2328">
                  <c:v>0.22727272727272699</c:v>
                </c:pt>
                <c:pt idx="2329">
                  <c:v>0.22727272727272699</c:v>
                </c:pt>
                <c:pt idx="2330">
                  <c:v>0.22727272727272699</c:v>
                </c:pt>
                <c:pt idx="2331">
                  <c:v>0.22727272727272699</c:v>
                </c:pt>
                <c:pt idx="2332">
                  <c:v>0.22736030828516399</c:v>
                </c:pt>
                <c:pt idx="2333">
                  <c:v>0.22737068965517199</c:v>
                </c:pt>
                <c:pt idx="2334">
                  <c:v>0.227397260273973</c:v>
                </c:pt>
                <c:pt idx="2335">
                  <c:v>0.22744128553770099</c:v>
                </c:pt>
                <c:pt idx="2336">
                  <c:v>0.22754491017964101</c:v>
                </c:pt>
                <c:pt idx="2337">
                  <c:v>0.22767857142857101</c:v>
                </c:pt>
                <c:pt idx="2338">
                  <c:v>0.22767857142857101</c:v>
                </c:pt>
                <c:pt idx="2339">
                  <c:v>0.22772277227722801</c:v>
                </c:pt>
                <c:pt idx="2340">
                  <c:v>0.227739726027397</c:v>
                </c:pt>
                <c:pt idx="2341">
                  <c:v>0.22774659182036899</c:v>
                </c:pt>
                <c:pt idx="2342">
                  <c:v>0.227848101265823</c:v>
                </c:pt>
                <c:pt idx="2343">
                  <c:v>0.22789115646258501</c:v>
                </c:pt>
                <c:pt idx="2344">
                  <c:v>0.227951153324288</c:v>
                </c:pt>
                <c:pt idx="2345">
                  <c:v>0.22796352583586599</c:v>
                </c:pt>
                <c:pt idx="2346">
                  <c:v>0.22807017543859601</c:v>
                </c:pt>
                <c:pt idx="2347">
                  <c:v>0.228228228228228</c:v>
                </c:pt>
                <c:pt idx="2348">
                  <c:v>0.22826086956521699</c:v>
                </c:pt>
                <c:pt idx="2349">
                  <c:v>0.228282828282828</c:v>
                </c:pt>
                <c:pt idx="2350">
                  <c:v>0.22832369942196501</c:v>
                </c:pt>
                <c:pt idx="2351">
                  <c:v>0.22840690978886799</c:v>
                </c:pt>
                <c:pt idx="2352">
                  <c:v>0.22840690978886799</c:v>
                </c:pt>
                <c:pt idx="2353">
                  <c:v>0.22843450479233199</c:v>
                </c:pt>
                <c:pt idx="2354">
                  <c:v>0.228451882845188</c:v>
                </c:pt>
                <c:pt idx="2355">
                  <c:v>0.228526398739165</c:v>
                </c:pt>
                <c:pt idx="2356">
                  <c:v>0.22857142857142901</c:v>
                </c:pt>
                <c:pt idx="2357">
                  <c:v>0.22857142857142901</c:v>
                </c:pt>
                <c:pt idx="2358">
                  <c:v>0.22857142857142901</c:v>
                </c:pt>
                <c:pt idx="2359">
                  <c:v>0.22857142857142901</c:v>
                </c:pt>
                <c:pt idx="2360">
                  <c:v>0.228609625668449</c:v>
                </c:pt>
                <c:pt idx="2361">
                  <c:v>0.228634850166482</c:v>
                </c:pt>
                <c:pt idx="2362">
                  <c:v>0.22866894197952201</c:v>
                </c:pt>
                <c:pt idx="2363">
                  <c:v>0.228672985781991</c:v>
                </c:pt>
                <c:pt idx="2364">
                  <c:v>0.22867513611615201</c:v>
                </c:pt>
                <c:pt idx="2365">
                  <c:v>0.22872340425531901</c:v>
                </c:pt>
                <c:pt idx="2366">
                  <c:v>0.22876949740034699</c:v>
                </c:pt>
                <c:pt idx="2367">
                  <c:v>0.22881355932203401</c:v>
                </c:pt>
                <c:pt idx="2368">
                  <c:v>0.22885572139303501</c:v>
                </c:pt>
                <c:pt idx="2369">
                  <c:v>0.22885572139303501</c:v>
                </c:pt>
                <c:pt idx="2370">
                  <c:v>0.22891566265060201</c:v>
                </c:pt>
                <c:pt idx="2371">
                  <c:v>0.22894736842105301</c:v>
                </c:pt>
                <c:pt idx="2372">
                  <c:v>0.22898032200357801</c:v>
                </c:pt>
                <c:pt idx="2373">
                  <c:v>0.22898550724637701</c:v>
                </c:pt>
                <c:pt idx="2374">
                  <c:v>0.22901849217638701</c:v>
                </c:pt>
                <c:pt idx="2375">
                  <c:v>0.22916666666666699</c:v>
                </c:pt>
                <c:pt idx="2376">
                  <c:v>0.22916666666666699</c:v>
                </c:pt>
                <c:pt idx="2377">
                  <c:v>0.22916666666666699</c:v>
                </c:pt>
                <c:pt idx="2378">
                  <c:v>0.22921914357682599</c:v>
                </c:pt>
                <c:pt idx="2379">
                  <c:v>0.22938144329896901</c:v>
                </c:pt>
                <c:pt idx="2380">
                  <c:v>0.22946175637393801</c:v>
                </c:pt>
                <c:pt idx="2381">
                  <c:v>0.22947131608548901</c:v>
                </c:pt>
                <c:pt idx="2382">
                  <c:v>0.22950819672131101</c:v>
                </c:pt>
                <c:pt idx="2383">
                  <c:v>0.229545454545455</c:v>
                </c:pt>
                <c:pt idx="2384">
                  <c:v>0.22957198443579799</c:v>
                </c:pt>
                <c:pt idx="2385">
                  <c:v>0.22957516339869299</c:v>
                </c:pt>
                <c:pt idx="2386">
                  <c:v>0.22959183673469399</c:v>
                </c:pt>
                <c:pt idx="2387">
                  <c:v>0.22972972972972999</c:v>
                </c:pt>
                <c:pt idx="2388">
                  <c:v>0.229761904761905</c:v>
                </c:pt>
                <c:pt idx="2389">
                  <c:v>0.22982456140350899</c:v>
                </c:pt>
                <c:pt idx="2390">
                  <c:v>0.22983870967741901</c:v>
                </c:pt>
                <c:pt idx="2391">
                  <c:v>0.229885057471264</c:v>
                </c:pt>
                <c:pt idx="2392">
                  <c:v>0.229924502402196</c:v>
                </c:pt>
                <c:pt idx="2393">
                  <c:v>0.22994652406417099</c:v>
                </c:pt>
                <c:pt idx="2394">
                  <c:v>0.229965156794425</c:v>
                </c:pt>
                <c:pt idx="2395">
                  <c:v>0.229970326409496</c:v>
                </c:pt>
                <c:pt idx="2396">
                  <c:v>0.22997416020671799</c:v>
                </c:pt>
                <c:pt idx="2397">
                  <c:v>0.229979466119096</c:v>
                </c:pt>
                <c:pt idx="2398">
                  <c:v>0.229979466119096</c:v>
                </c:pt>
                <c:pt idx="2399">
                  <c:v>0.23003194888178899</c:v>
                </c:pt>
                <c:pt idx="2400">
                  <c:v>0.230046948356807</c:v>
                </c:pt>
                <c:pt idx="2401">
                  <c:v>0.23008849557522101</c:v>
                </c:pt>
                <c:pt idx="2402">
                  <c:v>0.23009708737864101</c:v>
                </c:pt>
                <c:pt idx="2403">
                  <c:v>0.23015873015873001</c:v>
                </c:pt>
                <c:pt idx="2404">
                  <c:v>0.230205278592375</c:v>
                </c:pt>
                <c:pt idx="2405">
                  <c:v>0.23023578363384201</c:v>
                </c:pt>
                <c:pt idx="2406">
                  <c:v>0.23024054982817899</c:v>
                </c:pt>
                <c:pt idx="2407">
                  <c:v>0.23025583982202399</c:v>
                </c:pt>
                <c:pt idx="2408">
                  <c:v>0.230263157894737</c:v>
                </c:pt>
                <c:pt idx="2409">
                  <c:v>0.230283911671924</c:v>
                </c:pt>
                <c:pt idx="2410">
                  <c:v>0.23030303030303001</c:v>
                </c:pt>
                <c:pt idx="2411">
                  <c:v>0.23033389926428999</c:v>
                </c:pt>
                <c:pt idx="2412">
                  <c:v>0.230377166156983</c:v>
                </c:pt>
                <c:pt idx="2413">
                  <c:v>0.23037974683544299</c:v>
                </c:pt>
                <c:pt idx="2414">
                  <c:v>0.230392156862745</c:v>
                </c:pt>
                <c:pt idx="2415">
                  <c:v>0.23046875</c:v>
                </c:pt>
                <c:pt idx="2416">
                  <c:v>0.23051948051948001</c:v>
                </c:pt>
                <c:pt idx="2417">
                  <c:v>0.23052959501557599</c:v>
                </c:pt>
                <c:pt idx="2418">
                  <c:v>0.230769230769231</c:v>
                </c:pt>
                <c:pt idx="2419">
                  <c:v>0.230769230769231</c:v>
                </c:pt>
                <c:pt idx="2420">
                  <c:v>0.230769230769231</c:v>
                </c:pt>
                <c:pt idx="2421">
                  <c:v>0.230769230769231</c:v>
                </c:pt>
                <c:pt idx="2422">
                  <c:v>0.230769230769231</c:v>
                </c:pt>
                <c:pt idx="2423">
                  <c:v>0.230967741935484</c:v>
                </c:pt>
                <c:pt idx="2424">
                  <c:v>0.23097463284379199</c:v>
                </c:pt>
                <c:pt idx="2425">
                  <c:v>0.23098591549295799</c:v>
                </c:pt>
                <c:pt idx="2426">
                  <c:v>0.2309963099631</c:v>
                </c:pt>
                <c:pt idx="2427">
                  <c:v>0.230998509687034</c:v>
                </c:pt>
                <c:pt idx="2428">
                  <c:v>0.23100303951367801</c:v>
                </c:pt>
                <c:pt idx="2429">
                  <c:v>0.23100303951367801</c:v>
                </c:pt>
                <c:pt idx="2430">
                  <c:v>0.23103448275862101</c:v>
                </c:pt>
                <c:pt idx="2431">
                  <c:v>0.23107049608355101</c:v>
                </c:pt>
                <c:pt idx="2432">
                  <c:v>0.23111111111111099</c:v>
                </c:pt>
                <c:pt idx="2433">
                  <c:v>0.23112128146453101</c:v>
                </c:pt>
                <c:pt idx="2434">
                  <c:v>0.23114355231143599</c:v>
                </c:pt>
                <c:pt idx="2435">
                  <c:v>0.23130841121495299</c:v>
                </c:pt>
                <c:pt idx="2436">
                  <c:v>0.23131014063656599</c:v>
                </c:pt>
                <c:pt idx="2437">
                  <c:v>0.231335436382755</c:v>
                </c:pt>
                <c:pt idx="2438">
                  <c:v>0.23134328358209</c:v>
                </c:pt>
                <c:pt idx="2439">
                  <c:v>0.23154362416107399</c:v>
                </c:pt>
                <c:pt idx="2440">
                  <c:v>0.231578947368421</c:v>
                </c:pt>
                <c:pt idx="2441">
                  <c:v>0.231578947368421</c:v>
                </c:pt>
                <c:pt idx="2442">
                  <c:v>0.231607629427793</c:v>
                </c:pt>
                <c:pt idx="2443">
                  <c:v>0.23163841807909599</c:v>
                </c:pt>
                <c:pt idx="2444">
                  <c:v>0.23166585721223901</c:v>
                </c:pt>
                <c:pt idx="2445">
                  <c:v>0.23170731707317099</c:v>
                </c:pt>
                <c:pt idx="2446">
                  <c:v>0.23170731707317099</c:v>
                </c:pt>
                <c:pt idx="2447">
                  <c:v>0.231726283048211</c:v>
                </c:pt>
                <c:pt idx="2448">
                  <c:v>0.23174603174603201</c:v>
                </c:pt>
                <c:pt idx="2449">
                  <c:v>0.23175965665236001</c:v>
                </c:pt>
                <c:pt idx="2450">
                  <c:v>0.231802911534155</c:v>
                </c:pt>
                <c:pt idx="2451">
                  <c:v>0.23185011709601899</c:v>
                </c:pt>
                <c:pt idx="2452">
                  <c:v>0.23192019950124701</c:v>
                </c:pt>
                <c:pt idx="2453">
                  <c:v>0.231942215088282</c:v>
                </c:pt>
                <c:pt idx="2454">
                  <c:v>0.231958762886598</c:v>
                </c:pt>
                <c:pt idx="2455">
                  <c:v>0.231958762886598</c:v>
                </c:pt>
                <c:pt idx="2456">
                  <c:v>0.231958762886598</c:v>
                </c:pt>
                <c:pt idx="2457">
                  <c:v>0.23200000000000001</c:v>
                </c:pt>
                <c:pt idx="2458">
                  <c:v>0.23202054794520499</c:v>
                </c:pt>
                <c:pt idx="2459">
                  <c:v>0.23206751054852301</c:v>
                </c:pt>
                <c:pt idx="2460">
                  <c:v>0.23206751054852301</c:v>
                </c:pt>
                <c:pt idx="2461">
                  <c:v>0.232106339468303</c:v>
                </c:pt>
                <c:pt idx="2462">
                  <c:v>0.23214285714285701</c:v>
                </c:pt>
                <c:pt idx="2463">
                  <c:v>0.232198142414861</c:v>
                </c:pt>
                <c:pt idx="2464">
                  <c:v>0.23232323232323199</c:v>
                </c:pt>
                <c:pt idx="2465">
                  <c:v>0.23232323232323199</c:v>
                </c:pt>
                <c:pt idx="2466">
                  <c:v>0.23234200743494399</c:v>
                </c:pt>
                <c:pt idx="2467">
                  <c:v>0.23235294117647101</c:v>
                </c:pt>
                <c:pt idx="2468">
                  <c:v>0.232456140350877</c:v>
                </c:pt>
                <c:pt idx="2469">
                  <c:v>0.23245802841153701</c:v>
                </c:pt>
                <c:pt idx="2470">
                  <c:v>0.23252858958068601</c:v>
                </c:pt>
                <c:pt idx="2471">
                  <c:v>0.232558139534884</c:v>
                </c:pt>
                <c:pt idx="2472">
                  <c:v>0.232558139534884</c:v>
                </c:pt>
                <c:pt idx="2473">
                  <c:v>0.232558139534884</c:v>
                </c:pt>
                <c:pt idx="2474">
                  <c:v>0.232558139534884</c:v>
                </c:pt>
                <c:pt idx="2475">
                  <c:v>0.232558139534884</c:v>
                </c:pt>
                <c:pt idx="2476">
                  <c:v>0.232558139534884</c:v>
                </c:pt>
                <c:pt idx="2477">
                  <c:v>0.23263888888888901</c:v>
                </c:pt>
                <c:pt idx="2478">
                  <c:v>0.232758620689655</c:v>
                </c:pt>
                <c:pt idx="2479">
                  <c:v>0.232801595214357</c:v>
                </c:pt>
                <c:pt idx="2480">
                  <c:v>0.23281786941580801</c:v>
                </c:pt>
                <c:pt idx="2481">
                  <c:v>0.232824427480916</c:v>
                </c:pt>
                <c:pt idx="2482">
                  <c:v>0.23283582089552199</c:v>
                </c:pt>
                <c:pt idx="2483">
                  <c:v>0.23285899094437301</c:v>
                </c:pt>
                <c:pt idx="2484">
                  <c:v>0.232876712328767</c:v>
                </c:pt>
                <c:pt idx="2485">
                  <c:v>0.23297491039426499</c:v>
                </c:pt>
                <c:pt idx="2486">
                  <c:v>0.23297491039426499</c:v>
                </c:pt>
                <c:pt idx="2487">
                  <c:v>0.233009708737864</c:v>
                </c:pt>
                <c:pt idx="2488">
                  <c:v>0.233108108108108</c:v>
                </c:pt>
                <c:pt idx="2489">
                  <c:v>0.23318385650224199</c:v>
                </c:pt>
                <c:pt idx="2490">
                  <c:v>0.23318938926588501</c:v>
                </c:pt>
                <c:pt idx="2491">
                  <c:v>0.233213965980304</c:v>
                </c:pt>
                <c:pt idx="2492">
                  <c:v>0.23323170731707299</c:v>
                </c:pt>
                <c:pt idx="2493">
                  <c:v>0.233236151603499</c:v>
                </c:pt>
                <c:pt idx="2494">
                  <c:v>0.233261339092873</c:v>
                </c:pt>
                <c:pt idx="2495">
                  <c:v>0.233333333333333</c:v>
                </c:pt>
                <c:pt idx="2496">
                  <c:v>0.233333333333333</c:v>
                </c:pt>
                <c:pt idx="2497">
                  <c:v>0.23339011925042599</c:v>
                </c:pt>
                <c:pt idx="2498">
                  <c:v>0.23342175066313001</c:v>
                </c:pt>
                <c:pt idx="2499">
                  <c:v>0.23342939481267999</c:v>
                </c:pt>
                <c:pt idx="2500">
                  <c:v>0.23346303501945501</c:v>
                </c:pt>
                <c:pt idx="2501">
                  <c:v>0.233480176211454</c:v>
                </c:pt>
                <c:pt idx="2502">
                  <c:v>0.23353293413173701</c:v>
                </c:pt>
                <c:pt idx="2503">
                  <c:v>0.23356807511737099</c:v>
                </c:pt>
                <c:pt idx="2504">
                  <c:v>0.233618233618234</c:v>
                </c:pt>
                <c:pt idx="2505">
                  <c:v>0.23369963369963401</c:v>
                </c:pt>
                <c:pt idx="2506">
                  <c:v>0.233707865168539</c:v>
                </c:pt>
                <c:pt idx="2507">
                  <c:v>0.23372781065088799</c:v>
                </c:pt>
                <c:pt idx="2508">
                  <c:v>0.233754512635379</c:v>
                </c:pt>
                <c:pt idx="2509">
                  <c:v>0.23376623376623401</c:v>
                </c:pt>
                <c:pt idx="2510">
                  <c:v>0.23376623376623401</c:v>
                </c:pt>
                <c:pt idx="2511">
                  <c:v>0.23376623376623401</c:v>
                </c:pt>
                <c:pt idx="2512">
                  <c:v>0.23383084577114399</c:v>
                </c:pt>
                <c:pt idx="2513">
                  <c:v>0.233870967741935</c:v>
                </c:pt>
                <c:pt idx="2514">
                  <c:v>0.23389830508474599</c:v>
                </c:pt>
                <c:pt idx="2515">
                  <c:v>0.23390894819466199</c:v>
                </c:pt>
                <c:pt idx="2516">
                  <c:v>0.23390894819466199</c:v>
                </c:pt>
                <c:pt idx="2517">
                  <c:v>0.234009360374415</c:v>
                </c:pt>
                <c:pt idx="2518">
                  <c:v>0.23404255319148901</c:v>
                </c:pt>
                <c:pt idx="2519">
                  <c:v>0.23405972558514901</c:v>
                </c:pt>
                <c:pt idx="2520">
                  <c:v>0.234074977141116</c:v>
                </c:pt>
                <c:pt idx="2521">
                  <c:v>0.234100135317997</c:v>
                </c:pt>
                <c:pt idx="2522">
                  <c:v>0.234104046242775</c:v>
                </c:pt>
                <c:pt idx="2523">
                  <c:v>0.23411371237458201</c:v>
                </c:pt>
                <c:pt idx="2524">
                  <c:v>0.23411371237458201</c:v>
                </c:pt>
                <c:pt idx="2525">
                  <c:v>0.234170854271357</c:v>
                </c:pt>
                <c:pt idx="2526">
                  <c:v>0.234177215189873</c:v>
                </c:pt>
                <c:pt idx="2527">
                  <c:v>0.23418803418803399</c:v>
                </c:pt>
                <c:pt idx="2528">
                  <c:v>0.234194122885129</c:v>
                </c:pt>
                <c:pt idx="2529">
                  <c:v>0.234217749313815</c:v>
                </c:pt>
                <c:pt idx="2530">
                  <c:v>0.23423423423423401</c:v>
                </c:pt>
                <c:pt idx="2531">
                  <c:v>0.234303215926493</c:v>
                </c:pt>
                <c:pt idx="2532">
                  <c:v>0.23430962343096201</c:v>
                </c:pt>
                <c:pt idx="2533">
                  <c:v>0.23443223443223399</c:v>
                </c:pt>
                <c:pt idx="2534">
                  <c:v>0.23443708609271499</c:v>
                </c:pt>
                <c:pt idx="2535">
                  <c:v>0.234442836468886</c:v>
                </c:pt>
                <c:pt idx="2536">
                  <c:v>0.23446893787575099</c:v>
                </c:pt>
                <c:pt idx="2537">
                  <c:v>0.23453996983408701</c:v>
                </c:pt>
                <c:pt idx="2538">
                  <c:v>0.234567901234568</c:v>
                </c:pt>
                <c:pt idx="2539">
                  <c:v>0.23460410557184799</c:v>
                </c:pt>
                <c:pt idx="2540">
                  <c:v>0.23462088698140199</c:v>
                </c:pt>
                <c:pt idx="2541">
                  <c:v>0.23463687150838</c:v>
                </c:pt>
                <c:pt idx="2542">
                  <c:v>0.23467862481315399</c:v>
                </c:pt>
                <c:pt idx="2543">
                  <c:v>0.23469387755102</c:v>
                </c:pt>
                <c:pt idx="2544">
                  <c:v>0.23474178403755899</c:v>
                </c:pt>
                <c:pt idx="2545">
                  <c:v>0.234803337306317</c:v>
                </c:pt>
                <c:pt idx="2546">
                  <c:v>0.234909650134564</c:v>
                </c:pt>
                <c:pt idx="2547">
                  <c:v>0.23499999999999999</c:v>
                </c:pt>
                <c:pt idx="2548">
                  <c:v>0.235008103727715</c:v>
                </c:pt>
                <c:pt idx="2549">
                  <c:v>0.23501199040767401</c:v>
                </c:pt>
                <c:pt idx="2550">
                  <c:v>0.23501712328767099</c:v>
                </c:pt>
                <c:pt idx="2551">
                  <c:v>0.23504273504273501</c:v>
                </c:pt>
                <c:pt idx="2552">
                  <c:v>0.23505654281098501</c:v>
                </c:pt>
                <c:pt idx="2553">
                  <c:v>0.23507462686567199</c:v>
                </c:pt>
                <c:pt idx="2554">
                  <c:v>0.235119047619048</c:v>
                </c:pt>
                <c:pt idx="2555">
                  <c:v>0.23521320495185699</c:v>
                </c:pt>
                <c:pt idx="2556">
                  <c:v>0.23529411764705899</c:v>
                </c:pt>
                <c:pt idx="2557">
                  <c:v>0.23529411764705899</c:v>
                </c:pt>
                <c:pt idx="2558">
                  <c:v>0.23529411764705899</c:v>
                </c:pt>
                <c:pt idx="2559">
                  <c:v>0.23529411764705899</c:v>
                </c:pt>
                <c:pt idx="2560">
                  <c:v>0.23529411764705899</c:v>
                </c:pt>
                <c:pt idx="2561">
                  <c:v>0.23529411764705899</c:v>
                </c:pt>
                <c:pt idx="2562">
                  <c:v>0.23529411764705899</c:v>
                </c:pt>
                <c:pt idx="2563">
                  <c:v>0.23529411764705899</c:v>
                </c:pt>
                <c:pt idx="2564">
                  <c:v>0.23529411764705899</c:v>
                </c:pt>
                <c:pt idx="2565">
                  <c:v>0.23529411764705899</c:v>
                </c:pt>
                <c:pt idx="2566">
                  <c:v>0.23534338358459</c:v>
                </c:pt>
                <c:pt idx="2567">
                  <c:v>0.235404896421846</c:v>
                </c:pt>
                <c:pt idx="2568">
                  <c:v>0.235404896421846</c:v>
                </c:pt>
                <c:pt idx="2569">
                  <c:v>0.235405970716866</c:v>
                </c:pt>
                <c:pt idx="2570">
                  <c:v>0.235411140583554</c:v>
                </c:pt>
                <c:pt idx="2571">
                  <c:v>0.23542857142857099</c:v>
                </c:pt>
                <c:pt idx="2572">
                  <c:v>0.23547880690737799</c:v>
                </c:pt>
                <c:pt idx="2573">
                  <c:v>0.23548740416210301</c:v>
                </c:pt>
                <c:pt idx="2574">
                  <c:v>0.23548785508439701</c:v>
                </c:pt>
                <c:pt idx="2575">
                  <c:v>0.23552123552123599</c:v>
                </c:pt>
                <c:pt idx="2576">
                  <c:v>0.23553719008264501</c:v>
                </c:pt>
                <c:pt idx="2577">
                  <c:v>0.23557692307692299</c:v>
                </c:pt>
                <c:pt idx="2578">
                  <c:v>0.235591506572295</c:v>
                </c:pt>
                <c:pt idx="2579">
                  <c:v>0.235616438356164</c:v>
                </c:pt>
                <c:pt idx="2580">
                  <c:v>0.235658914728682</c:v>
                </c:pt>
                <c:pt idx="2581">
                  <c:v>0.23566878980891701</c:v>
                </c:pt>
                <c:pt idx="2582">
                  <c:v>0.23567427832830701</c:v>
                </c:pt>
                <c:pt idx="2583">
                  <c:v>0.23569350145489801</c:v>
                </c:pt>
                <c:pt idx="2584">
                  <c:v>0.23571428571428599</c:v>
                </c:pt>
                <c:pt idx="2585">
                  <c:v>0.235759493670886</c:v>
                </c:pt>
                <c:pt idx="2586">
                  <c:v>0.23577235772357699</c:v>
                </c:pt>
                <c:pt idx="2587">
                  <c:v>0.23578947368421099</c:v>
                </c:pt>
                <c:pt idx="2588">
                  <c:v>0.235924932975871</c:v>
                </c:pt>
                <c:pt idx="2589">
                  <c:v>0.235955056179775</c:v>
                </c:pt>
                <c:pt idx="2590">
                  <c:v>0.235955056179775</c:v>
                </c:pt>
                <c:pt idx="2591">
                  <c:v>0.235955056179775</c:v>
                </c:pt>
                <c:pt idx="2592">
                  <c:v>0.23611111111111099</c:v>
                </c:pt>
                <c:pt idx="2593">
                  <c:v>0.23613312202852599</c:v>
                </c:pt>
                <c:pt idx="2594">
                  <c:v>0.23622047244094499</c:v>
                </c:pt>
                <c:pt idx="2595">
                  <c:v>0.23622704507512499</c:v>
                </c:pt>
                <c:pt idx="2596">
                  <c:v>0.23623445825932499</c:v>
                </c:pt>
                <c:pt idx="2597">
                  <c:v>0.23631840796019901</c:v>
                </c:pt>
                <c:pt idx="2598">
                  <c:v>0.236363636363636</c:v>
                </c:pt>
                <c:pt idx="2599">
                  <c:v>0.23644251626898</c:v>
                </c:pt>
                <c:pt idx="2600">
                  <c:v>0.236467236467236</c:v>
                </c:pt>
                <c:pt idx="2601">
                  <c:v>0.23648648648648599</c:v>
                </c:pt>
                <c:pt idx="2602">
                  <c:v>0.23649906890130401</c:v>
                </c:pt>
                <c:pt idx="2603">
                  <c:v>0.236559139784946</c:v>
                </c:pt>
                <c:pt idx="2604">
                  <c:v>0.23660714285714299</c:v>
                </c:pt>
                <c:pt idx="2605">
                  <c:v>0.236641221374046</c:v>
                </c:pt>
                <c:pt idx="2606">
                  <c:v>0.236641221374046</c:v>
                </c:pt>
                <c:pt idx="2607">
                  <c:v>0.236641221374046</c:v>
                </c:pt>
                <c:pt idx="2608">
                  <c:v>0.23671497584541101</c:v>
                </c:pt>
                <c:pt idx="2609">
                  <c:v>0.236734693877551</c:v>
                </c:pt>
                <c:pt idx="2610">
                  <c:v>0.23678646934460901</c:v>
                </c:pt>
                <c:pt idx="2611">
                  <c:v>0.236794171220401</c:v>
                </c:pt>
                <c:pt idx="2612">
                  <c:v>0.236794171220401</c:v>
                </c:pt>
                <c:pt idx="2613">
                  <c:v>0.23684210526315799</c:v>
                </c:pt>
                <c:pt idx="2614">
                  <c:v>0.23684210526315799</c:v>
                </c:pt>
                <c:pt idx="2615">
                  <c:v>0.23684210526315799</c:v>
                </c:pt>
                <c:pt idx="2616">
                  <c:v>0.23696682464454999</c:v>
                </c:pt>
                <c:pt idx="2617">
                  <c:v>0.23705463182897901</c:v>
                </c:pt>
                <c:pt idx="2618">
                  <c:v>0.23711340206185599</c:v>
                </c:pt>
                <c:pt idx="2619">
                  <c:v>0.23715415019762801</c:v>
                </c:pt>
                <c:pt idx="2620">
                  <c:v>0.237179487179487</c:v>
                </c:pt>
                <c:pt idx="2621">
                  <c:v>0.23719165085388999</c:v>
                </c:pt>
                <c:pt idx="2622">
                  <c:v>0.23719165085388999</c:v>
                </c:pt>
                <c:pt idx="2623">
                  <c:v>0.23720136518771301</c:v>
                </c:pt>
                <c:pt idx="2624">
                  <c:v>0.237354085603113</c:v>
                </c:pt>
                <c:pt idx="2625">
                  <c:v>0.237354085603113</c:v>
                </c:pt>
                <c:pt idx="2626">
                  <c:v>0.237383177570093</c:v>
                </c:pt>
                <c:pt idx="2627">
                  <c:v>0.23742454728370199</c:v>
                </c:pt>
                <c:pt idx="2628">
                  <c:v>0.237427864798021</c:v>
                </c:pt>
                <c:pt idx="2629">
                  <c:v>0.23749999999999999</c:v>
                </c:pt>
                <c:pt idx="2630">
                  <c:v>0.23754789272030699</c:v>
                </c:pt>
                <c:pt idx="2631">
                  <c:v>0.23758099352051801</c:v>
                </c:pt>
                <c:pt idx="2632">
                  <c:v>0.237623762376238</c:v>
                </c:pt>
                <c:pt idx="2633">
                  <c:v>0.23764705882352899</c:v>
                </c:pt>
                <c:pt idx="2634">
                  <c:v>0.23776223776223801</c:v>
                </c:pt>
                <c:pt idx="2635">
                  <c:v>0.23783783783783799</c:v>
                </c:pt>
                <c:pt idx="2636">
                  <c:v>0.237864077669903</c:v>
                </c:pt>
                <c:pt idx="2637">
                  <c:v>0.237986270022883</c:v>
                </c:pt>
                <c:pt idx="2638">
                  <c:v>0.23802395209580801</c:v>
                </c:pt>
                <c:pt idx="2639">
                  <c:v>0.23805567095970101</c:v>
                </c:pt>
                <c:pt idx="2640">
                  <c:v>0.238095238095238</c:v>
                </c:pt>
                <c:pt idx="2641">
                  <c:v>0.238095238095238</c:v>
                </c:pt>
                <c:pt idx="2642">
                  <c:v>0.238095238095238</c:v>
                </c:pt>
                <c:pt idx="2643">
                  <c:v>0.238095238095238</c:v>
                </c:pt>
                <c:pt idx="2644">
                  <c:v>0.238095238095238</c:v>
                </c:pt>
                <c:pt idx="2645">
                  <c:v>0.238095238095238</c:v>
                </c:pt>
                <c:pt idx="2646">
                  <c:v>0.23822714681440399</c:v>
                </c:pt>
                <c:pt idx="2647">
                  <c:v>0.23823529411764699</c:v>
                </c:pt>
                <c:pt idx="2648">
                  <c:v>0.238255033557047</c:v>
                </c:pt>
                <c:pt idx="2649">
                  <c:v>0.238289205702648</c:v>
                </c:pt>
                <c:pt idx="2650">
                  <c:v>0.23831775700934599</c:v>
                </c:pt>
                <c:pt idx="2651">
                  <c:v>0.238323353293413</c:v>
                </c:pt>
                <c:pt idx="2652">
                  <c:v>0.23835125448028699</c:v>
                </c:pt>
                <c:pt idx="2653">
                  <c:v>0.23837209302325599</c:v>
                </c:pt>
                <c:pt idx="2654">
                  <c:v>0.238390092879257</c:v>
                </c:pt>
                <c:pt idx="2655">
                  <c:v>0.23856209150326799</c:v>
                </c:pt>
                <c:pt idx="2656">
                  <c:v>0.23861720067453601</c:v>
                </c:pt>
                <c:pt idx="2657">
                  <c:v>0.23863636363636401</c:v>
                </c:pt>
                <c:pt idx="2658">
                  <c:v>0.23863636363636401</c:v>
                </c:pt>
                <c:pt idx="2659">
                  <c:v>0.23876404494382</c:v>
                </c:pt>
                <c:pt idx="2660">
                  <c:v>0.23890784982935201</c:v>
                </c:pt>
                <c:pt idx="2661">
                  <c:v>0.23890784982935201</c:v>
                </c:pt>
                <c:pt idx="2662">
                  <c:v>0.23891625615763501</c:v>
                </c:pt>
                <c:pt idx="2663">
                  <c:v>0.238979118329466</c:v>
                </c:pt>
                <c:pt idx="2664">
                  <c:v>0.23899371069182401</c:v>
                </c:pt>
                <c:pt idx="2665">
                  <c:v>0.23913043478260901</c:v>
                </c:pt>
                <c:pt idx="2666">
                  <c:v>0.23913043478260901</c:v>
                </c:pt>
                <c:pt idx="2667">
                  <c:v>0.23913043478260901</c:v>
                </c:pt>
                <c:pt idx="2668">
                  <c:v>0.23918575063613201</c:v>
                </c:pt>
                <c:pt idx="2669">
                  <c:v>0.23919308357348701</c:v>
                </c:pt>
                <c:pt idx="2670">
                  <c:v>0.23921568627451001</c:v>
                </c:pt>
                <c:pt idx="2671">
                  <c:v>0.23926380368098199</c:v>
                </c:pt>
                <c:pt idx="2672">
                  <c:v>0.23927038626609401</c:v>
                </c:pt>
                <c:pt idx="2673">
                  <c:v>0.23931623931623899</c:v>
                </c:pt>
                <c:pt idx="2674">
                  <c:v>0.23931623931623899</c:v>
                </c:pt>
                <c:pt idx="2675">
                  <c:v>0.239342578325629</c:v>
                </c:pt>
                <c:pt idx="2676">
                  <c:v>0.23938223938223899</c:v>
                </c:pt>
                <c:pt idx="2677">
                  <c:v>0.23939393939393899</c:v>
                </c:pt>
                <c:pt idx="2678">
                  <c:v>0.23943661971831001</c:v>
                </c:pt>
                <c:pt idx="2679">
                  <c:v>0.23943661971831001</c:v>
                </c:pt>
                <c:pt idx="2680">
                  <c:v>0.23943661971831001</c:v>
                </c:pt>
                <c:pt idx="2681">
                  <c:v>0.23943661971831001</c:v>
                </c:pt>
                <c:pt idx="2682">
                  <c:v>0.23946784922394701</c:v>
                </c:pt>
                <c:pt idx="2683">
                  <c:v>0.23947368421052601</c:v>
                </c:pt>
                <c:pt idx="2684">
                  <c:v>0.23949579831932799</c:v>
                </c:pt>
                <c:pt idx="2685">
                  <c:v>0.23950233281493</c:v>
                </c:pt>
                <c:pt idx="2686">
                  <c:v>0.239520958083832</c:v>
                </c:pt>
                <c:pt idx="2687">
                  <c:v>0.23958333333333301</c:v>
                </c:pt>
                <c:pt idx="2688">
                  <c:v>0.23958927552766701</c:v>
                </c:pt>
                <c:pt idx="2689">
                  <c:v>0.239651416122004</c:v>
                </c:pt>
                <c:pt idx="2690">
                  <c:v>0.23970037453183499</c:v>
                </c:pt>
                <c:pt idx="2691">
                  <c:v>0.23972602739726001</c:v>
                </c:pt>
                <c:pt idx="2692">
                  <c:v>0.239755351681957</c:v>
                </c:pt>
                <c:pt idx="2693">
                  <c:v>0.239770279971285</c:v>
                </c:pt>
                <c:pt idx="2694">
                  <c:v>0.239804241435563</c:v>
                </c:pt>
                <c:pt idx="2695">
                  <c:v>0.23985239852398499</c:v>
                </c:pt>
                <c:pt idx="2696">
                  <c:v>0.23985890652557301</c:v>
                </c:pt>
                <c:pt idx="2697">
                  <c:v>0.24</c:v>
                </c:pt>
                <c:pt idx="2698">
                  <c:v>0.24</c:v>
                </c:pt>
                <c:pt idx="2699">
                  <c:v>0.24</c:v>
                </c:pt>
                <c:pt idx="2700">
                  <c:v>0.24002659574468099</c:v>
                </c:pt>
                <c:pt idx="2701">
                  <c:v>0.240131578947368</c:v>
                </c:pt>
                <c:pt idx="2702">
                  <c:v>0.240196078431373</c:v>
                </c:pt>
                <c:pt idx="2703">
                  <c:v>0.240223463687151</c:v>
                </c:pt>
                <c:pt idx="2704">
                  <c:v>0.24025974025974001</c:v>
                </c:pt>
                <c:pt idx="2705">
                  <c:v>0.24028776978417299</c:v>
                </c:pt>
                <c:pt idx="2706">
                  <c:v>0.240384615384615</c:v>
                </c:pt>
                <c:pt idx="2707">
                  <c:v>0.24041058887088099</c:v>
                </c:pt>
                <c:pt idx="2708">
                  <c:v>0.24042879019908101</c:v>
                </c:pt>
                <c:pt idx="2709">
                  <c:v>0.24043062200956899</c:v>
                </c:pt>
                <c:pt idx="2710">
                  <c:v>0.240458015267176</c:v>
                </c:pt>
                <c:pt idx="2711">
                  <c:v>0.24053452115812901</c:v>
                </c:pt>
                <c:pt idx="2712">
                  <c:v>0.240540540540541</c:v>
                </c:pt>
                <c:pt idx="2713">
                  <c:v>0.24057971014492799</c:v>
                </c:pt>
                <c:pt idx="2714">
                  <c:v>0.24064171122994599</c:v>
                </c:pt>
                <c:pt idx="2715">
                  <c:v>0.240700218818381</c:v>
                </c:pt>
                <c:pt idx="2716">
                  <c:v>0.24070796460176999</c:v>
                </c:pt>
                <c:pt idx="2717">
                  <c:v>0.240740740740741</c:v>
                </c:pt>
                <c:pt idx="2718">
                  <c:v>0.240875912408759</c:v>
                </c:pt>
                <c:pt idx="2719">
                  <c:v>0.24092409240924101</c:v>
                </c:pt>
                <c:pt idx="2720">
                  <c:v>0.24094640270400799</c:v>
                </c:pt>
                <c:pt idx="2721">
                  <c:v>0.240963855421687</c:v>
                </c:pt>
                <c:pt idx="2722">
                  <c:v>0.240963855421687</c:v>
                </c:pt>
                <c:pt idx="2723">
                  <c:v>0.240963855421687</c:v>
                </c:pt>
                <c:pt idx="2724">
                  <c:v>0.240963855421687</c:v>
                </c:pt>
                <c:pt idx="2725">
                  <c:v>0.24107142857142899</c:v>
                </c:pt>
                <c:pt idx="2726">
                  <c:v>0.24109014675052401</c:v>
                </c:pt>
                <c:pt idx="2727">
                  <c:v>0.24110671936758901</c:v>
                </c:pt>
                <c:pt idx="2728">
                  <c:v>0.241167434715822</c:v>
                </c:pt>
                <c:pt idx="2729">
                  <c:v>0.24120603015075401</c:v>
                </c:pt>
                <c:pt idx="2730">
                  <c:v>0.24125452352231599</c:v>
                </c:pt>
                <c:pt idx="2731">
                  <c:v>0.241258741258741</c:v>
                </c:pt>
                <c:pt idx="2732">
                  <c:v>0.24129930394431601</c:v>
                </c:pt>
                <c:pt idx="2733">
                  <c:v>0.241316270566728</c:v>
                </c:pt>
                <c:pt idx="2734">
                  <c:v>0.241332116788321</c:v>
                </c:pt>
                <c:pt idx="2735">
                  <c:v>0.24135977337110501</c:v>
                </c:pt>
                <c:pt idx="2736">
                  <c:v>0.24137931034482801</c:v>
                </c:pt>
                <c:pt idx="2737">
                  <c:v>0.24137931034482801</c:v>
                </c:pt>
                <c:pt idx="2738">
                  <c:v>0.24137931034482801</c:v>
                </c:pt>
                <c:pt idx="2739">
                  <c:v>0.24137931034482801</c:v>
                </c:pt>
                <c:pt idx="2740">
                  <c:v>0.24139908256880699</c:v>
                </c:pt>
                <c:pt idx="2741">
                  <c:v>0.241430700447094</c:v>
                </c:pt>
                <c:pt idx="2742">
                  <c:v>0.24148606811145501</c:v>
                </c:pt>
                <c:pt idx="2743">
                  <c:v>0.24149108589951401</c:v>
                </c:pt>
                <c:pt idx="2744">
                  <c:v>0.24151967435549501</c:v>
                </c:pt>
                <c:pt idx="2745">
                  <c:v>0.241528478731074</c:v>
                </c:pt>
                <c:pt idx="2746">
                  <c:v>0.24157303370786501</c:v>
                </c:pt>
                <c:pt idx="2747">
                  <c:v>0.24157303370786501</c:v>
                </c:pt>
                <c:pt idx="2748">
                  <c:v>0.24163568773234201</c:v>
                </c:pt>
                <c:pt idx="2749">
                  <c:v>0.24165341812400601</c:v>
                </c:pt>
                <c:pt idx="2750">
                  <c:v>0.24170616113744101</c:v>
                </c:pt>
                <c:pt idx="2751">
                  <c:v>0.24171270718231999</c:v>
                </c:pt>
                <c:pt idx="2752">
                  <c:v>0.24177071509648099</c:v>
                </c:pt>
                <c:pt idx="2753">
                  <c:v>0.241803278688525</c:v>
                </c:pt>
                <c:pt idx="2754">
                  <c:v>0.24183796856106399</c:v>
                </c:pt>
                <c:pt idx="2755">
                  <c:v>0.241912798874824</c:v>
                </c:pt>
                <c:pt idx="2756">
                  <c:v>0.24205378973105099</c:v>
                </c:pt>
                <c:pt idx="2757">
                  <c:v>0.24210526315789499</c:v>
                </c:pt>
                <c:pt idx="2758">
                  <c:v>0.24213230571612099</c:v>
                </c:pt>
                <c:pt idx="2759">
                  <c:v>0.2421875</c:v>
                </c:pt>
                <c:pt idx="2760">
                  <c:v>0.2421875</c:v>
                </c:pt>
                <c:pt idx="2761">
                  <c:v>0.24222753672702399</c:v>
                </c:pt>
                <c:pt idx="2762">
                  <c:v>0.24227799227799199</c:v>
                </c:pt>
                <c:pt idx="2763">
                  <c:v>0.242299794661191</c:v>
                </c:pt>
                <c:pt idx="2764">
                  <c:v>0.242307692307692</c:v>
                </c:pt>
                <c:pt idx="2765">
                  <c:v>0.24232081911262801</c:v>
                </c:pt>
                <c:pt idx="2766">
                  <c:v>0.24238227146814401</c:v>
                </c:pt>
                <c:pt idx="2767">
                  <c:v>0.24242424242424199</c:v>
                </c:pt>
                <c:pt idx="2768">
                  <c:v>0.242450388265746</c:v>
                </c:pt>
                <c:pt idx="2769">
                  <c:v>0.242489270386266</c:v>
                </c:pt>
                <c:pt idx="2770">
                  <c:v>0.24260355029585801</c:v>
                </c:pt>
                <c:pt idx="2771">
                  <c:v>0.24263038548752799</c:v>
                </c:pt>
                <c:pt idx="2772">
                  <c:v>0.24264705882352899</c:v>
                </c:pt>
                <c:pt idx="2773">
                  <c:v>0.242666666666667</c:v>
                </c:pt>
                <c:pt idx="2774">
                  <c:v>0.242672919109027</c:v>
                </c:pt>
                <c:pt idx="2775">
                  <c:v>0.242707117852975</c:v>
                </c:pt>
                <c:pt idx="2776">
                  <c:v>0.24272300469483599</c:v>
                </c:pt>
                <c:pt idx="2777">
                  <c:v>0.24277456647398801</c:v>
                </c:pt>
                <c:pt idx="2778">
                  <c:v>0.24279210925644901</c:v>
                </c:pt>
                <c:pt idx="2779">
                  <c:v>0.24285714285714299</c:v>
                </c:pt>
                <c:pt idx="2780">
                  <c:v>0.24288747346072201</c:v>
                </c:pt>
                <c:pt idx="2781">
                  <c:v>0.242890598862496</c:v>
                </c:pt>
                <c:pt idx="2782">
                  <c:v>0.242937853107345</c:v>
                </c:pt>
                <c:pt idx="2783">
                  <c:v>0.242957746478873</c:v>
                </c:pt>
                <c:pt idx="2784">
                  <c:v>0.24297104490138499</c:v>
                </c:pt>
                <c:pt idx="2785">
                  <c:v>0.242990654205607</c:v>
                </c:pt>
                <c:pt idx="2786">
                  <c:v>0.242990654205607</c:v>
                </c:pt>
                <c:pt idx="2787">
                  <c:v>0.24299999999999999</c:v>
                </c:pt>
                <c:pt idx="2788">
                  <c:v>0.243016759776536</c:v>
                </c:pt>
                <c:pt idx="2789">
                  <c:v>0.24324324324324301</c:v>
                </c:pt>
                <c:pt idx="2790">
                  <c:v>0.24324324324324301</c:v>
                </c:pt>
                <c:pt idx="2791">
                  <c:v>0.24331550802138999</c:v>
                </c:pt>
                <c:pt idx="2792">
                  <c:v>0.24334251606978899</c:v>
                </c:pt>
                <c:pt idx="2793">
                  <c:v>0.24337957124842399</c:v>
                </c:pt>
                <c:pt idx="2794">
                  <c:v>0.24338624338624301</c:v>
                </c:pt>
                <c:pt idx="2795">
                  <c:v>0.24340175953079199</c:v>
                </c:pt>
                <c:pt idx="2796">
                  <c:v>0.24342105263157901</c:v>
                </c:pt>
                <c:pt idx="2797">
                  <c:v>0.24344317417619399</c:v>
                </c:pt>
                <c:pt idx="2798">
                  <c:v>0.24347826086956501</c:v>
                </c:pt>
                <c:pt idx="2799">
                  <c:v>0.24349442379182201</c:v>
                </c:pt>
                <c:pt idx="2800">
                  <c:v>0.243542435424354</c:v>
                </c:pt>
                <c:pt idx="2801">
                  <c:v>0.243589743589744</c:v>
                </c:pt>
                <c:pt idx="2802">
                  <c:v>0.243589743589744</c:v>
                </c:pt>
                <c:pt idx="2803">
                  <c:v>0.243589743589744</c:v>
                </c:pt>
                <c:pt idx="2804">
                  <c:v>0.243654822335025</c:v>
                </c:pt>
                <c:pt idx="2805">
                  <c:v>0.24366197183098601</c:v>
                </c:pt>
                <c:pt idx="2806">
                  <c:v>0.24369747899159699</c:v>
                </c:pt>
                <c:pt idx="2807">
                  <c:v>0.24372759856630799</c:v>
                </c:pt>
                <c:pt idx="2808">
                  <c:v>0.24373956594323901</c:v>
                </c:pt>
                <c:pt idx="2809">
                  <c:v>0.24390243902438999</c:v>
                </c:pt>
                <c:pt idx="2810">
                  <c:v>0.24399999999999999</c:v>
                </c:pt>
                <c:pt idx="2811">
                  <c:v>0.244094488188976</c:v>
                </c:pt>
                <c:pt idx="2812">
                  <c:v>0.244094488188976</c:v>
                </c:pt>
                <c:pt idx="2813">
                  <c:v>0.244111349036403</c:v>
                </c:pt>
                <c:pt idx="2814">
                  <c:v>0.244131455399061</c:v>
                </c:pt>
                <c:pt idx="2815">
                  <c:v>0.24415584415584399</c:v>
                </c:pt>
                <c:pt idx="2816">
                  <c:v>0.24418604651162801</c:v>
                </c:pt>
                <c:pt idx="2817">
                  <c:v>0.24418604651162801</c:v>
                </c:pt>
                <c:pt idx="2818">
                  <c:v>0.244195046439628</c:v>
                </c:pt>
                <c:pt idx="2819">
                  <c:v>0.24420677361853799</c:v>
                </c:pt>
                <c:pt idx="2820">
                  <c:v>0.24424424424424401</c:v>
                </c:pt>
                <c:pt idx="2821">
                  <c:v>0.24424778761061899</c:v>
                </c:pt>
                <c:pt idx="2822">
                  <c:v>0.24425287356321801</c:v>
                </c:pt>
                <c:pt idx="2823">
                  <c:v>0.24425287356321801</c:v>
                </c:pt>
                <c:pt idx="2824">
                  <c:v>0.24426078971533499</c:v>
                </c:pt>
                <c:pt idx="2825">
                  <c:v>0.244283995186522</c:v>
                </c:pt>
                <c:pt idx="2826">
                  <c:v>0.244292237442922</c:v>
                </c:pt>
                <c:pt idx="2827">
                  <c:v>0.244292237442922</c:v>
                </c:pt>
                <c:pt idx="2828">
                  <c:v>0.24434719183077999</c:v>
                </c:pt>
                <c:pt idx="2829">
                  <c:v>0.24439560439560401</c:v>
                </c:pt>
                <c:pt idx="2830">
                  <c:v>0.244413407821229</c:v>
                </c:pt>
                <c:pt idx="2831">
                  <c:v>0.24444444444444399</c:v>
                </c:pt>
                <c:pt idx="2832">
                  <c:v>0.24444444444444399</c:v>
                </c:pt>
                <c:pt idx="2833">
                  <c:v>0.24444444444444399</c:v>
                </c:pt>
                <c:pt idx="2834">
                  <c:v>0.24448275862068999</c:v>
                </c:pt>
                <c:pt idx="2835">
                  <c:v>0.24456521739130399</c:v>
                </c:pt>
                <c:pt idx="2836">
                  <c:v>0.24463519313304699</c:v>
                </c:pt>
                <c:pt idx="2837">
                  <c:v>0.244652406417112</c:v>
                </c:pt>
                <c:pt idx="2838">
                  <c:v>0.24468085106383</c:v>
                </c:pt>
                <c:pt idx="2839">
                  <c:v>0.24468085106383</c:v>
                </c:pt>
                <c:pt idx="2840">
                  <c:v>0.24468085106383</c:v>
                </c:pt>
                <c:pt idx="2841">
                  <c:v>0.24472573839662401</c:v>
                </c:pt>
                <c:pt idx="2842">
                  <c:v>0.244813278008299</c:v>
                </c:pt>
                <c:pt idx="2843">
                  <c:v>0.24483133841131699</c:v>
                </c:pt>
                <c:pt idx="2844">
                  <c:v>0.24489795918367299</c:v>
                </c:pt>
                <c:pt idx="2845">
                  <c:v>0.24489795918367299</c:v>
                </c:pt>
                <c:pt idx="2846">
                  <c:v>0.24492979719188801</c:v>
                </c:pt>
                <c:pt idx="2847">
                  <c:v>0.24496644295302</c:v>
                </c:pt>
                <c:pt idx="2848">
                  <c:v>0.244994110718492</c:v>
                </c:pt>
                <c:pt idx="2849">
                  <c:v>0.245</c:v>
                </c:pt>
                <c:pt idx="2850">
                  <c:v>0.24508050089445399</c:v>
                </c:pt>
                <c:pt idx="2851">
                  <c:v>0.245119305856833</c:v>
                </c:pt>
                <c:pt idx="2852">
                  <c:v>0.24519940915805</c:v>
                </c:pt>
                <c:pt idx="2853">
                  <c:v>0.24520040417649</c:v>
                </c:pt>
                <c:pt idx="2854">
                  <c:v>0.24520905923344899</c:v>
                </c:pt>
                <c:pt idx="2855">
                  <c:v>0.245283018867925</c:v>
                </c:pt>
                <c:pt idx="2856">
                  <c:v>0.245283018867925</c:v>
                </c:pt>
                <c:pt idx="2857">
                  <c:v>0.24530831099195699</c:v>
                </c:pt>
                <c:pt idx="2858">
                  <c:v>0.245409015025042</c:v>
                </c:pt>
                <c:pt idx="2859">
                  <c:v>0.24545454545454501</c:v>
                </c:pt>
                <c:pt idx="2860">
                  <c:v>0.24545454545454501</c:v>
                </c:pt>
                <c:pt idx="2861">
                  <c:v>0.24549549549549499</c:v>
                </c:pt>
                <c:pt idx="2862">
                  <c:v>0.24552429667519199</c:v>
                </c:pt>
                <c:pt idx="2863">
                  <c:v>0.24553275976174699</c:v>
                </c:pt>
                <c:pt idx="2864">
                  <c:v>0.24561403508771901</c:v>
                </c:pt>
                <c:pt idx="2865">
                  <c:v>0.24561403508771901</c:v>
                </c:pt>
                <c:pt idx="2866">
                  <c:v>0.24561403508771901</c:v>
                </c:pt>
                <c:pt idx="2867">
                  <c:v>0.24563106796116499</c:v>
                </c:pt>
                <c:pt idx="2868">
                  <c:v>0.245647969052224</c:v>
                </c:pt>
                <c:pt idx="2869">
                  <c:v>0.245657568238213</c:v>
                </c:pt>
                <c:pt idx="2870">
                  <c:v>0.24570024570024601</c:v>
                </c:pt>
                <c:pt idx="2871">
                  <c:v>0.245714285714286</c:v>
                </c:pt>
                <c:pt idx="2872">
                  <c:v>0.24587155963302801</c:v>
                </c:pt>
                <c:pt idx="2873">
                  <c:v>0.245880861850444</c:v>
                </c:pt>
                <c:pt idx="2874">
                  <c:v>0.24590163934426201</c:v>
                </c:pt>
                <c:pt idx="2875">
                  <c:v>0.24593967517401399</c:v>
                </c:pt>
                <c:pt idx="2876">
                  <c:v>0.24598930481283399</c:v>
                </c:pt>
                <c:pt idx="2877">
                  <c:v>0.24604966139954901</c:v>
                </c:pt>
                <c:pt idx="2878">
                  <c:v>0.24606299212598401</c:v>
                </c:pt>
                <c:pt idx="2879">
                  <c:v>0.24606798579401301</c:v>
                </c:pt>
                <c:pt idx="2880">
                  <c:v>0.24607329842931899</c:v>
                </c:pt>
                <c:pt idx="2881">
                  <c:v>0.24608819345661401</c:v>
                </c:pt>
                <c:pt idx="2882">
                  <c:v>0.24611973392461201</c:v>
                </c:pt>
                <c:pt idx="2883">
                  <c:v>0.246153846153846</c:v>
                </c:pt>
                <c:pt idx="2884">
                  <c:v>0.246153846153846</c:v>
                </c:pt>
                <c:pt idx="2885">
                  <c:v>0.24618096357226801</c:v>
                </c:pt>
                <c:pt idx="2886">
                  <c:v>0.24619771863117901</c:v>
                </c:pt>
                <c:pt idx="2887">
                  <c:v>0.24626865671641801</c:v>
                </c:pt>
                <c:pt idx="2888">
                  <c:v>0.246323529411765</c:v>
                </c:pt>
                <c:pt idx="2889">
                  <c:v>0.246323529411765</c:v>
                </c:pt>
                <c:pt idx="2890">
                  <c:v>0.24634420697412801</c:v>
                </c:pt>
                <c:pt idx="2891">
                  <c:v>0.24637681159420299</c:v>
                </c:pt>
                <c:pt idx="2892">
                  <c:v>0.24637681159420299</c:v>
                </c:pt>
                <c:pt idx="2893">
                  <c:v>0.24637681159420299</c:v>
                </c:pt>
                <c:pt idx="2894">
                  <c:v>0.246467817896389</c:v>
                </c:pt>
                <c:pt idx="2895">
                  <c:v>0.24647887323943701</c:v>
                </c:pt>
                <c:pt idx="2896">
                  <c:v>0.24649859943977601</c:v>
                </c:pt>
                <c:pt idx="2897">
                  <c:v>0.24650571791613701</c:v>
                </c:pt>
                <c:pt idx="2898">
                  <c:v>0.24654088050314499</c:v>
                </c:pt>
                <c:pt idx="2899">
                  <c:v>0.246543778801843</c:v>
                </c:pt>
                <c:pt idx="2900">
                  <c:v>0.24654926225606899</c:v>
                </c:pt>
                <c:pt idx="2901">
                  <c:v>0.24656188605108101</c:v>
                </c:pt>
                <c:pt idx="2902">
                  <c:v>0.246587807097361</c:v>
                </c:pt>
                <c:pt idx="2903">
                  <c:v>0.246598639455782</c:v>
                </c:pt>
                <c:pt idx="2904">
                  <c:v>0.24660194174757299</c:v>
                </c:pt>
                <c:pt idx="2905">
                  <c:v>0.246606334841629</c:v>
                </c:pt>
                <c:pt idx="2906">
                  <c:v>0.24673913043478299</c:v>
                </c:pt>
                <c:pt idx="2907">
                  <c:v>0.24679029957203999</c:v>
                </c:pt>
                <c:pt idx="2908">
                  <c:v>0.246794871794872</c:v>
                </c:pt>
                <c:pt idx="2909">
                  <c:v>0.246835443037975</c:v>
                </c:pt>
                <c:pt idx="2910">
                  <c:v>0.24685990338164199</c:v>
                </c:pt>
                <c:pt idx="2911">
                  <c:v>0.24687144482366299</c:v>
                </c:pt>
                <c:pt idx="2912">
                  <c:v>0.24691358024691401</c:v>
                </c:pt>
                <c:pt idx="2913">
                  <c:v>0.24691358024691401</c:v>
                </c:pt>
                <c:pt idx="2914">
                  <c:v>0.24695121951219501</c:v>
                </c:pt>
                <c:pt idx="2915">
                  <c:v>0.24700239808153501</c:v>
                </c:pt>
                <c:pt idx="2916">
                  <c:v>0.24700239808153501</c:v>
                </c:pt>
                <c:pt idx="2917">
                  <c:v>0.247058823529412</c:v>
                </c:pt>
                <c:pt idx="2918">
                  <c:v>0.247126436781609</c:v>
                </c:pt>
                <c:pt idx="2919">
                  <c:v>0.24715447154471501</c:v>
                </c:pt>
                <c:pt idx="2920">
                  <c:v>0.24715447154471501</c:v>
                </c:pt>
                <c:pt idx="2921">
                  <c:v>0.24725274725274701</c:v>
                </c:pt>
                <c:pt idx="2922">
                  <c:v>0.24725274725274701</c:v>
                </c:pt>
                <c:pt idx="2923">
                  <c:v>0.247288503253796</c:v>
                </c:pt>
                <c:pt idx="2924">
                  <c:v>0.24728962312854899</c:v>
                </c:pt>
                <c:pt idx="2925">
                  <c:v>0.247339077546883</c:v>
                </c:pt>
                <c:pt idx="2926">
                  <c:v>0.24736225087925001</c:v>
                </c:pt>
                <c:pt idx="2927">
                  <c:v>0.24736842105263199</c:v>
                </c:pt>
                <c:pt idx="2928">
                  <c:v>0.24749163879598701</c:v>
                </c:pt>
                <c:pt idx="2929">
                  <c:v>0.24752475247524799</c:v>
                </c:pt>
                <c:pt idx="2930">
                  <c:v>0.24752475247524799</c:v>
                </c:pt>
                <c:pt idx="2931">
                  <c:v>0.24753127057274499</c:v>
                </c:pt>
                <c:pt idx="2932">
                  <c:v>0.247572815533981</c:v>
                </c:pt>
                <c:pt idx="2933">
                  <c:v>0.247572815533981</c:v>
                </c:pt>
                <c:pt idx="2934">
                  <c:v>0.24763033175355401</c:v>
                </c:pt>
                <c:pt idx="2935">
                  <c:v>0.24764890282131699</c:v>
                </c:pt>
                <c:pt idx="2936">
                  <c:v>0.24768946395563801</c:v>
                </c:pt>
                <c:pt idx="2937">
                  <c:v>0.247706422018349</c:v>
                </c:pt>
                <c:pt idx="2938">
                  <c:v>0.24773413897280999</c:v>
                </c:pt>
                <c:pt idx="2939">
                  <c:v>0.247787610619469</c:v>
                </c:pt>
                <c:pt idx="2940">
                  <c:v>0.24780316344464001</c:v>
                </c:pt>
                <c:pt idx="2941">
                  <c:v>0.24787535410764899</c:v>
                </c:pt>
                <c:pt idx="2942">
                  <c:v>0.247933884297521</c:v>
                </c:pt>
                <c:pt idx="2943">
                  <c:v>0.248</c:v>
                </c:pt>
                <c:pt idx="2944">
                  <c:v>0.248010610079576</c:v>
                </c:pt>
                <c:pt idx="2945">
                  <c:v>0.248015873015873</c:v>
                </c:pt>
                <c:pt idx="2946">
                  <c:v>0.24806201550387599</c:v>
                </c:pt>
                <c:pt idx="2947">
                  <c:v>0.24815445769449199</c:v>
                </c:pt>
                <c:pt idx="2948">
                  <c:v>0.24825174825174801</c:v>
                </c:pt>
                <c:pt idx="2949">
                  <c:v>0.24827586206896499</c:v>
                </c:pt>
                <c:pt idx="2950">
                  <c:v>0.24827586206896499</c:v>
                </c:pt>
                <c:pt idx="2951">
                  <c:v>0.24832214765100699</c:v>
                </c:pt>
                <c:pt idx="2952">
                  <c:v>0.24836601307189499</c:v>
                </c:pt>
                <c:pt idx="2953">
                  <c:v>0.24843492586490901</c:v>
                </c:pt>
                <c:pt idx="2954">
                  <c:v>0.24850894632206799</c:v>
                </c:pt>
                <c:pt idx="2955">
                  <c:v>0.24853228962818</c:v>
                </c:pt>
                <c:pt idx="2956">
                  <c:v>0.248571428571429</c:v>
                </c:pt>
                <c:pt idx="2957">
                  <c:v>0.24859813084112101</c:v>
                </c:pt>
                <c:pt idx="2958">
                  <c:v>0.24865591397849501</c:v>
                </c:pt>
                <c:pt idx="2959">
                  <c:v>0.248672139063254</c:v>
                </c:pt>
                <c:pt idx="2960">
                  <c:v>0.248677248677249</c:v>
                </c:pt>
                <c:pt idx="2961">
                  <c:v>0.248756218905473</c:v>
                </c:pt>
                <c:pt idx="2962">
                  <c:v>0.248768472906404</c:v>
                </c:pt>
                <c:pt idx="2963">
                  <c:v>0.24878048780487799</c:v>
                </c:pt>
                <c:pt idx="2964">
                  <c:v>0.248826291079812</c:v>
                </c:pt>
                <c:pt idx="2965">
                  <c:v>0.24885546108567699</c:v>
                </c:pt>
                <c:pt idx="2966">
                  <c:v>0.24886877828054299</c:v>
                </c:pt>
                <c:pt idx="2967">
                  <c:v>0.24888888888888899</c:v>
                </c:pt>
                <c:pt idx="2968">
                  <c:v>0.248927038626609</c:v>
                </c:pt>
                <c:pt idx="2969">
                  <c:v>0.24893617021276601</c:v>
                </c:pt>
                <c:pt idx="2970">
                  <c:v>0.248940677966102</c:v>
                </c:pt>
                <c:pt idx="2971">
                  <c:v>0.248953974895397</c:v>
                </c:pt>
                <c:pt idx="2972">
                  <c:v>0.24896265560166</c:v>
                </c:pt>
                <c:pt idx="2973">
                  <c:v>0.24896265560166</c:v>
                </c:pt>
                <c:pt idx="2974">
                  <c:v>0.24898511502029799</c:v>
                </c:pt>
                <c:pt idx="2975">
                  <c:v>0.24901408450704199</c:v>
                </c:pt>
                <c:pt idx="2976">
                  <c:v>0.24909933093154901</c:v>
                </c:pt>
                <c:pt idx="2977">
                  <c:v>0.24911032028469701</c:v>
                </c:pt>
                <c:pt idx="2978">
                  <c:v>0.249266862170088</c:v>
                </c:pt>
                <c:pt idx="2979">
                  <c:v>0.24939467312348701</c:v>
                </c:pt>
                <c:pt idx="2980">
                  <c:v>0.24944812362030899</c:v>
                </c:pt>
                <c:pt idx="2981">
                  <c:v>0.24948875255623701</c:v>
                </c:pt>
                <c:pt idx="2982">
                  <c:v>0.249527410207939</c:v>
                </c:pt>
                <c:pt idx="2983">
                  <c:v>0.24954296160877501</c:v>
                </c:pt>
                <c:pt idx="2984">
                  <c:v>0.24955436720142599</c:v>
                </c:pt>
                <c:pt idx="2985">
                  <c:v>0.24958949096880101</c:v>
                </c:pt>
                <c:pt idx="2986">
                  <c:v>0.24965517241379301</c:v>
                </c:pt>
                <c:pt idx="2987">
                  <c:v>0.24968152866241999</c:v>
                </c:pt>
                <c:pt idx="2988">
                  <c:v>0.249702734839477</c:v>
                </c:pt>
                <c:pt idx="2989">
                  <c:v>0.24973876698014599</c:v>
                </c:pt>
                <c:pt idx="2990">
                  <c:v>0.24974823766364501</c:v>
                </c:pt>
                <c:pt idx="2991">
                  <c:v>0.24981577008106101</c:v>
                </c:pt>
                <c:pt idx="2992">
                  <c:v>0.249850209706411</c:v>
                </c:pt>
                <c:pt idx="2993">
                  <c:v>0.25</c:v>
                </c:pt>
                <c:pt idx="2994">
                  <c:v>0.25</c:v>
                </c:pt>
                <c:pt idx="2995">
                  <c:v>0.25</c:v>
                </c:pt>
                <c:pt idx="2996">
                  <c:v>0.25</c:v>
                </c:pt>
                <c:pt idx="2997">
                  <c:v>0.25</c:v>
                </c:pt>
                <c:pt idx="2998">
                  <c:v>0.25</c:v>
                </c:pt>
                <c:pt idx="2999">
                  <c:v>0.25</c:v>
                </c:pt>
                <c:pt idx="3000">
                  <c:v>0.25</c:v>
                </c:pt>
                <c:pt idx="3001">
                  <c:v>0.25</c:v>
                </c:pt>
                <c:pt idx="3002">
                  <c:v>0.25</c:v>
                </c:pt>
                <c:pt idx="3003">
                  <c:v>0.25</c:v>
                </c:pt>
                <c:pt idx="3004">
                  <c:v>0.25</c:v>
                </c:pt>
                <c:pt idx="3005">
                  <c:v>0.25</c:v>
                </c:pt>
                <c:pt idx="3006">
                  <c:v>0.25</c:v>
                </c:pt>
                <c:pt idx="3007">
                  <c:v>0.25</c:v>
                </c:pt>
                <c:pt idx="3008">
                  <c:v>0.25</c:v>
                </c:pt>
                <c:pt idx="3009">
                  <c:v>0.25</c:v>
                </c:pt>
                <c:pt idx="3010">
                  <c:v>0.25</c:v>
                </c:pt>
                <c:pt idx="3011">
                  <c:v>0.25</c:v>
                </c:pt>
                <c:pt idx="3012">
                  <c:v>0.25021132713440403</c:v>
                </c:pt>
                <c:pt idx="3013">
                  <c:v>0.25023651844843903</c:v>
                </c:pt>
                <c:pt idx="3014">
                  <c:v>0.25026399155227003</c:v>
                </c:pt>
                <c:pt idx="3015">
                  <c:v>0.250333778371162</c:v>
                </c:pt>
                <c:pt idx="3016">
                  <c:v>0.25037037037037002</c:v>
                </c:pt>
                <c:pt idx="3017">
                  <c:v>0.25044091710758398</c:v>
                </c:pt>
                <c:pt idx="3018">
                  <c:v>0.25044404973356998</c:v>
                </c:pt>
                <c:pt idx="3019">
                  <c:v>0.25053078556263297</c:v>
                </c:pt>
                <c:pt idx="3020">
                  <c:v>0.25060827250608297</c:v>
                </c:pt>
                <c:pt idx="3021">
                  <c:v>0.25063938618925802</c:v>
                </c:pt>
                <c:pt idx="3022">
                  <c:v>0.25064267352185099</c:v>
                </c:pt>
                <c:pt idx="3023">
                  <c:v>0.25073746312684397</c:v>
                </c:pt>
                <c:pt idx="3024">
                  <c:v>0.25083612040133801</c:v>
                </c:pt>
                <c:pt idx="3025">
                  <c:v>0.25085910652921001</c:v>
                </c:pt>
                <c:pt idx="3026">
                  <c:v>0.25092989985693798</c:v>
                </c:pt>
                <c:pt idx="3027">
                  <c:v>0.25094339622641498</c:v>
                </c:pt>
                <c:pt idx="3028">
                  <c:v>0.25097529258777601</c:v>
                </c:pt>
                <c:pt idx="3029">
                  <c:v>0.25098039215686302</c:v>
                </c:pt>
                <c:pt idx="3030">
                  <c:v>0.25104797391709399</c:v>
                </c:pt>
                <c:pt idx="3031">
                  <c:v>0.25106382978723402</c:v>
                </c:pt>
                <c:pt idx="3032">
                  <c:v>0.251162790697674</c:v>
                </c:pt>
                <c:pt idx="3033">
                  <c:v>0.25120772946859898</c:v>
                </c:pt>
                <c:pt idx="3034">
                  <c:v>0.251243781094527</c:v>
                </c:pt>
                <c:pt idx="3035">
                  <c:v>0.251264755480607</c:v>
                </c:pt>
                <c:pt idx="3036">
                  <c:v>0.25135623869801099</c:v>
                </c:pt>
                <c:pt idx="3037">
                  <c:v>0.25136612021857901</c:v>
                </c:pt>
                <c:pt idx="3038">
                  <c:v>0.251428571428571</c:v>
                </c:pt>
                <c:pt idx="3039">
                  <c:v>0.25144508670520199</c:v>
                </c:pt>
                <c:pt idx="3040">
                  <c:v>0.251533742331288</c:v>
                </c:pt>
                <c:pt idx="3041">
                  <c:v>0.251533742331288</c:v>
                </c:pt>
                <c:pt idx="3042">
                  <c:v>0.25157232704402499</c:v>
                </c:pt>
                <c:pt idx="3043">
                  <c:v>0.25157232704402499</c:v>
                </c:pt>
                <c:pt idx="3044">
                  <c:v>0.25157232704402499</c:v>
                </c:pt>
                <c:pt idx="3045">
                  <c:v>0.25157232704402499</c:v>
                </c:pt>
                <c:pt idx="3046">
                  <c:v>0.25159914712153503</c:v>
                </c:pt>
                <c:pt idx="3047">
                  <c:v>0.25161290322580598</c:v>
                </c:pt>
                <c:pt idx="3048">
                  <c:v>0.25163398692810501</c:v>
                </c:pt>
                <c:pt idx="3049">
                  <c:v>0.25164473684210498</c:v>
                </c:pt>
                <c:pt idx="3050">
                  <c:v>0.25173210161662801</c:v>
                </c:pt>
                <c:pt idx="3051">
                  <c:v>0.25174825174825199</c:v>
                </c:pt>
                <c:pt idx="3052">
                  <c:v>0.25177664974619302</c:v>
                </c:pt>
                <c:pt idx="3053">
                  <c:v>0.25179856115107901</c:v>
                </c:pt>
                <c:pt idx="3054">
                  <c:v>0.25188536953242802</c:v>
                </c:pt>
                <c:pt idx="3055">
                  <c:v>0.25188916876574302</c:v>
                </c:pt>
                <c:pt idx="3056">
                  <c:v>0.25189681335356601</c:v>
                </c:pt>
                <c:pt idx="3057">
                  <c:v>0.25190839694656503</c:v>
                </c:pt>
                <c:pt idx="3058">
                  <c:v>0.25196850393700798</c:v>
                </c:pt>
                <c:pt idx="3059">
                  <c:v>0.252019386106624</c:v>
                </c:pt>
                <c:pt idx="3060">
                  <c:v>0.25203252032520301</c:v>
                </c:pt>
                <c:pt idx="3061">
                  <c:v>0.25205479452054802</c:v>
                </c:pt>
                <c:pt idx="3062">
                  <c:v>0.25207756232687001</c:v>
                </c:pt>
                <c:pt idx="3063">
                  <c:v>0.252085264133457</c:v>
                </c:pt>
                <c:pt idx="3064">
                  <c:v>0.25214899713466998</c:v>
                </c:pt>
                <c:pt idx="3065">
                  <c:v>0.25219941348973601</c:v>
                </c:pt>
                <c:pt idx="3066">
                  <c:v>0.25225225225225201</c:v>
                </c:pt>
                <c:pt idx="3067">
                  <c:v>0.25225225225225201</c:v>
                </c:pt>
                <c:pt idx="3068">
                  <c:v>0.252279635258359</c:v>
                </c:pt>
                <c:pt idx="3069">
                  <c:v>0.252279635258359</c:v>
                </c:pt>
                <c:pt idx="3070">
                  <c:v>0.25229357798165097</c:v>
                </c:pt>
                <c:pt idx="3071">
                  <c:v>0.25229357798165097</c:v>
                </c:pt>
                <c:pt idx="3072">
                  <c:v>0.25231910946196701</c:v>
                </c:pt>
                <c:pt idx="3073">
                  <c:v>0.25233644859813098</c:v>
                </c:pt>
                <c:pt idx="3074">
                  <c:v>0.25238095238095198</c:v>
                </c:pt>
                <c:pt idx="3075">
                  <c:v>0.25246548323471402</c:v>
                </c:pt>
                <c:pt idx="3076">
                  <c:v>0.25247524752475198</c:v>
                </c:pt>
                <c:pt idx="3077">
                  <c:v>0.25247524752475198</c:v>
                </c:pt>
                <c:pt idx="3078">
                  <c:v>0.25249169435215901</c:v>
                </c:pt>
                <c:pt idx="3079">
                  <c:v>0.25252525252525299</c:v>
                </c:pt>
                <c:pt idx="3080">
                  <c:v>0.252548131370328</c:v>
                </c:pt>
                <c:pt idx="3081">
                  <c:v>0.25256673511293598</c:v>
                </c:pt>
                <c:pt idx="3082">
                  <c:v>0.25263157894736799</c:v>
                </c:pt>
                <c:pt idx="3083">
                  <c:v>0.25263157894736799</c:v>
                </c:pt>
                <c:pt idx="3084">
                  <c:v>0.25263157894736799</c:v>
                </c:pt>
                <c:pt idx="3085">
                  <c:v>0.25266297400937399</c:v>
                </c:pt>
                <c:pt idx="3086">
                  <c:v>0.25266903914590699</c:v>
                </c:pt>
                <c:pt idx="3087">
                  <c:v>0.25269645608628699</c:v>
                </c:pt>
                <c:pt idx="3088">
                  <c:v>0.25273631840796001</c:v>
                </c:pt>
                <c:pt idx="3089">
                  <c:v>0.25274725274725302</c:v>
                </c:pt>
                <c:pt idx="3090">
                  <c:v>0.25274725274725302</c:v>
                </c:pt>
                <c:pt idx="3091">
                  <c:v>0.25274725274725302</c:v>
                </c:pt>
                <c:pt idx="3092">
                  <c:v>0.25276461295418601</c:v>
                </c:pt>
                <c:pt idx="3093">
                  <c:v>0.25277008310249299</c:v>
                </c:pt>
                <c:pt idx="3094">
                  <c:v>0.25277777777777799</c:v>
                </c:pt>
                <c:pt idx="3095">
                  <c:v>0.25279642058165502</c:v>
                </c:pt>
                <c:pt idx="3096">
                  <c:v>0.25293586269196</c:v>
                </c:pt>
                <c:pt idx="3097">
                  <c:v>0.25295508274231698</c:v>
                </c:pt>
                <c:pt idx="3098">
                  <c:v>0.25301204819277101</c:v>
                </c:pt>
                <c:pt idx="3099">
                  <c:v>0.25308641975308599</c:v>
                </c:pt>
                <c:pt idx="3100">
                  <c:v>0.25315939665715398</c:v>
                </c:pt>
                <c:pt idx="3101">
                  <c:v>0.25320512820512803</c:v>
                </c:pt>
                <c:pt idx="3102">
                  <c:v>0.253246753246753</c:v>
                </c:pt>
                <c:pt idx="3103">
                  <c:v>0.253263707571802</c:v>
                </c:pt>
                <c:pt idx="3104">
                  <c:v>0.25333333333333302</c:v>
                </c:pt>
                <c:pt idx="3105">
                  <c:v>0.25333333333333302</c:v>
                </c:pt>
                <c:pt idx="3106">
                  <c:v>0.25335720680393897</c:v>
                </c:pt>
                <c:pt idx="3107">
                  <c:v>0.25335892514395397</c:v>
                </c:pt>
                <c:pt idx="3108">
                  <c:v>0.25342465753424698</c:v>
                </c:pt>
                <c:pt idx="3109">
                  <c:v>0.25352112676056299</c:v>
                </c:pt>
                <c:pt idx="3110">
                  <c:v>0.25355450236966798</c:v>
                </c:pt>
                <c:pt idx="3111">
                  <c:v>0.25356576862123598</c:v>
                </c:pt>
                <c:pt idx="3112">
                  <c:v>0.25362318840579701</c:v>
                </c:pt>
                <c:pt idx="3113">
                  <c:v>0.25362318840579701</c:v>
                </c:pt>
                <c:pt idx="3114">
                  <c:v>0.25362318840579701</c:v>
                </c:pt>
                <c:pt idx="3115">
                  <c:v>0.253629376601196</c:v>
                </c:pt>
                <c:pt idx="3116">
                  <c:v>0.25364758698091999</c:v>
                </c:pt>
                <c:pt idx="3117">
                  <c:v>0.25365853658536602</c:v>
                </c:pt>
                <c:pt idx="3118">
                  <c:v>0.25371336812525103</c:v>
                </c:pt>
                <c:pt idx="3119">
                  <c:v>0.25377643504531699</c:v>
                </c:pt>
                <c:pt idx="3120">
                  <c:v>0.25377643504531699</c:v>
                </c:pt>
                <c:pt idx="3121">
                  <c:v>0.25395430579964801</c:v>
                </c:pt>
                <c:pt idx="3122">
                  <c:v>0.25404157043879899</c:v>
                </c:pt>
                <c:pt idx="3123">
                  <c:v>0.25410958904109598</c:v>
                </c:pt>
                <c:pt idx="3124">
                  <c:v>0.25412541254125398</c:v>
                </c:pt>
                <c:pt idx="3125">
                  <c:v>0.25414364640884002</c:v>
                </c:pt>
                <c:pt idx="3126">
                  <c:v>0.254152823920266</c:v>
                </c:pt>
                <c:pt idx="3127">
                  <c:v>0.25418060200668902</c:v>
                </c:pt>
                <c:pt idx="3128">
                  <c:v>0.25423728813559299</c:v>
                </c:pt>
                <c:pt idx="3129">
                  <c:v>0.25427594070695603</c:v>
                </c:pt>
                <c:pt idx="3130">
                  <c:v>0.25429553264604798</c:v>
                </c:pt>
                <c:pt idx="3131">
                  <c:v>0.25430210325047797</c:v>
                </c:pt>
                <c:pt idx="3132">
                  <c:v>0.25435073627844701</c:v>
                </c:pt>
                <c:pt idx="3133">
                  <c:v>0.25443786982248501</c:v>
                </c:pt>
                <c:pt idx="3134">
                  <c:v>0.25449101796407197</c:v>
                </c:pt>
                <c:pt idx="3135">
                  <c:v>0.25449871465295598</c:v>
                </c:pt>
                <c:pt idx="3136">
                  <c:v>0.25451559934318602</c:v>
                </c:pt>
                <c:pt idx="3137">
                  <c:v>0.25474254742547398</c:v>
                </c:pt>
                <c:pt idx="3138">
                  <c:v>0.25476190476190502</c:v>
                </c:pt>
                <c:pt idx="3139">
                  <c:v>0.25477707006369399</c:v>
                </c:pt>
                <c:pt idx="3140">
                  <c:v>0.25480283114256802</c:v>
                </c:pt>
                <c:pt idx="3141">
                  <c:v>0.25482625482625498</c:v>
                </c:pt>
                <c:pt idx="3142">
                  <c:v>0.25484351713859899</c:v>
                </c:pt>
                <c:pt idx="3143">
                  <c:v>0.25490196078431399</c:v>
                </c:pt>
                <c:pt idx="3144">
                  <c:v>0.25490196078431399</c:v>
                </c:pt>
                <c:pt idx="3145">
                  <c:v>0.25490196078431399</c:v>
                </c:pt>
                <c:pt idx="3146">
                  <c:v>0.25490196078431399</c:v>
                </c:pt>
                <c:pt idx="3147">
                  <c:v>0.25503355704698</c:v>
                </c:pt>
                <c:pt idx="3148">
                  <c:v>0.25514403292181098</c:v>
                </c:pt>
                <c:pt idx="3149">
                  <c:v>0.25514874141876398</c:v>
                </c:pt>
                <c:pt idx="3150">
                  <c:v>0.25515463917525799</c:v>
                </c:pt>
                <c:pt idx="3151">
                  <c:v>0.25516224188790598</c:v>
                </c:pt>
                <c:pt idx="3152">
                  <c:v>0.25526315789473702</c:v>
                </c:pt>
                <c:pt idx="3153">
                  <c:v>0.25530888030887999</c:v>
                </c:pt>
                <c:pt idx="3154">
                  <c:v>0.25531914893617003</c:v>
                </c:pt>
                <c:pt idx="3155">
                  <c:v>0.25531914893617003</c:v>
                </c:pt>
                <c:pt idx="3156">
                  <c:v>0.25531914893617003</c:v>
                </c:pt>
                <c:pt idx="3157">
                  <c:v>0.25536480686695301</c:v>
                </c:pt>
                <c:pt idx="3158">
                  <c:v>0.25538461538461499</c:v>
                </c:pt>
                <c:pt idx="3159">
                  <c:v>0.25539568345323699</c:v>
                </c:pt>
                <c:pt idx="3160">
                  <c:v>0.25541125541125498</c:v>
                </c:pt>
                <c:pt idx="3161">
                  <c:v>0.25544267053700997</c:v>
                </c:pt>
                <c:pt idx="3162">
                  <c:v>0.255466052934407</c:v>
                </c:pt>
                <c:pt idx="3163">
                  <c:v>0.25547445255474499</c:v>
                </c:pt>
                <c:pt idx="3164">
                  <c:v>0.25555555555555598</c:v>
                </c:pt>
                <c:pt idx="3165">
                  <c:v>0.25557564798071097</c:v>
                </c:pt>
                <c:pt idx="3166">
                  <c:v>0.255578093306288</c:v>
                </c:pt>
                <c:pt idx="3167">
                  <c:v>0.25558312655086801</c:v>
                </c:pt>
                <c:pt idx="3168">
                  <c:v>0.25561029009304898</c:v>
                </c:pt>
                <c:pt idx="3169">
                  <c:v>0.25566343042071199</c:v>
                </c:pt>
                <c:pt idx="3170">
                  <c:v>0.25567765567765599</c:v>
                </c:pt>
                <c:pt idx="3171">
                  <c:v>0.25568181818181801</c:v>
                </c:pt>
                <c:pt idx="3172">
                  <c:v>0.25573770491803299</c:v>
                </c:pt>
                <c:pt idx="3173">
                  <c:v>0.25573770491803299</c:v>
                </c:pt>
                <c:pt idx="3174">
                  <c:v>0.25579854208084801</c:v>
                </c:pt>
                <c:pt idx="3175">
                  <c:v>0.255868544600939</c:v>
                </c:pt>
                <c:pt idx="3176">
                  <c:v>0.255892255892256</c:v>
                </c:pt>
                <c:pt idx="3177">
                  <c:v>0.25589622641509402</c:v>
                </c:pt>
                <c:pt idx="3178">
                  <c:v>0.255905511811024</c:v>
                </c:pt>
                <c:pt idx="3179">
                  <c:v>0.255924170616114</c:v>
                </c:pt>
                <c:pt idx="3180">
                  <c:v>0.25596816976127301</c:v>
                </c:pt>
                <c:pt idx="3181">
                  <c:v>0.25603448275862101</c:v>
                </c:pt>
                <c:pt idx="3182">
                  <c:v>0.25604551920341401</c:v>
                </c:pt>
                <c:pt idx="3183">
                  <c:v>0.25614489003881002</c:v>
                </c:pt>
                <c:pt idx="3184">
                  <c:v>0.256198347107438</c:v>
                </c:pt>
                <c:pt idx="3185">
                  <c:v>0.256227758007117</c:v>
                </c:pt>
                <c:pt idx="3186">
                  <c:v>0.25628140703517599</c:v>
                </c:pt>
                <c:pt idx="3187">
                  <c:v>0.25629290617848999</c:v>
                </c:pt>
                <c:pt idx="3188">
                  <c:v>0.25635103926097003</c:v>
                </c:pt>
                <c:pt idx="3189">
                  <c:v>0.25635910224438901</c:v>
                </c:pt>
                <c:pt idx="3190">
                  <c:v>0.256410256410256</c:v>
                </c:pt>
                <c:pt idx="3191">
                  <c:v>0.256410256410256</c:v>
                </c:pt>
                <c:pt idx="3192">
                  <c:v>0.25650557620817799</c:v>
                </c:pt>
                <c:pt idx="3193">
                  <c:v>0.25660377358490599</c:v>
                </c:pt>
                <c:pt idx="3194">
                  <c:v>0.25660377358490599</c:v>
                </c:pt>
                <c:pt idx="3195">
                  <c:v>0.25663716814159299</c:v>
                </c:pt>
                <c:pt idx="3196">
                  <c:v>0.25668449197860999</c:v>
                </c:pt>
                <c:pt idx="3197">
                  <c:v>0.25668449197860999</c:v>
                </c:pt>
                <c:pt idx="3198">
                  <c:v>0.25669642857142899</c:v>
                </c:pt>
                <c:pt idx="3199">
                  <c:v>0.25670945157526298</c:v>
                </c:pt>
                <c:pt idx="3200">
                  <c:v>0.25675675675675702</c:v>
                </c:pt>
                <c:pt idx="3201">
                  <c:v>0.25684210526315798</c:v>
                </c:pt>
                <c:pt idx="3202">
                  <c:v>0.257009345794392</c:v>
                </c:pt>
                <c:pt idx="3203">
                  <c:v>0.257088846880907</c:v>
                </c:pt>
                <c:pt idx="3204">
                  <c:v>0.25714285714285701</c:v>
                </c:pt>
                <c:pt idx="3205">
                  <c:v>0.25714285714285701</c:v>
                </c:pt>
                <c:pt idx="3206">
                  <c:v>0.25714285714285701</c:v>
                </c:pt>
                <c:pt idx="3207">
                  <c:v>0.25714285714285701</c:v>
                </c:pt>
                <c:pt idx="3208">
                  <c:v>0.25723472668810299</c:v>
                </c:pt>
                <c:pt idx="3209">
                  <c:v>0.25724637681159401</c:v>
                </c:pt>
                <c:pt idx="3210">
                  <c:v>0.25733634311512399</c:v>
                </c:pt>
                <c:pt idx="3211">
                  <c:v>0.25734265734265699</c:v>
                </c:pt>
                <c:pt idx="3212">
                  <c:v>0.25737265415549598</c:v>
                </c:pt>
                <c:pt idx="3213">
                  <c:v>0.25738396624472598</c:v>
                </c:pt>
                <c:pt idx="3214">
                  <c:v>0.25738396624472598</c:v>
                </c:pt>
                <c:pt idx="3215">
                  <c:v>0.25755525484889502</c:v>
                </c:pt>
                <c:pt idx="3216">
                  <c:v>0.25757575757575801</c:v>
                </c:pt>
                <c:pt idx="3217">
                  <c:v>0.25761772853185599</c:v>
                </c:pt>
                <c:pt idx="3218">
                  <c:v>0.25764192139738001</c:v>
                </c:pt>
                <c:pt idx="3219">
                  <c:v>0.25782688766114198</c:v>
                </c:pt>
                <c:pt idx="3220">
                  <c:v>0.257839721254355</c:v>
                </c:pt>
                <c:pt idx="3221">
                  <c:v>0.25785123966942097</c:v>
                </c:pt>
                <c:pt idx="3222">
                  <c:v>0.25786163522012601</c:v>
                </c:pt>
                <c:pt idx="3223">
                  <c:v>0.25786977145321299</c:v>
                </c:pt>
                <c:pt idx="3224">
                  <c:v>0.25789473684210501</c:v>
                </c:pt>
                <c:pt idx="3225">
                  <c:v>0.25791855203619901</c:v>
                </c:pt>
                <c:pt idx="3226">
                  <c:v>0.25795053003533602</c:v>
                </c:pt>
                <c:pt idx="3227">
                  <c:v>0.25802139037433203</c:v>
                </c:pt>
                <c:pt idx="3228">
                  <c:v>0.25806451612903197</c:v>
                </c:pt>
                <c:pt idx="3229">
                  <c:v>0.25806451612903197</c:v>
                </c:pt>
                <c:pt idx="3230">
                  <c:v>0.25806451612903197</c:v>
                </c:pt>
                <c:pt idx="3231">
                  <c:v>0.25806451612903197</c:v>
                </c:pt>
                <c:pt idx="3232">
                  <c:v>0.25809523809523799</c:v>
                </c:pt>
                <c:pt idx="3233">
                  <c:v>0.258096172718351</c:v>
                </c:pt>
                <c:pt idx="3234">
                  <c:v>0.25818181818181801</c:v>
                </c:pt>
                <c:pt idx="3235">
                  <c:v>0.258379888268156</c:v>
                </c:pt>
                <c:pt idx="3236">
                  <c:v>0.25842696629213502</c:v>
                </c:pt>
                <c:pt idx="3237">
                  <c:v>0.25848563968668398</c:v>
                </c:pt>
                <c:pt idx="3238">
                  <c:v>0.25852272727272702</c:v>
                </c:pt>
                <c:pt idx="3239">
                  <c:v>0.258536585365854</c:v>
                </c:pt>
                <c:pt idx="3240">
                  <c:v>0.258536585365854</c:v>
                </c:pt>
                <c:pt idx="3241">
                  <c:v>0.25859697386519898</c:v>
                </c:pt>
                <c:pt idx="3242">
                  <c:v>0.25860271115745598</c:v>
                </c:pt>
                <c:pt idx="3243">
                  <c:v>0.25862068965517199</c:v>
                </c:pt>
                <c:pt idx="3244">
                  <c:v>0.25862068965517199</c:v>
                </c:pt>
                <c:pt idx="3245">
                  <c:v>0.25864739287558097</c:v>
                </c:pt>
                <c:pt idx="3246">
                  <c:v>0.25865880619012499</c:v>
                </c:pt>
                <c:pt idx="3247">
                  <c:v>0.258687258687259</c:v>
                </c:pt>
                <c:pt idx="3248">
                  <c:v>0.25874125874125897</c:v>
                </c:pt>
                <c:pt idx="3249">
                  <c:v>0.25874125874125897</c:v>
                </c:pt>
                <c:pt idx="3250">
                  <c:v>0.25874125874125897</c:v>
                </c:pt>
                <c:pt idx="3251">
                  <c:v>0.25874867444326599</c:v>
                </c:pt>
                <c:pt idx="3252">
                  <c:v>0.25882352941176501</c:v>
                </c:pt>
                <c:pt idx="3253">
                  <c:v>0.25890736342042803</c:v>
                </c:pt>
                <c:pt idx="3254">
                  <c:v>0.25890985324947602</c:v>
                </c:pt>
                <c:pt idx="3255">
                  <c:v>0.25895316804407698</c:v>
                </c:pt>
                <c:pt idx="3256">
                  <c:v>0.25897187196896199</c:v>
                </c:pt>
                <c:pt idx="3257">
                  <c:v>0.25897920604914898</c:v>
                </c:pt>
                <c:pt idx="3258">
                  <c:v>0.25899019251725403</c:v>
                </c:pt>
                <c:pt idx="3259">
                  <c:v>0.25908304498269902</c:v>
                </c:pt>
                <c:pt idx="3260">
                  <c:v>0.25914149443561202</c:v>
                </c:pt>
                <c:pt idx="3261">
                  <c:v>0.259187620889749</c:v>
                </c:pt>
                <c:pt idx="3262">
                  <c:v>0.259205776173285</c:v>
                </c:pt>
                <c:pt idx="3263">
                  <c:v>0.25925925925925902</c:v>
                </c:pt>
                <c:pt idx="3264">
                  <c:v>0.25925925925925902</c:v>
                </c:pt>
                <c:pt idx="3265">
                  <c:v>0.25925925925925902</c:v>
                </c:pt>
                <c:pt idx="3266">
                  <c:v>0.25925925925925902</c:v>
                </c:pt>
                <c:pt idx="3267">
                  <c:v>0.25925925925925902</c:v>
                </c:pt>
                <c:pt idx="3268">
                  <c:v>0.25925925925925902</c:v>
                </c:pt>
                <c:pt idx="3269">
                  <c:v>0.25925925925925902</c:v>
                </c:pt>
                <c:pt idx="3270">
                  <c:v>0.25925925925925902</c:v>
                </c:pt>
                <c:pt idx="3271">
                  <c:v>0.25927861996863599</c:v>
                </c:pt>
                <c:pt idx="3272">
                  <c:v>0.25928571428571401</c:v>
                </c:pt>
                <c:pt idx="3273">
                  <c:v>0.259325044404973</c:v>
                </c:pt>
                <c:pt idx="3274">
                  <c:v>0.25934065934065897</c:v>
                </c:pt>
                <c:pt idx="3275">
                  <c:v>0.25942857142857101</c:v>
                </c:pt>
                <c:pt idx="3276">
                  <c:v>0.25942857142857101</c:v>
                </c:pt>
                <c:pt idx="3277">
                  <c:v>0.25944584382871499</c:v>
                </c:pt>
                <c:pt idx="3278">
                  <c:v>0.25945945945945897</c:v>
                </c:pt>
                <c:pt idx="3279">
                  <c:v>0.25954198473282403</c:v>
                </c:pt>
                <c:pt idx="3280">
                  <c:v>0.25954198473282403</c:v>
                </c:pt>
                <c:pt idx="3281">
                  <c:v>0.25958188153310102</c:v>
                </c:pt>
                <c:pt idx="3282">
                  <c:v>0.25958702064896799</c:v>
                </c:pt>
                <c:pt idx="3283">
                  <c:v>0.25963149078726999</c:v>
                </c:pt>
                <c:pt idx="3284">
                  <c:v>0.25973504616619802</c:v>
                </c:pt>
                <c:pt idx="3285">
                  <c:v>0.25974025974025999</c:v>
                </c:pt>
                <c:pt idx="3286">
                  <c:v>0.25974025974025999</c:v>
                </c:pt>
                <c:pt idx="3287">
                  <c:v>0.25975177304964497</c:v>
                </c:pt>
                <c:pt idx="3288">
                  <c:v>0.25978647686832701</c:v>
                </c:pt>
                <c:pt idx="3289">
                  <c:v>0.25991902834008102</c:v>
                </c:pt>
                <c:pt idx="3290">
                  <c:v>0.25992779783393499</c:v>
                </c:pt>
                <c:pt idx="3291">
                  <c:v>0.259938837920489</c:v>
                </c:pt>
                <c:pt idx="3292">
                  <c:v>0.25996015936255001</c:v>
                </c:pt>
                <c:pt idx="3293">
                  <c:v>0.259970457902511</c:v>
                </c:pt>
                <c:pt idx="3294">
                  <c:v>0.26</c:v>
                </c:pt>
                <c:pt idx="3295">
                  <c:v>0.26</c:v>
                </c:pt>
                <c:pt idx="3296">
                  <c:v>0.26006057983556902</c:v>
                </c:pt>
                <c:pt idx="3297">
                  <c:v>0.26010101010101</c:v>
                </c:pt>
                <c:pt idx="3298">
                  <c:v>0.26010781671159</c:v>
                </c:pt>
                <c:pt idx="3299">
                  <c:v>0.26014760147601501</c:v>
                </c:pt>
                <c:pt idx="3300">
                  <c:v>0.26016260162601601</c:v>
                </c:pt>
                <c:pt idx="3301">
                  <c:v>0.26017344896597699</c:v>
                </c:pt>
                <c:pt idx="3302">
                  <c:v>0.260223048327138</c:v>
                </c:pt>
                <c:pt idx="3303">
                  <c:v>0.26023391812865498</c:v>
                </c:pt>
                <c:pt idx="3304">
                  <c:v>0.26027397260273999</c:v>
                </c:pt>
                <c:pt idx="3305">
                  <c:v>0.26033057851239699</c:v>
                </c:pt>
                <c:pt idx="3306">
                  <c:v>0.26034063260340601</c:v>
                </c:pt>
                <c:pt idx="3307">
                  <c:v>0.26045016077170402</c:v>
                </c:pt>
                <c:pt idx="3308">
                  <c:v>0.26060606060606101</c:v>
                </c:pt>
                <c:pt idx="3309">
                  <c:v>0.26072926750564701</c:v>
                </c:pt>
                <c:pt idx="3310">
                  <c:v>0.260815822002472</c:v>
                </c:pt>
                <c:pt idx="3311">
                  <c:v>0.26086956521739102</c:v>
                </c:pt>
                <c:pt idx="3312">
                  <c:v>0.26086956521739102</c:v>
                </c:pt>
                <c:pt idx="3313">
                  <c:v>0.26086956521739102</c:v>
                </c:pt>
                <c:pt idx="3314">
                  <c:v>0.26092715231788099</c:v>
                </c:pt>
                <c:pt idx="3315">
                  <c:v>0.26093294460641397</c:v>
                </c:pt>
                <c:pt idx="3316">
                  <c:v>0.26093514328808398</c:v>
                </c:pt>
                <c:pt idx="3317">
                  <c:v>0.26093514328808398</c:v>
                </c:pt>
                <c:pt idx="3318">
                  <c:v>0.261044176706827</c:v>
                </c:pt>
                <c:pt idx="3319">
                  <c:v>0.26104972375690599</c:v>
                </c:pt>
                <c:pt idx="3320">
                  <c:v>0.26111111111111102</c:v>
                </c:pt>
                <c:pt idx="3321">
                  <c:v>0.26111111111111102</c:v>
                </c:pt>
                <c:pt idx="3322">
                  <c:v>0.26114649681528701</c:v>
                </c:pt>
                <c:pt idx="3323">
                  <c:v>0.26114649681528701</c:v>
                </c:pt>
                <c:pt idx="3324">
                  <c:v>0.26117647058823501</c:v>
                </c:pt>
                <c:pt idx="3325">
                  <c:v>0.26119402985074602</c:v>
                </c:pt>
                <c:pt idx="3326">
                  <c:v>0.261208576998051</c:v>
                </c:pt>
                <c:pt idx="3327">
                  <c:v>0.261224489795918</c:v>
                </c:pt>
                <c:pt idx="3328">
                  <c:v>0.261224489795918</c:v>
                </c:pt>
                <c:pt idx="3329">
                  <c:v>0.26128266033254199</c:v>
                </c:pt>
                <c:pt idx="3330">
                  <c:v>0.26130653266331699</c:v>
                </c:pt>
                <c:pt idx="3331">
                  <c:v>0.26132404181184699</c:v>
                </c:pt>
                <c:pt idx="3332">
                  <c:v>0.26133333333333297</c:v>
                </c:pt>
                <c:pt idx="3333">
                  <c:v>0.26136363636363602</c:v>
                </c:pt>
                <c:pt idx="3334">
                  <c:v>0.26138032305433201</c:v>
                </c:pt>
                <c:pt idx="3335">
                  <c:v>0.26139088729016802</c:v>
                </c:pt>
                <c:pt idx="3336">
                  <c:v>0.26146788990825698</c:v>
                </c:pt>
                <c:pt idx="3337">
                  <c:v>0.26151761517615202</c:v>
                </c:pt>
                <c:pt idx="3338">
                  <c:v>0.261538461538462</c:v>
                </c:pt>
                <c:pt idx="3339">
                  <c:v>0.261538461538462</c:v>
                </c:pt>
                <c:pt idx="3340">
                  <c:v>0.26171003717472102</c:v>
                </c:pt>
                <c:pt idx="3341">
                  <c:v>0.26171875</c:v>
                </c:pt>
                <c:pt idx="3342">
                  <c:v>0.26174496644295298</c:v>
                </c:pt>
                <c:pt idx="3343">
                  <c:v>0.26174496644295298</c:v>
                </c:pt>
                <c:pt idx="3344">
                  <c:v>0.26174496644295298</c:v>
                </c:pt>
                <c:pt idx="3345">
                  <c:v>0.26193247962747401</c:v>
                </c:pt>
                <c:pt idx="3346">
                  <c:v>0.261964735516373</c:v>
                </c:pt>
                <c:pt idx="3347">
                  <c:v>0.26198083067092698</c:v>
                </c:pt>
                <c:pt idx="3348">
                  <c:v>0.26198083067092698</c:v>
                </c:pt>
                <c:pt idx="3349">
                  <c:v>0.26198083067092698</c:v>
                </c:pt>
                <c:pt idx="3350">
                  <c:v>0.26203208556149699</c:v>
                </c:pt>
                <c:pt idx="3351">
                  <c:v>0.26206896551724101</c:v>
                </c:pt>
                <c:pt idx="3352">
                  <c:v>0.262090483619345</c:v>
                </c:pt>
                <c:pt idx="3353">
                  <c:v>0.26209677419354799</c:v>
                </c:pt>
                <c:pt idx="3354">
                  <c:v>0.26211734693877597</c:v>
                </c:pt>
                <c:pt idx="3355">
                  <c:v>0.262118491921005</c:v>
                </c:pt>
                <c:pt idx="3356">
                  <c:v>0.26217228464419501</c:v>
                </c:pt>
                <c:pt idx="3357">
                  <c:v>0.26221079691516702</c:v>
                </c:pt>
                <c:pt idx="3358">
                  <c:v>0.26225490196078399</c:v>
                </c:pt>
                <c:pt idx="3359">
                  <c:v>0.26229508196721302</c:v>
                </c:pt>
                <c:pt idx="3360">
                  <c:v>0.26236263736263699</c:v>
                </c:pt>
                <c:pt idx="3361">
                  <c:v>0.262390670553936</c:v>
                </c:pt>
                <c:pt idx="3362">
                  <c:v>0.26241134751772999</c:v>
                </c:pt>
                <c:pt idx="3363">
                  <c:v>0.26241134751772999</c:v>
                </c:pt>
                <c:pt idx="3364">
                  <c:v>0.26242544731610301</c:v>
                </c:pt>
                <c:pt idx="3365">
                  <c:v>0.26245847176079701</c:v>
                </c:pt>
                <c:pt idx="3366">
                  <c:v>0.26246719160104998</c:v>
                </c:pt>
                <c:pt idx="3367">
                  <c:v>0.26250000000000001</c:v>
                </c:pt>
                <c:pt idx="3368">
                  <c:v>0.26250000000000001</c:v>
                </c:pt>
                <c:pt idx="3369">
                  <c:v>0.26251025430680902</c:v>
                </c:pt>
                <c:pt idx="3370">
                  <c:v>0.26259946949602098</c:v>
                </c:pt>
                <c:pt idx="3371">
                  <c:v>0.26262626262626299</c:v>
                </c:pt>
                <c:pt idx="3372">
                  <c:v>0.26265590608950801</c:v>
                </c:pt>
                <c:pt idx="3373">
                  <c:v>0.26270270270270302</c:v>
                </c:pt>
                <c:pt idx="3374">
                  <c:v>0.262729124236253</c:v>
                </c:pt>
                <c:pt idx="3375">
                  <c:v>0.26274713839750302</c:v>
                </c:pt>
                <c:pt idx="3376">
                  <c:v>0.26278240190249702</c:v>
                </c:pt>
                <c:pt idx="3377">
                  <c:v>0.262806236080178</c:v>
                </c:pt>
                <c:pt idx="3378">
                  <c:v>0.26293103448275901</c:v>
                </c:pt>
                <c:pt idx="3379">
                  <c:v>0.26293103448275901</c:v>
                </c:pt>
                <c:pt idx="3380">
                  <c:v>0.26300578034682098</c:v>
                </c:pt>
                <c:pt idx="3381">
                  <c:v>0.26305970149253699</c:v>
                </c:pt>
                <c:pt idx="3382">
                  <c:v>0.26306913996627301</c:v>
                </c:pt>
                <c:pt idx="3383">
                  <c:v>0.26315789473684198</c:v>
                </c:pt>
                <c:pt idx="3384">
                  <c:v>0.26315789473684198</c:v>
                </c:pt>
                <c:pt idx="3385">
                  <c:v>0.26315789473684198</c:v>
                </c:pt>
                <c:pt idx="3386">
                  <c:v>0.26323987538940802</c:v>
                </c:pt>
                <c:pt idx="3387">
                  <c:v>0.26325247079964098</c:v>
                </c:pt>
                <c:pt idx="3388">
                  <c:v>0.26326530612244903</c:v>
                </c:pt>
                <c:pt idx="3389">
                  <c:v>0.26326963906581702</c:v>
                </c:pt>
                <c:pt idx="3390">
                  <c:v>0.26328079392878001</c:v>
                </c:pt>
                <c:pt idx="3391">
                  <c:v>0.26328800988875201</c:v>
                </c:pt>
                <c:pt idx="3392">
                  <c:v>0.26334519572953702</c:v>
                </c:pt>
                <c:pt idx="3393">
                  <c:v>0.26337448559670801</c:v>
                </c:pt>
                <c:pt idx="3394">
                  <c:v>0.26348419094854297</c:v>
                </c:pt>
                <c:pt idx="3395">
                  <c:v>0.26349892008639297</c:v>
                </c:pt>
                <c:pt idx="3396">
                  <c:v>0.26352941176470601</c:v>
                </c:pt>
                <c:pt idx="3397">
                  <c:v>0.26354862657757999</c:v>
                </c:pt>
                <c:pt idx="3398">
                  <c:v>0.26359832635983299</c:v>
                </c:pt>
                <c:pt idx="3399">
                  <c:v>0.26360544217687099</c:v>
                </c:pt>
                <c:pt idx="3400">
                  <c:v>0.263636363636364</c:v>
                </c:pt>
                <c:pt idx="3401">
                  <c:v>0.26373626373626402</c:v>
                </c:pt>
                <c:pt idx="3402">
                  <c:v>0.26377295492487501</c:v>
                </c:pt>
                <c:pt idx="3403">
                  <c:v>0.26388888888888901</c:v>
                </c:pt>
                <c:pt idx="3404">
                  <c:v>0.26388888888888901</c:v>
                </c:pt>
                <c:pt idx="3405">
                  <c:v>0.26388888888888901</c:v>
                </c:pt>
                <c:pt idx="3406">
                  <c:v>0.26388888888888901</c:v>
                </c:pt>
                <c:pt idx="3407">
                  <c:v>0.263922518159806</c:v>
                </c:pt>
                <c:pt idx="3408">
                  <c:v>0.26397146254458997</c:v>
                </c:pt>
                <c:pt idx="3409">
                  <c:v>0.26398210290827701</c:v>
                </c:pt>
                <c:pt idx="3410">
                  <c:v>0.263994471319972</c:v>
                </c:pt>
                <c:pt idx="3411">
                  <c:v>0.26399716513111299</c:v>
                </c:pt>
                <c:pt idx="3412">
                  <c:v>0.26400000000000001</c:v>
                </c:pt>
                <c:pt idx="3413">
                  <c:v>0.26400000000000001</c:v>
                </c:pt>
                <c:pt idx="3414">
                  <c:v>0.26400000000000001</c:v>
                </c:pt>
                <c:pt idx="3415">
                  <c:v>0.26409495548961398</c:v>
                </c:pt>
                <c:pt idx="3416">
                  <c:v>0.26415094339622602</c:v>
                </c:pt>
                <c:pt idx="3417">
                  <c:v>0.26415094339622602</c:v>
                </c:pt>
                <c:pt idx="3418">
                  <c:v>0.26415094339622602</c:v>
                </c:pt>
                <c:pt idx="3419">
                  <c:v>0.26415094339622602</c:v>
                </c:pt>
                <c:pt idx="3420">
                  <c:v>0.26422018348623899</c:v>
                </c:pt>
                <c:pt idx="3421">
                  <c:v>0.26422764227642298</c:v>
                </c:pt>
                <c:pt idx="3422">
                  <c:v>0.26422764227642298</c:v>
                </c:pt>
                <c:pt idx="3423">
                  <c:v>0.26424870466321199</c:v>
                </c:pt>
                <c:pt idx="3424">
                  <c:v>0.26431718061673998</c:v>
                </c:pt>
                <c:pt idx="3425">
                  <c:v>0.264325323475046</c:v>
                </c:pt>
                <c:pt idx="3426">
                  <c:v>0.26433121019108302</c:v>
                </c:pt>
                <c:pt idx="3427">
                  <c:v>0.26434426229508201</c:v>
                </c:pt>
                <c:pt idx="3428">
                  <c:v>0.26436781609195398</c:v>
                </c:pt>
                <c:pt idx="3429">
                  <c:v>0.26443202979515801</c:v>
                </c:pt>
                <c:pt idx="3430">
                  <c:v>0.26446280991735499</c:v>
                </c:pt>
                <c:pt idx="3431">
                  <c:v>0.26446280991735499</c:v>
                </c:pt>
                <c:pt idx="3432">
                  <c:v>0.264501160092807</c:v>
                </c:pt>
                <c:pt idx="3433">
                  <c:v>0.26458616010854802</c:v>
                </c:pt>
                <c:pt idx="3434">
                  <c:v>0.26461538461538497</c:v>
                </c:pt>
                <c:pt idx="3435">
                  <c:v>0.26463414634146298</c:v>
                </c:pt>
                <c:pt idx="3436">
                  <c:v>0.26470588235294101</c:v>
                </c:pt>
                <c:pt idx="3437">
                  <c:v>0.26475548060708298</c:v>
                </c:pt>
                <c:pt idx="3438">
                  <c:v>0.26479146459747799</c:v>
                </c:pt>
                <c:pt idx="3439">
                  <c:v>0.26479289940828399</c:v>
                </c:pt>
                <c:pt idx="3440">
                  <c:v>0.26484018264840198</c:v>
                </c:pt>
                <c:pt idx="3441">
                  <c:v>0.26486486486486499</c:v>
                </c:pt>
                <c:pt idx="3442">
                  <c:v>0.26493108728943299</c:v>
                </c:pt>
                <c:pt idx="3443">
                  <c:v>0.26495726495726502</c:v>
                </c:pt>
                <c:pt idx="3444">
                  <c:v>0.264984227129338</c:v>
                </c:pt>
                <c:pt idx="3445">
                  <c:v>0.26502732240437199</c:v>
                </c:pt>
                <c:pt idx="3446">
                  <c:v>0.26503759398496202</c:v>
                </c:pt>
                <c:pt idx="3447">
                  <c:v>0.265060240963855</c:v>
                </c:pt>
                <c:pt idx="3448">
                  <c:v>0.265060240963855</c:v>
                </c:pt>
                <c:pt idx="3449">
                  <c:v>0.26516220028208698</c:v>
                </c:pt>
                <c:pt idx="3450">
                  <c:v>0.26524822695035499</c:v>
                </c:pt>
                <c:pt idx="3451">
                  <c:v>0.26530612244898</c:v>
                </c:pt>
                <c:pt idx="3452">
                  <c:v>0.26530612244898</c:v>
                </c:pt>
                <c:pt idx="3453">
                  <c:v>0.265356265356265</c:v>
                </c:pt>
                <c:pt idx="3454">
                  <c:v>0.265384615384615</c:v>
                </c:pt>
                <c:pt idx="3455">
                  <c:v>0.265384615384615</c:v>
                </c:pt>
                <c:pt idx="3456">
                  <c:v>0.26539753639417701</c:v>
                </c:pt>
                <c:pt idx="3457">
                  <c:v>0.26544240400667801</c:v>
                </c:pt>
                <c:pt idx="3458">
                  <c:v>0.26546391752577297</c:v>
                </c:pt>
                <c:pt idx="3459">
                  <c:v>0.26553672316384203</c:v>
                </c:pt>
                <c:pt idx="3460">
                  <c:v>0.26553672316384203</c:v>
                </c:pt>
                <c:pt idx="3461">
                  <c:v>0.26555023923444998</c:v>
                </c:pt>
                <c:pt idx="3462">
                  <c:v>0.265625</c:v>
                </c:pt>
                <c:pt idx="3463">
                  <c:v>0.265625</c:v>
                </c:pt>
                <c:pt idx="3464">
                  <c:v>0.265625</c:v>
                </c:pt>
                <c:pt idx="3465">
                  <c:v>0.265625</c:v>
                </c:pt>
                <c:pt idx="3466">
                  <c:v>0.26564495530012799</c:v>
                </c:pt>
                <c:pt idx="3467">
                  <c:v>0.26580557443915698</c:v>
                </c:pt>
                <c:pt idx="3468">
                  <c:v>0.265822784810127</c:v>
                </c:pt>
                <c:pt idx="3469">
                  <c:v>0.265822784810127</c:v>
                </c:pt>
                <c:pt idx="3470">
                  <c:v>0.26587887740029498</c:v>
                </c:pt>
                <c:pt idx="3471">
                  <c:v>0.26588628762541799</c:v>
                </c:pt>
                <c:pt idx="3472">
                  <c:v>0.26589595375722502</c:v>
                </c:pt>
                <c:pt idx="3473">
                  <c:v>0.26589595375722502</c:v>
                </c:pt>
                <c:pt idx="3474">
                  <c:v>0.26590106007067099</c:v>
                </c:pt>
                <c:pt idx="3475">
                  <c:v>0.265917602996255</c:v>
                </c:pt>
                <c:pt idx="3476">
                  <c:v>0.26593689632968398</c:v>
                </c:pt>
                <c:pt idx="3477">
                  <c:v>0.26605504587155998</c:v>
                </c:pt>
                <c:pt idx="3478">
                  <c:v>0.26605504587155998</c:v>
                </c:pt>
                <c:pt idx="3479">
                  <c:v>0.26614481409002</c:v>
                </c:pt>
                <c:pt idx="3480">
                  <c:v>0.26614987080103403</c:v>
                </c:pt>
                <c:pt idx="3481">
                  <c:v>0.26620689655172403</c:v>
                </c:pt>
                <c:pt idx="3482">
                  <c:v>0.26622596153846201</c:v>
                </c:pt>
                <c:pt idx="3483">
                  <c:v>0.26628352490421497</c:v>
                </c:pt>
                <c:pt idx="3484">
                  <c:v>0.26630434782608697</c:v>
                </c:pt>
                <c:pt idx="3485">
                  <c:v>0.266331658291457</c:v>
                </c:pt>
                <c:pt idx="3486">
                  <c:v>0.26633986928104603</c:v>
                </c:pt>
                <c:pt idx="3487">
                  <c:v>0.26640926640926599</c:v>
                </c:pt>
                <c:pt idx="3488">
                  <c:v>0.26641294005708799</c:v>
                </c:pt>
                <c:pt idx="3489">
                  <c:v>0.26644736842105299</c:v>
                </c:pt>
                <c:pt idx="3490">
                  <c:v>0.26649746192893398</c:v>
                </c:pt>
                <c:pt idx="3491">
                  <c:v>0.266519823788546</c:v>
                </c:pt>
                <c:pt idx="3492">
                  <c:v>0.26654740608228999</c:v>
                </c:pt>
                <c:pt idx="3493">
                  <c:v>0.26659412404787802</c:v>
                </c:pt>
                <c:pt idx="3494">
                  <c:v>0.266666666666667</c:v>
                </c:pt>
                <c:pt idx="3495">
                  <c:v>0.266666666666667</c:v>
                </c:pt>
                <c:pt idx="3496">
                  <c:v>0.266666666666667</c:v>
                </c:pt>
                <c:pt idx="3497">
                  <c:v>0.266666666666667</c:v>
                </c:pt>
                <c:pt idx="3498">
                  <c:v>0.26688102893890697</c:v>
                </c:pt>
                <c:pt idx="3499">
                  <c:v>0.266891891891892</c:v>
                </c:pt>
                <c:pt idx="3500">
                  <c:v>0.26690391459074703</c:v>
                </c:pt>
                <c:pt idx="3501">
                  <c:v>0.26692836113837098</c:v>
                </c:pt>
                <c:pt idx="3502">
                  <c:v>0.266949152542373</c:v>
                </c:pt>
                <c:pt idx="3503">
                  <c:v>0.266949152542373</c:v>
                </c:pt>
                <c:pt idx="3504">
                  <c:v>0.266949152542373</c:v>
                </c:pt>
                <c:pt idx="3505">
                  <c:v>0.266975308641975</c:v>
                </c:pt>
                <c:pt idx="3506">
                  <c:v>0.267015706806283</c:v>
                </c:pt>
                <c:pt idx="3507">
                  <c:v>0.26708074534161502</c:v>
                </c:pt>
                <c:pt idx="3508">
                  <c:v>0.26708074534161502</c:v>
                </c:pt>
                <c:pt idx="3509">
                  <c:v>0.26710816777041901</c:v>
                </c:pt>
                <c:pt idx="3510">
                  <c:v>0.267123287671233</c:v>
                </c:pt>
                <c:pt idx="3511">
                  <c:v>0.26719576719576699</c:v>
                </c:pt>
                <c:pt idx="3512">
                  <c:v>0.26720647773279399</c:v>
                </c:pt>
                <c:pt idx="3513">
                  <c:v>0.26722338204592899</c:v>
                </c:pt>
                <c:pt idx="3514">
                  <c:v>0.26730769230769202</c:v>
                </c:pt>
                <c:pt idx="3515">
                  <c:v>0.26741996233521698</c:v>
                </c:pt>
                <c:pt idx="3516">
                  <c:v>0.26742712294043097</c:v>
                </c:pt>
                <c:pt idx="3517">
                  <c:v>0.26744186046511598</c:v>
                </c:pt>
                <c:pt idx="3518">
                  <c:v>0.26744186046511598</c:v>
                </c:pt>
                <c:pt idx="3519">
                  <c:v>0.26751592356687898</c:v>
                </c:pt>
                <c:pt idx="3520">
                  <c:v>0.267581475128645</c:v>
                </c:pt>
                <c:pt idx="3521">
                  <c:v>0.26760563380281699</c:v>
                </c:pt>
                <c:pt idx="3522">
                  <c:v>0.26760563380281699</c:v>
                </c:pt>
                <c:pt idx="3523">
                  <c:v>0.26761332605133797</c:v>
                </c:pt>
                <c:pt idx="3524">
                  <c:v>0.26762820512820501</c:v>
                </c:pt>
                <c:pt idx="3525">
                  <c:v>0.26764982742391003</c:v>
                </c:pt>
                <c:pt idx="3526">
                  <c:v>0.26767676767676801</c:v>
                </c:pt>
                <c:pt idx="3527">
                  <c:v>0.26769911504424798</c:v>
                </c:pt>
                <c:pt idx="3528">
                  <c:v>0.26775956284153002</c:v>
                </c:pt>
                <c:pt idx="3529">
                  <c:v>0.26778242677824299</c:v>
                </c:pt>
                <c:pt idx="3530">
                  <c:v>0.26797385620914999</c:v>
                </c:pt>
                <c:pt idx="3531">
                  <c:v>0.268041237113402</c:v>
                </c:pt>
                <c:pt idx="3532">
                  <c:v>0.26811594202898598</c:v>
                </c:pt>
                <c:pt idx="3533">
                  <c:v>0.26813880126182998</c:v>
                </c:pt>
                <c:pt idx="3534">
                  <c:v>0.26818181818181802</c:v>
                </c:pt>
                <c:pt idx="3535">
                  <c:v>0.26821541710665298</c:v>
                </c:pt>
                <c:pt idx="3536">
                  <c:v>0.26821705426356601</c:v>
                </c:pt>
                <c:pt idx="3537">
                  <c:v>0.26829268292682901</c:v>
                </c:pt>
                <c:pt idx="3538">
                  <c:v>0.26845637583892601</c:v>
                </c:pt>
                <c:pt idx="3539">
                  <c:v>0.26848874598070699</c:v>
                </c:pt>
                <c:pt idx="3540">
                  <c:v>0.26849315068493101</c:v>
                </c:pt>
                <c:pt idx="3541">
                  <c:v>0.26850094876660302</c:v>
                </c:pt>
                <c:pt idx="3542">
                  <c:v>0.26853707414829697</c:v>
                </c:pt>
                <c:pt idx="3543">
                  <c:v>0.268540202966432</c:v>
                </c:pt>
                <c:pt idx="3544">
                  <c:v>0.26857142857142902</c:v>
                </c:pt>
                <c:pt idx="3545">
                  <c:v>0.268630849220104</c:v>
                </c:pt>
                <c:pt idx="3546">
                  <c:v>0.26865671641791</c:v>
                </c:pt>
                <c:pt idx="3547">
                  <c:v>0.26865671641791</c:v>
                </c:pt>
                <c:pt idx="3548">
                  <c:v>0.26869622766379903</c:v>
                </c:pt>
                <c:pt idx="3549">
                  <c:v>0.26871657754010703</c:v>
                </c:pt>
                <c:pt idx="3550">
                  <c:v>0.26873385012919898</c:v>
                </c:pt>
                <c:pt idx="3551">
                  <c:v>0.268740031897927</c:v>
                </c:pt>
                <c:pt idx="3552">
                  <c:v>0.26874999999999999</c:v>
                </c:pt>
                <c:pt idx="3553">
                  <c:v>0.26876090750436299</c:v>
                </c:pt>
                <c:pt idx="3554">
                  <c:v>0.26884422110552803</c:v>
                </c:pt>
                <c:pt idx="3555">
                  <c:v>0.26886792452830199</c:v>
                </c:pt>
                <c:pt idx="3556">
                  <c:v>0.26892950391644899</c:v>
                </c:pt>
                <c:pt idx="3557">
                  <c:v>0.26893939393939398</c:v>
                </c:pt>
                <c:pt idx="3558">
                  <c:v>0.26896551724137902</c:v>
                </c:pt>
                <c:pt idx="3559">
                  <c:v>0.26900584795321603</c:v>
                </c:pt>
                <c:pt idx="3560">
                  <c:v>0.26902173913043498</c:v>
                </c:pt>
                <c:pt idx="3561">
                  <c:v>0.269035532994924</c:v>
                </c:pt>
                <c:pt idx="3562">
                  <c:v>0.26905487804877998</c:v>
                </c:pt>
                <c:pt idx="3563">
                  <c:v>0.269113149847095</c:v>
                </c:pt>
                <c:pt idx="3564">
                  <c:v>0.269129287598945</c:v>
                </c:pt>
                <c:pt idx="3565">
                  <c:v>0.26915113871635599</c:v>
                </c:pt>
                <c:pt idx="3566">
                  <c:v>0.269230769230769</c:v>
                </c:pt>
                <c:pt idx="3567">
                  <c:v>0.269230769230769</c:v>
                </c:pt>
                <c:pt idx="3568">
                  <c:v>0.269230769230769</c:v>
                </c:pt>
                <c:pt idx="3569">
                  <c:v>0.269230769230769</c:v>
                </c:pt>
                <c:pt idx="3570">
                  <c:v>0.269230769230769</c:v>
                </c:pt>
                <c:pt idx="3571">
                  <c:v>0.269230769230769</c:v>
                </c:pt>
                <c:pt idx="3572">
                  <c:v>0.26943005181347102</c:v>
                </c:pt>
                <c:pt idx="3573">
                  <c:v>0.26956521739130401</c:v>
                </c:pt>
                <c:pt idx="3574">
                  <c:v>0.26959247648902801</c:v>
                </c:pt>
                <c:pt idx="3575">
                  <c:v>0.26964560862865899</c:v>
                </c:pt>
                <c:pt idx="3576">
                  <c:v>0.26966292134831499</c:v>
                </c:pt>
                <c:pt idx="3577">
                  <c:v>0.269736842105263</c:v>
                </c:pt>
                <c:pt idx="3578">
                  <c:v>0.269736842105263</c:v>
                </c:pt>
                <c:pt idx="3579">
                  <c:v>0.26984126984126999</c:v>
                </c:pt>
                <c:pt idx="3580">
                  <c:v>0.26984126984126999</c:v>
                </c:pt>
                <c:pt idx="3581">
                  <c:v>0.26987060998151602</c:v>
                </c:pt>
                <c:pt idx="3582">
                  <c:v>0.269972451790634</c:v>
                </c:pt>
                <c:pt idx="3583">
                  <c:v>0.26999208234362598</c:v>
                </c:pt>
                <c:pt idx="3584">
                  <c:v>0.27</c:v>
                </c:pt>
                <c:pt idx="3585">
                  <c:v>0.27001569858712698</c:v>
                </c:pt>
                <c:pt idx="3586">
                  <c:v>0.27008310249307499</c:v>
                </c:pt>
                <c:pt idx="3587">
                  <c:v>0.270096463022508</c:v>
                </c:pt>
                <c:pt idx="3588">
                  <c:v>0.27011494252873602</c:v>
                </c:pt>
                <c:pt idx="3589">
                  <c:v>0.27021276595744698</c:v>
                </c:pt>
                <c:pt idx="3590">
                  <c:v>0.27022375215146299</c:v>
                </c:pt>
                <c:pt idx="3591">
                  <c:v>0.27027027027027001</c:v>
                </c:pt>
                <c:pt idx="3592">
                  <c:v>0.27027027027027001</c:v>
                </c:pt>
                <c:pt idx="3593">
                  <c:v>0.27027027027027001</c:v>
                </c:pt>
                <c:pt idx="3594">
                  <c:v>0.27027027027027001</c:v>
                </c:pt>
                <c:pt idx="3595">
                  <c:v>0.27028604786923499</c:v>
                </c:pt>
                <c:pt idx="3596">
                  <c:v>0.27039627039627001</c:v>
                </c:pt>
                <c:pt idx="3597">
                  <c:v>0.27040816326530598</c:v>
                </c:pt>
                <c:pt idx="3598">
                  <c:v>0.27040816326530598</c:v>
                </c:pt>
                <c:pt idx="3599">
                  <c:v>0.27042132416165099</c:v>
                </c:pt>
                <c:pt idx="3600">
                  <c:v>0.27042253521126802</c:v>
                </c:pt>
                <c:pt idx="3601">
                  <c:v>0.27044025157232698</c:v>
                </c:pt>
                <c:pt idx="3602">
                  <c:v>0.27044025157232698</c:v>
                </c:pt>
                <c:pt idx="3603">
                  <c:v>0.27054794520547898</c:v>
                </c:pt>
                <c:pt idx="3604">
                  <c:v>0.27057182705718302</c:v>
                </c:pt>
                <c:pt idx="3605">
                  <c:v>0.270608545533017</c:v>
                </c:pt>
                <c:pt idx="3606">
                  <c:v>0.27066115702479299</c:v>
                </c:pt>
                <c:pt idx="3607">
                  <c:v>0.27072538860103601</c:v>
                </c:pt>
                <c:pt idx="3608">
                  <c:v>0.27083333333333298</c:v>
                </c:pt>
                <c:pt idx="3609">
                  <c:v>0.27083333333333298</c:v>
                </c:pt>
                <c:pt idx="3610">
                  <c:v>0.27091633466135501</c:v>
                </c:pt>
                <c:pt idx="3611">
                  <c:v>0.27091633466135501</c:v>
                </c:pt>
                <c:pt idx="3612">
                  <c:v>0.27095808383233499</c:v>
                </c:pt>
                <c:pt idx="3613">
                  <c:v>0.27108433734939802</c:v>
                </c:pt>
                <c:pt idx="3614">
                  <c:v>0.27111111111111103</c:v>
                </c:pt>
                <c:pt idx="3615">
                  <c:v>0.27111984282907697</c:v>
                </c:pt>
                <c:pt idx="3616">
                  <c:v>0.271140939597315</c:v>
                </c:pt>
                <c:pt idx="3617">
                  <c:v>0.27115384615384602</c:v>
                </c:pt>
                <c:pt idx="3618">
                  <c:v>0.27126436781609198</c:v>
                </c:pt>
                <c:pt idx="3619">
                  <c:v>0.27132701421800898</c:v>
                </c:pt>
                <c:pt idx="3620">
                  <c:v>0.271328671328671</c:v>
                </c:pt>
                <c:pt idx="3621">
                  <c:v>0.271356783919598</c:v>
                </c:pt>
                <c:pt idx="3622">
                  <c:v>0.27136752136752101</c:v>
                </c:pt>
                <c:pt idx="3623">
                  <c:v>0.27139184722732301</c:v>
                </c:pt>
                <c:pt idx="3624">
                  <c:v>0.27140783744557301</c:v>
                </c:pt>
                <c:pt idx="3625">
                  <c:v>0.27142857142857102</c:v>
                </c:pt>
                <c:pt idx="3626">
                  <c:v>0.27142857142857102</c:v>
                </c:pt>
                <c:pt idx="3627">
                  <c:v>0.27142857142857102</c:v>
                </c:pt>
                <c:pt idx="3628">
                  <c:v>0.27142857142857102</c:v>
                </c:pt>
                <c:pt idx="3629">
                  <c:v>0.27142857142857102</c:v>
                </c:pt>
                <c:pt idx="3630">
                  <c:v>0.27145187601957599</c:v>
                </c:pt>
                <c:pt idx="3631">
                  <c:v>0.27145359019264398</c:v>
                </c:pt>
                <c:pt idx="3632">
                  <c:v>0.27147766323024097</c:v>
                </c:pt>
                <c:pt idx="3633">
                  <c:v>0.271484375</c:v>
                </c:pt>
                <c:pt idx="3634">
                  <c:v>0.27149321266968302</c:v>
                </c:pt>
                <c:pt idx="3635">
                  <c:v>0.27151515151515199</c:v>
                </c:pt>
                <c:pt idx="3636">
                  <c:v>0.27152317880794702</c:v>
                </c:pt>
                <c:pt idx="3637">
                  <c:v>0.27160493827160498</c:v>
                </c:pt>
                <c:pt idx="3638">
                  <c:v>0.27162162162162201</c:v>
                </c:pt>
                <c:pt idx="3639">
                  <c:v>0.27167630057803499</c:v>
                </c:pt>
                <c:pt idx="3640">
                  <c:v>0.271714922048998</c:v>
                </c:pt>
                <c:pt idx="3641">
                  <c:v>0.27171903881700599</c:v>
                </c:pt>
                <c:pt idx="3642">
                  <c:v>0.27173913043478298</c:v>
                </c:pt>
                <c:pt idx="3643">
                  <c:v>0.27173913043478298</c:v>
                </c:pt>
                <c:pt idx="3644">
                  <c:v>0.27174975562072301</c:v>
                </c:pt>
                <c:pt idx="3645">
                  <c:v>0.27179487179487199</c:v>
                </c:pt>
                <c:pt idx="3646">
                  <c:v>0.27179487179487199</c:v>
                </c:pt>
                <c:pt idx="3647">
                  <c:v>0.27180783817951998</c:v>
                </c:pt>
                <c:pt idx="3648">
                  <c:v>0.271815446339017</c:v>
                </c:pt>
                <c:pt idx="3649">
                  <c:v>0.27182866556836899</c:v>
                </c:pt>
                <c:pt idx="3650">
                  <c:v>0.27184466019417503</c:v>
                </c:pt>
                <c:pt idx="3651">
                  <c:v>0.27192982456140402</c:v>
                </c:pt>
                <c:pt idx="3652">
                  <c:v>0.27193932827735601</c:v>
                </c:pt>
                <c:pt idx="3653">
                  <c:v>0.27206946454413899</c:v>
                </c:pt>
                <c:pt idx="3654">
                  <c:v>0.27210884353741499</c:v>
                </c:pt>
                <c:pt idx="3655">
                  <c:v>0.27221172022684298</c:v>
                </c:pt>
                <c:pt idx="3656">
                  <c:v>0.27227722772277202</c:v>
                </c:pt>
                <c:pt idx="3657">
                  <c:v>0.27228915662650599</c:v>
                </c:pt>
                <c:pt idx="3658">
                  <c:v>0.27229299363057302</c:v>
                </c:pt>
                <c:pt idx="3659">
                  <c:v>0.27234042553191501</c:v>
                </c:pt>
                <c:pt idx="3660">
                  <c:v>0.27238805970149299</c:v>
                </c:pt>
                <c:pt idx="3661">
                  <c:v>0.27240143369175601</c:v>
                </c:pt>
                <c:pt idx="3662">
                  <c:v>0.27250000000000002</c:v>
                </c:pt>
                <c:pt idx="3663">
                  <c:v>0.27254509018036099</c:v>
                </c:pt>
                <c:pt idx="3664">
                  <c:v>0.27256317689530701</c:v>
                </c:pt>
                <c:pt idx="3665">
                  <c:v>0.27258064516128999</c:v>
                </c:pt>
                <c:pt idx="3666">
                  <c:v>0.27272727272727298</c:v>
                </c:pt>
                <c:pt idx="3667">
                  <c:v>0.27272727272727298</c:v>
                </c:pt>
                <c:pt idx="3668">
                  <c:v>0.27272727272727298</c:v>
                </c:pt>
                <c:pt idx="3669">
                  <c:v>0.27272727272727298</c:v>
                </c:pt>
                <c:pt idx="3670">
                  <c:v>0.27272727272727298</c:v>
                </c:pt>
                <c:pt idx="3671">
                  <c:v>0.27272727272727298</c:v>
                </c:pt>
                <c:pt idx="3672">
                  <c:v>0.27272727272727298</c:v>
                </c:pt>
                <c:pt idx="3673">
                  <c:v>0.27272727272727298</c:v>
                </c:pt>
                <c:pt idx="3674">
                  <c:v>0.27272727272727298</c:v>
                </c:pt>
                <c:pt idx="3675">
                  <c:v>0.27272727272727298</c:v>
                </c:pt>
                <c:pt idx="3676">
                  <c:v>0.27307692307692299</c:v>
                </c:pt>
                <c:pt idx="3677">
                  <c:v>0.27312775330396499</c:v>
                </c:pt>
                <c:pt idx="3678">
                  <c:v>0.27314994188299102</c:v>
                </c:pt>
                <c:pt idx="3679">
                  <c:v>0.27315914489311199</c:v>
                </c:pt>
                <c:pt idx="3680">
                  <c:v>0.27316293929712498</c:v>
                </c:pt>
                <c:pt idx="3681">
                  <c:v>0.27317073170731698</c:v>
                </c:pt>
                <c:pt idx="3682">
                  <c:v>0.27317073170731698</c:v>
                </c:pt>
                <c:pt idx="3683">
                  <c:v>0.27318295739348403</c:v>
                </c:pt>
                <c:pt idx="3684">
                  <c:v>0.27319587628865999</c:v>
                </c:pt>
                <c:pt idx="3685">
                  <c:v>0.27325581395348802</c:v>
                </c:pt>
                <c:pt idx="3686">
                  <c:v>0.27327690447400199</c:v>
                </c:pt>
                <c:pt idx="3687">
                  <c:v>0.27331189710610898</c:v>
                </c:pt>
                <c:pt idx="3688">
                  <c:v>0.27335456475583902</c:v>
                </c:pt>
                <c:pt idx="3689">
                  <c:v>0.27336448598130803</c:v>
                </c:pt>
                <c:pt idx="3690">
                  <c:v>0.27338129496402902</c:v>
                </c:pt>
                <c:pt idx="3691">
                  <c:v>0.27338129496402902</c:v>
                </c:pt>
                <c:pt idx="3692">
                  <c:v>0.27346938775510199</c:v>
                </c:pt>
                <c:pt idx="3693">
                  <c:v>0.273563218390805</c:v>
                </c:pt>
                <c:pt idx="3694">
                  <c:v>0.27358490566037702</c:v>
                </c:pt>
                <c:pt idx="3695">
                  <c:v>0.27369542066027702</c:v>
                </c:pt>
                <c:pt idx="3696">
                  <c:v>0.273722627737226</c:v>
                </c:pt>
                <c:pt idx="3697">
                  <c:v>0.27384615384615402</c:v>
                </c:pt>
                <c:pt idx="3698">
                  <c:v>0.27388289676425298</c:v>
                </c:pt>
                <c:pt idx="3699">
                  <c:v>0.273885350318471</c:v>
                </c:pt>
                <c:pt idx="3700">
                  <c:v>0.27390599675850902</c:v>
                </c:pt>
                <c:pt idx="3701">
                  <c:v>0.27395934172313602</c:v>
                </c:pt>
                <c:pt idx="3702">
                  <c:v>0.27397260273972601</c:v>
                </c:pt>
                <c:pt idx="3703">
                  <c:v>0.27397260273972601</c:v>
                </c:pt>
                <c:pt idx="3704">
                  <c:v>0.27397260273972601</c:v>
                </c:pt>
                <c:pt idx="3705">
                  <c:v>0.27407407407407403</c:v>
                </c:pt>
                <c:pt idx="3706">
                  <c:v>0.27413127413127403</c:v>
                </c:pt>
                <c:pt idx="3707">
                  <c:v>0.27417027417027401</c:v>
                </c:pt>
                <c:pt idx="3708">
                  <c:v>0.27419354838709697</c:v>
                </c:pt>
                <c:pt idx="3709">
                  <c:v>0.27424749163879603</c:v>
                </c:pt>
                <c:pt idx="3710">
                  <c:v>0.27431906614786</c:v>
                </c:pt>
                <c:pt idx="3711">
                  <c:v>0.27433628318584102</c:v>
                </c:pt>
                <c:pt idx="3712">
                  <c:v>0.27435387673956302</c:v>
                </c:pt>
                <c:pt idx="3713">
                  <c:v>0.27435610302351598</c:v>
                </c:pt>
                <c:pt idx="3714">
                  <c:v>0.27440633245382601</c:v>
                </c:pt>
                <c:pt idx="3715">
                  <c:v>0.27447089947089898</c:v>
                </c:pt>
                <c:pt idx="3716">
                  <c:v>0.27448275862068999</c:v>
                </c:pt>
                <c:pt idx="3717">
                  <c:v>0.27450980392156898</c:v>
                </c:pt>
                <c:pt idx="3718">
                  <c:v>0.27450980392156898</c:v>
                </c:pt>
                <c:pt idx="3719">
                  <c:v>0.27450980392156898</c:v>
                </c:pt>
                <c:pt idx="3720">
                  <c:v>0.27456647398843897</c:v>
                </c:pt>
                <c:pt idx="3721">
                  <c:v>0.27458256029684602</c:v>
                </c:pt>
                <c:pt idx="3722">
                  <c:v>0.27459016393442598</c:v>
                </c:pt>
                <c:pt idx="3723">
                  <c:v>0.27462121212121199</c:v>
                </c:pt>
                <c:pt idx="3724">
                  <c:v>0.27464788732394402</c:v>
                </c:pt>
                <c:pt idx="3725">
                  <c:v>0.27464788732394402</c:v>
                </c:pt>
                <c:pt idx="3726">
                  <c:v>0.27465857359635798</c:v>
                </c:pt>
                <c:pt idx="3727">
                  <c:v>0.274666666666667</c:v>
                </c:pt>
                <c:pt idx="3728">
                  <c:v>0.274678111587983</c:v>
                </c:pt>
                <c:pt idx="3729">
                  <c:v>0.274709302325581</c:v>
                </c:pt>
                <c:pt idx="3730">
                  <c:v>0.27474402730375402</c:v>
                </c:pt>
                <c:pt idx="3731">
                  <c:v>0.27486910994764402</c:v>
                </c:pt>
                <c:pt idx="3732">
                  <c:v>0.27490039840637398</c:v>
                </c:pt>
                <c:pt idx="3733">
                  <c:v>0.275075075075075</c:v>
                </c:pt>
                <c:pt idx="3734">
                  <c:v>0.275109170305677</c:v>
                </c:pt>
                <c:pt idx="3735">
                  <c:v>0.27522935779816499</c:v>
                </c:pt>
                <c:pt idx="3736">
                  <c:v>0.27527723418134398</c:v>
                </c:pt>
                <c:pt idx="3737">
                  <c:v>0.275280898876404</c:v>
                </c:pt>
                <c:pt idx="3738">
                  <c:v>0.27532467532467497</c:v>
                </c:pt>
                <c:pt idx="3739">
                  <c:v>0.27547169811320799</c:v>
                </c:pt>
                <c:pt idx="3740">
                  <c:v>0.27547770700636898</c:v>
                </c:pt>
                <c:pt idx="3741">
                  <c:v>0.27551020408163301</c:v>
                </c:pt>
                <c:pt idx="3742">
                  <c:v>0.27554179566563503</c:v>
                </c:pt>
                <c:pt idx="3743">
                  <c:v>0.275555555555556</c:v>
                </c:pt>
                <c:pt idx="3744">
                  <c:v>0.27559055118110198</c:v>
                </c:pt>
                <c:pt idx="3745">
                  <c:v>0.27562326869806097</c:v>
                </c:pt>
                <c:pt idx="3746">
                  <c:v>0.275648949320148</c:v>
                </c:pt>
                <c:pt idx="3747">
                  <c:v>0.27568922305764398</c:v>
                </c:pt>
                <c:pt idx="3748">
                  <c:v>0.27578947368421097</c:v>
                </c:pt>
                <c:pt idx="3749">
                  <c:v>0.27579365079365098</c:v>
                </c:pt>
                <c:pt idx="3750">
                  <c:v>0.27586206896551702</c:v>
                </c:pt>
                <c:pt idx="3751">
                  <c:v>0.27586206896551702</c:v>
                </c:pt>
                <c:pt idx="3752">
                  <c:v>0.27593818984547502</c:v>
                </c:pt>
                <c:pt idx="3753">
                  <c:v>0.27595628415300499</c:v>
                </c:pt>
                <c:pt idx="3754">
                  <c:v>0.27597765363128501</c:v>
                </c:pt>
                <c:pt idx="3755">
                  <c:v>0.27600849256900201</c:v>
                </c:pt>
                <c:pt idx="3756">
                  <c:v>0.27607361963190202</c:v>
                </c:pt>
                <c:pt idx="3757">
                  <c:v>0.27613412228796802</c:v>
                </c:pt>
                <c:pt idx="3758">
                  <c:v>0.27613727055067799</c:v>
                </c:pt>
                <c:pt idx="3759">
                  <c:v>0.27613941018766802</c:v>
                </c:pt>
                <c:pt idx="3760">
                  <c:v>0.27619047619047599</c:v>
                </c:pt>
                <c:pt idx="3761">
                  <c:v>0.27623126338329801</c:v>
                </c:pt>
                <c:pt idx="3762">
                  <c:v>0.27623456790123502</c:v>
                </c:pt>
                <c:pt idx="3763">
                  <c:v>0.27625570776255698</c:v>
                </c:pt>
                <c:pt idx="3764">
                  <c:v>0.27627627627627599</c:v>
                </c:pt>
                <c:pt idx="3765">
                  <c:v>0.276289350301407</c:v>
                </c:pt>
                <c:pt idx="3766">
                  <c:v>0.27631578947368401</c:v>
                </c:pt>
                <c:pt idx="3767">
                  <c:v>0.27633851468048398</c:v>
                </c:pt>
                <c:pt idx="3768">
                  <c:v>0.27634333565945601</c:v>
                </c:pt>
                <c:pt idx="3769">
                  <c:v>0.276422764227642</c:v>
                </c:pt>
                <c:pt idx="3770">
                  <c:v>0.276422764227642</c:v>
                </c:pt>
                <c:pt idx="3771">
                  <c:v>0.27645788336933003</c:v>
                </c:pt>
                <c:pt idx="3772">
                  <c:v>0.27648578811369501</c:v>
                </c:pt>
                <c:pt idx="3773">
                  <c:v>0.27649769585253497</c:v>
                </c:pt>
                <c:pt idx="3774">
                  <c:v>0.27659574468085102</c:v>
                </c:pt>
                <c:pt idx="3775">
                  <c:v>0.27667109340416102</c:v>
                </c:pt>
                <c:pt idx="3776">
                  <c:v>0.27669902912621402</c:v>
                </c:pt>
                <c:pt idx="3777">
                  <c:v>0.276729559748428</c:v>
                </c:pt>
                <c:pt idx="3778">
                  <c:v>0.276729559748428</c:v>
                </c:pt>
                <c:pt idx="3779">
                  <c:v>0.27675033025099099</c:v>
                </c:pt>
                <c:pt idx="3780">
                  <c:v>0.27675276752767503</c:v>
                </c:pt>
                <c:pt idx="3781">
                  <c:v>0.27678571428571402</c:v>
                </c:pt>
                <c:pt idx="3782">
                  <c:v>0.27678571428571402</c:v>
                </c:pt>
                <c:pt idx="3783">
                  <c:v>0.27680090754395897</c:v>
                </c:pt>
                <c:pt idx="3784">
                  <c:v>0.276807980049875</c:v>
                </c:pt>
                <c:pt idx="3785">
                  <c:v>0.27682926829268301</c:v>
                </c:pt>
                <c:pt idx="3786">
                  <c:v>0.276867030965392</c:v>
                </c:pt>
                <c:pt idx="3787">
                  <c:v>0.276881720430107</c:v>
                </c:pt>
                <c:pt idx="3788">
                  <c:v>0.27690288713910799</c:v>
                </c:pt>
                <c:pt idx="3789">
                  <c:v>0.27695167286245398</c:v>
                </c:pt>
                <c:pt idx="3790">
                  <c:v>0.27696078431372501</c:v>
                </c:pt>
                <c:pt idx="3791">
                  <c:v>0.27698574338085502</c:v>
                </c:pt>
                <c:pt idx="3792">
                  <c:v>0.27700348432055699</c:v>
                </c:pt>
                <c:pt idx="3793">
                  <c:v>0.27702702702702697</c:v>
                </c:pt>
                <c:pt idx="3794">
                  <c:v>0.27702702702702697</c:v>
                </c:pt>
                <c:pt idx="3795">
                  <c:v>0.27710843373493999</c:v>
                </c:pt>
                <c:pt idx="3796">
                  <c:v>0.27710843373493999</c:v>
                </c:pt>
                <c:pt idx="3797">
                  <c:v>0.27716098334654998</c:v>
                </c:pt>
                <c:pt idx="3798">
                  <c:v>0.27721088435374103</c:v>
                </c:pt>
                <c:pt idx="3799">
                  <c:v>0.27731092436974802</c:v>
                </c:pt>
                <c:pt idx="3800">
                  <c:v>0.27731092436974802</c:v>
                </c:pt>
                <c:pt idx="3801">
                  <c:v>0.27734976887519303</c:v>
                </c:pt>
                <c:pt idx="3802">
                  <c:v>0.27737226277372301</c:v>
                </c:pt>
                <c:pt idx="3803">
                  <c:v>0.27741935483871</c:v>
                </c:pt>
                <c:pt idx="3804">
                  <c:v>0.27741935483871</c:v>
                </c:pt>
                <c:pt idx="3805">
                  <c:v>0.27753303964757697</c:v>
                </c:pt>
                <c:pt idx="3806">
                  <c:v>0.27756360832690802</c:v>
                </c:pt>
                <c:pt idx="3807">
                  <c:v>0.277611940298507</c:v>
                </c:pt>
                <c:pt idx="3808">
                  <c:v>0.27774583093732003</c:v>
                </c:pt>
                <c:pt idx="3809">
                  <c:v>0.27777777777777801</c:v>
                </c:pt>
                <c:pt idx="3810">
                  <c:v>0.27777777777777801</c:v>
                </c:pt>
                <c:pt idx="3811">
                  <c:v>0.27777777777777801</c:v>
                </c:pt>
                <c:pt idx="3812">
                  <c:v>0.27777777777777801</c:v>
                </c:pt>
                <c:pt idx="3813">
                  <c:v>0.27777777777777801</c:v>
                </c:pt>
                <c:pt idx="3814">
                  <c:v>0.27777777777777801</c:v>
                </c:pt>
                <c:pt idx="3815">
                  <c:v>0.27777777777777801</c:v>
                </c:pt>
                <c:pt idx="3816">
                  <c:v>0.27786582144743799</c:v>
                </c:pt>
                <c:pt idx="3817">
                  <c:v>0.27787021630615599</c:v>
                </c:pt>
                <c:pt idx="3818">
                  <c:v>0.27790973871733998</c:v>
                </c:pt>
                <c:pt idx="3819">
                  <c:v>0.27797833935018001</c:v>
                </c:pt>
                <c:pt idx="3820">
                  <c:v>0.27797833935018001</c:v>
                </c:pt>
                <c:pt idx="3821">
                  <c:v>0.27804878048780501</c:v>
                </c:pt>
                <c:pt idx="3822">
                  <c:v>0.27808069792802598</c:v>
                </c:pt>
                <c:pt idx="3823">
                  <c:v>0.27810650887574001</c:v>
                </c:pt>
                <c:pt idx="3824">
                  <c:v>0.278154681139756</c:v>
                </c:pt>
                <c:pt idx="3825">
                  <c:v>0.27817403708987198</c:v>
                </c:pt>
                <c:pt idx="3826">
                  <c:v>0.278195488721804</c:v>
                </c:pt>
                <c:pt idx="3827">
                  <c:v>0.278195488721804</c:v>
                </c:pt>
                <c:pt idx="3828">
                  <c:v>0.278215223097113</c:v>
                </c:pt>
                <c:pt idx="3829">
                  <c:v>0.27826086956521701</c:v>
                </c:pt>
                <c:pt idx="3830">
                  <c:v>0.27829002514668899</c:v>
                </c:pt>
                <c:pt idx="3831">
                  <c:v>0.27831715210356001</c:v>
                </c:pt>
                <c:pt idx="3832">
                  <c:v>0.27835051546391798</c:v>
                </c:pt>
                <c:pt idx="3833">
                  <c:v>0.27838827838827801</c:v>
                </c:pt>
                <c:pt idx="3834">
                  <c:v>0.27840909090909099</c:v>
                </c:pt>
                <c:pt idx="3835">
                  <c:v>0.27845528455284502</c:v>
                </c:pt>
                <c:pt idx="3836">
                  <c:v>0.27846534653465299</c:v>
                </c:pt>
                <c:pt idx="3837">
                  <c:v>0.27849927849927902</c:v>
                </c:pt>
                <c:pt idx="3838">
                  <c:v>0.27855711422845703</c:v>
                </c:pt>
                <c:pt idx="3839">
                  <c:v>0.27858439201451901</c:v>
                </c:pt>
                <c:pt idx="3840">
                  <c:v>0.27860696517412897</c:v>
                </c:pt>
                <c:pt idx="3841">
                  <c:v>0.27868852459016402</c:v>
                </c:pt>
                <c:pt idx="3842">
                  <c:v>0.27868852459016402</c:v>
                </c:pt>
                <c:pt idx="3843">
                  <c:v>0.27870887647423997</c:v>
                </c:pt>
                <c:pt idx="3844">
                  <c:v>0.27874564459930301</c:v>
                </c:pt>
                <c:pt idx="3845">
                  <c:v>0.27876823338735801</c:v>
                </c:pt>
                <c:pt idx="3846">
                  <c:v>0.27877237851662401</c:v>
                </c:pt>
                <c:pt idx="3847">
                  <c:v>0.27881040892193298</c:v>
                </c:pt>
                <c:pt idx="3848">
                  <c:v>0.27884615384615402</c:v>
                </c:pt>
                <c:pt idx="3849">
                  <c:v>0.27891682785299798</c:v>
                </c:pt>
                <c:pt idx="3850">
                  <c:v>0.27893175074184001</c:v>
                </c:pt>
                <c:pt idx="3851">
                  <c:v>0.278947368421053</c:v>
                </c:pt>
                <c:pt idx="3852">
                  <c:v>0.27895752895752901</c:v>
                </c:pt>
                <c:pt idx="3853">
                  <c:v>0.27900000000000003</c:v>
                </c:pt>
                <c:pt idx="3854">
                  <c:v>0.27906976744186002</c:v>
                </c:pt>
                <c:pt idx="3855">
                  <c:v>0.27906976744186002</c:v>
                </c:pt>
                <c:pt idx="3856">
                  <c:v>0.27914110429447903</c:v>
                </c:pt>
                <c:pt idx="3857">
                  <c:v>0.27914110429447903</c:v>
                </c:pt>
                <c:pt idx="3858">
                  <c:v>0.27917981072555198</c:v>
                </c:pt>
                <c:pt idx="3859">
                  <c:v>0.27918781725888298</c:v>
                </c:pt>
                <c:pt idx="3860">
                  <c:v>0.27931034482758599</c:v>
                </c:pt>
                <c:pt idx="3861">
                  <c:v>0.27936507936507898</c:v>
                </c:pt>
                <c:pt idx="3862">
                  <c:v>0.279373368146214</c:v>
                </c:pt>
                <c:pt idx="3863">
                  <c:v>0.27948717948717899</c:v>
                </c:pt>
                <c:pt idx="3864">
                  <c:v>0.27960057061340898</c:v>
                </c:pt>
                <c:pt idx="3865">
                  <c:v>0.27964205816554799</c:v>
                </c:pt>
                <c:pt idx="3866">
                  <c:v>0.27966101694915202</c:v>
                </c:pt>
                <c:pt idx="3867">
                  <c:v>0.27967257844474802</c:v>
                </c:pt>
                <c:pt idx="3868">
                  <c:v>0.27968596663395501</c:v>
                </c:pt>
                <c:pt idx="3869">
                  <c:v>0.27971530249110299</c:v>
                </c:pt>
                <c:pt idx="3870">
                  <c:v>0.27977315689981103</c:v>
                </c:pt>
                <c:pt idx="3871">
                  <c:v>0.27984595635429999</c:v>
                </c:pt>
                <c:pt idx="3872">
                  <c:v>0.27986633249791099</c:v>
                </c:pt>
                <c:pt idx="3873">
                  <c:v>0.27988010490820497</c:v>
                </c:pt>
                <c:pt idx="3874">
                  <c:v>0.28000000000000003</c:v>
                </c:pt>
                <c:pt idx="3875">
                  <c:v>0.28000000000000003</c:v>
                </c:pt>
                <c:pt idx="3876">
                  <c:v>0.28018575851393202</c:v>
                </c:pt>
                <c:pt idx="3877">
                  <c:v>0.28021978021978</c:v>
                </c:pt>
                <c:pt idx="3878">
                  <c:v>0.28037383177570102</c:v>
                </c:pt>
                <c:pt idx="3879">
                  <c:v>0.28044692737430199</c:v>
                </c:pt>
                <c:pt idx="3880">
                  <c:v>0.28048780487804897</c:v>
                </c:pt>
                <c:pt idx="3881">
                  <c:v>0.28048780487804897</c:v>
                </c:pt>
                <c:pt idx="3882">
                  <c:v>0.28052805280528098</c:v>
                </c:pt>
                <c:pt idx="3883">
                  <c:v>0.28065573770491797</c:v>
                </c:pt>
                <c:pt idx="3884">
                  <c:v>0.28067226890756303</c:v>
                </c:pt>
                <c:pt idx="3885">
                  <c:v>0.28068115091015899</c:v>
                </c:pt>
                <c:pt idx="3886">
                  <c:v>0.28070175438596501</c:v>
                </c:pt>
                <c:pt idx="3887">
                  <c:v>0.28080229226360998</c:v>
                </c:pt>
                <c:pt idx="3888">
                  <c:v>0.28082191780821902</c:v>
                </c:pt>
                <c:pt idx="3889">
                  <c:v>0.28082191780821902</c:v>
                </c:pt>
                <c:pt idx="3890">
                  <c:v>0.28082191780821902</c:v>
                </c:pt>
                <c:pt idx="3891">
                  <c:v>0.28086070215175502</c:v>
                </c:pt>
                <c:pt idx="3892">
                  <c:v>0.280864197530864</c:v>
                </c:pt>
                <c:pt idx="3893">
                  <c:v>0.280871670702179</c:v>
                </c:pt>
                <c:pt idx="3894">
                  <c:v>0.28088578088578098</c:v>
                </c:pt>
                <c:pt idx="3895">
                  <c:v>0.28089887640449401</c:v>
                </c:pt>
                <c:pt idx="3896">
                  <c:v>0.28089887640449401</c:v>
                </c:pt>
                <c:pt idx="3897">
                  <c:v>0.28089887640449401</c:v>
                </c:pt>
                <c:pt idx="3898">
                  <c:v>0.28089887640449401</c:v>
                </c:pt>
                <c:pt idx="3899">
                  <c:v>0.28093645484949797</c:v>
                </c:pt>
                <c:pt idx="3900">
                  <c:v>0.28108108108108099</c:v>
                </c:pt>
                <c:pt idx="3901">
                  <c:v>0.28110599078340998</c:v>
                </c:pt>
                <c:pt idx="3902">
                  <c:v>0.28112449799196798</c:v>
                </c:pt>
                <c:pt idx="3903">
                  <c:v>0.28125</c:v>
                </c:pt>
                <c:pt idx="3904">
                  <c:v>0.28125</c:v>
                </c:pt>
                <c:pt idx="3905">
                  <c:v>0.28140703517587901</c:v>
                </c:pt>
                <c:pt idx="3906">
                  <c:v>0.28151260504201697</c:v>
                </c:pt>
                <c:pt idx="3907">
                  <c:v>0.28154967395473701</c:v>
                </c:pt>
                <c:pt idx="3908">
                  <c:v>0.28165374677002603</c:v>
                </c:pt>
                <c:pt idx="3909">
                  <c:v>0.28165771297006897</c:v>
                </c:pt>
                <c:pt idx="3910">
                  <c:v>0.28173719376391998</c:v>
                </c:pt>
                <c:pt idx="3911">
                  <c:v>0.28178368121442099</c:v>
                </c:pt>
                <c:pt idx="3912">
                  <c:v>0.28181818181818202</c:v>
                </c:pt>
                <c:pt idx="3913">
                  <c:v>0.28184281842818398</c:v>
                </c:pt>
                <c:pt idx="3914">
                  <c:v>0.28195488721804501</c:v>
                </c:pt>
                <c:pt idx="3915">
                  <c:v>0.28205128205128199</c:v>
                </c:pt>
                <c:pt idx="3916">
                  <c:v>0.28205128205128199</c:v>
                </c:pt>
                <c:pt idx="3917">
                  <c:v>0.28205128205128199</c:v>
                </c:pt>
                <c:pt idx="3918">
                  <c:v>0.28205128205128199</c:v>
                </c:pt>
                <c:pt idx="3919">
                  <c:v>0.28207639569049903</c:v>
                </c:pt>
                <c:pt idx="3920">
                  <c:v>0.28209030948757002</c:v>
                </c:pt>
                <c:pt idx="3921">
                  <c:v>0.28209191759112501</c:v>
                </c:pt>
                <c:pt idx="3922">
                  <c:v>0.28211586901763203</c:v>
                </c:pt>
                <c:pt idx="3923">
                  <c:v>0.28213166144200602</c:v>
                </c:pt>
                <c:pt idx="3924">
                  <c:v>0.28213166144200602</c:v>
                </c:pt>
                <c:pt idx="3925">
                  <c:v>0.28214971209213002</c:v>
                </c:pt>
                <c:pt idx="3926">
                  <c:v>0.28217821782178198</c:v>
                </c:pt>
                <c:pt idx="3927">
                  <c:v>0.28218694885361501</c:v>
                </c:pt>
                <c:pt idx="3928">
                  <c:v>0.28219178082191798</c:v>
                </c:pt>
                <c:pt idx="3929">
                  <c:v>0.28229885057471299</c:v>
                </c:pt>
                <c:pt idx="3930">
                  <c:v>0.28235294117647097</c:v>
                </c:pt>
                <c:pt idx="3931">
                  <c:v>0.282392026578073</c:v>
                </c:pt>
                <c:pt idx="3932">
                  <c:v>0.28252788104089199</c:v>
                </c:pt>
                <c:pt idx="3933">
                  <c:v>0.28253968253968298</c:v>
                </c:pt>
                <c:pt idx="3934">
                  <c:v>0.28257191201353599</c:v>
                </c:pt>
                <c:pt idx="3935">
                  <c:v>0.28257456828885402</c:v>
                </c:pt>
                <c:pt idx="3936">
                  <c:v>0.282608695652174</c:v>
                </c:pt>
                <c:pt idx="3937">
                  <c:v>0.282608695652174</c:v>
                </c:pt>
                <c:pt idx="3938">
                  <c:v>0.282608695652174</c:v>
                </c:pt>
                <c:pt idx="3939">
                  <c:v>0.28269484808454398</c:v>
                </c:pt>
                <c:pt idx="3940">
                  <c:v>0.28271405492730201</c:v>
                </c:pt>
                <c:pt idx="3941">
                  <c:v>0.28272251308900498</c:v>
                </c:pt>
                <c:pt idx="3942">
                  <c:v>0.28278688524590201</c:v>
                </c:pt>
                <c:pt idx="3943">
                  <c:v>0.28293736501079902</c:v>
                </c:pt>
                <c:pt idx="3944">
                  <c:v>0.28297362110311702</c:v>
                </c:pt>
                <c:pt idx="3945">
                  <c:v>0.283076923076923</c:v>
                </c:pt>
                <c:pt idx="3946">
                  <c:v>0.28308823529411797</c:v>
                </c:pt>
                <c:pt idx="3947">
                  <c:v>0.28318584070796499</c:v>
                </c:pt>
                <c:pt idx="3948">
                  <c:v>0.28321678321678301</c:v>
                </c:pt>
                <c:pt idx="3949">
                  <c:v>0.28323699421965298</c:v>
                </c:pt>
                <c:pt idx="3950">
                  <c:v>0.283276450511945</c:v>
                </c:pt>
                <c:pt idx="3951">
                  <c:v>0.28333333333333299</c:v>
                </c:pt>
                <c:pt idx="3952">
                  <c:v>0.28333333333333299</c:v>
                </c:pt>
                <c:pt idx="3953">
                  <c:v>0.28339350180505402</c:v>
                </c:pt>
                <c:pt idx="3954">
                  <c:v>0.28339694656488501</c:v>
                </c:pt>
                <c:pt idx="3955">
                  <c:v>0.28347485303723102</c:v>
                </c:pt>
                <c:pt idx="3956">
                  <c:v>0.28349514563106798</c:v>
                </c:pt>
                <c:pt idx="3957">
                  <c:v>0.283555555555556</c:v>
                </c:pt>
                <c:pt idx="3958">
                  <c:v>0.28355957767722501</c:v>
                </c:pt>
                <c:pt idx="3959">
                  <c:v>0.28358208955223901</c:v>
                </c:pt>
                <c:pt idx="3960">
                  <c:v>0.28358208955223901</c:v>
                </c:pt>
                <c:pt idx="3961">
                  <c:v>0.28358208955223901</c:v>
                </c:pt>
                <c:pt idx="3962">
                  <c:v>0.28364116094986802</c:v>
                </c:pt>
                <c:pt idx="3963">
                  <c:v>0.28365384615384598</c:v>
                </c:pt>
                <c:pt idx="3964">
                  <c:v>0.28378378378378399</c:v>
                </c:pt>
                <c:pt idx="3965">
                  <c:v>0.28378378378378399</c:v>
                </c:pt>
                <c:pt idx="3966">
                  <c:v>0.28384279475982499</c:v>
                </c:pt>
                <c:pt idx="3967">
                  <c:v>0.28386167146974101</c:v>
                </c:pt>
                <c:pt idx="3968">
                  <c:v>0.28387096774193499</c:v>
                </c:pt>
                <c:pt idx="3969">
                  <c:v>0.28387096774193499</c:v>
                </c:pt>
                <c:pt idx="3970">
                  <c:v>0.28389830508474601</c:v>
                </c:pt>
                <c:pt idx="3971">
                  <c:v>0.28389830508474601</c:v>
                </c:pt>
                <c:pt idx="3972">
                  <c:v>0.28398791540785501</c:v>
                </c:pt>
                <c:pt idx="3973">
                  <c:v>0.28402366863905298</c:v>
                </c:pt>
                <c:pt idx="3974">
                  <c:v>0.28406275805119702</c:v>
                </c:pt>
                <c:pt idx="3975">
                  <c:v>0.28406909788867601</c:v>
                </c:pt>
                <c:pt idx="3976">
                  <c:v>0.28409090909090901</c:v>
                </c:pt>
                <c:pt idx="3977">
                  <c:v>0.28409090909090901</c:v>
                </c:pt>
                <c:pt idx="3978">
                  <c:v>0.28409090909090901</c:v>
                </c:pt>
                <c:pt idx="3979">
                  <c:v>0.28415961305925003</c:v>
                </c:pt>
                <c:pt idx="3980">
                  <c:v>0.28418399495904201</c:v>
                </c:pt>
                <c:pt idx="3981">
                  <c:v>0.28419654714475401</c:v>
                </c:pt>
                <c:pt idx="3982">
                  <c:v>0.284199363732768</c:v>
                </c:pt>
                <c:pt idx="3983">
                  <c:v>0.28428927680798</c:v>
                </c:pt>
                <c:pt idx="3984">
                  <c:v>0.28428927680798</c:v>
                </c:pt>
                <c:pt idx="3985">
                  <c:v>0.28431372549019601</c:v>
                </c:pt>
                <c:pt idx="3986">
                  <c:v>0.28431808085295401</c:v>
                </c:pt>
                <c:pt idx="3987">
                  <c:v>0.28440366972477099</c:v>
                </c:pt>
                <c:pt idx="3988">
                  <c:v>0.284454244762955</c:v>
                </c:pt>
                <c:pt idx="3989">
                  <c:v>0.28447024673439802</c:v>
                </c:pt>
                <c:pt idx="3990">
                  <c:v>0.28448275862069</c:v>
                </c:pt>
                <c:pt idx="3991">
                  <c:v>0.28453608247422701</c:v>
                </c:pt>
                <c:pt idx="3992">
                  <c:v>0.284552845528455</c:v>
                </c:pt>
                <c:pt idx="3993">
                  <c:v>0.28461538461538499</c:v>
                </c:pt>
                <c:pt idx="3994">
                  <c:v>0.28461538461538499</c:v>
                </c:pt>
                <c:pt idx="3995">
                  <c:v>0.28469750889679701</c:v>
                </c:pt>
                <c:pt idx="3996">
                  <c:v>0.284710017574692</c:v>
                </c:pt>
                <c:pt idx="3997">
                  <c:v>0.28472222222222199</c:v>
                </c:pt>
                <c:pt idx="3998">
                  <c:v>0.28472222222222199</c:v>
                </c:pt>
                <c:pt idx="3999">
                  <c:v>0.28475336322869998</c:v>
                </c:pt>
                <c:pt idx="4000">
                  <c:v>0.28476821192052998</c:v>
                </c:pt>
                <c:pt idx="4001">
                  <c:v>0.28480610298792097</c:v>
                </c:pt>
                <c:pt idx="4002">
                  <c:v>0.284810126582278</c:v>
                </c:pt>
                <c:pt idx="4003">
                  <c:v>0.284829721362229</c:v>
                </c:pt>
                <c:pt idx="4004">
                  <c:v>0.28484848484848502</c:v>
                </c:pt>
                <c:pt idx="4005">
                  <c:v>0.28489208633093499</c:v>
                </c:pt>
                <c:pt idx="4006">
                  <c:v>0.28491620111731802</c:v>
                </c:pt>
                <c:pt idx="4007">
                  <c:v>0.284920973942759</c:v>
                </c:pt>
                <c:pt idx="4008">
                  <c:v>0.28492183560262202</c:v>
                </c:pt>
                <c:pt idx="4009">
                  <c:v>0.28494623655913998</c:v>
                </c:pt>
                <c:pt idx="4010">
                  <c:v>0.28496042216358802</c:v>
                </c:pt>
                <c:pt idx="4011">
                  <c:v>0.28499999999999998</c:v>
                </c:pt>
                <c:pt idx="4012">
                  <c:v>0.28501827040194899</c:v>
                </c:pt>
                <c:pt idx="4013">
                  <c:v>0.28527035425730302</c:v>
                </c:pt>
                <c:pt idx="4014">
                  <c:v>0.28527607361963198</c:v>
                </c:pt>
                <c:pt idx="4015">
                  <c:v>0.28531073446327698</c:v>
                </c:pt>
                <c:pt idx="4016">
                  <c:v>0.28538812785388101</c:v>
                </c:pt>
                <c:pt idx="4017">
                  <c:v>0.28539823008849602</c:v>
                </c:pt>
                <c:pt idx="4018">
                  <c:v>0.28545780969479401</c:v>
                </c:pt>
                <c:pt idx="4019">
                  <c:v>0.285620485883125</c:v>
                </c:pt>
                <c:pt idx="4020">
                  <c:v>0.28571428571428598</c:v>
                </c:pt>
                <c:pt idx="4021">
                  <c:v>0.28571428571428598</c:v>
                </c:pt>
                <c:pt idx="4022">
                  <c:v>0.28571428571428598</c:v>
                </c:pt>
                <c:pt idx="4023">
                  <c:v>0.28571428571428598</c:v>
                </c:pt>
                <c:pt idx="4024">
                  <c:v>0.28571428571428598</c:v>
                </c:pt>
                <c:pt idx="4025">
                  <c:v>0.28571428571428598</c:v>
                </c:pt>
                <c:pt idx="4026">
                  <c:v>0.28571428571428598</c:v>
                </c:pt>
                <c:pt idx="4027">
                  <c:v>0.28571428571428598</c:v>
                </c:pt>
                <c:pt idx="4028">
                  <c:v>0.28571428571428598</c:v>
                </c:pt>
                <c:pt idx="4029">
                  <c:v>0.28571428571428598</c:v>
                </c:pt>
                <c:pt idx="4030">
                  <c:v>0.28571428571428598</c:v>
                </c:pt>
                <c:pt idx="4031">
                  <c:v>0.28571428571428598</c:v>
                </c:pt>
                <c:pt idx="4032">
                  <c:v>0.28571428571428598</c:v>
                </c:pt>
                <c:pt idx="4033">
                  <c:v>0.28571428571428598</c:v>
                </c:pt>
                <c:pt idx="4034">
                  <c:v>0.28571428571428598</c:v>
                </c:pt>
                <c:pt idx="4035">
                  <c:v>0.28590250329380801</c:v>
                </c:pt>
                <c:pt idx="4036">
                  <c:v>0.28590649175916599</c:v>
                </c:pt>
                <c:pt idx="4037">
                  <c:v>0.28594249201277999</c:v>
                </c:pt>
                <c:pt idx="4038">
                  <c:v>0.28595041322314002</c:v>
                </c:pt>
                <c:pt idx="4039">
                  <c:v>0.28595041322314002</c:v>
                </c:pt>
                <c:pt idx="4040">
                  <c:v>0.28598848368522101</c:v>
                </c:pt>
                <c:pt idx="4041">
                  <c:v>0.28605200945626502</c:v>
                </c:pt>
                <c:pt idx="4042">
                  <c:v>0.28610855565777399</c:v>
                </c:pt>
                <c:pt idx="4043">
                  <c:v>0.286163522012579</c:v>
                </c:pt>
                <c:pt idx="4044">
                  <c:v>0.28618421052631599</c:v>
                </c:pt>
                <c:pt idx="4045">
                  <c:v>0.286195286195286</c:v>
                </c:pt>
                <c:pt idx="4046">
                  <c:v>0.28632478632478597</c:v>
                </c:pt>
                <c:pt idx="4047">
                  <c:v>0.28633271490414303</c:v>
                </c:pt>
                <c:pt idx="4048">
                  <c:v>0.28635346756152102</c:v>
                </c:pt>
                <c:pt idx="4049">
                  <c:v>0.28636363636363599</c:v>
                </c:pt>
                <c:pt idx="4050">
                  <c:v>0.28636363636363599</c:v>
                </c:pt>
                <c:pt idx="4051">
                  <c:v>0.28640776699029102</c:v>
                </c:pt>
                <c:pt idx="4052">
                  <c:v>0.28643944887599698</c:v>
                </c:pt>
                <c:pt idx="4053">
                  <c:v>0.28648164726947201</c:v>
                </c:pt>
                <c:pt idx="4054">
                  <c:v>0.28662420382165599</c:v>
                </c:pt>
                <c:pt idx="4055">
                  <c:v>0.28673323823109798</c:v>
                </c:pt>
                <c:pt idx="4056">
                  <c:v>0.28674698795180698</c:v>
                </c:pt>
                <c:pt idx="4057">
                  <c:v>0.28679653679653699</c:v>
                </c:pt>
                <c:pt idx="4058">
                  <c:v>0.28681253696037801</c:v>
                </c:pt>
                <c:pt idx="4059">
                  <c:v>0.28686327077747997</c:v>
                </c:pt>
                <c:pt idx="4060">
                  <c:v>0.28691275167785202</c:v>
                </c:pt>
                <c:pt idx="4061">
                  <c:v>0.28695652173913</c:v>
                </c:pt>
                <c:pt idx="4062">
                  <c:v>0.28695652173913</c:v>
                </c:pt>
                <c:pt idx="4063">
                  <c:v>0.28705440900562801</c:v>
                </c:pt>
                <c:pt idx="4064">
                  <c:v>0.287072243346008</c:v>
                </c:pt>
                <c:pt idx="4065">
                  <c:v>0.28709677419354801</c:v>
                </c:pt>
                <c:pt idx="4066">
                  <c:v>0.287158145065398</c:v>
                </c:pt>
                <c:pt idx="4067">
                  <c:v>0.28735632183908</c:v>
                </c:pt>
                <c:pt idx="4068">
                  <c:v>0.28738317757009302</c:v>
                </c:pt>
                <c:pt idx="4069">
                  <c:v>0.28740530303030298</c:v>
                </c:pt>
                <c:pt idx="4070">
                  <c:v>0.28747795414462102</c:v>
                </c:pt>
                <c:pt idx="4071">
                  <c:v>0.28749999999999998</c:v>
                </c:pt>
                <c:pt idx="4072">
                  <c:v>0.28749999999999998</c:v>
                </c:pt>
                <c:pt idx="4073">
                  <c:v>0.28749999999999998</c:v>
                </c:pt>
                <c:pt idx="4074">
                  <c:v>0.28752642706131099</c:v>
                </c:pt>
                <c:pt idx="4075">
                  <c:v>0.28753180661577599</c:v>
                </c:pt>
                <c:pt idx="4076">
                  <c:v>0.28758169934640498</c:v>
                </c:pt>
                <c:pt idx="4077">
                  <c:v>0.28758169934640498</c:v>
                </c:pt>
                <c:pt idx="4078">
                  <c:v>0.28759398496240601</c:v>
                </c:pt>
                <c:pt idx="4079">
                  <c:v>0.28761755485893398</c:v>
                </c:pt>
                <c:pt idx="4080">
                  <c:v>0.28766430738119297</c:v>
                </c:pt>
                <c:pt idx="4081">
                  <c:v>0.28767123287671198</c:v>
                </c:pt>
                <c:pt idx="4082">
                  <c:v>0.28767123287671198</c:v>
                </c:pt>
                <c:pt idx="4083">
                  <c:v>0.28773584905660399</c:v>
                </c:pt>
                <c:pt idx="4084">
                  <c:v>0.28776978417266202</c:v>
                </c:pt>
                <c:pt idx="4085">
                  <c:v>0.287822878228782</c:v>
                </c:pt>
                <c:pt idx="4086">
                  <c:v>0.287822878228782</c:v>
                </c:pt>
                <c:pt idx="4087">
                  <c:v>0.287835522558538</c:v>
                </c:pt>
                <c:pt idx="4088">
                  <c:v>0.28796095444685499</c:v>
                </c:pt>
                <c:pt idx="4089">
                  <c:v>0.28802153432032301</c:v>
                </c:pt>
                <c:pt idx="4090">
                  <c:v>0.288025889967638</c:v>
                </c:pt>
                <c:pt idx="4091">
                  <c:v>0.28813559322033899</c:v>
                </c:pt>
                <c:pt idx="4092">
                  <c:v>0.28813559322033899</c:v>
                </c:pt>
                <c:pt idx="4093">
                  <c:v>0.288167938931298</c:v>
                </c:pt>
                <c:pt idx="4094">
                  <c:v>0.288167938931298</c:v>
                </c:pt>
                <c:pt idx="4095">
                  <c:v>0.288172043010753</c:v>
                </c:pt>
                <c:pt idx="4096">
                  <c:v>0.28820960698690001</c:v>
                </c:pt>
                <c:pt idx="4097">
                  <c:v>0.28820960698690001</c:v>
                </c:pt>
                <c:pt idx="4098">
                  <c:v>0.28832951945080099</c:v>
                </c:pt>
                <c:pt idx="4099">
                  <c:v>0.28834355828220898</c:v>
                </c:pt>
                <c:pt idx="4100">
                  <c:v>0.28834355828220898</c:v>
                </c:pt>
                <c:pt idx="4101">
                  <c:v>0.28834355828220898</c:v>
                </c:pt>
                <c:pt idx="4102">
                  <c:v>0.28838451268357801</c:v>
                </c:pt>
                <c:pt idx="4103">
                  <c:v>0.28840125391849503</c:v>
                </c:pt>
                <c:pt idx="4104">
                  <c:v>0.28840125391849503</c:v>
                </c:pt>
                <c:pt idx="4105">
                  <c:v>0.28840125391849503</c:v>
                </c:pt>
                <c:pt idx="4106">
                  <c:v>0.28842105263157902</c:v>
                </c:pt>
                <c:pt idx="4107">
                  <c:v>0.28846153846153799</c:v>
                </c:pt>
                <c:pt idx="4108">
                  <c:v>0.28846153846153799</c:v>
                </c:pt>
                <c:pt idx="4109">
                  <c:v>0.28846153846153799</c:v>
                </c:pt>
                <c:pt idx="4110">
                  <c:v>0.28848641655886198</c:v>
                </c:pt>
                <c:pt idx="4111">
                  <c:v>0.28849902534113098</c:v>
                </c:pt>
                <c:pt idx="4112">
                  <c:v>0.288524590163934</c:v>
                </c:pt>
                <c:pt idx="4113">
                  <c:v>0.28853046594982101</c:v>
                </c:pt>
                <c:pt idx="4114">
                  <c:v>0.28853139595225702</c:v>
                </c:pt>
                <c:pt idx="4115">
                  <c:v>0.28853754940711501</c:v>
                </c:pt>
                <c:pt idx="4116">
                  <c:v>0.28853754940711501</c:v>
                </c:pt>
                <c:pt idx="4117">
                  <c:v>0.28853754940711501</c:v>
                </c:pt>
                <c:pt idx="4118">
                  <c:v>0.288566243194192</c:v>
                </c:pt>
                <c:pt idx="4119">
                  <c:v>0.28861788617886203</c:v>
                </c:pt>
                <c:pt idx="4120">
                  <c:v>0.28862164662349699</c:v>
                </c:pt>
                <c:pt idx="4121">
                  <c:v>0.28865979381443302</c:v>
                </c:pt>
                <c:pt idx="4122">
                  <c:v>0.28879310344827602</c:v>
                </c:pt>
                <c:pt idx="4123">
                  <c:v>0.28880866425992802</c:v>
                </c:pt>
                <c:pt idx="4124">
                  <c:v>0.28888888888888897</c:v>
                </c:pt>
                <c:pt idx="4125">
                  <c:v>0.28888888888888897</c:v>
                </c:pt>
                <c:pt idx="4126">
                  <c:v>0.28893905191873598</c:v>
                </c:pt>
                <c:pt idx="4127">
                  <c:v>0.28895612708018198</c:v>
                </c:pt>
                <c:pt idx="4128">
                  <c:v>0.28899082568807299</c:v>
                </c:pt>
                <c:pt idx="4129">
                  <c:v>0.28900709219858201</c:v>
                </c:pt>
                <c:pt idx="4130">
                  <c:v>0.28902229845626098</c:v>
                </c:pt>
                <c:pt idx="4131">
                  <c:v>0.2890625</c:v>
                </c:pt>
                <c:pt idx="4132">
                  <c:v>0.28909952606635098</c:v>
                </c:pt>
                <c:pt idx="4133">
                  <c:v>0.289240262244504</c:v>
                </c:pt>
                <c:pt idx="4134">
                  <c:v>0.28930817610062898</c:v>
                </c:pt>
                <c:pt idx="4135">
                  <c:v>0.28939393939393898</c:v>
                </c:pt>
                <c:pt idx="4136">
                  <c:v>0.28939393939393898</c:v>
                </c:pt>
                <c:pt idx="4137">
                  <c:v>0.289424860853432</c:v>
                </c:pt>
                <c:pt idx="4138">
                  <c:v>0.28947368421052599</c:v>
                </c:pt>
                <c:pt idx="4139">
                  <c:v>0.28947368421052599</c:v>
                </c:pt>
                <c:pt idx="4140">
                  <c:v>0.28947368421052599</c:v>
                </c:pt>
                <c:pt idx="4141">
                  <c:v>0.28970588235294098</c:v>
                </c:pt>
                <c:pt idx="4142">
                  <c:v>0.289719626168224</c:v>
                </c:pt>
                <c:pt idx="4143">
                  <c:v>0.28977272727272702</c:v>
                </c:pt>
                <c:pt idx="4144">
                  <c:v>0.28985507246376802</c:v>
                </c:pt>
                <c:pt idx="4145">
                  <c:v>0.28985507246376802</c:v>
                </c:pt>
                <c:pt idx="4146">
                  <c:v>0.28991596638655498</c:v>
                </c:pt>
                <c:pt idx="4147">
                  <c:v>0.28992248062015502</c:v>
                </c:pt>
                <c:pt idx="4148">
                  <c:v>0.28997867803837901</c:v>
                </c:pt>
                <c:pt idx="4149">
                  <c:v>0.28998242530755702</c:v>
                </c:pt>
                <c:pt idx="4150">
                  <c:v>0.29007633587786302</c:v>
                </c:pt>
                <c:pt idx="4151">
                  <c:v>0.290152403282532</c:v>
                </c:pt>
                <c:pt idx="4152">
                  <c:v>0.29018181818181799</c:v>
                </c:pt>
                <c:pt idx="4153">
                  <c:v>0.29024390243902398</c:v>
                </c:pt>
                <c:pt idx="4154">
                  <c:v>0.29026548672566399</c:v>
                </c:pt>
                <c:pt idx="4155">
                  <c:v>0.29032258064516098</c:v>
                </c:pt>
                <c:pt idx="4156">
                  <c:v>0.29035339063992399</c:v>
                </c:pt>
                <c:pt idx="4157">
                  <c:v>0.29039548022598899</c:v>
                </c:pt>
                <c:pt idx="4158">
                  <c:v>0.29042386185243302</c:v>
                </c:pt>
                <c:pt idx="4159">
                  <c:v>0.29042904290429</c:v>
                </c:pt>
                <c:pt idx="4160">
                  <c:v>0.29047619047619</c:v>
                </c:pt>
                <c:pt idx="4161">
                  <c:v>0.29059829059829101</c:v>
                </c:pt>
                <c:pt idx="4162">
                  <c:v>0.29059829059829101</c:v>
                </c:pt>
                <c:pt idx="4163">
                  <c:v>0.29063509149623201</c:v>
                </c:pt>
                <c:pt idx="4164">
                  <c:v>0.29067460317460297</c:v>
                </c:pt>
                <c:pt idx="4165">
                  <c:v>0.29073482428114999</c:v>
                </c:pt>
                <c:pt idx="4166">
                  <c:v>0.29074585635359101</c:v>
                </c:pt>
                <c:pt idx="4167">
                  <c:v>0.29074889867841403</c:v>
                </c:pt>
                <c:pt idx="4168">
                  <c:v>0.290769230769231</c:v>
                </c:pt>
                <c:pt idx="4169">
                  <c:v>0.29079079079079101</c:v>
                </c:pt>
                <c:pt idx="4170">
                  <c:v>0.290822407628129</c:v>
                </c:pt>
                <c:pt idx="4171">
                  <c:v>0.29085872576177302</c:v>
                </c:pt>
                <c:pt idx="4172">
                  <c:v>0.29096573208722698</c:v>
                </c:pt>
                <c:pt idx="4173">
                  <c:v>0.29098360655737698</c:v>
                </c:pt>
                <c:pt idx="4174">
                  <c:v>0.29104477611940299</c:v>
                </c:pt>
                <c:pt idx="4175">
                  <c:v>0.29108822212270502</c:v>
                </c:pt>
                <c:pt idx="4176">
                  <c:v>0.291117478510029</c:v>
                </c:pt>
                <c:pt idx="4177">
                  <c:v>0.291139240506329</c:v>
                </c:pt>
                <c:pt idx="4178">
                  <c:v>0.291139240506329</c:v>
                </c:pt>
                <c:pt idx="4179">
                  <c:v>0.29126213592233002</c:v>
                </c:pt>
                <c:pt idx="4180">
                  <c:v>0.291304347826087</c:v>
                </c:pt>
                <c:pt idx="4181">
                  <c:v>0.291375291375291</c:v>
                </c:pt>
                <c:pt idx="4182">
                  <c:v>0.29139072847682101</c:v>
                </c:pt>
                <c:pt idx="4183">
                  <c:v>0.29141716566866299</c:v>
                </c:pt>
                <c:pt idx="4184">
                  <c:v>0.291469194312796</c:v>
                </c:pt>
                <c:pt idx="4185">
                  <c:v>0.29147982062780298</c:v>
                </c:pt>
                <c:pt idx="4186">
                  <c:v>0.29166666666666702</c:v>
                </c:pt>
                <c:pt idx="4187">
                  <c:v>0.29166666666666702</c:v>
                </c:pt>
                <c:pt idx="4188">
                  <c:v>0.29166666666666702</c:v>
                </c:pt>
                <c:pt idx="4189">
                  <c:v>0.29166666666666702</c:v>
                </c:pt>
                <c:pt idx="4190">
                  <c:v>0.29173989455184501</c:v>
                </c:pt>
                <c:pt idx="4191">
                  <c:v>0.29177718832891197</c:v>
                </c:pt>
                <c:pt idx="4192">
                  <c:v>0.29180327868852501</c:v>
                </c:pt>
                <c:pt idx="4193">
                  <c:v>0.29185427752762999</c:v>
                </c:pt>
                <c:pt idx="4194">
                  <c:v>0.29185520361990902</c:v>
                </c:pt>
                <c:pt idx="4195">
                  <c:v>0.29189189189189202</c:v>
                </c:pt>
                <c:pt idx="4196">
                  <c:v>0.29189189189189202</c:v>
                </c:pt>
                <c:pt idx="4197">
                  <c:v>0.29189789123196402</c:v>
                </c:pt>
                <c:pt idx="4198">
                  <c:v>0.29192546583850898</c:v>
                </c:pt>
                <c:pt idx="4199">
                  <c:v>0.29192546583850898</c:v>
                </c:pt>
                <c:pt idx="4200">
                  <c:v>0.29194630872483202</c:v>
                </c:pt>
                <c:pt idx="4201">
                  <c:v>0.29197080291970801</c:v>
                </c:pt>
                <c:pt idx="4202">
                  <c:v>0.29197080291970801</c:v>
                </c:pt>
                <c:pt idx="4203">
                  <c:v>0.29203539823008801</c:v>
                </c:pt>
                <c:pt idx="4204">
                  <c:v>0.29203539823008801</c:v>
                </c:pt>
                <c:pt idx="4205">
                  <c:v>0.29204204204204198</c:v>
                </c:pt>
                <c:pt idx="4206">
                  <c:v>0.29207920792079201</c:v>
                </c:pt>
                <c:pt idx="4207">
                  <c:v>0.292096219931271</c:v>
                </c:pt>
                <c:pt idx="4208">
                  <c:v>0.29213483146067398</c:v>
                </c:pt>
                <c:pt idx="4209">
                  <c:v>0.29218749999999999</c:v>
                </c:pt>
                <c:pt idx="4210">
                  <c:v>0.29224376731301899</c:v>
                </c:pt>
                <c:pt idx="4211">
                  <c:v>0.29231944975162399</c:v>
                </c:pt>
                <c:pt idx="4212">
                  <c:v>0.29242424242424198</c:v>
                </c:pt>
                <c:pt idx="4213">
                  <c:v>0.29245283018867901</c:v>
                </c:pt>
                <c:pt idx="4214">
                  <c:v>0.29249617151607998</c:v>
                </c:pt>
                <c:pt idx="4215">
                  <c:v>0.29251012145749</c:v>
                </c:pt>
                <c:pt idx="4216">
                  <c:v>0.29254901960784302</c:v>
                </c:pt>
                <c:pt idx="4217">
                  <c:v>0.29257875066737898</c:v>
                </c:pt>
                <c:pt idx="4218">
                  <c:v>0.292682926829268</c:v>
                </c:pt>
                <c:pt idx="4219">
                  <c:v>0.292682926829268</c:v>
                </c:pt>
                <c:pt idx="4220">
                  <c:v>0.292682926829268</c:v>
                </c:pt>
                <c:pt idx="4221">
                  <c:v>0.292682926829268</c:v>
                </c:pt>
                <c:pt idx="4222">
                  <c:v>0.292763157894737</c:v>
                </c:pt>
                <c:pt idx="4223">
                  <c:v>0.292763157894737</c:v>
                </c:pt>
                <c:pt idx="4224">
                  <c:v>0.29277566539923999</c:v>
                </c:pt>
                <c:pt idx="4225">
                  <c:v>0.29292929292929298</c:v>
                </c:pt>
                <c:pt idx="4226">
                  <c:v>0.29295154185021999</c:v>
                </c:pt>
                <c:pt idx="4227">
                  <c:v>0.29295154185021999</c:v>
                </c:pt>
                <c:pt idx="4228">
                  <c:v>0.29305135951661598</c:v>
                </c:pt>
                <c:pt idx="4229">
                  <c:v>0.29310344827586199</c:v>
                </c:pt>
                <c:pt idx="4230">
                  <c:v>0.29317269076305202</c:v>
                </c:pt>
                <c:pt idx="4231">
                  <c:v>0.293198529411765</c:v>
                </c:pt>
                <c:pt idx="4232">
                  <c:v>0.29320531757754797</c:v>
                </c:pt>
                <c:pt idx="4233">
                  <c:v>0.29320987654321001</c:v>
                </c:pt>
                <c:pt idx="4234">
                  <c:v>0.29324546952224001</c:v>
                </c:pt>
                <c:pt idx="4235">
                  <c:v>0.29326287978863902</c:v>
                </c:pt>
                <c:pt idx="4236">
                  <c:v>0.29335494327390599</c:v>
                </c:pt>
                <c:pt idx="4237">
                  <c:v>0.29337539432176701</c:v>
                </c:pt>
                <c:pt idx="4238">
                  <c:v>0.29338842975206603</c:v>
                </c:pt>
                <c:pt idx="4239">
                  <c:v>0.29341317365269498</c:v>
                </c:pt>
                <c:pt idx="4240">
                  <c:v>0.29345372460496599</c:v>
                </c:pt>
                <c:pt idx="4241">
                  <c:v>0.29366306027820699</c:v>
                </c:pt>
                <c:pt idx="4242">
                  <c:v>0.29369369369369402</c:v>
                </c:pt>
                <c:pt idx="4243">
                  <c:v>0.29370249728555903</c:v>
                </c:pt>
                <c:pt idx="4244">
                  <c:v>0.29375000000000001</c:v>
                </c:pt>
                <c:pt idx="4245">
                  <c:v>0.29380053908355802</c:v>
                </c:pt>
                <c:pt idx="4246">
                  <c:v>0.29386892177589802</c:v>
                </c:pt>
                <c:pt idx="4247">
                  <c:v>0.29398663697104699</c:v>
                </c:pt>
                <c:pt idx="4248">
                  <c:v>0.294083526682135</c:v>
                </c:pt>
                <c:pt idx="4249">
                  <c:v>0.29411764705882398</c:v>
                </c:pt>
                <c:pt idx="4250">
                  <c:v>0.29411764705882398</c:v>
                </c:pt>
                <c:pt idx="4251">
                  <c:v>0.29411764705882398</c:v>
                </c:pt>
                <c:pt idx="4252">
                  <c:v>0.29411764705882398</c:v>
                </c:pt>
                <c:pt idx="4253">
                  <c:v>0.29411764705882398</c:v>
                </c:pt>
                <c:pt idx="4254">
                  <c:v>0.29411764705882398</c:v>
                </c:pt>
                <c:pt idx="4255">
                  <c:v>0.29411764705882398</c:v>
                </c:pt>
                <c:pt idx="4256">
                  <c:v>0.294323756131745</c:v>
                </c:pt>
                <c:pt idx="4257">
                  <c:v>0.29434447300771199</c:v>
                </c:pt>
                <c:pt idx="4258">
                  <c:v>0.294416243654822</c:v>
                </c:pt>
                <c:pt idx="4259">
                  <c:v>0.29447852760736198</c:v>
                </c:pt>
                <c:pt idx="4260">
                  <c:v>0.29452054794520499</c:v>
                </c:pt>
                <c:pt idx="4261">
                  <c:v>0.29458388375165101</c:v>
                </c:pt>
                <c:pt idx="4262">
                  <c:v>0.29468599033816401</c:v>
                </c:pt>
                <c:pt idx="4263">
                  <c:v>0.29471032745591902</c:v>
                </c:pt>
                <c:pt idx="4264">
                  <c:v>0.29473684210526302</c:v>
                </c:pt>
                <c:pt idx="4265">
                  <c:v>0.29473684210526302</c:v>
                </c:pt>
                <c:pt idx="4266">
                  <c:v>0.29475982532751099</c:v>
                </c:pt>
                <c:pt idx="4267">
                  <c:v>0.29482071713147401</c:v>
                </c:pt>
                <c:pt idx="4268">
                  <c:v>0.295004306632214</c:v>
                </c:pt>
                <c:pt idx="4269">
                  <c:v>0.29501915708812299</c:v>
                </c:pt>
                <c:pt idx="4270">
                  <c:v>0.29501915708812299</c:v>
                </c:pt>
                <c:pt idx="4271">
                  <c:v>0.29502262443438898</c:v>
                </c:pt>
                <c:pt idx="4272">
                  <c:v>0.29508196721311503</c:v>
                </c:pt>
                <c:pt idx="4273">
                  <c:v>0.29508196721311503</c:v>
                </c:pt>
                <c:pt idx="4274">
                  <c:v>0.29508196721311503</c:v>
                </c:pt>
                <c:pt idx="4275">
                  <c:v>0.29523809523809502</c:v>
                </c:pt>
                <c:pt idx="4276">
                  <c:v>0.29526748971193401</c:v>
                </c:pt>
                <c:pt idx="4277">
                  <c:v>0.295290858725762</c:v>
                </c:pt>
                <c:pt idx="4278">
                  <c:v>0.29531568228105898</c:v>
                </c:pt>
                <c:pt idx="4279">
                  <c:v>0.295336787564767</c:v>
                </c:pt>
                <c:pt idx="4280">
                  <c:v>0.29545454545454503</c:v>
                </c:pt>
                <c:pt idx="4281">
                  <c:v>0.29545454545454503</c:v>
                </c:pt>
                <c:pt idx="4282">
                  <c:v>0.29551451187335098</c:v>
                </c:pt>
                <c:pt idx="4283">
                  <c:v>0.29554655870445301</c:v>
                </c:pt>
                <c:pt idx="4284">
                  <c:v>0.29554655870445301</c:v>
                </c:pt>
                <c:pt idx="4285">
                  <c:v>0.29555555555555602</c:v>
                </c:pt>
                <c:pt idx="4286">
                  <c:v>0.29556650246305399</c:v>
                </c:pt>
                <c:pt idx="4287">
                  <c:v>0.29559748427672999</c:v>
                </c:pt>
                <c:pt idx="4288">
                  <c:v>0.29568106312292403</c:v>
                </c:pt>
                <c:pt idx="4289">
                  <c:v>0.29569892473118298</c:v>
                </c:pt>
                <c:pt idx="4290">
                  <c:v>0.29574468085106398</c:v>
                </c:pt>
                <c:pt idx="4291">
                  <c:v>0.29577464788732399</c:v>
                </c:pt>
                <c:pt idx="4292">
                  <c:v>0.29579579579579601</c:v>
                </c:pt>
                <c:pt idx="4293">
                  <c:v>0.295833333333333</c:v>
                </c:pt>
                <c:pt idx="4294">
                  <c:v>0.29587482219061201</c:v>
                </c:pt>
                <c:pt idx="4295">
                  <c:v>0.29591836734693899</c:v>
                </c:pt>
                <c:pt idx="4296">
                  <c:v>0.29591836734693899</c:v>
                </c:pt>
                <c:pt idx="4297">
                  <c:v>0.29595015576324002</c:v>
                </c:pt>
                <c:pt idx="4298">
                  <c:v>0.29596412556053803</c:v>
                </c:pt>
                <c:pt idx="4299">
                  <c:v>0.29611650485436902</c:v>
                </c:pt>
                <c:pt idx="4300">
                  <c:v>0.29621848739495799</c:v>
                </c:pt>
                <c:pt idx="4301">
                  <c:v>0.2962191128312</c:v>
                </c:pt>
                <c:pt idx="4302">
                  <c:v>0.296296296296296</c:v>
                </c:pt>
                <c:pt idx="4303">
                  <c:v>0.296296296296296</c:v>
                </c:pt>
                <c:pt idx="4304">
                  <c:v>0.296296296296296</c:v>
                </c:pt>
                <c:pt idx="4305">
                  <c:v>0.29642857142857099</c:v>
                </c:pt>
                <c:pt idx="4306">
                  <c:v>0.29651162790697699</c:v>
                </c:pt>
                <c:pt idx="4307">
                  <c:v>0.29652650822669102</c:v>
                </c:pt>
                <c:pt idx="4308">
                  <c:v>0.29656538969616902</c:v>
                </c:pt>
                <c:pt idx="4309">
                  <c:v>0.29661941112322798</c:v>
                </c:pt>
                <c:pt idx="4310">
                  <c:v>0.296650717703349</c:v>
                </c:pt>
                <c:pt idx="4311">
                  <c:v>0.296675191815857</c:v>
                </c:pt>
                <c:pt idx="4312">
                  <c:v>0.29670329670329698</c:v>
                </c:pt>
                <c:pt idx="4313">
                  <c:v>0.29671280276816597</c:v>
                </c:pt>
                <c:pt idx="4314">
                  <c:v>0.29673093042749399</c:v>
                </c:pt>
                <c:pt idx="4315">
                  <c:v>0.296758104738155</c:v>
                </c:pt>
                <c:pt idx="4316">
                  <c:v>0.296853625170999</c:v>
                </c:pt>
                <c:pt idx="4317">
                  <c:v>0.296875</c:v>
                </c:pt>
                <c:pt idx="4318">
                  <c:v>0.29694323144104801</c:v>
                </c:pt>
                <c:pt idx="4319">
                  <c:v>0.29694323144104801</c:v>
                </c:pt>
                <c:pt idx="4320">
                  <c:v>0.29694323144104801</c:v>
                </c:pt>
                <c:pt idx="4321">
                  <c:v>0.29694774961200199</c:v>
                </c:pt>
                <c:pt idx="4322">
                  <c:v>0.29701230228470998</c:v>
                </c:pt>
                <c:pt idx="4323">
                  <c:v>0.29702970297029702</c:v>
                </c:pt>
                <c:pt idx="4324">
                  <c:v>0.29702970297029702</c:v>
                </c:pt>
                <c:pt idx="4325">
                  <c:v>0.29704797047970499</c:v>
                </c:pt>
                <c:pt idx="4326">
                  <c:v>0.29716981132075498</c:v>
                </c:pt>
                <c:pt idx="4327">
                  <c:v>0.29718875502008002</c:v>
                </c:pt>
                <c:pt idx="4328">
                  <c:v>0.29718875502008002</c:v>
                </c:pt>
                <c:pt idx="4329">
                  <c:v>0.29720279720279702</c:v>
                </c:pt>
                <c:pt idx="4330">
                  <c:v>0.29722921914357697</c:v>
                </c:pt>
                <c:pt idx="4331">
                  <c:v>0.29722921914357697</c:v>
                </c:pt>
                <c:pt idx="4332">
                  <c:v>0.29729729729729698</c:v>
                </c:pt>
                <c:pt idx="4333">
                  <c:v>0.29729729729729698</c:v>
                </c:pt>
                <c:pt idx="4334">
                  <c:v>0.29739776951672903</c:v>
                </c:pt>
                <c:pt idx="4335">
                  <c:v>0.29746835443038</c:v>
                </c:pt>
                <c:pt idx="4336">
                  <c:v>0.29747675962815401</c:v>
                </c:pt>
                <c:pt idx="4337">
                  <c:v>0.29748603351955299</c:v>
                </c:pt>
                <c:pt idx="4338">
                  <c:v>0.297619047619048</c:v>
                </c:pt>
                <c:pt idx="4339">
                  <c:v>0.297619047619048</c:v>
                </c:pt>
                <c:pt idx="4340">
                  <c:v>0.29765886287625398</c:v>
                </c:pt>
                <c:pt idx="4341">
                  <c:v>0.29767441860465099</c:v>
                </c:pt>
                <c:pt idx="4342">
                  <c:v>0.29770992366412202</c:v>
                </c:pt>
                <c:pt idx="4343">
                  <c:v>0.29774127310061599</c:v>
                </c:pt>
                <c:pt idx="4344">
                  <c:v>0.297752808988764</c:v>
                </c:pt>
                <c:pt idx="4345">
                  <c:v>0.29778830963665098</c:v>
                </c:pt>
                <c:pt idx="4346">
                  <c:v>0.29779411764705899</c:v>
                </c:pt>
                <c:pt idx="4347">
                  <c:v>0.29784304726938998</c:v>
                </c:pt>
                <c:pt idx="4348">
                  <c:v>0.297906602254428</c:v>
                </c:pt>
                <c:pt idx="4349">
                  <c:v>0.29797979797979801</c:v>
                </c:pt>
                <c:pt idx="4350">
                  <c:v>0.29813664596273298</c:v>
                </c:pt>
                <c:pt idx="4351">
                  <c:v>0.29821717990275498</c:v>
                </c:pt>
                <c:pt idx="4352">
                  <c:v>0.29824561403508798</c:v>
                </c:pt>
                <c:pt idx="4353">
                  <c:v>0.29829545454545398</c:v>
                </c:pt>
                <c:pt idx="4354">
                  <c:v>0.29834254143646399</c:v>
                </c:pt>
                <c:pt idx="4355">
                  <c:v>0.29844961240310097</c:v>
                </c:pt>
                <c:pt idx="4356">
                  <c:v>0.29847908745247098</c:v>
                </c:pt>
                <c:pt idx="4357">
                  <c:v>0.29850746268656703</c:v>
                </c:pt>
                <c:pt idx="4358">
                  <c:v>0.29850746268656703</c:v>
                </c:pt>
                <c:pt idx="4359">
                  <c:v>0.29853862212943599</c:v>
                </c:pt>
                <c:pt idx="4360">
                  <c:v>0.29859719438877802</c:v>
                </c:pt>
                <c:pt idx="4361">
                  <c:v>0.29871175523349403</c:v>
                </c:pt>
                <c:pt idx="4362">
                  <c:v>0.29872881355932202</c:v>
                </c:pt>
                <c:pt idx="4363">
                  <c:v>0.29875518672199203</c:v>
                </c:pt>
                <c:pt idx="4364">
                  <c:v>0.29878048780487798</c:v>
                </c:pt>
                <c:pt idx="4365">
                  <c:v>0.29878048780487798</c:v>
                </c:pt>
                <c:pt idx="4366">
                  <c:v>0.29879518072289202</c:v>
                </c:pt>
                <c:pt idx="4367">
                  <c:v>0.29885057471264398</c:v>
                </c:pt>
                <c:pt idx="4368">
                  <c:v>0.29889298892988903</c:v>
                </c:pt>
                <c:pt idx="4369">
                  <c:v>0.29893238434163699</c:v>
                </c:pt>
                <c:pt idx="4370">
                  <c:v>0.29893238434163699</c:v>
                </c:pt>
                <c:pt idx="4371">
                  <c:v>0.299009900990099</c:v>
                </c:pt>
                <c:pt idx="4372">
                  <c:v>0.29901960784313703</c:v>
                </c:pt>
                <c:pt idx="4373">
                  <c:v>0.29901960784313703</c:v>
                </c:pt>
                <c:pt idx="4374">
                  <c:v>0.29906542056074797</c:v>
                </c:pt>
                <c:pt idx="4375">
                  <c:v>0.29910714285714302</c:v>
                </c:pt>
                <c:pt idx="4376">
                  <c:v>0.29915333960489199</c:v>
                </c:pt>
                <c:pt idx="4377">
                  <c:v>0.29918032786885201</c:v>
                </c:pt>
                <c:pt idx="4378">
                  <c:v>0.29918032786885201</c:v>
                </c:pt>
                <c:pt idx="4379">
                  <c:v>0.29920364050056902</c:v>
                </c:pt>
                <c:pt idx="4380">
                  <c:v>0.29921259842519699</c:v>
                </c:pt>
                <c:pt idx="4381">
                  <c:v>0.29921942758022502</c:v>
                </c:pt>
                <c:pt idx="4382">
                  <c:v>0.29927007299270098</c:v>
                </c:pt>
                <c:pt idx="4383">
                  <c:v>0.29934210526315802</c:v>
                </c:pt>
                <c:pt idx="4384">
                  <c:v>0.29934924078091102</c:v>
                </c:pt>
                <c:pt idx="4385">
                  <c:v>0.29935275080906099</c:v>
                </c:pt>
                <c:pt idx="4386">
                  <c:v>0.29936305732484098</c:v>
                </c:pt>
                <c:pt idx="4387">
                  <c:v>0.29938271604938299</c:v>
                </c:pt>
                <c:pt idx="4388">
                  <c:v>0.29938900203666002</c:v>
                </c:pt>
                <c:pt idx="4389">
                  <c:v>0.29945799457994599</c:v>
                </c:pt>
                <c:pt idx="4390">
                  <c:v>0.29948914431673002</c:v>
                </c:pt>
                <c:pt idx="4391">
                  <c:v>0.29949238578680198</c:v>
                </c:pt>
                <c:pt idx="4392">
                  <c:v>0.29949748743718602</c:v>
                </c:pt>
                <c:pt idx="4393">
                  <c:v>0.29951690821256</c:v>
                </c:pt>
                <c:pt idx="4394">
                  <c:v>0.299524564183835</c:v>
                </c:pt>
                <c:pt idx="4395">
                  <c:v>0.29959514170040502</c:v>
                </c:pt>
                <c:pt idx="4396">
                  <c:v>0.29965156794425102</c:v>
                </c:pt>
                <c:pt idx="4397">
                  <c:v>0.29966329966330002</c:v>
                </c:pt>
                <c:pt idx="4398">
                  <c:v>0.29966887417218502</c:v>
                </c:pt>
                <c:pt idx="4399">
                  <c:v>0.29975874547647802</c:v>
                </c:pt>
                <c:pt idx="4400">
                  <c:v>0.29976019184652303</c:v>
                </c:pt>
                <c:pt idx="4401">
                  <c:v>0.29987760097919203</c:v>
                </c:pt>
                <c:pt idx="4402">
                  <c:v>0.3</c:v>
                </c:pt>
                <c:pt idx="4403">
                  <c:v>0.3</c:v>
                </c:pt>
                <c:pt idx="4404">
                  <c:v>0.3</c:v>
                </c:pt>
                <c:pt idx="4405">
                  <c:v>0.3</c:v>
                </c:pt>
                <c:pt idx="4406">
                  <c:v>0.3</c:v>
                </c:pt>
                <c:pt idx="4407">
                  <c:v>0.3</c:v>
                </c:pt>
                <c:pt idx="4408">
                  <c:v>0.3</c:v>
                </c:pt>
                <c:pt idx="4409">
                  <c:v>0.3</c:v>
                </c:pt>
                <c:pt idx="4410">
                  <c:v>0.3</c:v>
                </c:pt>
                <c:pt idx="4411">
                  <c:v>0.30014430014429999</c:v>
                </c:pt>
                <c:pt idx="4412">
                  <c:v>0.30014499758337398</c:v>
                </c:pt>
                <c:pt idx="4413">
                  <c:v>0.30018083182640098</c:v>
                </c:pt>
                <c:pt idx="4414">
                  <c:v>0.30025773195876299</c:v>
                </c:pt>
                <c:pt idx="4415">
                  <c:v>0.30030030030030003</c:v>
                </c:pt>
                <c:pt idx="4416">
                  <c:v>0.30032644178454798</c:v>
                </c:pt>
                <c:pt idx="4417">
                  <c:v>0.30041152263374499</c:v>
                </c:pt>
                <c:pt idx="4418">
                  <c:v>0.30041724617524301</c:v>
                </c:pt>
                <c:pt idx="4419">
                  <c:v>0.30046948356807501</c:v>
                </c:pt>
                <c:pt idx="4420">
                  <c:v>0.30050505050505</c:v>
                </c:pt>
                <c:pt idx="4421">
                  <c:v>0.30051813471502598</c:v>
                </c:pt>
                <c:pt idx="4422">
                  <c:v>0.300539083557951</c:v>
                </c:pt>
                <c:pt idx="4423">
                  <c:v>0.300578034682081</c:v>
                </c:pt>
                <c:pt idx="4424">
                  <c:v>0.30074931880109002</c:v>
                </c:pt>
                <c:pt idx="4425">
                  <c:v>0.30078125</c:v>
                </c:pt>
                <c:pt idx="4426">
                  <c:v>0.30081300813008099</c:v>
                </c:pt>
                <c:pt idx="4427">
                  <c:v>0.30081300813008099</c:v>
                </c:pt>
                <c:pt idx="4428">
                  <c:v>0.30093592512598999</c:v>
                </c:pt>
                <c:pt idx="4429">
                  <c:v>0.300959232613909</c:v>
                </c:pt>
                <c:pt idx="4430">
                  <c:v>0.30097765363128498</c:v>
                </c:pt>
                <c:pt idx="4431">
                  <c:v>0.30100334448160498</c:v>
                </c:pt>
                <c:pt idx="4432">
                  <c:v>0.30107526881720398</c:v>
                </c:pt>
                <c:pt idx="4433">
                  <c:v>0.30111524163568798</c:v>
                </c:pt>
                <c:pt idx="4434">
                  <c:v>0.30111902339776198</c:v>
                </c:pt>
                <c:pt idx="4435">
                  <c:v>0.30113636363636398</c:v>
                </c:pt>
                <c:pt idx="4436">
                  <c:v>0.30115567641060498</c:v>
                </c:pt>
                <c:pt idx="4437">
                  <c:v>0.301186943620178</c:v>
                </c:pt>
                <c:pt idx="4438">
                  <c:v>0.30122494432071301</c:v>
                </c:pt>
                <c:pt idx="4439">
                  <c:v>0.30128205128205099</c:v>
                </c:pt>
                <c:pt idx="4440">
                  <c:v>0.30134680134680097</c:v>
                </c:pt>
                <c:pt idx="4441">
                  <c:v>0.301369863013699</c:v>
                </c:pt>
                <c:pt idx="4442">
                  <c:v>0.301369863013699</c:v>
                </c:pt>
                <c:pt idx="4443">
                  <c:v>0.30147058823529399</c:v>
                </c:pt>
                <c:pt idx="4444">
                  <c:v>0.30148619957537098</c:v>
                </c:pt>
                <c:pt idx="4445">
                  <c:v>0.301503759398496</c:v>
                </c:pt>
                <c:pt idx="4446">
                  <c:v>0.30158730158730201</c:v>
                </c:pt>
                <c:pt idx="4447">
                  <c:v>0.30168776371307998</c:v>
                </c:pt>
                <c:pt idx="4448">
                  <c:v>0.30171740827478499</c:v>
                </c:pt>
                <c:pt idx="4449">
                  <c:v>0.30172413793103398</c:v>
                </c:pt>
                <c:pt idx="4450">
                  <c:v>0.30172413793103398</c:v>
                </c:pt>
                <c:pt idx="4451">
                  <c:v>0.301837270341207</c:v>
                </c:pt>
                <c:pt idx="4452">
                  <c:v>0.30185497470488998</c:v>
                </c:pt>
                <c:pt idx="4453">
                  <c:v>0.30188679245283001</c:v>
                </c:pt>
                <c:pt idx="4454">
                  <c:v>0.30188679245283001</c:v>
                </c:pt>
                <c:pt idx="4455">
                  <c:v>0.30196078431372497</c:v>
                </c:pt>
                <c:pt idx="4456">
                  <c:v>0.30204460966542701</c:v>
                </c:pt>
                <c:pt idx="4457">
                  <c:v>0.30208333333333298</c:v>
                </c:pt>
                <c:pt idx="4458">
                  <c:v>0.30217391304347802</c:v>
                </c:pt>
                <c:pt idx="4459">
                  <c:v>0.302186878727634</c:v>
                </c:pt>
                <c:pt idx="4460">
                  <c:v>0.30224525043177902</c:v>
                </c:pt>
                <c:pt idx="4461">
                  <c:v>0.30225080385852099</c:v>
                </c:pt>
                <c:pt idx="4462">
                  <c:v>0.30232558139534899</c:v>
                </c:pt>
                <c:pt idx="4463">
                  <c:v>0.30232558139534899</c:v>
                </c:pt>
                <c:pt idx="4464">
                  <c:v>0.30232558139534899</c:v>
                </c:pt>
                <c:pt idx="4465">
                  <c:v>0.30232558139534899</c:v>
                </c:pt>
                <c:pt idx="4466">
                  <c:v>0.30232558139534899</c:v>
                </c:pt>
                <c:pt idx="4467">
                  <c:v>0.30239520958083799</c:v>
                </c:pt>
                <c:pt idx="4468">
                  <c:v>0.30241935483871002</c:v>
                </c:pt>
                <c:pt idx="4469">
                  <c:v>0.30246913580246898</c:v>
                </c:pt>
                <c:pt idx="4470">
                  <c:v>0.30246913580246898</c:v>
                </c:pt>
                <c:pt idx="4471">
                  <c:v>0.30261136712749598</c:v>
                </c:pt>
                <c:pt idx="4472">
                  <c:v>0.30263157894736797</c:v>
                </c:pt>
                <c:pt idx="4473">
                  <c:v>0.30263157894736797</c:v>
                </c:pt>
                <c:pt idx="4474">
                  <c:v>0.302732502396932</c:v>
                </c:pt>
                <c:pt idx="4475">
                  <c:v>0.302752293577982</c:v>
                </c:pt>
                <c:pt idx="4476">
                  <c:v>0.30277185501066101</c:v>
                </c:pt>
                <c:pt idx="4477">
                  <c:v>0.302872062663185</c:v>
                </c:pt>
                <c:pt idx="4478">
                  <c:v>0.30289532293986599</c:v>
                </c:pt>
                <c:pt idx="4479">
                  <c:v>0.30303030303030298</c:v>
                </c:pt>
                <c:pt idx="4480">
                  <c:v>0.30303030303030298</c:v>
                </c:pt>
                <c:pt idx="4481">
                  <c:v>0.30303030303030298</c:v>
                </c:pt>
                <c:pt idx="4482">
                  <c:v>0.30303030303030298</c:v>
                </c:pt>
                <c:pt idx="4483">
                  <c:v>0.30303030303030298</c:v>
                </c:pt>
                <c:pt idx="4484">
                  <c:v>0.30307941653160397</c:v>
                </c:pt>
                <c:pt idx="4485">
                  <c:v>0.30316742081448</c:v>
                </c:pt>
                <c:pt idx="4486">
                  <c:v>0.30316742081448</c:v>
                </c:pt>
                <c:pt idx="4487">
                  <c:v>0.303183576316572</c:v>
                </c:pt>
                <c:pt idx="4488">
                  <c:v>0.30320699708454801</c:v>
                </c:pt>
                <c:pt idx="4489">
                  <c:v>0.30320699708454801</c:v>
                </c:pt>
                <c:pt idx="4490">
                  <c:v>0.30321285140562199</c:v>
                </c:pt>
                <c:pt idx="4491">
                  <c:v>0.30322580645161301</c:v>
                </c:pt>
                <c:pt idx="4492">
                  <c:v>0.30322580645161301</c:v>
                </c:pt>
                <c:pt idx="4493">
                  <c:v>0.30324074074074098</c:v>
                </c:pt>
                <c:pt idx="4494">
                  <c:v>0.30326975476839202</c:v>
                </c:pt>
                <c:pt idx="4495">
                  <c:v>0.303317535545024</c:v>
                </c:pt>
                <c:pt idx="4496">
                  <c:v>0.303317535545024</c:v>
                </c:pt>
                <c:pt idx="4497">
                  <c:v>0.30333333333333301</c:v>
                </c:pt>
                <c:pt idx="4498">
                  <c:v>0.30335171828595697</c:v>
                </c:pt>
                <c:pt idx="4499">
                  <c:v>0.30338983050847501</c:v>
                </c:pt>
                <c:pt idx="4500">
                  <c:v>0.30340557275541802</c:v>
                </c:pt>
                <c:pt idx="4501">
                  <c:v>0.303514376996805</c:v>
                </c:pt>
                <c:pt idx="4502">
                  <c:v>0.30357142857142899</c:v>
                </c:pt>
                <c:pt idx="4503">
                  <c:v>0.30357142857142899</c:v>
                </c:pt>
                <c:pt idx="4504">
                  <c:v>0.303589743589744</c:v>
                </c:pt>
                <c:pt idx="4505">
                  <c:v>0.30364372469635598</c:v>
                </c:pt>
                <c:pt idx="4506">
                  <c:v>0.30366492146596902</c:v>
                </c:pt>
                <c:pt idx="4507">
                  <c:v>0.30370370370370398</c:v>
                </c:pt>
                <c:pt idx="4508">
                  <c:v>0.30370613315841299</c:v>
                </c:pt>
                <c:pt idx="4509">
                  <c:v>0.303713527851459</c:v>
                </c:pt>
                <c:pt idx="4510">
                  <c:v>0.30371567043618702</c:v>
                </c:pt>
                <c:pt idx="4511">
                  <c:v>0.30372148859543802</c:v>
                </c:pt>
                <c:pt idx="4512">
                  <c:v>0.30372492836676201</c:v>
                </c:pt>
                <c:pt idx="4513">
                  <c:v>0.30373831775700899</c:v>
                </c:pt>
                <c:pt idx="4514">
                  <c:v>0.30373831775700899</c:v>
                </c:pt>
                <c:pt idx="4515">
                  <c:v>0.30374753451676501</c:v>
                </c:pt>
                <c:pt idx="4516">
                  <c:v>0.303769401330377</c:v>
                </c:pt>
                <c:pt idx="4517">
                  <c:v>0.30377358490565998</c:v>
                </c:pt>
                <c:pt idx="4518">
                  <c:v>0.303780964797914</c:v>
                </c:pt>
                <c:pt idx="4519">
                  <c:v>0.30379746835443</c:v>
                </c:pt>
                <c:pt idx="4520">
                  <c:v>0.30379746835443</c:v>
                </c:pt>
                <c:pt idx="4521">
                  <c:v>0.30392156862745101</c:v>
                </c:pt>
                <c:pt idx="4522">
                  <c:v>0.30397727272727298</c:v>
                </c:pt>
                <c:pt idx="4523">
                  <c:v>0.30399999999999999</c:v>
                </c:pt>
                <c:pt idx="4524">
                  <c:v>0.30404624277456599</c:v>
                </c:pt>
                <c:pt idx="4525">
                  <c:v>0.30414746543778798</c:v>
                </c:pt>
                <c:pt idx="4526">
                  <c:v>0.304195804195804</c:v>
                </c:pt>
                <c:pt idx="4527">
                  <c:v>0.30422535211267598</c:v>
                </c:pt>
                <c:pt idx="4528">
                  <c:v>0.30430711610486899</c:v>
                </c:pt>
                <c:pt idx="4529">
                  <c:v>0.304323094425483</c:v>
                </c:pt>
                <c:pt idx="4530">
                  <c:v>0.30434782608695599</c:v>
                </c:pt>
                <c:pt idx="4531">
                  <c:v>0.30434782608695599</c:v>
                </c:pt>
                <c:pt idx="4532">
                  <c:v>0.30434782608695599</c:v>
                </c:pt>
                <c:pt idx="4533">
                  <c:v>0.30434782608695599</c:v>
                </c:pt>
                <c:pt idx="4534">
                  <c:v>0.30434782608695599</c:v>
                </c:pt>
                <c:pt idx="4535">
                  <c:v>0.30434782608695599</c:v>
                </c:pt>
                <c:pt idx="4536">
                  <c:v>0.30434782608695599</c:v>
                </c:pt>
                <c:pt idx="4537">
                  <c:v>0.30451127819548901</c:v>
                </c:pt>
                <c:pt idx="4538">
                  <c:v>0.30459363957597202</c:v>
                </c:pt>
                <c:pt idx="4539">
                  <c:v>0.30463576158940397</c:v>
                </c:pt>
                <c:pt idx="4540">
                  <c:v>0.3046875</c:v>
                </c:pt>
                <c:pt idx="4541">
                  <c:v>0.30487804878048802</c:v>
                </c:pt>
                <c:pt idx="4542">
                  <c:v>0.30487804878048802</c:v>
                </c:pt>
                <c:pt idx="4543">
                  <c:v>0.30489335006273499</c:v>
                </c:pt>
                <c:pt idx="4544">
                  <c:v>0.30491803278688501</c:v>
                </c:pt>
                <c:pt idx="4545">
                  <c:v>0.30502599653379497</c:v>
                </c:pt>
                <c:pt idx="4546">
                  <c:v>0.305084745762712</c:v>
                </c:pt>
                <c:pt idx="4547">
                  <c:v>0.305084745762712</c:v>
                </c:pt>
                <c:pt idx="4548">
                  <c:v>0.305084745762712</c:v>
                </c:pt>
                <c:pt idx="4549">
                  <c:v>0.305084745762712</c:v>
                </c:pt>
                <c:pt idx="4550">
                  <c:v>0.30513595166163099</c:v>
                </c:pt>
                <c:pt idx="4551">
                  <c:v>0.30519480519480502</c:v>
                </c:pt>
                <c:pt idx="4552">
                  <c:v>0.30522088353413701</c:v>
                </c:pt>
                <c:pt idx="4553">
                  <c:v>0.30525272547076299</c:v>
                </c:pt>
                <c:pt idx="4554">
                  <c:v>0.30526315789473701</c:v>
                </c:pt>
                <c:pt idx="4555">
                  <c:v>0.30526315789473701</c:v>
                </c:pt>
                <c:pt idx="4556">
                  <c:v>0.30534351145038202</c:v>
                </c:pt>
                <c:pt idx="4557">
                  <c:v>0.30534351145038202</c:v>
                </c:pt>
                <c:pt idx="4558">
                  <c:v>0.30539887187751802</c:v>
                </c:pt>
                <c:pt idx="4559">
                  <c:v>0.30547112462006099</c:v>
                </c:pt>
                <c:pt idx="4560">
                  <c:v>0.30555555555555602</c:v>
                </c:pt>
                <c:pt idx="4561">
                  <c:v>0.30555555555555602</c:v>
                </c:pt>
                <c:pt idx="4562">
                  <c:v>0.30555555555555602</c:v>
                </c:pt>
                <c:pt idx="4563">
                  <c:v>0.30563002680965101</c:v>
                </c:pt>
                <c:pt idx="4564">
                  <c:v>0.30564784053156102</c:v>
                </c:pt>
                <c:pt idx="4565">
                  <c:v>0.305660377358491</c:v>
                </c:pt>
                <c:pt idx="4566">
                  <c:v>0.30569476082004499</c:v>
                </c:pt>
                <c:pt idx="4567">
                  <c:v>0.30578512396694202</c:v>
                </c:pt>
                <c:pt idx="4568">
                  <c:v>0.30581613508442801</c:v>
                </c:pt>
                <c:pt idx="4569">
                  <c:v>0.30584707646176901</c:v>
                </c:pt>
                <c:pt idx="4570">
                  <c:v>0.30588235294117599</c:v>
                </c:pt>
                <c:pt idx="4571">
                  <c:v>0.30612244897959201</c:v>
                </c:pt>
                <c:pt idx="4572">
                  <c:v>0.30612244897959201</c:v>
                </c:pt>
                <c:pt idx="4573">
                  <c:v>0.30612244897959201</c:v>
                </c:pt>
                <c:pt idx="4574">
                  <c:v>0.30612244897959201</c:v>
                </c:pt>
                <c:pt idx="4575">
                  <c:v>0.30612244897959201</c:v>
                </c:pt>
                <c:pt idx="4576">
                  <c:v>0.30612244897959201</c:v>
                </c:pt>
                <c:pt idx="4577">
                  <c:v>0.30612244897959201</c:v>
                </c:pt>
                <c:pt idx="4578">
                  <c:v>0.306201550387597</c:v>
                </c:pt>
                <c:pt idx="4579">
                  <c:v>0.30622617534942798</c:v>
                </c:pt>
                <c:pt idx="4580">
                  <c:v>0.30625000000000002</c:v>
                </c:pt>
                <c:pt idx="4581">
                  <c:v>0.30626057529610801</c:v>
                </c:pt>
                <c:pt idx="4582">
                  <c:v>0.306291390728477</c:v>
                </c:pt>
                <c:pt idx="4583">
                  <c:v>0.30630630630630601</c:v>
                </c:pt>
                <c:pt idx="4584">
                  <c:v>0.30633802816901401</c:v>
                </c:pt>
                <c:pt idx="4585">
                  <c:v>0.30635838150289002</c:v>
                </c:pt>
                <c:pt idx="4586">
                  <c:v>0.30642023346303499</c:v>
                </c:pt>
                <c:pt idx="4587">
                  <c:v>0.30645161290322598</c:v>
                </c:pt>
                <c:pt idx="4588">
                  <c:v>0.30645161290322598</c:v>
                </c:pt>
                <c:pt idx="4589">
                  <c:v>0.30651340996168602</c:v>
                </c:pt>
                <c:pt idx="4590">
                  <c:v>0.30652503793626701</c:v>
                </c:pt>
                <c:pt idx="4591">
                  <c:v>0.30653804930332301</c:v>
                </c:pt>
                <c:pt idx="4592">
                  <c:v>0.306569343065693</c:v>
                </c:pt>
                <c:pt idx="4593">
                  <c:v>0.30660377358490598</c:v>
                </c:pt>
                <c:pt idx="4594">
                  <c:v>0.30662710187932701</c:v>
                </c:pt>
                <c:pt idx="4595">
                  <c:v>0.30664320281566199</c:v>
                </c:pt>
                <c:pt idx="4596">
                  <c:v>0.306676449009538</c:v>
                </c:pt>
                <c:pt idx="4597">
                  <c:v>0.30677290836653398</c:v>
                </c:pt>
                <c:pt idx="4598">
                  <c:v>0.30678466076696198</c:v>
                </c:pt>
                <c:pt idx="4599">
                  <c:v>0.30681818181818199</c:v>
                </c:pt>
                <c:pt idx="4600">
                  <c:v>0.30681818181818199</c:v>
                </c:pt>
                <c:pt idx="4601">
                  <c:v>0.30685920577617298</c:v>
                </c:pt>
                <c:pt idx="4602">
                  <c:v>0.30693069306930698</c:v>
                </c:pt>
                <c:pt idx="4603">
                  <c:v>0.30693069306930698</c:v>
                </c:pt>
                <c:pt idx="4604">
                  <c:v>0.30693069306930698</c:v>
                </c:pt>
                <c:pt idx="4605">
                  <c:v>0.30701754385964902</c:v>
                </c:pt>
                <c:pt idx="4606">
                  <c:v>0.30708661417322802</c:v>
                </c:pt>
                <c:pt idx="4607">
                  <c:v>0.30708661417322802</c:v>
                </c:pt>
                <c:pt idx="4608">
                  <c:v>0.307116104868914</c:v>
                </c:pt>
                <c:pt idx="4609">
                  <c:v>0.30715935334873001</c:v>
                </c:pt>
                <c:pt idx="4610">
                  <c:v>0.307246376811594</c:v>
                </c:pt>
                <c:pt idx="4611">
                  <c:v>0.30726256983240202</c:v>
                </c:pt>
                <c:pt idx="4612">
                  <c:v>0.30730730730730699</c:v>
                </c:pt>
                <c:pt idx="4613">
                  <c:v>0.30732484076433098</c:v>
                </c:pt>
                <c:pt idx="4614">
                  <c:v>0.307443365695793</c:v>
                </c:pt>
                <c:pt idx="4615">
                  <c:v>0.30745341614906802</c:v>
                </c:pt>
                <c:pt idx="4616">
                  <c:v>0.30747126436781602</c:v>
                </c:pt>
                <c:pt idx="4617">
                  <c:v>0.30758226037196001</c:v>
                </c:pt>
                <c:pt idx="4618">
                  <c:v>0.30759803921568601</c:v>
                </c:pt>
                <c:pt idx="4619">
                  <c:v>0.307624890446976</c:v>
                </c:pt>
                <c:pt idx="4620">
                  <c:v>0.30769230769230799</c:v>
                </c:pt>
                <c:pt idx="4621">
                  <c:v>0.30769230769230799</c:v>
                </c:pt>
                <c:pt idx="4622">
                  <c:v>0.30769230769230799</c:v>
                </c:pt>
                <c:pt idx="4623">
                  <c:v>0.30769230769230799</c:v>
                </c:pt>
                <c:pt idx="4624">
                  <c:v>0.30769230769230799</c:v>
                </c:pt>
                <c:pt idx="4625">
                  <c:v>0.30769230769230799</c:v>
                </c:pt>
                <c:pt idx="4626">
                  <c:v>0.30776014109347399</c:v>
                </c:pt>
                <c:pt idx="4627">
                  <c:v>0.30784313725490198</c:v>
                </c:pt>
                <c:pt idx="4628">
                  <c:v>0.307885906040268</c:v>
                </c:pt>
                <c:pt idx="4629">
                  <c:v>0.30790960451977401</c:v>
                </c:pt>
                <c:pt idx="4630">
                  <c:v>0.30791788856305002</c:v>
                </c:pt>
                <c:pt idx="4631">
                  <c:v>0.30800230282095598</c:v>
                </c:pt>
                <c:pt idx="4632">
                  <c:v>0.30805687203791499</c:v>
                </c:pt>
                <c:pt idx="4633">
                  <c:v>0.30805687203791499</c:v>
                </c:pt>
                <c:pt idx="4634">
                  <c:v>0.30813953488372098</c:v>
                </c:pt>
                <c:pt idx="4635">
                  <c:v>0.308153477218225</c:v>
                </c:pt>
                <c:pt idx="4636">
                  <c:v>0.30818965517241398</c:v>
                </c:pt>
                <c:pt idx="4637">
                  <c:v>0.30821917808219201</c:v>
                </c:pt>
                <c:pt idx="4638">
                  <c:v>0.30831099195710399</c:v>
                </c:pt>
                <c:pt idx="4639">
                  <c:v>0.30833333333333302</c:v>
                </c:pt>
                <c:pt idx="4640">
                  <c:v>0.30835117773019299</c:v>
                </c:pt>
                <c:pt idx="4641">
                  <c:v>0.308370044052863</c:v>
                </c:pt>
                <c:pt idx="4642">
                  <c:v>0.30841121495327101</c:v>
                </c:pt>
                <c:pt idx="4643">
                  <c:v>0.30844155844155802</c:v>
                </c:pt>
                <c:pt idx="4644">
                  <c:v>0.308457711442786</c:v>
                </c:pt>
                <c:pt idx="4645">
                  <c:v>0.308457711442786</c:v>
                </c:pt>
                <c:pt idx="4646">
                  <c:v>0.30847457627118602</c:v>
                </c:pt>
                <c:pt idx="4647">
                  <c:v>0.30851063829787201</c:v>
                </c:pt>
                <c:pt idx="4648">
                  <c:v>0.30853658536585399</c:v>
                </c:pt>
                <c:pt idx="4649">
                  <c:v>0.30864197530864201</c:v>
                </c:pt>
                <c:pt idx="4650">
                  <c:v>0.308681672025723</c:v>
                </c:pt>
                <c:pt idx="4651">
                  <c:v>0.30875576036866398</c:v>
                </c:pt>
                <c:pt idx="4652">
                  <c:v>0.308823529411765</c:v>
                </c:pt>
                <c:pt idx="4653">
                  <c:v>0.308823529411765</c:v>
                </c:pt>
                <c:pt idx="4654">
                  <c:v>0.30891719745222901</c:v>
                </c:pt>
                <c:pt idx="4655">
                  <c:v>0.30893782383419699</c:v>
                </c:pt>
                <c:pt idx="4656">
                  <c:v>0.30901287553648099</c:v>
                </c:pt>
                <c:pt idx="4657">
                  <c:v>0.30902111324376202</c:v>
                </c:pt>
                <c:pt idx="4658">
                  <c:v>0.30909090909090903</c:v>
                </c:pt>
                <c:pt idx="4659">
                  <c:v>0.30909090909090903</c:v>
                </c:pt>
                <c:pt idx="4660">
                  <c:v>0.30909090909090903</c:v>
                </c:pt>
                <c:pt idx="4661">
                  <c:v>0.30909090909090903</c:v>
                </c:pt>
                <c:pt idx="4662">
                  <c:v>0.309248554913295</c:v>
                </c:pt>
                <c:pt idx="4663">
                  <c:v>0.30927835051546398</c:v>
                </c:pt>
                <c:pt idx="4664">
                  <c:v>0.30935251798561098</c:v>
                </c:pt>
                <c:pt idx="4665">
                  <c:v>0.309362279511533</c:v>
                </c:pt>
                <c:pt idx="4666">
                  <c:v>0.30944206008583702</c:v>
                </c:pt>
                <c:pt idx="4667">
                  <c:v>0.30948419301164698</c:v>
                </c:pt>
                <c:pt idx="4668">
                  <c:v>0.30952380952380898</c:v>
                </c:pt>
                <c:pt idx="4669">
                  <c:v>0.30962343096234302</c:v>
                </c:pt>
                <c:pt idx="4670">
                  <c:v>0.30962343096234302</c:v>
                </c:pt>
                <c:pt idx="4671">
                  <c:v>0.30962962962962998</c:v>
                </c:pt>
                <c:pt idx="4672">
                  <c:v>0.309671694764862</c:v>
                </c:pt>
                <c:pt idx="4673">
                  <c:v>0.309677419354839</c:v>
                </c:pt>
                <c:pt idx="4674">
                  <c:v>0.309859154929577</c:v>
                </c:pt>
                <c:pt idx="4675">
                  <c:v>0.30988274706867702</c:v>
                </c:pt>
                <c:pt idx="4676">
                  <c:v>0.30994152046783602</c:v>
                </c:pt>
                <c:pt idx="4677">
                  <c:v>0.31</c:v>
                </c:pt>
                <c:pt idx="4678">
                  <c:v>0.31006711409395998</c:v>
                </c:pt>
                <c:pt idx="4679">
                  <c:v>0.31007751937984501</c:v>
                </c:pt>
                <c:pt idx="4680">
                  <c:v>0.31007751937984501</c:v>
                </c:pt>
                <c:pt idx="4681">
                  <c:v>0.310173697270471</c:v>
                </c:pt>
                <c:pt idx="4682">
                  <c:v>0.31021897810219001</c:v>
                </c:pt>
                <c:pt idx="4683">
                  <c:v>0.31025641025640999</c:v>
                </c:pt>
                <c:pt idx="4684">
                  <c:v>0.31028037383177598</c:v>
                </c:pt>
                <c:pt idx="4685">
                  <c:v>0.310283687943262</c:v>
                </c:pt>
                <c:pt idx="4686">
                  <c:v>0.31029185867895498</c:v>
                </c:pt>
                <c:pt idx="4687">
                  <c:v>0.31034482758620702</c:v>
                </c:pt>
                <c:pt idx="4688">
                  <c:v>0.31034482758620702</c:v>
                </c:pt>
                <c:pt idx="4689">
                  <c:v>0.31034482758620702</c:v>
                </c:pt>
                <c:pt idx="4690">
                  <c:v>0.31034482758620702</c:v>
                </c:pt>
                <c:pt idx="4691">
                  <c:v>0.31034482758620702</c:v>
                </c:pt>
                <c:pt idx="4692">
                  <c:v>0.31042654028436001</c:v>
                </c:pt>
                <c:pt idx="4693">
                  <c:v>0.31046931407942202</c:v>
                </c:pt>
                <c:pt idx="4694">
                  <c:v>0.31048387096774199</c:v>
                </c:pt>
                <c:pt idx="4695">
                  <c:v>0.31052631578947398</c:v>
                </c:pt>
                <c:pt idx="4696">
                  <c:v>0.31052631578947398</c:v>
                </c:pt>
                <c:pt idx="4697">
                  <c:v>0.310606060606061</c:v>
                </c:pt>
                <c:pt idx="4698">
                  <c:v>0.31063829787233999</c:v>
                </c:pt>
                <c:pt idx="4699">
                  <c:v>0.31065088757396397</c:v>
                </c:pt>
                <c:pt idx="4700">
                  <c:v>0.31067961165048502</c:v>
                </c:pt>
                <c:pt idx="4701">
                  <c:v>0.31067961165048502</c:v>
                </c:pt>
                <c:pt idx="4702">
                  <c:v>0.31067961165048502</c:v>
                </c:pt>
                <c:pt idx="4703">
                  <c:v>0.31067961165048502</c:v>
                </c:pt>
                <c:pt idx="4704">
                  <c:v>0.310691823899371</c:v>
                </c:pt>
                <c:pt idx="4705">
                  <c:v>0.31073446327683601</c:v>
                </c:pt>
                <c:pt idx="4706">
                  <c:v>0.31084656084656098</c:v>
                </c:pt>
                <c:pt idx="4707">
                  <c:v>0.31086142322097399</c:v>
                </c:pt>
                <c:pt idx="4708">
                  <c:v>0.310912834591627</c:v>
                </c:pt>
                <c:pt idx="4709">
                  <c:v>0.310924369747899</c:v>
                </c:pt>
                <c:pt idx="4710">
                  <c:v>0.310924369747899</c:v>
                </c:pt>
                <c:pt idx="4711">
                  <c:v>0.310924369747899</c:v>
                </c:pt>
                <c:pt idx="4712">
                  <c:v>0.31100478468899501</c:v>
                </c:pt>
                <c:pt idx="4713">
                  <c:v>0.311053984575835</c:v>
                </c:pt>
                <c:pt idx="4714">
                  <c:v>0.31111111111111101</c:v>
                </c:pt>
                <c:pt idx="4715">
                  <c:v>0.31111111111111101</c:v>
                </c:pt>
                <c:pt idx="4716">
                  <c:v>0.31114327062228597</c:v>
                </c:pt>
                <c:pt idx="4717">
                  <c:v>0.31115879828326198</c:v>
                </c:pt>
                <c:pt idx="4718">
                  <c:v>0.31125827814569501</c:v>
                </c:pt>
                <c:pt idx="4719">
                  <c:v>0.31125827814569501</c:v>
                </c:pt>
                <c:pt idx="4720">
                  <c:v>0.31130063965884902</c:v>
                </c:pt>
                <c:pt idx="4721">
                  <c:v>0.31132075471698101</c:v>
                </c:pt>
                <c:pt idx="4722">
                  <c:v>0.31134564643799501</c:v>
                </c:pt>
                <c:pt idx="4723">
                  <c:v>0.31137724550898199</c:v>
                </c:pt>
                <c:pt idx="4724">
                  <c:v>0.31141868512110699</c:v>
                </c:pt>
                <c:pt idx="4725">
                  <c:v>0.31147540983606598</c:v>
                </c:pt>
                <c:pt idx="4726">
                  <c:v>0.31150793650793601</c:v>
                </c:pt>
                <c:pt idx="4727">
                  <c:v>0.31153846153846099</c:v>
                </c:pt>
                <c:pt idx="4728">
                  <c:v>0.311572700296736</c:v>
                </c:pt>
                <c:pt idx="4729">
                  <c:v>0.311594202898551</c:v>
                </c:pt>
                <c:pt idx="4730">
                  <c:v>0.31160458452722101</c:v>
                </c:pt>
                <c:pt idx="4731">
                  <c:v>0.31168831168831201</c:v>
                </c:pt>
                <c:pt idx="4732">
                  <c:v>0.31172069825436399</c:v>
                </c:pt>
                <c:pt idx="4733">
                  <c:v>0.31173380035026299</c:v>
                </c:pt>
                <c:pt idx="4734">
                  <c:v>0.31188118811881199</c:v>
                </c:pt>
                <c:pt idx="4735">
                  <c:v>0.311888111888112</c:v>
                </c:pt>
                <c:pt idx="4736">
                  <c:v>0.311912225705329</c:v>
                </c:pt>
                <c:pt idx="4737">
                  <c:v>0.31192660550458701</c:v>
                </c:pt>
                <c:pt idx="4738">
                  <c:v>0.31198910081743902</c:v>
                </c:pt>
                <c:pt idx="4739">
                  <c:v>0.31202046035805597</c:v>
                </c:pt>
                <c:pt idx="4740">
                  <c:v>0.31209503239740799</c:v>
                </c:pt>
                <c:pt idx="4741">
                  <c:v>0.31210191082802502</c:v>
                </c:pt>
                <c:pt idx="4742">
                  <c:v>0.31226765799256501</c:v>
                </c:pt>
                <c:pt idx="4743">
                  <c:v>0.31228070175438599</c:v>
                </c:pt>
                <c:pt idx="4744">
                  <c:v>0.312328767123288</c:v>
                </c:pt>
                <c:pt idx="4745">
                  <c:v>0.31239388794567102</c:v>
                </c:pt>
                <c:pt idx="4746">
                  <c:v>0.31241473396998598</c:v>
                </c:pt>
                <c:pt idx="4747">
                  <c:v>0.3125</c:v>
                </c:pt>
                <c:pt idx="4748">
                  <c:v>0.3125</c:v>
                </c:pt>
                <c:pt idx="4749">
                  <c:v>0.3125</c:v>
                </c:pt>
                <c:pt idx="4750">
                  <c:v>0.3125</c:v>
                </c:pt>
                <c:pt idx="4751">
                  <c:v>0.3125</c:v>
                </c:pt>
                <c:pt idx="4752">
                  <c:v>0.31268436578171099</c:v>
                </c:pt>
                <c:pt idx="4753">
                  <c:v>0.31279620853080597</c:v>
                </c:pt>
                <c:pt idx="4754">
                  <c:v>0.31283905967450298</c:v>
                </c:pt>
                <c:pt idx="4755">
                  <c:v>0.31284916201117302</c:v>
                </c:pt>
                <c:pt idx="4756">
                  <c:v>0.31297709923664102</c:v>
                </c:pt>
                <c:pt idx="4757">
                  <c:v>0.31297709923664102</c:v>
                </c:pt>
                <c:pt idx="4758">
                  <c:v>0.31299734748010599</c:v>
                </c:pt>
                <c:pt idx="4759">
                  <c:v>0.31304347826086998</c:v>
                </c:pt>
                <c:pt idx="4760">
                  <c:v>0.31313131313131298</c:v>
                </c:pt>
                <c:pt idx="4761">
                  <c:v>0.31315240083507301</c:v>
                </c:pt>
                <c:pt idx="4762">
                  <c:v>0.313253012048193</c:v>
                </c:pt>
                <c:pt idx="4763">
                  <c:v>0.31328320802005</c:v>
                </c:pt>
                <c:pt idx="4764">
                  <c:v>0.31333333333333302</c:v>
                </c:pt>
                <c:pt idx="4765">
                  <c:v>0.31333333333333302</c:v>
                </c:pt>
                <c:pt idx="4766">
                  <c:v>0.313358302122347</c:v>
                </c:pt>
                <c:pt idx="4767">
                  <c:v>0.31338028169014098</c:v>
                </c:pt>
                <c:pt idx="4768">
                  <c:v>0.31339712918660301</c:v>
                </c:pt>
                <c:pt idx="4769">
                  <c:v>0.313444108761329</c:v>
                </c:pt>
                <c:pt idx="4770">
                  <c:v>0.31352718078381803</c:v>
                </c:pt>
                <c:pt idx="4771">
                  <c:v>0.31355932203389802</c:v>
                </c:pt>
                <c:pt idx="4772">
                  <c:v>0.313765182186235</c:v>
                </c:pt>
                <c:pt idx="4773">
                  <c:v>0.31380753138075301</c:v>
                </c:pt>
                <c:pt idx="4774">
                  <c:v>0.31381733021077302</c:v>
                </c:pt>
                <c:pt idx="4775">
                  <c:v>0.31385281385281399</c:v>
                </c:pt>
                <c:pt idx="4776">
                  <c:v>0.31391585760517798</c:v>
                </c:pt>
                <c:pt idx="4777">
                  <c:v>0.31395348837209303</c:v>
                </c:pt>
                <c:pt idx="4778">
                  <c:v>0.31399631675874801</c:v>
                </c:pt>
                <c:pt idx="4779">
                  <c:v>0.31404958677685901</c:v>
                </c:pt>
                <c:pt idx="4780">
                  <c:v>0.31404958677685901</c:v>
                </c:pt>
                <c:pt idx="4781">
                  <c:v>0.31410256410256399</c:v>
                </c:pt>
                <c:pt idx="4782">
                  <c:v>0.31412639405204501</c:v>
                </c:pt>
                <c:pt idx="4783">
                  <c:v>0.314285714285714</c:v>
                </c:pt>
                <c:pt idx="4784">
                  <c:v>0.314285714285714</c:v>
                </c:pt>
                <c:pt idx="4785">
                  <c:v>0.31434343434343398</c:v>
                </c:pt>
                <c:pt idx="4786">
                  <c:v>0.31435079726651499</c:v>
                </c:pt>
                <c:pt idx="4787">
                  <c:v>0.31438127090300999</c:v>
                </c:pt>
                <c:pt idx="4788">
                  <c:v>0.314387211367673</c:v>
                </c:pt>
                <c:pt idx="4789">
                  <c:v>0.31441048034934499</c:v>
                </c:pt>
                <c:pt idx="4790">
                  <c:v>0.31441048034934499</c:v>
                </c:pt>
                <c:pt idx="4791">
                  <c:v>0.31444241316270599</c:v>
                </c:pt>
                <c:pt idx="4792">
                  <c:v>0.314447592067989</c:v>
                </c:pt>
                <c:pt idx="4793">
                  <c:v>0.31448763250883399</c:v>
                </c:pt>
                <c:pt idx="4794">
                  <c:v>0.31451612903225801</c:v>
                </c:pt>
                <c:pt idx="4795">
                  <c:v>0.31451612903225801</c:v>
                </c:pt>
                <c:pt idx="4796">
                  <c:v>0.31455399061032902</c:v>
                </c:pt>
                <c:pt idx="4797">
                  <c:v>0.31460674157303398</c:v>
                </c:pt>
                <c:pt idx="4798">
                  <c:v>0.31465517241379298</c:v>
                </c:pt>
                <c:pt idx="4799">
                  <c:v>0.31468531468531502</c:v>
                </c:pt>
                <c:pt idx="4800">
                  <c:v>0.31474103585657398</c:v>
                </c:pt>
                <c:pt idx="4801">
                  <c:v>0.31481481481481499</c:v>
                </c:pt>
                <c:pt idx="4802">
                  <c:v>0.31481481481481499</c:v>
                </c:pt>
                <c:pt idx="4803">
                  <c:v>0.31481481481481499</c:v>
                </c:pt>
                <c:pt idx="4804">
                  <c:v>0.31483015741507903</c:v>
                </c:pt>
                <c:pt idx="4805">
                  <c:v>0.31496062992126</c:v>
                </c:pt>
                <c:pt idx="4806">
                  <c:v>0.31496062992126</c:v>
                </c:pt>
                <c:pt idx="4807">
                  <c:v>0.314982578397213</c:v>
                </c:pt>
                <c:pt idx="4808">
                  <c:v>0.31499312242090799</c:v>
                </c:pt>
                <c:pt idx="4809">
                  <c:v>0.31500646830530399</c:v>
                </c:pt>
                <c:pt idx="4810">
                  <c:v>0.315165876777251</c:v>
                </c:pt>
                <c:pt idx="4811">
                  <c:v>0.315179606025492</c:v>
                </c:pt>
                <c:pt idx="4812">
                  <c:v>0.31525423728813601</c:v>
                </c:pt>
                <c:pt idx="4813">
                  <c:v>0.31527093596059103</c:v>
                </c:pt>
                <c:pt idx="4814">
                  <c:v>0.31531531531531498</c:v>
                </c:pt>
                <c:pt idx="4815">
                  <c:v>0.31536388140161697</c:v>
                </c:pt>
                <c:pt idx="4816">
                  <c:v>0.31544715447154498</c:v>
                </c:pt>
                <c:pt idx="4817">
                  <c:v>0.31545741324921101</c:v>
                </c:pt>
                <c:pt idx="4818">
                  <c:v>0.31548480463097001</c:v>
                </c:pt>
                <c:pt idx="4819">
                  <c:v>0.31553398058252402</c:v>
                </c:pt>
                <c:pt idx="4820">
                  <c:v>0.31562252180808897</c:v>
                </c:pt>
                <c:pt idx="4821">
                  <c:v>0.31578947368421001</c:v>
                </c:pt>
                <c:pt idx="4822">
                  <c:v>0.31578947368421001</c:v>
                </c:pt>
                <c:pt idx="4823">
                  <c:v>0.31578947368421001</c:v>
                </c:pt>
                <c:pt idx="4824">
                  <c:v>0.31578947368421001</c:v>
                </c:pt>
                <c:pt idx="4825">
                  <c:v>0.31578947368421001</c:v>
                </c:pt>
                <c:pt idx="4826">
                  <c:v>0.31578947368421001</c:v>
                </c:pt>
                <c:pt idx="4827">
                  <c:v>0.31583793738489901</c:v>
                </c:pt>
                <c:pt idx="4828">
                  <c:v>0.315862068965517</c:v>
                </c:pt>
                <c:pt idx="4829">
                  <c:v>0.31596091205211702</c:v>
                </c:pt>
                <c:pt idx="4830">
                  <c:v>0.31598984771573602</c:v>
                </c:pt>
                <c:pt idx="4831">
                  <c:v>0.31600231080300401</c:v>
                </c:pt>
                <c:pt idx="4832">
                  <c:v>0.31601208459214503</c:v>
                </c:pt>
                <c:pt idx="4833">
                  <c:v>0.31601731601731597</c:v>
                </c:pt>
                <c:pt idx="4834">
                  <c:v>0.31602708803611701</c:v>
                </c:pt>
                <c:pt idx="4835">
                  <c:v>0.31603773584905698</c:v>
                </c:pt>
                <c:pt idx="4836">
                  <c:v>0.316239316239316</c:v>
                </c:pt>
                <c:pt idx="4837">
                  <c:v>0.316239316239316</c:v>
                </c:pt>
                <c:pt idx="4838">
                  <c:v>0.31630170316301698</c:v>
                </c:pt>
                <c:pt idx="4839">
                  <c:v>0.31639722863741299</c:v>
                </c:pt>
                <c:pt idx="4840">
                  <c:v>0.31640625</c:v>
                </c:pt>
                <c:pt idx="4841">
                  <c:v>0.31651376146789001</c:v>
                </c:pt>
                <c:pt idx="4842">
                  <c:v>0.31654676258992798</c:v>
                </c:pt>
                <c:pt idx="4843">
                  <c:v>0.316595744680851</c:v>
                </c:pt>
                <c:pt idx="4844">
                  <c:v>0.31662870159453299</c:v>
                </c:pt>
                <c:pt idx="4845">
                  <c:v>0.31666666666666698</c:v>
                </c:pt>
                <c:pt idx="4846">
                  <c:v>0.31671554252199402</c:v>
                </c:pt>
                <c:pt idx="4847">
                  <c:v>0.31677018633540399</c:v>
                </c:pt>
                <c:pt idx="4848">
                  <c:v>0.31677018633540399</c:v>
                </c:pt>
                <c:pt idx="4849">
                  <c:v>0.316831683168317</c:v>
                </c:pt>
                <c:pt idx="4850">
                  <c:v>0.316849816849817</c:v>
                </c:pt>
                <c:pt idx="4851">
                  <c:v>0.31687898089172001</c:v>
                </c:pt>
                <c:pt idx="4852">
                  <c:v>0.31696428571428598</c:v>
                </c:pt>
                <c:pt idx="4853">
                  <c:v>0.31696428571428598</c:v>
                </c:pt>
                <c:pt idx="4854">
                  <c:v>0.317006802721088</c:v>
                </c:pt>
                <c:pt idx="4855">
                  <c:v>0.317016317016317</c:v>
                </c:pt>
                <c:pt idx="4856">
                  <c:v>0.31707317073170699</c:v>
                </c:pt>
                <c:pt idx="4857">
                  <c:v>0.31707317073170699</c:v>
                </c:pt>
                <c:pt idx="4858">
                  <c:v>0.31707317073170699</c:v>
                </c:pt>
                <c:pt idx="4859">
                  <c:v>0.31707317073170699</c:v>
                </c:pt>
                <c:pt idx="4860">
                  <c:v>0.31707317073170699</c:v>
                </c:pt>
                <c:pt idx="4861">
                  <c:v>0.31707317073170699</c:v>
                </c:pt>
                <c:pt idx="4862">
                  <c:v>0.31718061674008802</c:v>
                </c:pt>
                <c:pt idx="4863">
                  <c:v>0.31720430107526898</c:v>
                </c:pt>
                <c:pt idx="4864">
                  <c:v>0.31724137931034502</c:v>
                </c:pt>
                <c:pt idx="4865">
                  <c:v>0.31727574750830601</c:v>
                </c:pt>
                <c:pt idx="4866">
                  <c:v>0.31730769230769201</c:v>
                </c:pt>
                <c:pt idx="4867">
                  <c:v>0.31734317343173402</c:v>
                </c:pt>
                <c:pt idx="4868">
                  <c:v>0.31736526946107801</c:v>
                </c:pt>
                <c:pt idx="4869">
                  <c:v>0.31740196078431399</c:v>
                </c:pt>
                <c:pt idx="4870">
                  <c:v>0.317460317460317</c:v>
                </c:pt>
                <c:pt idx="4871">
                  <c:v>0.31758034026464999</c:v>
                </c:pt>
                <c:pt idx="4872">
                  <c:v>0.31758530183727002</c:v>
                </c:pt>
                <c:pt idx="4873">
                  <c:v>0.317647058823529</c:v>
                </c:pt>
                <c:pt idx="4874">
                  <c:v>0.317660550458716</c:v>
                </c:pt>
                <c:pt idx="4875">
                  <c:v>0.31766381766381802</c:v>
                </c:pt>
                <c:pt idx="4876">
                  <c:v>0.31775700934579398</c:v>
                </c:pt>
                <c:pt idx="4877">
                  <c:v>0.31782945736434098</c:v>
                </c:pt>
                <c:pt idx="4878">
                  <c:v>0.317836010143702</c:v>
                </c:pt>
                <c:pt idx="4879">
                  <c:v>0.31788079470198699</c:v>
                </c:pt>
                <c:pt idx="4880">
                  <c:v>0.31794871794871798</c:v>
                </c:pt>
                <c:pt idx="4881">
                  <c:v>0.31797235023041498</c:v>
                </c:pt>
                <c:pt idx="4882">
                  <c:v>0.31798051372896402</c:v>
                </c:pt>
                <c:pt idx="4883">
                  <c:v>0.31800766283524901</c:v>
                </c:pt>
                <c:pt idx="4884">
                  <c:v>0.31805157593123201</c:v>
                </c:pt>
                <c:pt idx="4885">
                  <c:v>0.31808278867102402</c:v>
                </c:pt>
                <c:pt idx="4886">
                  <c:v>0.31818181818181801</c:v>
                </c:pt>
                <c:pt idx="4887">
                  <c:v>0.31818181818181801</c:v>
                </c:pt>
                <c:pt idx="4888">
                  <c:v>0.31818181818181801</c:v>
                </c:pt>
                <c:pt idx="4889">
                  <c:v>0.31826741996233499</c:v>
                </c:pt>
                <c:pt idx="4890">
                  <c:v>0.318385650224215</c:v>
                </c:pt>
                <c:pt idx="4891">
                  <c:v>0.31843575418994402</c:v>
                </c:pt>
                <c:pt idx="4892">
                  <c:v>0.31847133757961799</c:v>
                </c:pt>
                <c:pt idx="4893">
                  <c:v>0.31847133757961799</c:v>
                </c:pt>
                <c:pt idx="4894">
                  <c:v>0.31851253031527899</c:v>
                </c:pt>
                <c:pt idx="4895">
                  <c:v>0.31854838709677402</c:v>
                </c:pt>
                <c:pt idx="4896">
                  <c:v>0.31858407079646001</c:v>
                </c:pt>
                <c:pt idx="4897">
                  <c:v>0.31858407079646001</c:v>
                </c:pt>
                <c:pt idx="4898">
                  <c:v>0.31867057673509303</c:v>
                </c:pt>
                <c:pt idx="4899">
                  <c:v>0.31868131868131899</c:v>
                </c:pt>
                <c:pt idx="4900">
                  <c:v>0.31884057971014501</c:v>
                </c:pt>
                <c:pt idx="4901">
                  <c:v>0.31884057971014501</c:v>
                </c:pt>
                <c:pt idx="4902">
                  <c:v>0.31884057971014501</c:v>
                </c:pt>
                <c:pt idx="4903">
                  <c:v>0.318883174136664</c:v>
                </c:pt>
                <c:pt idx="4904">
                  <c:v>0.31890331890331902</c:v>
                </c:pt>
                <c:pt idx="4905">
                  <c:v>0.31907308377896598</c:v>
                </c:pt>
                <c:pt idx="4906">
                  <c:v>0.31907894736842102</c:v>
                </c:pt>
                <c:pt idx="4907">
                  <c:v>0.319148936170213</c:v>
                </c:pt>
                <c:pt idx="4908">
                  <c:v>0.319148936170213</c:v>
                </c:pt>
                <c:pt idx="4909">
                  <c:v>0.31923076923076898</c:v>
                </c:pt>
                <c:pt idx="4910">
                  <c:v>0.31924882629107998</c:v>
                </c:pt>
                <c:pt idx="4911">
                  <c:v>0.31927710843373502</c:v>
                </c:pt>
                <c:pt idx="4912">
                  <c:v>0.31927710843373502</c:v>
                </c:pt>
                <c:pt idx="4913">
                  <c:v>0.31929046563192898</c:v>
                </c:pt>
                <c:pt idx="4914">
                  <c:v>0.31935483870967701</c:v>
                </c:pt>
                <c:pt idx="4915">
                  <c:v>0.31937172774869099</c:v>
                </c:pt>
                <c:pt idx="4916">
                  <c:v>0.31951770911831201</c:v>
                </c:pt>
                <c:pt idx="4917">
                  <c:v>0.31952662721893499</c:v>
                </c:pt>
                <c:pt idx="4918">
                  <c:v>0.31956155143338899</c:v>
                </c:pt>
                <c:pt idx="4919">
                  <c:v>0.31960461285008201</c:v>
                </c:pt>
                <c:pt idx="4920">
                  <c:v>0.31962397179788499</c:v>
                </c:pt>
                <c:pt idx="4921">
                  <c:v>0.31963249516441</c:v>
                </c:pt>
                <c:pt idx="4922">
                  <c:v>0.31969309462915602</c:v>
                </c:pt>
                <c:pt idx="4923">
                  <c:v>0.31969309462915602</c:v>
                </c:pt>
                <c:pt idx="4924">
                  <c:v>0.31974248927038601</c:v>
                </c:pt>
                <c:pt idx="4925">
                  <c:v>0.31975308641975297</c:v>
                </c:pt>
                <c:pt idx="4926">
                  <c:v>0.31981981981981999</c:v>
                </c:pt>
                <c:pt idx="4927">
                  <c:v>0.319899244332494</c:v>
                </c:pt>
                <c:pt idx="4928">
                  <c:v>0.31997030438010399</c:v>
                </c:pt>
                <c:pt idx="4929">
                  <c:v>0.32</c:v>
                </c:pt>
                <c:pt idx="4930">
                  <c:v>0.32</c:v>
                </c:pt>
                <c:pt idx="4931">
                  <c:v>0.32</c:v>
                </c:pt>
                <c:pt idx="4932">
                  <c:v>0.32</c:v>
                </c:pt>
                <c:pt idx="4933">
                  <c:v>0.32009345794392502</c:v>
                </c:pt>
                <c:pt idx="4934">
                  <c:v>0.32016460905349797</c:v>
                </c:pt>
                <c:pt idx="4935">
                  <c:v>0.32019704433497498</c:v>
                </c:pt>
                <c:pt idx="4936">
                  <c:v>0.32020997375328097</c:v>
                </c:pt>
                <c:pt idx="4937">
                  <c:v>0.32023121387283199</c:v>
                </c:pt>
                <c:pt idx="4938">
                  <c:v>0.32029339853300698</c:v>
                </c:pt>
                <c:pt idx="4939">
                  <c:v>0.32044198895027598</c:v>
                </c:pt>
                <c:pt idx="4940">
                  <c:v>0.32046332046331999</c:v>
                </c:pt>
                <c:pt idx="4941">
                  <c:v>0.32051282051281998</c:v>
                </c:pt>
                <c:pt idx="4942">
                  <c:v>0.32054176072234802</c:v>
                </c:pt>
                <c:pt idx="4943">
                  <c:v>0.32055749128919903</c:v>
                </c:pt>
                <c:pt idx="4944">
                  <c:v>0.32063492063492099</c:v>
                </c:pt>
                <c:pt idx="4945">
                  <c:v>0.320754716981132</c:v>
                </c:pt>
                <c:pt idx="4946">
                  <c:v>0.32079112397491599</c:v>
                </c:pt>
                <c:pt idx="4947">
                  <c:v>0.32079646017699098</c:v>
                </c:pt>
                <c:pt idx="4948">
                  <c:v>0.32081594807603098</c:v>
                </c:pt>
                <c:pt idx="4949">
                  <c:v>0.32085561497326198</c:v>
                </c:pt>
                <c:pt idx="4950">
                  <c:v>0.32087912087912102</c:v>
                </c:pt>
                <c:pt idx="4951">
                  <c:v>0.32087912087912102</c:v>
                </c:pt>
                <c:pt idx="4952">
                  <c:v>0.32089552238806002</c:v>
                </c:pt>
                <c:pt idx="4953">
                  <c:v>0.32092198581560299</c:v>
                </c:pt>
                <c:pt idx="4954">
                  <c:v>0.32097457627118597</c:v>
                </c:pt>
                <c:pt idx="4955">
                  <c:v>0.32105263157894698</c:v>
                </c:pt>
                <c:pt idx="4956">
                  <c:v>0.32110091743119301</c:v>
                </c:pt>
                <c:pt idx="4957">
                  <c:v>0.32112068965517199</c:v>
                </c:pt>
                <c:pt idx="4958">
                  <c:v>0.32114467408585101</c:v>
                </c:pt>
                <c:pt idx="4959">
                  <c:v>0.32126696832579199</c:v>
                </c:pt>
                <c:pt idx="4960">
                  <c:v>0.32127659574468098</c:v>
                </c:pt>
                <c:pt idx="4961">
                  <c:v>0.32127882599580698</c:v>
                </c:pt>
                <c:pt idx="4962">
                  <c:v>0.32134292565947198</c:v>
                </c:pt>
                <c:pt idx="4963">
                  <c:v>0.32142857142857101</c:v>
                </c:pt>
                <c:pt idx="4964">
                  <c:v>0.321483771251932</c:v>
                </c:pt>
                <c:pt idx="4965">
                  <c:v>0.32149901380670598</c:v>
                </c:pt>
                <c:pt idx="4966">
                  <c:v>0.32154340836012901</c:v>
                </c:pt>
                <c:pt idx="4967">
                  <c:v>0.32158015017956199</c:v>
                </c:pt>
                <c:pt idx="4968">
                  <c:v>0.321637426900585</c:v>
                </c:pt>
                <c:pt idx="4969">
                  <c:v>0.321705426356589</c:v>
                </c:pt>
                <c:pt idx="4970">
                  <c:v>0.32173913043478303</c:v>
                </c:pt>
                <c:pt idx="4971">
                  <c:v>0.32183908045977</c:v>
                </c:pt>
                <c:pt idx="4972">
                  <c:v>0.32183908045977</c:v>
                </c:pt>
                <c:pt idx="4973">
                  <c:v>0.32185886402753899</c:v>
                </c:pt>
                <c:pt idx="4974">
                  <c:v>0.32194616977225698</c:v>
                </c:pt>
                <c:pt idx="4975">
                  <c:v>0.32195121951219502</c:v>
                </c:pt>
                <c:pt idx="4976">
                  <c:v>0.322033898305085</c:v>
                </c:pt>
                <c:pt idx="4977">
                  <c:v>0.322033898305085</c:v>
                </c:pt>
                <c:pt idx="4978">
                  <c:v>0.322147651006711</c:v>
                </c:pt>
                <c:pt idx="4979">
                  <c:v>0.322147651006711</c:v>
                </c:pt>
                <c:pt idx="4980">
                  <c:v>0.32216748768472903</c:v>
                </c:pt>
                <c:pt idx="4981">
                  <c:v>0.322204968944099</c:v>
                </c:pt>
                <c:pt idx="4982">
                  <c:v>0.32228915662650598</c:v>
                </c:pt>
                <c:pt idx="4983">
                  <c:v>0.32230847114411099</c:v>
                </c:pt>
                <c:pt idx="4984">
                  <c:v>0.32240437158469898</c:v>
                </c:pt>
                <c:pt idx="4985">
                  <c:v>0.32240437158469898</c:v>
                </c:pt>
                <c:pt idx="4986">
                  <c:v>0.32244710211591499</c:v>
                </c:pt>
                <c:pt idx="4987">
                  <c:v>0.32253521126760598</c:v>
                </c:pt>
                <c:pt idx="4988">
                  <c:v>0.32258064516128998</c:v>
                </c:pt>
                <c:pt idx="4989">
                  <c:v>0.32263242375601903</c:v>
                </c:pt>
                <c:pt idx="4990">
                  <c:v>0.32264529058116198</c:v>
                </c:pt>
                <c:pt idx="4991">
                  <c:v>0.322758620689655</c:v>
                </c:pt>
                <c:pt idx="4992">
                  <c:v>0.322784810126582</c:v>
                </c:pt>
                <c:pt idx="4993">
                  <c:v>0.32288828337874698</c:v>
                </c:pt>
                <c:pt idx="4994">
                  <c:v>0.32293986636971</c:v>
                </c:pt>
                <c:pt idx="4995">
                  <c:v>0.32295719844358001</c:v>
                </c:pt>
                <c:pt idx="4996">
                  <c:v>0.32299270072992697</c:v>
                </c:pt>
                <c:pt idx="4997">
                  <c:v>0.323024054982818</c:v>
                </c:pt>
                <c:pt idx="4998">
                  <c:v>0.323044172432145</c:v>
                </c:pt>
                <c:pt idx="4999">
                  <c:v>0.32304526748971202</c:v>
                </c:pt>
                <c:pt idx="5000">
                  <c:v>0.32307692307692298</c:v>
                </c:pt>
                <c:pt idx="5001">
                  <c:v>0.32311320754716999</c:v>
                </c:pt>
                <c:pt idx="5002">
                  <c:v>0.323155216284987</c:v>
                </c:pt>
                <c:pt idx="5003">
                  <c:v>0.32317073170731703</c:v>
                </c:pt>
                <c:pt idx="5004">
                  <c:v>0.32319391634980998</c:v>
                </c:pt>
                <c:pt idx="5005">
                  <c:v>0.32319391634980998</c:v>
                </c:pt>
                <c:pt idx="5006">
                  <c:v>0.32319391634980998</c:v>
                </c:pt>
                <c:pt idx="5007">
                  <c:v>0.32320717131474103</c:v>
                </c:pt>
                <c:pt idx="5008">
                  <c:v>0.32323232323232298</c:v>
                </c:pt>
                <c:pt idx="5009">
                  <c:v>0.323240589198036</c:v>
                </c:pt>
                <c:pt idx="5010">
                  <c:v>0.323262839879154</c:v>
                </c:pt>
                <c:pt idx="5011">
                  <c:v>0.32327586206896503</c:v>
                </c:pt>
                <c:pt idx="5012">
                  <c:v>0.32339449541284399</c:v>
                </c:pt>
                <c:pt idx="5013">
                  <c:v>0.32339791356184799</c:v>
                </c:pt>
                <c:pt idx="5014">
                  <c:v>0.32352941176470601</c:v>
                </c:pt>
                <c:pt idx="5015">
                  <c:v>0.32352941176470601</c:v>
                </c:pt>
                <c:pt idx="5016">
                  <c:v>0.32352941176470601</c:v>
                </c:pt>
                <c:pt idx="5017">
                  <c:v>0.32365145228215803</c:v>
                </c:pt>
                <c:pt idx="5018">
                  <c:v>0.32365145228215803</c:v>
                </c:pt>
                <c:pt idx="5019">
                  <c:v>0.32365145228215803</c:v>
                </c:pt>
                <c:pt idx="5020">
                  <c:v>0.32374100719424498</c:v>
                </c:pt>
                <c:pt idx="5021">
                  <c:v>0.32380952380952399</c:v>
                </c:pt>
                <c:pt idx="5022">
                  <c:v>0.32387706855791998</c:v>
                </c:pt>
                <c:pt idx="5023">
                  <c:v>0.323943661971831</c:v>
                </c:pt>
                <c:pt idx="5024">
                  <c:v>0.32400000000000001</c:v>
                </c:pt>
                <c:pt idx="5025">
                  <c:v>0.32407407407407401</c:v>
                </c:pt>
                <c:pt idx="5026">
                  <c:v>0.32407407407407401</c:v>
                </c:pt>
                <c:pt idx="5027">
                  <c:v>0.32407407407407401</c:v>
                </c:pt>
                <c:pt idx="5028">
                  <c:v>0.32411067193675902</c:v>
                </c:pt>
                <c:pt idx="5029">
                  <c:v>0.32413793103448302</c:v>
                </c:pt>
                <c:pt idx="5030">
                  <c:v>0.324200913242009</c:v>
                </c:pt>
                <c:pt idx="5031">
                  <c:v>0.32432432432432401</c:v>
                </c:pt>
                <c:pt idx="5032">
                  <c:v>0.32432432432432401</c:v>
                </c:pt>
                <c:pt idx="5033">
                  <c:v>0.32432432432432401</c:v>
                </c:pt>
                <c:pt idx="5034">
                  <c:v>0.32445520581113801</c:v>
                </c:pt>
                <c:pt idx="5035">
                  <c:v>0.32450980392156897</c:v>
                </c:pt>
                <c:pt idx="5036">
                  <c:v>0.32458233890214799</c:v>
                </c:pt>
                <c:pt idx="5037">
                  <c:v>0.324607329842932</c:v>
                </c:pt>
                <c:pt idx="5038">
                  <c:v>0.32467532467532501</c:v>
                </c:pt>
                <c:pt idx="5039">
                  <c:v>0.32467532467532501</c:v>
                </c:pt>
                <c:pt idx="5040">
                  <c:v>0.32469512195121902</c:v>
                </c:pt>
                <c:pt idx="5041">
                  <c:v>0.32470784641068401</c:v>
                </c:pt>
                <c:pt idx="5042">
                  <c:v>0.32472324723247198</c:v>
                </c:pt>
                <c:pt idx="5043">
                  <c:v>0.32474226804123701</c:v>
                </c:pt>
                <c:pt idx="5044">
                  <c:v>0.324909747292419</c:v>
                </c:pt>
                <c:pt idx="5045">
                  <c:v>0.32500000000000001</c:v>
                </c:pt>
                <c:pt idx="5046">
                  <c:v>0.32500000000000001</c:v>
                </c:pt>
                <c:pt idx="5047">
                  <c:v>0.32504780114722698</c:v>
                </c:pt>
                <c:pt idx="5048">
                  <c:v>0.32507739938080499</c:v>
                </c:pt>
                <c:pt idx="5049">
                  <c:v>0.32517482517482499</c:v>
                </c:pt>
                <c:pt idx="5050">
                  <c:v>0.32518796992481203</c:v>
                </c:pt>
                <c:pt idx="5051">
                  <c:v>0.32520325203251998</c:v>
                </c:pt>
                <c:pt idx="5052">
                  <c:v>0.32522123893805299</c:v>
                </c:pt>
                <c:pt idx="5053">
                  <c:v>0.32524271844660202</c:v>
                </c:pt>
                <c:pt idx="5054">
                  <c:v>0.32534246575342501</c:v>
                </c:pt>
                <c:pt idx="5055">
                  <c:v>0.32549420586230399</c:v>
                </c:pt>
                <c:pt idx="5056">
                  <c:v>0.32550103662750501</c:v>
                </c:pt>
                <c:pt idx="5057">
                  <c:v>0.32550335570469802</c:v>
                </c:pt>
                <c:pt idx="5058">
                  <c:v>0.32550335570469802</c:v>
                </c:pt>
                <c:pt idx="5059">
                  <c:v>0.32552248258391397</c:v>
                </c:pt>
                <c:pt idx="5060">
                  <c:v>0.32558139534883701</c:v>
                </c:pt>
                <c:pt idx="5061">
                  <c:v>0.32558139534883701</c:v>
                </c:pt>
                <c:pt idx="5062">
                  <c:v>0.32567049808429099</c:v>
                </c:pt>
                <c:pt idx="5063">
                  <c:v>0.325706594885599</c:v>
                </c:pt>
                <c:pt idx="5064">
                  <c:v>0.32571428571428601</c:v>
                </c:pt>
                <c:pt idx="5065">
                  <c:v>0.325732899022801</c:v>
                </c:pt>
                <c:pt idx="5066">
                  <c:v>0.32575757575757602</c:v>
                </c:pt>
                <c:pt idx="5067">
                  <c:v>0.32575757575757602</c:v>
                </c:pt>
                <c:pt idx="5068">
                  <c:v>0.32575757575757602</c:v>
                </c:pt>
                <c:pt idx="5069">
                  <c:v>0.32579787234042501</c:v>
                </c:pt>
                <c:pt idx="5070">
                  <c:v>0.32580037664783401</c:v>
                </c:pt>
                <c:pt idx="5071">
                  <c:v>0.325842696629213</c:v>
                </c:pt>
                <c:pt idx="5072">
                  <c:v>0.325966850828729</c:v>
                </c:pt>
                <c:pt idx="5073">
                  <c:v>0.32599118942731298</c:v>
                </c:pt>
                <c:pt idx="5074">
                  <c:v>0.32608695652173902</c:v>
                </c:pt>
                <c:pt idx="5075">
                  <c:v>0.32608695652173902</c:v>
                </c:pt>
                <c:pt idx="5076">
                  <c:v>0.32608695652173902</c:v>
                </c:pt>
                <c:pt idx="5077">
                  <c:v>0.32616487455197102</c:v>
                </c:pt>
                <c:pt idx="5078">
                  <c:v>0.32620817843866201</c:v>
                </c:pt>
                <c:pt idx="5079">
                  <c:v>0.32624113475177302</c:v>
                </c:pt>
                <c:pt idx="5080">
                  <c:v>0.326315789473684</c:v>
                </c:pt>
                <c:pt idx="5081">
                  <c:v>0.326315789473684</c:v>
                </c:pt>
                <c:pt idx="5082">
                  <c:v>0.326340326340326</c:v>
                </c:pt>
                <c:pt idx="5083">
                  <c:v>0.32634607480476802</c:v>
                </c:pt>
                <c:pt idx="5084">
                  <c:v>0.32635253054101199</c:v>
                </c:pt>
                <c:pt idx="5085">
                  <c:v>0.32647058823529401</c:v>
                </c:pt>
                <c:pt idx="5086">
                  <c:v>0.32649253731343297</c:v>
                </c:pt>
                <c:pt idx="5087">
                  <c:v>0.32651391162029503</c:v>
                </c:pt>
                <c:pt idx="5088">
                  <c:v>0.326599326599327</c:v>
                </c:pt>
                <c:pt idx="5089">
                  <c:v>0.32669322709163301</c:v>
                </c:pt>
                <c:pt idx="5090">
                  <c:v>0.32680538555691502</c:v>
                </c:pt>
                <c:pt idx="5091">
                  <c:v>0.32684824902723703</c:v>
                </c:pt>
                <c:pt idx="5092">
                  <c:v>0.32689450222882599</c:v>
                </c:pt>
                <c:pt idx="5093">
                  <c:v>0.32691278758694498</c:v>
                </c:pt>
                <c:pt idx="5094">
                  <c:v>0.32696390658174102</c:v>
                </c:pt>
                <c:pt idx="5095">
                  <c:v>0.32699619771863098</c:v>
                </c:pt>
                <c:pt idx="5096">
                  <c:v>0.32700421940928298</c:v>
                </c:pt>
                <c:pt idx="5097">
                  <c:v>0.32704402515723302</c:v>
                </c:pt>
                <c:pt idx="5098">
                  <c:v>0.327049952874647</c:v>
                </c:pt>
                <c:pt idx="5099">
                  <c:v>0.32710280373831802</c:v>
                </c:pt>
                <c:pt idx="5100">
                  <c:v>0.32713754646840099</c:v>
                </c:pt>
                <c:pt idx="5101">
                  <c:v>0.32720588235294101</c:v>
                </c:pt>
                <c:pt idx="5102">
                  <c:v>0.32722513089005201</c:v>
                </c:pt>
                <c:pt idx="5103">
                  <c:v>0.32727272727272699</c:v>
                </c:pt>
                <c:pt idx="5104">
                  <c:v>0.327327327327327</c:v>
                </c:pt>
                <c:pt idx="5105">
                  <c:v>0.32737030411448997</c:v>
                </c:pt>
                <c:pt idx="5106">
                  <c:v>0.32741116751269</c:v>
                </c:pt>
                <c:pt idx="5107">
                  <c:v>0.32743362831858402</c:v>
                </c:pt>
                <c:pt idx="5108">
                  <c:v>0.32750000000000001</c:v>
                </c:pt>
                <c:pt idx="5109">
                  <c:v>0.32753449310138</c:v>
                </c:pt>
                <c:pt idx="5110">
                  <c:v>0.32756866734486301</c:v>
                </c:pt>
                <c:pt idx="5111">
                  <c:v>0.32758620689655199</c:v>
                </c:pt>
                <c:pt idx="5112">
                  <c:v>0.327777777777778</c:v>
                </c:pt>
                <c:pt idx="5113">
                  <c:v>0.327790973871734</c:v>
                </c:pt>
                <c:pt idx="5114">
                  <c:v>0.32786885245901598</c:v>
                </c:pt>
                <c:pt idx="5115">
                  <c:v>0.32786885245901598</c:v>
                </c:pt>
                <c:pt idx="5116">
                  <c:v>0.32786885245901598</c:v>
                </c:pt>
                <c:pt idx="5117">
                  <c:v>0.32790224032586601</c:v>
                </c:pt>
                <c:pt idx="5118">
                  <c:v>0.32790445168295301</c:v>
                </c:pt>
                <c:pt idx="5119">
                  <c:v>0.32802013422818799</c:v>
                </c:pt>
                <c:pt idx="5120">
                  <c:v>0.32811711256940901</c:v>
                </c:pt>
                <c:pt idx="5121">
                  <c:v>0.328125</c:v>
                </c:pt>
                <c:pt idx="5122">
                  <c:v>0.328125</c:v>
                </c:pt>
                <c:pt idx="5123">
                  <c:v>0.32824427480916002</c:v>
                </c:pt>
                <c:pt idx="5124">
                  <c:v>0.32825719120135399</c:v>
                </c:pt>
                <c:pt idx="5125">
                  <c:v>0.32828282828282801</c:v>
                </c:pt>
                <c:pt idx="5126">
                  <c:v>0.32832080200501201</c:v>
                </c:pt>
                <c:pt idx="5127">
                  <c:v>0.328402366863905</c:v>
                </c:pt>
                <c:pt idx="5128">
                  <c:v>0.328449328449328</c:v>
                </c:pt>
                <c:pt idx="5129">
                  <c:v>0.32851985559566799</c:v>
                </c:pt>
                <c:pt idx="5130">
                  <c:v>0.32862644415917802</c:v>
                </c:pt>
                <c:pt idx="5131">
                  <c:v>0.32867132867132898</c:v>
                </c:pt>
                <c:pt idx="5132">
                  <c:v>0.328703703703704</c:v>
                </c:pt>
                <c:pt idx="5133">
                  <c:v>0.32890575585072701</c:v>
                </c:pt>
                <c:pt idx="5134">
                  <c:v>0.32891832229580598</c:v>
                </c:pt>
                <c:pt idx="5135">
                  <c:v>0.32892416225749599</c:v>
                </c:pt>
                <c:pt idx="5136">
                  <c:v>0.329113924050633</c:v>
                </c:pt>
                <c:pt idx="5137">
                  <c:v>0.32933104631217802</c:v>
                </c:pt>
                <c:pt idx="5138">
                  <c:v>0.32936507936507903</c:v>
                </c:pt>
                <c:pt idx="5139">
                  <c:v>0.32936507936507903</c:v>
                </c:pt>
                <c:pt idx="5140">
                  <c:v>0.32954545454545398</c:v>
                </c:pt>
                <c:pt idx="5141">
                  <c:v>0.32958199356913198</c:v>
                </c:pt>
                <c:pt idx="5142">
                  <c:v>0.32972972972973003</c:v>
                </c:pt>
                <c:pt idx="5143">
                  <c:v>0.329787234042553</c:v>
                </c:pt>
                <c:pt idx="5144">
                  <c:v>0.32981530343007898</c:v>
                </c:pt>
                <c:pt idx="5145">
                  <c:v>0.32981651376146798</c:v>
                </c:pt>
                <c:pt idx="5146">
                  <c:v>0.32991452991453002</c:v>
                </c:pt>
                <c:pt idx="5147">
                  <c:v>0.32993197278911601</c:v>
                </c:pt>
                <c:pt idx="5148">
                  <c:v>0.329936305732484</c:v>
                </c:pt>
                <c:pt idx="5149">
                  <c:v>0.33</c:v>
                </c:pt>
                <c:pt idx="5150">
                  <c:v>0.33</c:v>
                </c:pt>
                <c:pt idx="5151">
                  <c:v>0.33015267175572499</c:v>
                </c:pt>
                <c:pt idx="5152">
                  <c:v>0.33018056749785002</c:v>
                </c:pt>
                <c:pt idx="5153">
                  <c:v>0.330188679245283</c:v>
                </c:pt>
                <c:pt idx="5154">
                  <c:v>0.330188679245283</c:v>
                </c:pt>
                <c:pt idx="5155">
                  <c:v>0.33023975251353399</c:v>
                </c:pt>
                <c:pt idx="5156">
                  <c:v>0.33030852994555299</c:v>
                </c:pt>
                <c:pt idx="5157">
                  <c:v>0.33033419023136201</c:v>
                </c:pt>
                <c:pt idx="5158">
                  <c:v>0.33040421792618602</c:v>
                </c:pt>
                <c:pt idx="5159">
                  <c:v>0.33041848844472199</c:v>
                </c:pt>
                <c:pt idx="5160">
                  <c:v>0.33049040511727101</c:v>
                </c:pt>
                <c:pt idx="5161">
                  <c:v>0.33053691275167801</c:v>
                </c:pt>
                <c:pt idx="5162">
                  <c:v>0.330578512396694</c:v>
                </c:pt>
                <c:pt idx="5163">
                  <c:v>0.330578512396694</c:v>
                </c:pt>
                <c:pt idx="5164">
                  <c:v>0.33060109289617501</c:v>
                </c:pt>
                <c:pt idx="5165">
                  <c:v>0.33061224489795898</c:v>
                </c:pt>
                <c:pt idx="5166">
                  <c:v>0.33064516129032301</c:v>
                </c:pt>
                <c:pt idx="5167">
                  <c:v>0.33069306930693099</c:v>
                </c:pt>
                <c:pt idx="5168">
                  <c:v>0.33076923076923098</c:v>
                </c:pt>
                <c:pt idx="5169">
                  <c:v>0.33076923076923098</c:v>
                </c:pt>
                <c:pt idx="5170">
                  <c:v>0.33077292366778699</c:v>
                </c:pt>
                <c:pt idx="5171">
                  <c:v>0.33079847908745202</c:v>
                </c:pt>
                <c:pt idx="5172">
                  <c:v>0.33080424886191201</c:v>
                </c:pt>
                <c:pt idx="5173">
                  <c:v>0.33082706766917302</c:v>
                </c:pt>
                <c:pt idx="5174">
                  <c:v>0.33088235294117602</c:v>
                </c:pt>
                <c:pt idx="5175">
                  <c:v>0.33103448275862102</c:v>
                </c:pt>
                <c:pt idx="5176">
                  <c:v>0.33108108108108097</c:v>
                </c:pt>
                <c:pt idx="5177">
                  <c:v>0.33108108108108097</c:v>
                </c:pt>
                <c:pt idx="5178">
                  <c:v>0.33124999999999999</c:v>
                </c:pt>
                <c:pt idx="5179">
                  <c:v>0.33126934984520101</c:v>
                </c:pt>
                <c:pt idx="5180">
                  <c:v>0.33126934984520101</c:v>
                </c:pt>
                <c:pt idx="5181">
                  <c:v>0.331395348837209</c:v>
                </c:pt>
                <c:pt idx="5182">
                  <c:v>0.33144796380090502</c:v>
                </c:pt>
                <c:pt idx="5183">
                  <c:v>0.33149171270718197</c:v>
                </c:pt>
                <c:pt idx="5184">
                  <c:v>0.33152664859981901</c:v>
                </c:pt>
                <c:pt idx="5185">
                  <c:v>0.33160621761657999</c:v>
                </c:pt>
                <c:pt idx="5186">
                  <c:v>0.33163265306122403</c:v>
                </c:pt>
                <c:pt idx="5187">
                  <c:v>0.33165829145728598</c:v>
                </c:pt>
                <c:pt idx="5188">
                  <c:v>0.33165829145728598</c:v>
                </c:pt>
                <c:pt idx="5189">
                  <c:v>0.33167701863353999</c:v>
                </c:pt>
                <c:pt idx="5190">
                  <c:v>0.33169129720853902</c:v>
                </c:pt>
                <c:pt idx="5191">
                  <c:v>0.33177570093457898</c:v>
                </c:pt>
                <c:pt idx="5192">
                  <c:v>0.33193277310924402</c:v>
                </c:pt>
                <c:pt idx="5193">
                  <c:v>0.33195020746887999</c:v>
                </c:pt>
                <c:pt idx="5194">
                  <c:v>0.33201581027667998</c:v>
                </c:pt>
                <c:pt idx="5195">
                  <c:v>0.33209785025945099</c:v>
                </c:pt>
                <c:pt idx="5196">
                  <c:v>0.33211678832116798</c:v>
                </c:pt>
                <c:pt idx="5197">
                  <c:v>0.33224755700325698</c:v>
                </c:pt>
                <c:pt idx="5198">
                  <c:v>0.33233532934131699</c:v>
                </c:pt>
                <c:pt idx="5199">
                  <c:v>0.33242134062927498</c:v>
                </c:pt>
                <c:pt idx="5200">
                  <c:v>0.33253012048192798</c:v>
                </c:pt>
                <c:pt idx="5201">
                  <c:v>0.33253012048192798</c:v>
                </c:pt>
                <c:pt idx="5202">
                  <c:v>0.33253588516746402</c:v>
                </c:pt>
                <c:pt idx="5203">
                  <c:v>0.33273056057866202</c:v>
                </c:pt>
                <c:pt idx="5204">
                  <c:v>0.332761578044597</c:v>
                </c:pt>
                <c:pt idx="5205">
                  <c:v>0.33278418451400299</c:v>
                </c:pt>
                <c:pt idx="5206">
                  <c:v>0.33281493001555201</c:v>
                </c:pt>
                <c:pt idx="5207">
                  <c:v>0.333001988071571</c:v>
                </c:pt>
                <c:pt idx="5208">
                  <c:v>0.33302836230558103</c:v>
                </c:pt>
                <c:pt idx="5209">
                  <c:v>0.33314732142857101</c:v>
                </c:pt>
                <c:pt idx="5210">
                  <c:v>0.33333333333333298</c:v>
                </c:pt>
                <c:pt idx="5211">
                  <c:v>0.33333333333333298</c:v>
                </c:pt>
                <c:pt idx="5212">
                  <c:v>0.33333333333333298</c:v>
                </c:pt>
                <c:pt idx="5213">
                  <c:v>0.33333333333333298</c:v>
                </c:pt>
                <c:pt idx="5214">
                  <c:v>0.33333333333333298</c:v>
                </c:pt>
                <c:pt idx="5215">
                  <c:v>0.33333333333333298</c:v>
                </c:pt>
                <c:pt idx="5216">
                  <c:v>0.33333333333333298</c:v>
                </c:pt>
                <c:pt idx="5217">
                  <c:v>0.33333333333333298</c:v>
                </c:pt>
                <c:pt idx="5218">
                  <c:v>0.33333333333333298</c:v>
                </c:pt>
                <c:pt idx="5219">
                  <c:v>0.33333333333333298</c:v>
                </c:pt>
                <c:pt idx="5220">
                  <c:v>0.33333333333333298</c:v>
                </c:pt>
                <c:pt idx="5221">
                  <c:v>0.33333333333333298</c:v>
                </c:pt>
                <c:pt idx="5222">
                  <c:v>0.33333333333333298</c:v>
                </c:pt>
                <c:pt idx="5223">
                  <c:v>0.33333333333333298</c:v>
                </c:pt>
                <c:pt idx="5224">
                  <c:v>0.33333333333333298</c:v>
                </c:pt>
                <c:pt idx="5225">
                  <c:v>0.33333333333333298</c:v>
                </c:pt>
                <c:pt idx="5226">
                  <c:v>0.33333333333333298</c:v>
                </c:pt>
                <c:pt idx="5227">
                  <c:v>0.33333333333333298</c:v>
                </c:pt>
                <c:pt idx="5228">
                  <c:v>0.33333333333333298</c:v>
                </c:pt>
                <c:pt idx="5229">
                  <c:v>0.33333333333333298</c:v>
                </c:pt>
                <c:pt idx="5230">
                  <c:v>0.33333333333333298</c:v>
                </c:pt>
                <c:pt idx="5231">
                  <c:v>0.33333333333333298</c:v>
                </c:pt>
                <c:pt idx="5232">
                  <c:v>0.33333333333333298</c:v>
                </c:pt>
                <c:pt idx="5233">
                  <c:v>0.33333333333333298</c:v>
                </c:pt>
                <c:pt idx="5234">
                  <c:v>0.33333333333333298</c:v>
                </c:pt>
                <c:pt idx="5235">
                  <c:v>0.33333333333333298</c:v>
                </c:pt>
                <c:pt idx="5236">
                  <c:v>0.33333333333333298</c:v>
                </c:pt>
                <c:pt idx="5237">
                  <c:v>0.33333333333333298</c:v>
                </c:pt>
                <c:pt idx="5238">
                  <c:v>0.33333333333333298</c:v>
                </c:pt>
                <c:pt idx="5239">
                  <c:v>0.33333333333333298</c:v>
                </c:pt>
                <c:pt idx="5240">
                  <c:v>0.33333333333333298</c:v>
                </c:pt>
                <c:pt idx="5241">
                  <c:v>0.33333333333333298</c:v>
                </c:pt>
                <c:pt idx="5242">
                  <c:v>0.33356024506467002</c:v>
                </c:pt>
                <c:pt idx="5243">
                  <c:v>0.333718244803695</c:v>
                </c:pt>
                <c:pt idx="5244">
                  <c:v>0.33383233532934098</c:v>
                </c:pt>
                <c:pt idx="5245">
                  <c:v>0.33409090909090899</c:v>
                </c:pt>
                <c:pt idx="5246">
                  <c:v>0.334137515078408</c:v>
                </c:pt>
                <c:pt idx="5247">
                  <c:v>0.33415233415233397</c:v>
                </c:pt>
                <c:pt idx="5248">
                  <c:v>0.33421052631578901</c:v>
                </c:pt>
                <c:pt idx="5249">
                  <c:v>0.33426183844011098</c:v>
                </c:pt>
                <c:pt idx="5250">
                  <c:v>0.33430111986727501</c:v>
                </c:pt>
                <c:pt idx="5251">
                  <c:v>0.33431952662721898</c:v>
                </c:pt>
                <c:pt idx="5252">
                  <c:v>0.33453237410071901</c:v>
                </c:pt>
                <c:pt idx="5253">
                  <c:v>0.33455689564761398</c:v>
                </c:pt>
                <c:pt idx="5254">
                  <c:v>0.33456561922366002</c:v>
                </c:pt>
                <c:pt idx="5255">
                  <c:v>0.33457249070632</c:v>
                </c:pt>
                <c:pt idx="5256">
                  <c:v>0.33460076045627402</c:v>
                </c:pt>
                <c:pt idx="5257">
                  <c:v>0.33461538461538498</c:v>
                </c:pt>
                <c:pt idx="5258">
                  <c:v>0.33461538461538498</c:v>
                </c:pt>
                <c:pt idx="5259">
                  <c:v>0.334649555774926</c:v>
                </c:pt>
                <c:pt idx="5260">
                  <c:v>0.33466733366683299</c:v>
                </c:pt>
                <c:pt idx="5261">
                  <c:v>0.334710743801653</c:v>
                </c:pt>
                <c:pt idx="5262">
                  <c:v>0.33475091130012102</c:v>
                </c:pt>
                <c:pt idx="5263">
                  <c:v>0.33480176211453699</c:v>
                </c:pt>
                <c:pt idx="5264">
                  <c:v>0.33485818847209498</c:v>
                </c:pt>
                <c:pt idx="5265">
                  <c:v>0.33490566037735803</c:v>
                </c:pt>
                <c:pt idx="5266">
                  <c:v>0.334978843441467</c:v>
                </c:pt>
                <c:pt idx="5267">
                  <c:v>0.33503836317135499</c:v>
                </c:pt>
                <c:pt idx="5268">
                  <c:v>0.33510638297872303</c:v>
                </c:pt>
                <c:pt idx="5269">
                  <c:v>0.33514492753623198</c:v>
                </c:pt>
                <c:pt idx="5270">
                  <c:v>0.33514986376021799</c:v>
                </c:pt>
                <c:pt idx="5271">
                  <c:v>0.33519553072625702</c:v>
                </c:pt>
                <c:pt idx="5272">
                  <c:v>0.33536585365853699</c:v>
                </c:pt>
                <c:pt idx="5273">
                  <c:v>0.33543307086614199</c:v>
                </c:pt>
                <c:pt idx="5274">
                  <c:v>0.33546325878594202</c:v>
                </c:pt>
                <c:pt idx="5275">
                  <c:v>0.33567662565905099</c:v>
                </c:pt>
                <c:pt idx="5276">
                  <c:v>0.33587786259542002</c:v>
                </c:pt>
                <c:pt idx="5277">
                  <c:v>0.3359375</c:v>
                </c:pt>
                <c:pt idx="5278">
                  <c:v>0.33600000000000002</c:v>
                </c:pt>
                <c:pt idx="5279">
                  <c:v>0.33603896103896103</c:v>
                </c:pt>
                <c:pt idx="5280">
                  <c:v>0.336043360433604</c:v>
                </c:pt>
                <c:pt idx="5281">
                  <c:v>0.33613445378151302</c:v>
                </c:pt>
                <c:pt idx="5282">
                  <c:v>0.33613445378151302</c:v>
                </c:pt>
                <c:pt idx="5283">
                  <c:v>0.33617977528089898</c:v>
                </c:pt>
                <c:pt idx="5284">
                  <c:v>0.336244541484716</c:v>
                </c:pt>
                <c:pt idx="5285">
                  <c:v>0.33632286995515698</c:v>
                </c:pt>
                <c:pt idx="5286">
                  <c:v>0.33632286995515698</c:v>
                </c:pt>
                <c:pt idx="5287">
                  <c:v>0.33634204275534402</c:v>
                </c:pt>
                <c:pt idx="5288">
                  <c:v>0.33636363636363598</c:v>
                </c:pt>
                <c:pt idx="5289">
                  <c:v>0.33636363636363598</c:v>
                </c:pt>
                <c:pt idx="5290">
                  <c:v>0.33637400228050202</c:v>
                </c:pt>
                <c:pt idx="5291">
                  <c:v>0.33641975308642003</c:v>
                </c:pt>
                <c:pt idx="5292">
                  <c:v>0.33648648648648599</c:v>
                </c:pt>
                <c:pt idx="5293">
                  <c:v>0.33650793650793598</c:v>
                </c:pt>
                <c:pt idx="5294">
                  <c:v>0.336569579288026</c:v>
                </c:pt>
                <c:pt idx="5295">
                  <c:v>0.33663366336633699</c:v>
                </c:pt>
                <c:pt idx="5296">
                  <c:v>0.33673469387755101</c:v>
                </c:pt>
                <c:pt idx="5297">
                  <c:v>0.33678756476683902</c:v>
                </c:pt>
                <c:pt idx="5298">
                  <c:v>0.33680555555555602</c:v>
                </c:pt>
                <c:pt idx="5299">
                  <c:v>0.336842105263158</c:v>
                </c:pt>
                <c:pt idx="5300">
                  <c:v>0.33686440677966101</c:v>
                </c:pt>
                <c:pt idx="5301">
                  <c:v>0.33695652173912999</c:v>
                </c:pt>
                <c:pt idx="5302">
                  <c:v>0.33696729435084199</c:v>
                </c:pt>
                <c:pt idx="5303">
                  <c:v>0.33707865168539303</c:v>
                </c:pt>
                <c:pt idx="5304">
                  <c:v>0.337091319052988</c:v>
                </c:pt>
                <c:pt idx="5305">
                  <c:v>0.33712984054669698</c:v>
                </c:pt>
                <c:pt idx="5306">
                  <c:v>0.337202199144777</c:v>
                </c:pt>
                <c:pt idx="5307">
                  <c:v>0.337235052198671</c:v>
                </c:pt>
                <c:pt idx="5308">
                  <c:v>0.337254901960784</c:v>
                </c:pt>
                <c:pt idx="5309">
                  <c:v>0.337270341207349</c:v>
                </c:pt>
                <c:pt idx="5310">
                  <c:v>0.33733333333333299</c:v>
                </c:pt>
                <c:pt idx="5311">
                  <c:v>0.33734939759036098</c:v>
                </c:pt>
                <c:pt idx="5312">
                  <c:v>0.33740359897172201</c:v>
                </c:pt>
                <c:pt idx="5313">
                  <c:v>0.337404580152672</c:v>
                </c:pt>
                <c:pt idx="5314">
                  <c:v>0.33742331288343602</c:v>
                </c:pt>
                <c:pt idx="5315">
                  <c:v>0.33742331288343602</c:v>
                </c:pt>
                <c:pt idx="5316">
                  <c:v>0.33750000000000002</c:v>
                </c:pt>
                <c:pt idx="5317">
                  <c:v>0.33757151938970098</c:v>
                </c:pt>
                <c:pt idx="5318">
                  <c:v>0.33761232349165599</c:v>
                </c:pt>
                <c:pt idx="5319">
                  <c:v>0.337662337662338</c:v>
                </c:pt>
                <c:pt idx="5320">
                  <c:v>0.337662337662338</c:v>
                </c:pt>
                <c:pt idx="5321">
                  <c:v>0.337662337662338</c:v>
                </c:pt>
                <c:pt idx="5322">
                  <c:v>0.337662337662338</c:v>
                </c:pt>
                <c:pt idx="5323">
                  <c:v>0.33769633507853403</c:v>
                </c:pt>
                <c:pt idx="5324">
                  <c:v>0.337837837837838</c:v>
                </c:pt>
                <c:pt idx="5325">
                  <c:v>0.33789954337899503</c:v>
                </c:pt>
                <c:pt idx="5326">
                  <c:v>0.33793103448275902</c:v>
                </c:pt>
                <c:pt idx="5327">
                  <c:v>0.33793103448275902</c:v>
                </c:pt>
                <c:pt idx="5328">
                  <c:v>0.33795654184003698</c:v>
                </c:pt>
                <c:pt idx="5329">
                  <c:v>0.33798882681564202</c:v>
                </c:pt>
                <c:pt idx="5330">
                  <c:v>0.33807654563297301</c:v>
                </c:pt>
                <c:pt idx="5331">
                  <c:v>0.33810888252149002</c:v>
                </c:pt>
                <c:pt idx="5332">
                  <c:v>0.33812949640287798</c:v>
                </c:pt>
                <c:pt idx="5333">
                  <c:v>0.33812949640287798</c:v>
                </c:pt>
                <c:pt idx="5334">
                  <c:v>0.33817126269956499</c:v>
                </c:pt>
                <c:pt idx="5335">
                  <c:v>0.33820459290187899</c:v>
                </c:pt>
                <c:pt idx="5336">
                  <c:v>0.33823529411764702</c:v>
                </c:pt>
                <c:pt idx="5337">
                  <c:v>0.33831775700934602</c:v>
                </c:pt>
                <c:pt idx="5338">
                  <c:v>0.33846153846153798</c:v>
                </c:pt>
                <c:pt idx="5339">
                  <c:v>0.33849557522123902</c:v>
                </c:pt>
                <c:pt idx="5340">
                  <c:v>0.33879781420764998</c:v>
                </c:pt>
                <c:pt idx="5341">
                  <c:v>0.33880597014925401</c:v>
                </c:pt>
                <c:pt idx="5342">
                  <c:v>0.33890214797135998</c:v>
                </c:pt>
                <c:pt idx="5343">
                  <c:v>0.33892617449664397</c:v>
                </c:pt>
                <c:pt idx="5344">
                  <c:v>0.33895446880269797</c:v>
                </c:pt>
                <c:pt idx="5345">
                  <c:v>0.33905967450271202</c:v>
                </c:pt>
                <c:pt idx="5346">
                  <c:v>0.339100346020761</c:v>
                </c:pt>
                <c:pt idx="5347">
                  <c:v>0.33915211970074799</c:v>
                </c:pt>
                <c:pt idx="5348">
                  <c:v>0.339175257731959</c:v>
                </c:pt>
                <c:pt idx="5349">
                  <c:v>0.33918128654970803</c:v>
                </c:pt>
                <c:pt idx="5350">
                  <c:v>0.33921815889029</c:v>
                </c:pt>
                <c:pt idx="5351">
                  <c:v>0.33938634940513501</c:v>
                </c:pt>
                <c:pt idx="5352">
                  <c:v>0.33968253968253997</c:v>
                </c:pt>
                <c:pt idx="5353">
                  <c:v>0.33972125435540101</c:v>
                </c:pt>
                <c:pt idx="5354">
                  <c:v>0.33974358974358998</c:v>
                </c:pt>
                <c:pt idx="5355">
                  <c:v>0.33974975938402302</c:v>
                </c:pt>
                <c:pt idx="5356">
                  <c:v>0.33975481611208402</c:v>
                </c:pt>
                <c:pt idx="5357">
                  <c:v>0.33975903614457797</c:v>
                </c:pt>
                <c:pt idx="5358">
                  <c:v>0.33977455716586102</c:v>
                </c:pt>
                <c:pt idx="5359">
                  <c:v>0.33978494623655903</c:v>
                </c:pt>
                <c:pt idx="5360">
                  <c:v>0.33982947624847698</c:v>
                </c:pt>
                <c:pt idx="5361">
                  <c:v>0.33990147783251201</c:v>
                </c:pt>
                <c:pt idx="5362">
                  <c:v>0.33990147783251201</c:v>
                </c:pt>
                <c:pt idx="5363">
                  <c:v>0.33994334277620403</c:v>
                </c:pt>
                <c:pt idx="5364">
                  <c:v>0.339986693280106</c:v>
                </c:pt>
                <c:pt idx="5365">
                  <c:v>0.34</c:v>
                </c:pt>
                <c:pt idx="5366">
                  <c:v>0.34003350083752099</c:v>
                </c:pt>
                <c:pt idx="5367">
                  <c:v>0.34013605442176897</c:v>
                </c:pt>
                <c:pt idx="5368">
                  <c:v>0.34013605442176897</c:v>
                </c:pt>
                <c:pt idx="5369">
                  <c:v>0.34014717906786601</c:v>
                </c:pt>
                <c:pt idx="5370">
                  <c:v>0.34020618556700999</c:v>
                </c:pt>
                <c:pt idx="5371">
                  <c:v>0.34036939313984199</c:v>
                </c:pt>
                <c:pt idx="5372">
                  <c:v>0.340390340721138</c:v>
                </c:pt>
                <c:pt idx="5373">
                  <c:v>0.340409956076135</c:v>
                </c:pt>
                <c:pt idx="5374">
                  <c:v>0.340425531914894</c:v>
                </c:pt>
                <c:pt idx="5375">
                  <c:v>0.340425531914894</c:v>
                </c:pt>
                <c:pt idx="5376">
                  <c:v>0.340425531914894</c:v>
                </c:pt>
                <c:pt idx="5377">
                  <c:v>0.34047619047618999</c:v>
                </c:pt>
                <c:pt idx="5378">
                  <c:v>0.34050880626223101</c:v>
                </c:pt>
                <c:pt idx="5379">
                  <c:v>0.34055727554179599</c:v>
                </c:pt>
                <c:pt idx="5380">
                  <c:v>0.34061135371179002</c:v>
                </c:pt>
                <c:pt idx="5381">
                  <c:v>0.340659340659341</c:v>
                </c:pt>
                <c:pt idx="5382">
                  <c:v>0.34070796460177</c:v>
                </c:pt>
                <c:pt idx="5383">
                  <c:v>0.34070796460177</c:v>
                </c:pt>
                <c:pt idx="5384">
                  <c:v>0.34074074074074101</c:v>
                </c:pt>
                <c:pt idx="5385">
                  <c:v>0.34076433121019101</c:v>
                </c:pt>
                <c:pt idx="5386">
                  <c:v>0.34078212290502802</c:v>
                </c:pt>
                <c:pt idx="5387">
                  <c:v>0.340862422997947</c:v>
                </c:pt>
                <c:pt idx="5388">
                  <c:v>0.34090909090909099</c:v>
                </c:pt>
                <c:pt idx="5389">
                  <c:v>0.34090909090909099</c:v>
                </c:pt>
                <c:pt idx="5390">
                  <c:v>0.34100545124167198</c:v>
                </c:pt>
                <c:pt idx="5391">
                  <c:v>0.34112149532710301</c:v>
                </c:pt>
                <c:pt idx="5392">
                  <c:v>0.34113060428849901</c:v>
                </c:pt>
                <c:pt idx="5393">
                  <c:v>0.34116899618805602</c:v>
                </c:pt>
                <c:pt idx="5394">
                  <c:v>0.34124629080118701</c:v>
                </c:pt>
                <c:pt idx="5395">
                  <c:v>0.341269841269841</c:v>
                </c:pt>
                <c:pt idx="5396">
                  <c:v>0.34134007585335002</c:v>
                </c:pt>
                <c:pt idx="5397">
                  <c:v>0.34150943396226402</c:v>
                </c:pt>
                <c:pt idx="5398">
                  <c:v>0.34154929577464799</c:v>
                </c:pt>
                <c:pt idx="5399">
                  <c:v>0.34154929577464799</c:v>
                </c:pt>
                <c:pt idx="5400">
                  <c:v>0.34156976744186002</c:v>
                </c:pt>
                <c:pt idx="5401">
                  <c:v>0.34164358264081301</c:v>
                </c:pt>
                <c:pt idx="5402">
                  <c:v>0.34166666666666701</c:v>
                </c:pt>
                <c:pt idx="5403">
                  <c:v>0.34175691937424801</c:v>
                </c:pt>
                <c:pt idx="5404">
                  <c:v>0.341772151898734</c:v>
                </c:pt>
                <c:pt idx="5405">
                  <c:v>0.34205933682373502</c:v>
                </c:pt>
                <c:pt idx="5406">
                  <c:v>0.34210526315789502</c:v>
                </c:pt>
                <c:pt idx="5407">
                  <c:v>0.34219269102990002</c:v>
                </c:pt>
                <c:pt idx="5408">
                  <c:v>0.34228187919463099</c:v>
                </c:pt>
                <c:pt idx="5409">
                  <c:v>0.34230769230769198</c:v>
                </c:pt>
                <c:pt idx="5410">
                  <c:v>0.34234234234234201</c:v>
                </c:pt>
                <c:pt idx="5411">
                  <c:v>0.34234234234234201</c:v>
                </c:pt>
                <c:pt idx="5412">
                  <c:v>0.34243176178660001</c:v>
                </c:pt>
                <c:pt idx="5413">
                  <c:v>0.34246575342465702</c:v>
                </c:pt>
                <c:pt idx="5414">
                  <c:v>0.34265734265734299</c:v>
                </c:pt>
                <c:pt idx="5415">
                  <c:v>0.34266886326194401</c:v>
                </c:pt>
                <c:pt idx="5416">
                  <c:v>0.342733188720174</c:v>
                </c:pt>
                <c:pt idx="5417">
                  <c:v>0.34283088235294101</c:v>
                </c:pt>
                <c:pt idx="5418">
                  <c:v>0.34285714285714303</c:v>
                </c:pt>
                <c:pt idx="5419">
                  <c:v>0.34285714285714303</c:v>
                </c:pt>
                <c:pt idx="5420">
                  <c:v>0.34299516908212602</c:v>
                </c:pt>
                <c:pt idx="5421">
                  <c:v>0.34302325581395299</c:v>
                </c:pt>
                <c:pt idx="5422">
                  <c:v>0.34304207119741098</c:v>
                </c:pt>
                <c:pt idx="5423">
                  <c:v>0.34304932735426003</c:v>
                </c:pt>
                <c:pt idx="5424">
                  <c:v>0.343055555555556</c:v>
                </c:pt>
                <c:pt idx="5425">
                  <c:v>0.34306569343065701</c:v>
                </c:pt>
                <c:pt idx="5426">
                  <c:v>0.34306569343065701</c:v>
                </c:pt>
                <c:pt idx="5427">
                  <c:v>0.34309623430962299</c:v>
                </c:pt>
                <c:pt idx="5428">
                  <c:v>0.34313725490196101</c:v>
                </c:pt>
                <c:pt idx="5429">
                  <c:v>0.34328358208955201</c:v>
                </c:pt>
                <c:pt idx="5430">
                  <c:v>0.34328358208955201</c:v>
                </c:pt>
                <c:pt idx="5431">
                  <c:v>0.34328358208955201</c:v>
                </c:pt>
                <c:pt idx="5432">
                  <c:v>0.34328358208955201</c:v>
                </c:pt>
                <c:pt idx="5433">
                  <c:v>0.34330985915493001</c:v>
                </c:pt>
                <c:pt idx="5434">
                  <c:v>0.34331337325349298</c:v>
                </c:pt>
                <c:pt idx="5435">
                  <c:v>0.343373493975904</c:v>
                </c:pt>
                <c:pt idx="5436">
                  <c:v>0.34351145038167902</c:v>
                </c:pt>
                <c:pt idx="5437">
                  <c:v>0.34351145038167902</c:v>
                </c:pt>
                <c:pt idx="5438">
                  <c:v>0.34355828220858903</c:v>
                </c:pt>
                <c:pt idx="5439">
                  <c:v>0.34370579915134403</c:v>
                </c:pt>
                <c:pt idx="5440">
                  <c:v>0.34370645610775702</c:v>
                </c:pt>
                <c:pt idx="5441">
                  <c:v>0.34375</c:v>
                </c:pt>
                <c:pt idx="5442">
                  <c:v>0.34375</c:v>
                </c:pt>
                <c:pt idx="5443">
                  <c:v>0.34378769601929998</c:v>
                </c:pt>
                <c:pt idx="5444">
                  <c:v>0.34385964912280698</c:v>
                </c:pt>
                <c:pt idx="5445">
                  <c:v>0.34399999999999997</c:v>
                </c:pt>
                <c:pt idx="5446">
                  <c:v>0.34423897581792301</c:v>
                </c:pt>
                <c:pt idx="5447">
                  <c:v>0.34426229508196698</c:v>
                </c:pt>
                <c:pt idx="5448">
                  <c:v>0.34430379746835399</c:v>
                </c:pt>
                <c:pt idx="5449">
                  <c:v>0.34441805225653199</c:v>
                </c:pt>
                <c:pt idx="5450">
                  <c:v>0.34450651769087498</c:v>
                </c:pt>
                <c:pt idx="5451">
                  <c:v>0.34451219512195103</c:v>
                </c:pt>
                <c:pt idx="5452">
                  <c:v>0.34453781512604997</c:v>
                </c:pt>
                <c:pt idx="5453">
                  <c:v>0.34453781512604997</c:v>
                </c:pt>
                <c:pt idx="5454">
                  <c:v>0.34453781512604997</c:v>
                </c:pt>
                <c:pt idx="5455">
                  <c:v>0.34456928838951301</c:v>
                </c:pt>
                <c:pt idx="5456">
                  <c:v>0.34468085106383001</c:v>
                </c:pt>
                <c:pt idx="5457">
                  <c:v>0.344743276283619</c:v>
                </c:pt>
                <c:pt idx="5458">
                  <c:v>0.34475374732334002</c:v>
                </c:pt>
                <c:pt idx="5459">
                  <c:v>0.34477555639381402</c:v>
                </c:pt>
                <c:pt idx="5460">
                  <c:v>0.34478371501272298</c:v>
                </c:pt>
                <c:pt idx="5461">
                  <c:v>0.34482758620689702</c:v>
                </c:pt>
                <c:pt idx="5462">
                  <c:v>0.344887348353553</c:v>
                </c:pt>
                <c:pt idx="5463">
                  <c:v>0.34495412844036699</c:v>
                </c:pt>
                <c:pt idx="5464">
                  <c:v>0.34496124031007702</c:v>
                </c:pt>
                <c:pt idx="5465">
                  <c:v>0.34496124031007702</c:v>
                </c:pt>
                <c:pt idx="5466">
                  <c:v>0.34499999999999997</c:v>
                </c:pt>
                <c:pt idx="5467">
                  <c:v>0.34502923976608202</c:v>
                </c:pt>
                <c:pt idx="5468">
                  <c:v>0.34504792332268402</c:v>
                </c:pt>
                <c:pt idx="5469">
                  <c:v>0.34505494505494499</c:v>
                </c:pt>
                <c:pt idx="5470">
                  <c:v>0.345108695652174</c:v>
                </c:pt>
                <c:pt idx="5471">
                  <c:v>0.34513274336283201</c:v>
                </c:pt>
                <c:pt idx="5472">
                  <c:v>0.34517241379310298</c:v>
                </c:pt>
                <c:pt idx="5473">
                  <c:v>0.34523809523809501</c:v>
                </c:pt>
                <c:pt idx="5474">
                  <c:v>0.34528448947778601</c:v>
                </c:pt>
                <c:pt idx="5475">
                  <c:v>0.34532374100719399</c:v>
                </c:pt>
                <c:pt idx="5476">
                  <c:v>0.34536082474226798</c:v>
                </c:pt>
                <c:pt idx="5477">
                  <c:v>0.34545454545454501</c:v>
                </c:pt>
                <c:pt idx="5478">
                  <c:v>0.345646437994723</c:v>
                </c:pt>
                <c:pt idx="5479">
                  <c:v>0.345646437994723</c:v>
                </c:pt>
                <c:pt idx="5480">
                  <c:v>0.34592680047225499</c:v>
                </c:pt>
                <c:pt idx="5481">
                  <c:v>0.34593837535013999</c:v>
                </c:pt>
                <c:pt idx="5482">
                  <c:v>0.34594594594594602</c:v>
                </c:pt>
                <c:pt idx="5483">
                  <c:v>0.34597156398104301</c:v>
                </c:pt>
                <c:pt idx="5484">
                  <c:v>0.34599156118143498</c:v>
                </c:pt>
                <c:pt idx="5485">
                  <c:v>0.34601226993864997</c:v>
                </c:pt>
                <c:pt idx="5486">
                  <c:v>0.34603174603174602</c:v>
                </c:pt>
                <c:pt idx="5487">
                  <c:v>0.34615384615384598</c:v>
                </c:pt>
                <c:pt idx="5488">
                  <c:v>0.34615384615384598</c:v>
                </c:pt>
                <c:pt idx="5489">
                  <c:v>0.34615384615384598</c:v>
                </c:pt>
                <c:pt idx="5490">
                  <c:v>0.34615384615384598</c:v>
                </c:pt>
                <c:pt idx="5491">
                  <c:v>0.34621848739495797</c:v>
                </c:pt>
                <c:pt idx="5492">
                  <c:v>0.34624088508926298</c:v>
                </c:pt>
                <c:pt idx="5493">
                  <c:v>0.34626865671641799</c:v>
                </c:pt>
                <c:pt idx="5494">
                  <c:v>0.346330275229358</c:v>
                </c:pt>
                <c:pt idx="5495">
                  <c:v>0.34645669291338599</c:v>
                </c:pt>
                <c:pt idx="5496">
                  <c:v>0.34645669291338599</c:v>
                </c:pt>
                <c:pt idx="5497">
                  <c:v>0.34653465346534601</c:v>
                </c:pt>
                <c:pt idx="5498">
                  <c:v>0.34666666666666701</c:v>
                </c:pt>
                <c:pt idx="5499">
                  <c:v>0.34674329501915702</c:v>
                </c:pt>
                <c:pt idx="5500">
                  <c:v>0.346760070052539</c:v>
                </c:pt>
                <c:pt idx="5501">
                  <c:v>0.34683544303797498</c:v>
                </c:pt>
                <c:pt idx="5502">
                  <c:v>0.34684684684684702</c:v>
                </c:pt>
                <c:pt idx="5503">
                  <c:v>0.34693877551020402</c:v>
                </c:pt>
                <c:pt idx="5504">
                  <c:v>0.34696659850034101</c:v>
                </c:pt>
                <c:pt idx="5505">
                  <c:v>0.34710743801652899</c:v>
                </c:pt>
                <c:pt idx="5506">
                  <c:v>0.34710743801652899</c:v>
                </c:pt>
                <c:pt idx="5507">
                  <c:v>0.34712520150456699</c:v>
                </c:pt>
                <c:pt idx="5508">
                  <c:v>0.34713375796178297</c:v>
                </c:pt>
                <c:pt idx="5509">
                  <c:v>0.34718100890207698</c:v>
                </c:pt>
                <c:pt idx="5510">
                  <c:v>0.34722222222222199</c:v>
                </c:pt>
                <c:pt idx="5511">
                  <c:v>0.34736842105263199</c:v>
                </c:pt>
                <c:pt idx="5512">
                  <c:v>0.34736842105263199</c:v>
                </c:pt>
                <c:pt idx="5513">
                  <c:v>0.347540983606557</c:v>
                </c:pt>
                <c:pt idx="5514">
                  <c:v>0.34759358288769998</c:v>
                </c:pt>
                <c:pt idx="5515">
                  <c:v>0.34761904761904799</c:v>
                </c:pt>
                <c:pt idx="5516">
                  <c:v>0.34782608695652201</c:v>
                </c:pt>
                <c:pt idx="5517">
                  <c:v>0.34782608695652201</c:v>
                </c:pt>
                <c:pt idx="5518">
                  <c:v>0.34782608695652201</c:v>
                </c:pt>
                <c:pt idx="5519">
                  <c:v>0.34782608695652201</c:v>
                </c:pt>
                <c:pt idx="5520">
                  <c:v>0.34782608695652201</c:v>
                </c:pt>
                <c:pt idx="5521">
                  <c:v>0.34805467928496298</c:v>
                </c:pt>
                <c:pt idx="5522">
                  <c:v>0.34806629834254099</c:v>
                </c:pt>
                <c:pt idx="5523">
                  <c:v>0.34808259587020601</c:v>
                </c:pt>
                <c:pt idx="5524">
                  <c:v>0.348101265822785</c:v>
                </c:pt>
                <c:pt idx="5525">
                  <c:v>0.34814814814814798</c:v>
                </c:pt>
                <c:pt idx="5526">
                  <c:v>0.34834834834834799</c:v>
                </c:pt>
                <c:pt idx="5527">
                  <c:v>0.34838709677419299</c:v>
                </c:pt>
                <c:pt idx="5528">
                  <c:v>0.34867256637168098</c:v>
                </c:pt>
                <c:pt idx="5529">
                  <c:v>0.34879406307977701</c:v>
                </c:pt>
                <c:pt idx="5530">
                  <c:v>0.34880239520958101</c:v>
                </c:pt>
                <c:pt idx="5531">
                  <c:v>0.34883720930232598</c:v>
                </c:pt>
                <c:pt idx="5532">
                  <c:v>0.348884381338742</c:v>
                </c:pt>
                <c:pt idx="5533">
                  <c:v>0.34900990099009899</c:v>
                </c:pt>
                <c:pt idx="5534">
                  <c:v>0.34904458598726101</c:v>
                </c:pt>
                <c:pt idx="5535">
                  <c:v>0.34909090909090901</c:v>
                </c:pt>
                <c:pt idx="5536">
                  <c:v>0.34909090909090901</c:v>
                </c:pt>
                <c:pt idx="5537">
                  <c:v>0.34911242603550302</c:v>
                </c:pt>
                <c:pt idx="5538">
                  <c:v>0.34912718204488802</c:v>
                </c:pt>
                <c:pt idx="5539">
                  <c:v>0.34913112164297</c:v>
                </c:pt>
                <c:pt idx="5540">
                  <c:v>0.34915865384615402</c:v>
                </c:pt>
                <c:pt idx="5541">
                  <c:v>0.34920634920634902</c:v>
                </c:pt>
                <c:pt idx="5542">
                  <c:v>0.34920634920634902</c:v>
                </c:pt>
                <c:pt idx="5543">
                  <c:v>0.34931506849315103</c:v>
                </c:pt>
                <c:pt idx="5544">
                  <c:v>0.349381017881706</c:v>
                </c:pt>
                <c:pt idx="5545">
                  <c:v>0.34939759036144602</c:v>
                </c:pt>
                <c:pt idx="5546">
                  <c:v>0.34939759036144602</c:v>
                </c:pt>
                <c:pt idx="5547">
                  <c:v>0.34939759036144602</c:v>
                </c:pt>
                <c:pt idx="5548">
                  <c:v>0.34947464595705802</c:v>
                </c:pt>
                <c:pt idx="5549">
                  <c:v>0.34947643979057602</c:v>
                </c:pt>
                <c:pt idx="5550">
                  <c:v>0.34948979591836699</c:v>
                </c:pt>
                <c:pt idx="5551">
                  <c:v>0.34951456310679602</c:v>
                </c:pt>
                <c:pt idx="5552">
                  <c:v>0.34953395472703103</c:v>
                </c:pt>
                <c:pt idx="5553">
                  <c:v>0.34955752212389402</c:v>
                </c:pt>
                <c:pt idx="5554">
                  <c:v>0.34969325153374198</c:v>
                </c:pt>
                <c:pt idx="5555">
                  <c:v>0.34981684981685002</c:v>
                </c:pt>
                <c:pt idx="5556">
                  <c:v>0.34985422740524802</c:v>
                </c:pt>
                <c:pt idx="5557">
                  <c:v>0.34993614303959097</c:v>
                </c:pt>
                <c:pt idx="5558">
                  <c:v>0.35</c:v>
                </c:pt>
                <c:pt idx="5559">
                  <c:v>0.35</c:v>
                </c:pt>
                <c:pt idx="5560">
                  <c:v>0.35</c:v>
                </c:pt>
                <c:pt idx="5561">
                  <c:v>0.35</c:v>
                </c:pt>
                <c:pt idx="5562">
                  <c:v>0.35002454590083398</c:v>
                </c:pt>
                <c:pt idx="5563">
                  <c:v>0.35012594458438301</c:v>
                </c:pt>
                <c:pt idx="5564">
                  <c:v>0.35021097046413502</c:v>
                </c:pt>
                <c:pt idx="5565">
                  <c:v>0.35024549918166897</c:v>
                </c:pt>
                <c:pt idx="5566">
                  <c:v>0.35026737967914401</c:v>
                </c:pt>
                <c:pt idx="5567">
                  <c:v>0.350404312668464</c:v>
                </c:pt>
                <c:pt idx="5568">
                  <c:v>0.350631136044881</c:v>
                </c:pt>
                <c:pt idx="5569">
                  <c:v>0.35064935064935099</c:v>
                </c:pt>
                <c:pt idx="5570">
                  <c:v>0.35069444444444398</c:v>
                </c:pt>
                <c:pt idx="5571">
                  <c:v>0.35074626865671599</c:v>
                </c:pt>
                <c:pt idx="5572">
                  <c:v>0.35079726651480603</c:v>
                </c:pt>
                <c:pt idx="5573">
                  <c:v>0.35087719298245601</c:v>
                </c:pt>
                <c:pt idx="5574">
                  <c:v>0.35087719298245601</c:v>
                </c:pt>
                <c:pt idx="5575">
                  <c:v>0.35103926096997701</c:v>
                </c:pt>
                <c:pt idx="5576">
                  <c:v>0.35106382978723399</c:v>
                </c:pt>
                <c:pt idx="5577">
                  <c:v>0.35106382978723399</c:v>
                </c:pt>
                <c:pt idx="5578">
                  <c:v>0.35106382978723399</c:v>
                </c:pt>
                <c:pt idx="5579">
                  <c:v>0.35112936344969198</c:v>
                </c:pt>
                <c:pt idx="5580">
                  <c:v>0.35114503816793902</c:v>
                </c:pt>
                <c:pt idx="5581">
                  <c:v>0.35114503816793902</c:v>
                </c:pt>
                <c:pt idx="5582">
                  <c:v>0.35115864527629198</c:v>
                </c:pt>
                <c:pt idx="5583">
                  <c:v>0.351190476190476</c:v>
                </c:pt>
                <c:pt idx="5584">
                  <c:v>0.35135135135135098</c:v>
                </c:pt>
                <c:pt idx="5585">
                  <c:v>0.35135135135135098</c:v>
                </c:pt>
                <c:pt idx="5586">
                  <c:v>0.351417250838159</c:v>
                </c:pt>
                <c:pt idx="5587">
                  <c:v>0.35144927536231901</c:v>
                </c:pt>
                <c:pt idx="5588">
                  <c:v>0.35148514851485102</c:v>
                </c:pt>
                <c:pt idx="5589">
                  <c:v>0.35153583617747403</c:v>
                </c:pt>
                <c:pt idx="5590">
                  <c:v>0.35160905840286</c:v>
                </c:pt>
                <c:pt idx="5591">
                  <c:v>0.35162950257289899</c:v>
                </c:pt>
                <c:pt idx="5592">
                  <c:v>0.35174418604651198</c:v>
                </c:pt>
                <c:pt idx="5593">
                  <c:v>0.35175879396984899</c:v>
                </c:pt>
                <c:pt idx="5594">
                  <c:v>0.35185185185185203</c:v>
                </c:pt>
                <c:pt idx="5595">
                  <c:v>0.35185185185185203</c:v>
                </c:pt>
                <c:pt idx="5596">
                  <c:v>0.35185185185185203</c:v>
                </c:pt>
                <c:pt idx="5597">
                  <c:v>0.35189873417721501</c:v>
                </c:pt>
                <c:pt idx="5598">
                  <c:v>0.35191637630661998</c:v>
                </c:pt>
                <c:pt idx="5599">
                  <c:v>0.35195530726257002</c:v>
                </c:pt>
                <c:pt idx="5600">
                  <c:v>0.35195530726257002</c:v>
                </c:pt>
                <c:pt idx="5601">
                  <c:v>0.352112676056338</c:v>
                </c:pt>
                <c:pt idx="5602">
                  <c:v>0.35220125786163498</c:v>
                </c:pt>
                <c:pt idx="5603">
                  <c:v>0.352331606217617</c:v>
                </c:pt>
                <c:pt idx="5604">
                  <c:v>0.35234899328859098</c:v>
                </c:pt>
                <c:pt idx="5605">
                  <c:v>0.35245901639344301</c:v>
                </c:pt>
                <c:pt idx="5606">
                  <c:v>0.35249621785174001</c:v>
                </c:pt>
                <c:pt idx="5607">
                  <c:v>0.35268630849220101</c:v>
                </c:pt>
                <c:pt idx="5608">
                  <c:v>0.35282651072124699</c:v>
                </c:pt>
                <c:pt idx="5609">
                  <c:v>0.35294117647058798</c:v>
                </c:pt>
                <c:pt idx="5610">
                  <c:v>0.35294117647058798</c:v>
                </c:pt>
                <c:pt idx="5611">
                  <c:v>0.35294117647058798</c:v>
                </c:pt>
                <c:pt idx="5612">
                  <c:v>0.35294117647058798</c:v>
                </c:pt>
                <c:pt idx="5613">
                  <c:v>0.35294117647058798</c:v>
                </c:pt>
                <c:pt idx="5614">
                  <c:v>0.35294117647058798</c:v>
                </c:pt>
                <c:pt idx="5615">
                  <c:v>0.35294117647058798</c:v>
                </c:pt>
                <c:pt idx="5616">
                  <c:v>0.35296610169491499</c:v>
                </c:pt>
                <c:pt idx="5617">
                  <c:v>0.35301468291158999</c:v>
                </c:pt>
                <c:pt idx="5618">
                  <c:v>0.35303959843837102</c:v>
                </c:pt>
                <c:pt idx="5619">
                  <c:v>0.35307017543859598</c:v>
                </c:pt>
                <c:pt idx="5620">
                  <c:v>0.35310344827586199</c:v>
                </c:pt>
                <c:pt idx="5621">
                  <c:v>0.35317460317460297</c:v>
                </c:pt>
                <c:pt idx="5622">
                  <c:v>0.35319148936170203</c:v>
                </c:pt>
                <c:pt idx="5623">
                  <c:v>0.35329341317365298</c:v>
                </c:pt>
                <c:pt idx="5624">
                  <c:v>0.35341365461847402</c:v>
                </c:pt>
                <c:pt idx="5625">
                  <c:v>0.35343035343035301</c:v>
                </c:pt>
                <c:pt idx="5626">
                  <c:v>0.35344827586206901</c:v>
                </c:pt>
                <c:pt idx="5627">
                  <c:v>0.35346602608098798</c:v>
                </c:pt>
                <c:pt idx="5628">
                  <c:v>0.35353535353535298</c:v>
                </c:pt>
                <c:pt idx="5629">
                  <c:v>0.35353535353535298</c:v>
                </c:pt>
                <c:pt idx="5630">
                  <c:v>0.35356200527704501</c:v>
                </c:pt>
                <c:pt idx="5631">
                  <c:v>0.35359116022099402</c:v>
                </c:pt>
                <c:pt idx="5632">
                  <c:v>0.353658536585366</c:v>
                </c:pt>
                <c:pt idx="5633">
                  <c:v>0.35384615384615398</c:v>
                </c:pt>
                <c:pt idx="5634">
                  <c:v>0.35390946502057602</c:v>
                </c:pt>
                <c:pt idx="5635">
                  <c:v>0.35398230088495602</c:v>
                </c:pt>
                <c:pt idx="5636">
                  <c:v>0.35421994884910502</c:v>
                </c:pt>
                <c:pt idx="5637">
                  <c:v>0.35433070866141703</c:v>
                </c:pt>
                <c:pt idx="5638">
                  <c:v>0.35447338618346502</c:v>
                </c:pt>
                <c:pt idx="5639">
                  <c:v>0.35449735449735398</c:v>
                </c:pt>
                <c:pt idx="5640">
                  <c:v>0.35453983940704098</c:v>
                </c:pt>
                <c:pt idx="5641">
                  <c:v>0.35475113122171897</c:v>
                </c:pt>
                <c:pt idx="5642">
                  <c:v>0.35478105451295799</c:v>
                </c:pt>
                <c:pt idx="5643">
                  <c:v>0.35483870967741898</c:v>
                </c:pt>
                <c:pt idx="5644">
                  <c:v>0.35483870967741898</c:v>
                </c:pt>
                <c:pt idx="5645">
                  <c:v>0.35483870967741898</c:v>
                </c:pt>
                <c:pt idx="5646">
                  <c:v>0.35489290214195701</c:v>
                </c:pt>
                <c:pt idx="5647">
                  <c:v>0.35492957746478898</c:v>
                </c:pt>
                <c:pt idx="5648">
                  <c:v>0.35493827160493802</c:v>
                </c:pt>
                <c:pt idx="5649">
                  <c:v>0.354978354978355</c:v>
                </c:pt>
                <c:pt idx="5650">
                  <c:v>0.35501066098081002</c:v>
                </c:pt>
                <c:pt idx="5651">
                  <c:v>0.35503472222222199</c:v>
                </c:pt>
                <c:pt idx="5652">
                  <c:v>0.35507246376811602</c:v>
                </c:pt>
                <c:pt idx="5653">
                  <c:v>0.355203619909502</c:v>
                </c:pt>
                <c:pt idx="5654">
                  <c:v>0.35522388059701498</c:v>
                </c:pt>
                <c:pt idx="5655">
                  <c:v>0.355263157894737</c:v>
                </c:pt>
                <c:pt idx="5656">
                  <c:v>0.35535006605019798</c:v>
                </c:pt>
                <c:pt idx="5657">
                  <c:v>0.35545722713864297</c:v>
                </c:pt>
                <c:pt idx="5658">
                  <c:v>0.35555555555555601</c:v>
                </c:pt>
                <c:pt idx="5659">
                  <c:v>0.35555555555555601</c:v>
                </c:pt>
                <c:pt idx="5660">
                  <c:v>0.35563380281690099</c:v>
                </c:pt>
                <c:pt idx="5661">
                  <c:v>0.355704697986577</c:v>
                </c:pt>
                <c:pt idx="5662">
                  <c:v>0.355769230769231</c:v>
                </c:pt>
                <c:pt idx="5663">
                  <c:v>0.355769230769231</c:v>
                </c:pt>
                <c:pt idx="5664">
                  <c:v>0.355832241153342</c:v>
                </c:pt>
                <c:pt idx="5665">
                  <c:v>0.355855855855856</c:v>
                </c:pt>
                <c:pt idx="5666">
                  <c:v>0.35593220338983</c:v>
                </c:pt>
                <c:pt idx="5667">
                  <c:v>0.35593220338983</c:v>
                </c:pt>
                <c:pt idx="5668">
                  <c:v>0.35596707818930001</c:v>
                </c:pt>
                <c:pt idx="5669">
                  <c:v>0.35597189695550302</c:v>
                </c:pt>
                <c:pt idx="5670">
                  <c:v>0.35605511240028997</c:v>
                </c:pt>
                <c:pt idx="5671">
                  <c:v>0.35606060606060602</c:v>
                </c:pt>
                <c:pt idx="5672">
                  <c:v>0.356194690265487</c:v>
                </c:pt>
                <c:pt idx="5673">
                  <c:v>0.35625000000000001</c:v>
                </c:pt>
                <c:pt idx="5674">
                  <c:v>0.35625859697386503</c:v>
                </c:pt>
                <c:pt idx="5675">
                  <c:v>0.35628742514970102</c:v>
                </c:pt>
                <c:pt idx="5676">
                  <c:v>0.35632183908046</c:v>
                </c:pt>
                <c:pt idx="5677">
                  <c:v>0.35632183908046</c:v>
                </c:pt>
                <c:pt idx="5678">
                  <c:v>0.35634028892455899</c:v>
                </c:pt>
                <c:pt idx="5679">
                  <c:v>0.35643564356435598</c:v>
                </c:pt>
                <c:pt idx="5680">
                  <c:v>0.35649546827794598</c:v>
                </c:pt>
                <c:pt idx="5681">
                  <c:v>0.35658914728682201</c:v>
                </c:pt>
                <c:pt idx="5682">
                  <c:v>0.356643356643357</c:v>
                </c:pt>
                <c:pt idx="5683">
                  <c:v>0.35668202764976997</c:v>
                </c:pt>
                <c:pt idx="5684">
                  <c:v>0.35677530017152698</c:v>
                </c:pt>
                <c:pt idx="5685">
                  <c:v>0.35678391959799</c:v>
                </c:pt>
                <c:pt idx="5686">
                  <c:v>0.35678670360110798</c:v>
                </c:pt>
                <c:pt idx="5687">
                  <c:v>0.35679214402618697</c:v>
                </c:pt>
                <c:pt idx="5688">
                  <c:v>0.356883459887752</c:v>
                </c:pt>
                <c:pt idx="5689">
                  <c:v>0.35697399527186802</c:v>
                </c:pt>
                <c:pt idx="5690">
                  <c:v>0.35701275045537301</c:v>
                </c:pt>
                <c:pt idx="5691">
                  <c:v>0.35714285714285698</c:v>
                </c:pt>
                <c:pt idx="5692">
                  <c:v>0.35714285714285698</c:v>
                </c:pt>
                <c:pt idx="5693">
                  <c:v>0.35714285714285698</c:v>
                </c:pt>
                <c:pt idx="5694">
                  <c:v>0.35714285714285698</c:v>
                </c:pt>
                <c:pt idx="5695">
                  <c:v>0.35724962630792201</c:v>
                </c:pt>
                <c:pt idx="5696">
                  <c:v>0.35745614035087703</c:v>
                </c:pt>
                <c:pt idx="5697">
                  <c:v>0.35746606334841602</c:v>
                </c:pt>
                <c:pt idx="5698">
                  <c:v>0.35748792270531399</c:v>
                </c:pt>
                <c:pt idx="5699">
                  <c:v>0.35757575757575799</c:v>
                </c:pt>
                <c:pt idx="5700">
                  <c:v>0.35761589403973498</c:v>
                </c:pt>
                <c:pt idx="5701">
                  <c:v>0.35765124555160099</c:v>
                </c:pt>
                <c:pt idx="5702">
                  <c:v>0.35766423357664201</c:v>
                </c:pt>
                <c:pt idx="5703">
                  <c:v>0.35770234986945199</c:v>
                </c:pt>
                <c:pt idx="5704">
                  <c:v>0.35774058577405898</c:v>
                </c:pt>
                <c:pt idx="5705">
                  <c:v>0.35785953177257501</c:v>
                </c:pt>
                <c:pt idx="5706">
                  <c:v>0.35789473684210499</c:v>
                </c:pt>
                <c:pt idx="5707">
                  <c:v>0.35796766743649</c:v>
                </c:pt>
                <c:pt idx="5708">
                  <c:v>0.358024691358025</c:v>
                </c:pt>
                <c:pt idx="5709">
                  <c:v>0.358108108108108</c:v>
                </c:pt>
                <c:pt idx="5710">
                  <c:v>0.35817805383022799</c:v>
                </c:pt>
                <c:pt idx="5711">
                  <c:v>0.35820895522388102</c:v>
                </c:pt>
                <c:pt idx="5712">
                  <c:v>0.35820895522388102</c:v>
                </c:pt>
                <c:pt idx="5713">
                  <c:v>0.35826771653543299</c:v>
                </c:pt>
                <c:pt idx="5714">
                  <c:v>0.358333333333333</c:v>
                </c:pt>
                <c:pt idx="5715">
                  <c:v>0.358333333333333</c:v>
                </c:pt>
                <c:pt idx="5716">
                  <c:v>0.358447488584475</c:v>
                </c:pt>
                <c:pt idx="5717">
                  <c:v>0.35849056603773599</c:v>
                </c:pt>
                <c:pt idx="5718">
                  <c:v>0.35849056603773599</c:v>
                </c:pt>
                <c:pt idx="5719">
                  <c:v>0.35862068965517202</c:v>
                </c:pt>
                <c:pt idx="5720">
                  <c:v>0.35877862595419802</c:v>
                </c:pt>
                <c:pt idx="5721">
                  <c:v>0.35877862595419802</c:v>
                </c:pt>
                <c:pt idx="5722">
                  <c:v>0.35885167464114798</c:v>
                </c:pt>
                <c:pt idx="5723">
                  <c:v>0.35889570552147199</c:v>
                </c:pt>
                <c:pt idx="5724">
                  <c:v>0.35895765472312702</c:v>
                </c:pt>
                <c:pt idx="5725">
                  <c:v>0.35897435897435898</c:v>
                </c:pt>
                <c:pt idx="5726">
                  <c:v>0.35897435897435898</c:v>
                </c:pt>
                <c:pt idx="5727">
                  <c:v>0.35904628330995803</c:v>
                </c:pt>
                <c:pt idx="5728">
                  <c:v>0.35905044510385797</c:v>
                </c:pt>
                <c:pt idx="5729">
                  <c:v>0.35911602209944699</c:v>
                </c:pt>
                <c:pt idx="5730">
                  <c:v>0.35915492957746498</c:v>
                </c:pt>
                <c:pt idx="5731">
                  <c:v>0.35922330097087402</c:v>
                </c:pt>
                <c:pt idx="5732">
                  <c:v>0.359338061465721</c:v>
                </c:pt>
                <c:pt idx="5733">
                  <c:v>0.35934959349593498</c:v>
                </c:pt>
                <c:pt idx="5734">
                  <c:v>0.35960044395116503</c:v>
                </c:pt>
                <c:pt idx="5735">
                  <c:v>0.359649122807017</c:v>
                </c:pt>
                <c:pt idx="5736">
                  <c:v>0.35968379446640297</c:v>
                </c:pt>
                <c:pt idx="5737">
                  <c:v>0.35978835978835999</c:v>
                </c:pt>
                <c:pt idx="5738">
                  <c:v>0.35978835978835999</c:v>
                </c:pt>
                <c:pt idx="5739">
                  <c:v>0.35987002437042998</c:v>
                </c:pt>
                <c:pt idx="5740">
                  <c:v>0.35993740219092302</c:v>
                </c:pt>
                <c:pt idx="5741">
                  <c:v>0.359982898674647</c:v>
                </c:pt>
                <c:pt idx="5742">
                  <c:v>0.36</c:v>
                </c:pt>
                <c:pt idx="5743">
                  <c:v>0.36</c:v>
                </c:pt>
                <c:pt idx="5744">
                  <c:v>0.36</c:v>
                </c:pt>
                <c:pt idx="5745">
                  <c:v>0.36</c:v>
                </c:pt>
                <c:pt idx="5746">
                  <c:v>0.36006289308176098</c:v>
                </c:pt>
                <c:pt idx="5747">
                  <c:v>0.36013986013985999</c:v>
                </c:pt>
                <c:pt idx="5748">
                  <c:v>0.360153256704981</c:v>
                </c:pt>
                <c:pt idx="5749">
                  <c:v>0.36016096579476897</c:v>
                </c:pt>
                <c:pt idx="5750">
                  <c:v>0.36033519553072602</c:v>
                </c:pt>
                <c:pt idx="5751">
                  <c:v>0.36034482758620701</c:v>
                </c:pt>
                <c:pt idx="5752">
                  <c:v>0.36036036036036001</c:v>
                </c:pt>
                <c:pt idx="5753">
                  <c:v>0.36040609137055801</c:v>
                </c:pt>
                <c:pt idx="5754">
                  <c:v>0.36040609137055801</c:v>
                </c:pt>
                <c:pt idx="5755">
                  <c:v>0.36047575480329402</c:v>
                </c:pt>
                <c:pt idx="5756">
                  <c:v>0.36054421768707501</c:v>
                </c:pt>
                <c:pt idx="5757">
                  <c:v>0.36057692307692302</c:v>
                </c:pt>
                <c:pt idx="5758">
                  <c:v>0.36065573770491799</c:v>
                </c:pt>
                <c:pt idx="5759">
                  <c:v>0.360759493670886</c:v>
                </c:pt>
                <c:pt idx="5760">
                  <c:v>0.360799001248439</c:v>
                </c:pt>
                <c:pt idx="5761">
                  <c:v>0.36097560975609699</c:v>
                </c:pt>
                <c:pt idx="5762">
                  <c:v>0.360986547085202</c:v>
                </c:pt>
                <c:pt idx="5763">
                  <c:v>0.36103542234332398</c:v>
                </c:pt>
                <c:pt idx="5764">
                  <c:v>0.36116152450090699</c:v>
                </c:pt>
                <c:pt idx="5765">
                  <c:v>0.361179361179361</c:v>
                </c:pt>
                <c:pt idx="5766">
                  <c:v>0.36124401913875598</c:v>
                </c:pt>
                <c:pt idx="5767">
                  <c:v>0.36133768352365397</c:v>
                </c:pt>
                <c:pt idx="5768">
                  <c:v>0.36138613861386099</c:v>
                </c:pt>
                <c:pt idx="5769">
                  <c:v>0.36153846153846098</c:v>
                </c:pt>
                <c:pt idx="5770">
                  <c:v>0.36170212765957399</c:v>
                </c:pt>
                <c:pt idx="5771">
                  <c:v>0.36170212765957399</c:v>
                </c:pt>
                <c:pt idx="5772">
                  <c:v>0.36178107606679</c:v>
                </c:pt>
                <c:pt idx="5773">
                  <c:v>0.36184210526315802</c:v>
                </c:pt>
                <c:pt idx="5774">
                  <c:v>0.36196319018404899</c:v>
                </c:pt>
                <c:pt idx="5775">
                  <c:v>0.361990950226244</c:v>
                </c:pt>
                <c:pt idx="5776">
                  <c:v>0.36220472440944901</c:v>
                </c:pt>
                <c:pt idx="5777">
                  <c:v>0.36225352112676101</c:v>
                </c:pt>
                <c:pt idx="5778">
                  <c:v>0.36234309623430999</c:v>
                </c:pt>
                <c:pt idx="5779">
                  <c:v>0.36244541484716197</c:v>
                </c:pt>
                <c:pt idx="5780">
                  <c:v>0.36257309941520499</c:v>
                </c:pt>
                <c:pt idx="5781">
                  <c:v>0.36260623229461802</c:v>
                </c:pt>
                <c:pt idx="5782">
                  <c:v>0.36263736263736301</c:v>
                </c:pt>
                <c:pt idx="5783">
                  <c:v>0.36263736263736301</c:v>
                </c:pt>
                <c:pt idx="5784">
                  <c:v>0.36272545090180403</c:v>
                </c:pt>
                <c:pt idx="5785">
                  <c:v>0.36283185840707999</c:v>
                </c:pt>
                <c:pt idx="5786">
                  <c:v>0.36296296296296299</c:v>
                </c:pt>
                <c:pt idx="5787">
                  <c:v>0.36302142051860198</c:v>
                </c:pt>
                <c:pt idx="5788">
                  <c:v>0.36303630363036299</c:v>
                </c:pt>
                <c:pt idx="5789">
                  <c:v>0.36312849162011201</c:v>
                </c:pt>
                <c:pt idx="5790">
                  <c:v>0.36315789473684201</c:v>
                </c:pt>
                <c:pt idx="5791">
                  <c:v>0.36317907444668002</c:v>
                </c:pt>
                <c:pt idx="5792">
                  <c:v>0.36326530612244901</c:v>
                </c:pt>
                <c:pt idx="5793">
                  <c:v>0.36331569664903002</c:v>
                </c:pt>
                <c:pt idx="5794">
                  <c:v>0.36331569664903002</c:v>
                </c:pt>
                <c:pt idx="5795">
                  <c:v>0.36338418862690702</c:v>
                </c:pt>
                <c:pt idx="5796">
                  <c:v>0.36363636363636398</c:v>
                </c:pt>
                <c:pt idx="5797">
                  <c:v>0.36363636363636398</c:v>
                </c:pt>
                <c:pt idx="5798">
                  <c:v>0.36363636363636398</c:v>
                </c:pt>
                <c:pt idx="5799">
                  <c:v>0.36363636363636398</c:v>
                </c:pt>
                <c:pt idx="5800">
                  <c:v>0.36363636363636398</c:v>
                </c:pt>
                <c:pt idx="5801">
                  <c:v>0.36363636363636398</c:v>
                </c:pt>
                <c:pt idx="5802">
                  <c:v>0.36363636363636398</c:v>
                </c:pt>
                <c:pt idx="5803">
                  <c:v>0.36363636363636398</c:v>
                </c:pt>
                <c:pt idx="5804">
                  <c:v>0.36363636363636398</c:v>
                </c:pt>
                <c:pt idx="5805">
                  <c:v>0.36363636363636398</c:v>
                </c:pt>
                <c:pt idx="5806">
                  <c:v>0.36363636363636398</c:v>
                </c:pt>
                <c:pt idx="5807">
                  <c:v>0.36388888888888898</c:v>
                </c:pt>
                <c:pt idx="5808">
                  <c:v>0.36396396396396402</c:v>
                </c:pt>
                <c:pt idx="5809">
                  <c:v>0.36397058823529399</c:v>
                </c:pt>
                <c:pt idx="5810">
                  <c:v>0.36399999999999999</c:v>
                </c:pt>
                <c:pt idx="5811">
                  <c:v>0.36401098901098899</c:v>
                </c:pt>
                <c:pt idx="5812">
                  <c:v>0.36416184971098298</c:v>
                </c:pt>
                <c:pt idx="5813">
                  <c:v>0.36417910447761198</c:v>
                </c:pt>
                <c:pt idx="5814">
                  <c:v>0.36420722135007799</c:v>
                </c:pt>
                <c:pt idx="5815">
                  <c:v>0.36427566807313599</c:v>
                </c:pt>
                <c:pt idx="5816">
                  <c:v>0.36431226765799302</c:v>
                </c:pt>
                <c:pt idx="5817">
                  <c:v>0.36444444444444402</c:v>
                </c:pt>
                <c:pt idx="5818">
                  <c:v>0.36445444319460102</c:v>
                </c:pt>
                <c:pt idx="5819">
                  <c:v>0.36446886446886401</c:v>
                </c:pt>
                <c:pt idx="5820">
                  <c:v>0.36448598130841098</c:v>
                </c:pt>
                <c:pt idx="5821">
                  <c:v>0.36455696202531601</c:v>
                </c:pt>
                <c:pt idx="5822">
                  <c:v>0.36477987421383601</c:v>
                </c:pt>
                <c:pt idx="5823">
                  <c:v>0.36483931947069898</c:v>
                </c:pt>
                <c:pt idx="5824">
                  <c:v>0.36492890995260702</c:v>
                </c:pt>
                <c:pt idx="5825">
                  <c:v>0.36494845360824701</c:v>
                </c:pt>
                <c:pt idx="5826">
                  <c:v>0.36496350364963498</c:v>
                </c:pt>
                <c:pt idx="5827">
                  <c:v>0.36501516683518698</c:v>
                </c:pt>
                <c:pt idx="5828">
                  <c:v>0.36503623188405798</c:v>
                </c:pt>
                <c:pt idx="5829">
                  <c:v>0.36511156186612598</c:v>
                </c:pt>
                <c:pt idx="5830">
                  <c:v>0.365145228215768</c:v>
                </c:pt>
                <c:pt idx="5831">
                  <c:v>0.36516853932584298</c:v>
                </c:pt>
                <c:pt idx="5832">
                  <c:v>0.36520376175548602</c:v>
                </c:pt>
                <c:pt idx="5833">
                  <c:v>0.36521739130434799</c:v>
                </c:pt>
                <c:pt idx="5834">
                  <c:v>0.365234375</c:v>
                </c:pt>
                <c:pt idx="5835">
                  <c:v>0.36529680365296802</c:v>
                </c:pt>
                <c:pt idx="5836">
                  <c:v>0.36538461538461497</c:v>
                </c:pt>
                <c:pt idx="5837">
                  <c:v>0.36538461538461497</c:v>
                </c:pt>
                <c:pt idx="5838">
                  <c:v>0.36554021894335997</c:v>
                </c:pt>
                <c:pt idx="5839">
                  <c:v>0.36555891238670701</c:v>
                </c:pt>
                <c:pt idx="5840">
                  <c:v>0.36565420560747702</c:v>
                </c:pt>
                <c:pt idx="5841">
                  <c:v>0.36568213783403702</c:v>
                </c:pt>
                <c:pt idx="5842">
                  <c:v>0.36579572446555803</c:v>
                </c:pt>
                <c:pt idx="5843">
                  <c:v>0.36585365853658502</c:v>
                </c:pt>
                <c:pt idx="5844">
                  <c:v>0.36588818117480498</c:v>
                </c:pt>
                <c:pt idx="5845">
                  <c:v>0.36592178770949702</c:v>
                </c:pt>
                <c:pt idx="5846">
                  <c:v>0.36600496277915601</c:v>
                </c:pt>
                <c:pt idx="5847">
                  <c:v>0.36601307189542498</c:v>
                </c:pt>
                <c:pt idx="5848">
                  <c:v>0.36608442503638999</c:v>
                </c:pt>
                <c:pt idx="5849">
                  <c:v>0.36616161616161602</c:v>
                </c:pt>
                <c:pt idx="5850">
                  <c:v>0.366223908918406</c:v>
                </c:pt>
                <c:pt idx="5851">
                  <c:v>0.36625514403292198</c:v>
                </c:pt>
                <c:pt idx="5852">
                  <c:v>0.36625514403292198</c:v>
                </c:pt>
                <c:pt idx="5853">
                  <c:v>0.366265060240964</c:v>
                </c:pt>
                <c:pt idx="5854">
                  <c:v>0.366336633663366</c:v>
                </c:pt>
                <c:pt idx="5855">
                  <c:v>0.36635514018691601</c:v>
                </c:pt>
                <c:pt idx="5856">
                  <c:v>0.36641221374045801</c:v>
                </c:pt>
                <c:pt idx="5857">
                  <c:v>0.36644295302013402</c:v>
                </c:pt>
                <c:pt idx="5858">
                  <c:v>0.36647727272727298</c:v>
                </c:pt>
                <c:pt idx="5859">
                  <c:v>0.36664544875875199</c:v>
                </c:pt>
                <c:pt idx="5860">
                  <c:v>0.36666666666666697</c:v>
                </c:pt>
                <c:pt idx="5861">
                  <c:v>0.36666666666666697</c:v>
                </c:pt>
                <c:pt idx="5862">
                  <c:v>0.36666666666666697</c:v>
                </c:pt>
                <c:pt idx="5863">
                  <c:v>0.36666666666666697</c:v>
                </c:pt>
                <c:pt idx="5864">
                  <c:v>0.36693548387096803</c:v>
                </c:pt>
                <c:pt idx="5865">
                  <c:v>0.36701620591039102</c:v>
                </c:pt>
                <c:pt idx="5866">
                  <c:v>0.36705202312138702</c:v>
                </c:pt>
                <c:pt idx="5867">
                  <c:v>0.36729222520107202</c:v>
                </c:pt>
                <c:pt idx="5868">
                  <c:v>0.36732026143790802</c:v>
                </c:pt>
                <c:pt idx="5869">
                  <c:v>0.36734693877551</c:v>
                </c:pt>
                <c:pt idx="5870">
                  <c:v>0.36746987951807197</c:v>
                </c:pt>
                <c:pt idx="5871">
                  <c:v>0.36752136752136699</c:v>
                </c:pt>
                <c:pt idx="5872">
                  <c:v>0.36752136752136699</c:v>
                </c:pt>
                <c:pt idx="5873">
                  <c:v>0.367559523809524</c:v>
                </c:pt>
                <c:pt idx="5874">
                  <c:v>0.36756756756756798</c:v>
                </c:pt>
                <c:pt idx="5875">
                  <c:v>0.36758893280632399</c:v>
                </c:pt>
                <c:pt idx="5876">
                  <c:v>0.36762481089258697</c:v>
                </c:pt>
                <c:pt idx="5877">
                  <c:v>0.36774193548387102</c:v>
                </c:pt>
                <c:pt idx="5878">
                  <c:v>0.36776859504132198</c:v>
                </c:pt>
                <c:pt idx="5879">
                  <c:v>0.36781609195402298</c:v>
                </c:pt>
                <c:pt idx="5880">
                  <c:v>0.36792452830188699</c:v>
                </c:pt>
                <c:pt idx="5881">
                  <c:v>0.36805555555555602</c:v>
                </c:pt>
                <c:pt idx="5882">
                  <c:v>0.36805555555555602</c:v>
                </c:pt>
                <c:pt idx="5883">
                  <c:v>0.36806342015854998</c:v>
                </c:pt>
                <c:pt idx="5884">
                  <c:v>0.36809815950920199</c:v>
                </c:pt>
                <c:pt idx="5885">
                  <c:v>0.36820083682008398</c:v>
                </c:pt>
                <c:pt idx="5886">
                  <c:v>0.36826119969627902</c:v>
                </c:pt>
                <c:pt idx="5887">
                  <c:v>0.36831683168316798</c:v>
                </c:pt>
                <c:pt idx="5888">
                  <c:v>0.36833602584814201</c:v>
                </c:pt>
                <c:pt idx="5889">
                  <c:v>0.36842105263157898</c:v>
                </c:pt>
                <c:pt idx="5890">
                  <c:v>0.36842105263157898</c:v>
                </c:pt>
                <c:pt idx="5891">
                  <c:v>0.36842105263157898</c:v>
                </c:pt>
                <c:pt idx="5892">
                  <c:v>0.36842105263157898</c:v>
                </c:pt>
                <c:pt idx="5893">
                  <c:v>0.36842105263157898</c:v>
                </c:pt>
                <c:pt idx="5894">
                  <c:v>0.36843740292016097</c:v>
                </c:pt>
                <c:pt idx="5895">
                  <c:v>0.36851520572450802</c:v>
                </c:pt>
                <c:pt idx="5896">
                  <c:v>0.368531102979613</c:v>
                </c:pt>
                <c:pt idx="5897">
                  <c:v>0.36863966770508799</c:v>
                </c:pt>
                <c:pt idx="5898">
                  <c:v>0.36879432624113501</c:v>
                </c:pt>
                <c:pt idx="5899">
                  <c:v>0.368972746331237</c:v>
                </c:pt>
                <c:pt idx="5900">
                  <c:v>0.36902050113895202</c:v>
                </c:pt>
                <c:pt idx="5901">
                  <c:v>0.36904761904761901</c:v>
                </c:pt>
                <c:pt idx="5902">
                  <c:v>0.36904761904761901</c:v>
                </c:pt>
                <c:pt idx="5903">
                  <c:v>0.36923076923076897</c:v>
                </c:pt>
                <c:pt idx="5904">
                  <c:v>0.36923076923076897</c:v>
                </c:pt>
                <c:pt idx="5905">
                  <c:v>0.36923076923076897</c:v>
                </c:pt>
                <c:pt idx="5906">
                  <c:v>0.36929460580912898</c:v>
                </c:pt>
                <c:pt idx="5907">
                  <c:v>0.36934673366834198</c:v>
                </c:pt>
                <c:pt idx="5908">
                  <c:v>0.36935704514363898</c:v>
                </c:pt>
                <c:pt idx="5909">
                  <c:v>0.36936936936936898</c:v>
                </c:pt>
                <c:pt idx="5910">
                  <c:v>0.36938775510204103</c:v>
                </c:pt>
                <c:pt idx="5911">
                  <c:v>0.36942675159235699</c:v>
                </c:pt>
                <c:pt idx="5912">
                  <c:v>0.36944302503832399</c:v>
                </c:pt>
                <c:pt idx="5913">
                  <c:v>0.36949152542372898</c:v>
                </c:pt>
                <c:pt idx="5914">
                  <c:v>0.36955380577427799</c:v>
                </c:pt>
                <c:pt idx="5915">
                  <c:v>0.36956521739130399</c:v>
                </c:pt>
                <c:pt idx="5916">
                  <c:v>0.36956521739130399</c:v>
                </c:pt>
                <c:pt idx="5917">
                  <c:v>0.36961160904822898</c:v>
                </c:pt>
                <c:pt idx="5918">
                  <c:v>0.36986301369863001</c:v>
                </c:pt>
                <c:pt idx="5919">
                  <c:v>0.36986301369863001</c:v>
                </c:pt>
                <c:pt idx="5920">
                  <c:v>0.36988847583643097</c:v>
                </c:pt>
                <c:pt idx="5921">
                  <c:v>0.37</c:v>
                </c:pt>
                <c:pt idx="5922">
                  <c:v>0.37002881844380398</c:v>
                </c:pt>
                <c:pt idx="5923">
                  <c:v>0.37007874015747999</c:v>
                </c:pt>
                <c:pt idx="5924">
                  <c:v>0.37009803921568601</c:v>
                </c:pt>
                <c:pt idx="5925">
                  <c:v>0.370114942528736</c:v>
                </c:pt>
                <c:pt idx="5926">
                  <c:v>0.37016574585635398</c:v>
                </c:pt>
                <c:pt idx="5927">
                  <c:v>0.370281124497992</c:v>
                </c:pt>
                <c:pt idx="5928">
                  <c:v>0.37037037037037002</c:v>
                </c:pt>
                <c:pt idx="5929">
                  <c:v>0.37037037037037002</c:v>
                </c:pt>
                <c:pt idx="5930">
                  <c:v>0.37037037037037002</c:v>
                </c:pt>
                <c:pt idx="5931">
                  <c:v>0.37037037037037002</c:v>
                </c:pt>
                <c:pt idx="5932">
                  <c:v>0.37037037037037002</c:v>
                </c:pt>
                <c:pt idx="5933">
                  <c:v>0.37037037037037002</c:v>
                </c:pt>
                <c:pt idx="5934">
                  <c:v>0.37053571428571402</c:v>
                </c:pt>
                <c:pt idx="5935">
                  <c:v>0.37068965517241398</c:v>
                </c:pt>
                <c:pt idx="5936">
                  <c:v>0.37072299910740802</c:v>
                </c:pt>
                <c:pt idx="5937">
                  <c:v>0.37075575027382301</c:v>
                </c:pt>
                <c:pt idx="5938">
                  <c:v>0.37082601054481501</c:v>
                </c:pt>
                <c:pt idx="5939">
                  <c:v>0.37089201877934302</c:v>
                </c:pt>
                <c:pt idx="5940">
                  <c:v>0.37096774193548399</c:v>
                </c:pt>
                <c:pt idx="5941">
                  <c:v>0.37113402061855699</c:v>
                </c:pt>
                <c:pt idx="5942">
                  <c:v>0.371301775147929</c:v>
                </c:pt>
                <c:pt idx="5943">
                  <c:v>0.371428571428571</c:v>
                </c:pt>
                <c:pt idx="5944">
                  <c:v>0.371428571428571</c:v>
                </c:pt>
                <c:pt idx="5945">
                  <c:v>0.371428571428571</c:v>
                </c:pt>
                <c:pt idx="5946">
                  <c:v>0.37147887323943701</c:v>
                </c:pt>
                <c:pt idx="5947">
                  <c:v>0.37158469945355199</c:v>
                </c:pt>
                <c:pt idx="5948">
                  <c:v>0.37166324435318299</c:v>
                </c:pt>
                <c:pt idx="5949">
                  <c:v>0.37167381974248898</c:v>
                </c:pt>
                <c:pt idx="5950">
                  <c:v>0.37179487179487197</c:v>
                </c:pt>
                <c:pt idx="5951">
                  <c:v>0.37182448036951499</c:v>
                </c:pt>
                <c:pt idx="5952">
                  <c:v>0.371848739495798</c:v>
                </c:pt>
                <c:pt idx="5953">
                  <c:v>0.37195121951219501</c:v>
                </c:pt>
                <c:pt idx="5954">
                  <c:v>0.37201365187713298</c:v>
                </c:pt>
                <c:pt idx="5955">
                  <c:v>0.37205081669691498</c:v>
                </c:pt>
                <c:pt idx="5956">
                  <c:v>0.372093023255814</c:v>
                </c:pt>
                <c:pt idx="5957">
                  <c:v>0.372093023255814</c:v>
                </c:pt>
                <c:pt idx="5958">
                  <c:v>0.37222222222222201</c:v>
                </c:pt>
                <c:pt idx="5959">
                  <c:v>0.37225433526011598</c:v>
                </c:pt>
                <c:pt idx="5960">
                  <c:v>0.37229437229437201</c:v>
                </c:pt>
                <c:pt idx="5961">
                  <c:v>0.37237237237237197</c:v>
                </c:pt>
                <c:pt idx="5962">
                  <c:v>0.37254901960784298</c:v>
                </c:pt>
                <c:pt idx="5963">
                  <c:v>0.37254901960784298</c:v>
                </c:pt>
                <c:pt idx="5964">
                  <c:v>0.37258064516129002</c:v>
                </c:pt>
                <c:pt idx="5965">
                  <c:v>0.37267080745341602</c:v>
                </c:pt>
                <c:pt idx="5966">
                  <c:v>0.37272727272727302</c:v>
                </c:pt>
                <c:pt idx="5967">
                  <c:v>0.37272727272727302</c:v>
                </c:pt>
                <c:pt idx="5968">
                  <c:v>0.37288135593220301</c:v>
                </c:pt>
                <c:pt idx="5969">
                  <c:v>0.37288135593220301</c:v>
                </c:pt>
                <c:pt idx="5970">
                  <c:v>0.37288135593220301</c:v>
                </c:pt>
                <c:pt idx="5971">
                  <c:v>0.37295081967213101</c:v>
                </c:pt>
                <c:pt idx="5972">
                  <c:v>0.37301587301587302</c:v>
                </c:pt>
                <c:pt idx="5973">
                  <c:v>0.37306201550387602</c:v>
                </c:pt>
                <c:pt idx="5974">
                  <c:v>0.37323943661971798</c:v>
                </c:pt>
                <c:pt idx="5975">
                  <c:v>0.37325349301397198</c:v>
                </c:pt>
                <c:pt idx="5976">
                  <c:v>0.37331898870360403</c:v>
                </c:pt>
                <c:pt idx="5977">
                  <c:v>0.37336244541484698</c:v>
                </c:pt>
                <c:pt idx="5978">
                  <c:v>0.373493975903614</c:v>
                </c:pt>
                <c:pt idx="5979">
                  <c:v>0.373493975903614</c:v>
                </c:pt>
                <c:pt idx="5980">
                  <c:v>0.37353600797408398</c:v>
                </c:pt>
                <c:pt idx="5981">
                  <c:v>0.37357954545454503</c:v>
                </c:pt>
                <c:pt idx="5982">
                  <c:v>0.37362637362637402</c:v>
                </c:pt>
                <c:pt idx="5983">
                  <c:v>0.37368922783603398</c:v>
                </c:pt>
                <c:pt idx="5984">
                  <c:v>0.37373737373737398</c:v>
                </c:pt>
                <c:pt idx="5985">
                  <c:v>0.37373737373737398</c:v>
                </c:pt>
                <c:pt idx="5986">
                  <c:v>0.37373737373737398</c:v>
                </c:pt>
                <c:pt idx="5987">
                  <c:v>0.37373737373737398</c:v>
                </c:pt>
                <c:pt idx="5988">
                  <c:v>0.37391304347826099</c:v>
                </c:pt>
                <c:pt idx="5989">
                  <c:v>0.37404580152671801</c:v>
                </c:pt>
                <c:pt idx="5990">
                  <c:v>0.37404580152671801</c:v>
                </c:pt>
                <c:pt idx="5991">
                  <c:v>0.37404580152671801</c:v>
                </c:pt>
                <c:pt idx="5992">
                  <c:v>0.37427325581395299</c:v>
                </c:pt>
                <c:pt idx="5993">
                  <c:v>0.37433155080213898</c:v>
                </c:pt>
                <c:pt idx="5994">
                  <c:v>0.37433155080213898</c:v>
                </c:pt>
                <c:pt idx="5995">
                  <c:v>0.37436548223350202</c:v>
                </c:pt>
                <c:pt idx="5996">
                  <c:v>0.37437185929648198</c:v>
                </c:pt>
                <c:pt idx="5997">
                  <c:v>0.37437365783822502</c:v>
                </c:pt>
                <c:pt idx="5998">
                  <c:v>0.374387683694892</c:v>
                </c:pt>
                <c:pt idx="5999">
                  <c:v>0.37450199203187201</c:v>
                </c:pt>
                <c:pt idx="6000">
                  <c:v>0.37454545454545501</c:v>
                </c:pt>
                <c:pt idx="6001">
                  <c:v>0.37457044673539502</c:v>
                </c:pt>
                <c:pt idx="6002">
                  <c:v>0.37468982630272901</c:v>
                </c:pt>
                <c:pt idx="6003">
                  <c:v>0.37477148080438699</c:v>
                </c:pt>
                <c:pt idx="6004">
                  <c:v>0.37477797513321498</c:v>
                </c:pt>
                <c:pt idx="6005">
                  <c:v>0.375</c:v>
                </c:pt>
                <c:pt idx="6006">
                  <c:v>0.375</c:v>
                </c:pt>
                <c:pt idx="6007">
                  <c:v>0.375</c:v>
                </c:pt>
                <c:pt idx="6008">
                  <c:v>0.375</c:v>
                </c:pt>
                <c:pt idx="6009">
                  <c:v>0.375</c:v>
                </c:pt>
                <c:pt idx="6010">
                  <c:v>0.375</c:v>
                </c:pt>
                <c:pt idx="6011">
                  <c:v>0.375</c:v>
                </c:pt>
                <c:pt idx="6012">
                  <c:v>0.37513873473917903</c:v>
                </c:pt>
                <c:pt idx="6013">
                  <c:v>0.37515683814303602</c:v>
                </c:pt>
                <c:pt idx="6014">
                  <c:v>0.375352112676056</c:v>
                </c:pt>
                <c:pt idx="6015">
                  <c:v>0.37542662116040898</c:v>
                </c:pt>
                <c:pt idx="6016">
                  <c:v>0.37546468401486999</c:v>
                </c:pt>
                <c:pt idx="6017">
                  <c:v>0.37550744248985102</c:v>
                </c:pt>
                <c:pt idx="6018">
                  <c:v>0.37563451776649698</c:v>
                </c:pt>
                <c:pt idx="6019">
                  <c:v>0.37566137566137597</c:v>
                </c:pt>
                <c:pt idx="6020">
                  <c:v>0.37570476678626302</c:v>
                </c:pt>
                <c:pt idx="6021">
                  <c:v>0.37573964497041401</c:v>
                </c:pt>
                <c:pt idx="6022">
                  <c:v>0.37581699346405201</c:v>
                </c:pt>
                <c:pt idx="6023">
                  <c:v>0.375925925925926</c:v>
                </c:pt>
                <c:pt idx="6024">
                  <c:v>0.37595419847328199</c:v>
                </c:pt>
                <c:pt idx="6025">
                  <c:v>0.37601626016260198</c:v>
                </c:pt>
                <c:pt idx="6026">
                  <c:v>0.37606837606837601</c:v>
                </c:pt>
                <c:pt idx="6027">
                  <c:v>0.37609329446064099</c:v>
                </c:pt>
                <c:pt idx="6028">
                  <c:v>0.37609561752988002</c:v>
                </c:pt>
                <c:pt idx="6029">
                  <c:v>0.37611940298507501</c:v>
                </c:pt>
                <c:pt idx="6030">
                  <c:v>0.37619961612284097</c:v>
                </c:pt>
                <c:pt idx="6031">
                  <c:v>0.37638786084381898</c:v>
                </c:pt>
                <c:pt idx="6032">
                  <c:v>0.37639601569574399</c:v>
                </c:pt>
                <c:pt idx="6033">
                  <c:v>0.376470588235294</c:v>
                </c:pt>
                <c:pt idx="6034">
                  <c:v>0.37662337662337703</c:v>
                </c:pt>
                <c:pt idx="6035">
                  <c:v>0.376651982378855</c:v>
                </c:pt>
                <c:pt idx="6036">
                  <c:v>0.37671232876712302</c:v>
                </c:pt>
                <c:pt idx="6037">
                  <c:v>0.376744186046512</c:v>
                </c:pt>
                <c:pt idx="6038">
                  <c:v>0.37700534759358301</c:v>
                </c:pt>
                <c:pt idx="6039">
                  <c:v>0.37704918032786899</c:v>
                </c:pt>
                <c:pt idx="6040">
                  <c:v>0.37704918032786899</c:v>
                </c:pt>
                <c:pt idx="6041">
                  <c:v>0.377097729516288</c:v>
                </c:pt>
                <c:pt idx="6042">
                  <c:v>0.377104377104377</c:v>
                </c:pt>
                <c:pt idx="6043">
                  <c:v>0.37711864406779699</c:v>
                </c:pt>
                <c:pt idx="6044">
                  <c:v>0.377124183006536</c:v>
                </c:pt>
                <c:pt idx="6045">
                  <c:v>0.37717121588089297</c:v>
                </c:pt>
                <c:pt idx="6046">
                  <c:v>0.37727272727272698</c:v>
                </c:pt>
                <c:pt idx="6047">
                  <c:v>0.37727272727272698</c:v>
                </c:pt>
                <c:pt idx="6048">
                  <c:v>0.37729549248747901</c:v>
                </c:pt>
                <c:pt idx="6049">
                  <c:v>0.37731958762886603</c:v>
                </c:pt>
                <c:pt idx="6050">
                  <c:v>0.37735849056603799</c:v>
                </c:pt>
                <c:pt idx="6051">
                  <c:v>0.37749546279491802</c:v>
                </c:pt>
                <c:pt idx="6052">
                  <c:v>0.37751004016064199</c:v>
                </c:pt>
                <c:pt idx="6053">
                  <c:v>0.37752161383285299</c:v>
                </c:pt>
                <c:pt idx="6054">
                  <c:v>0.37756332931242498</c:v>
                </c:pt>
                <c:pt idx="6055">
                  <c:v>0.37765957446808501</c:v>
                </c:pt>
                <c:pt idx="6056">
                  <c:v>0.37765957446808501</c:v>
                </c:pt>
                <c:pt idx="6057">
                  <c:v>0.37769784172661902</c:v>
                </c:pt>
                <c:pt idx="6058">
                  <c:v>0.37784090909090901</c:v>
                </c:pt>
                <c:pt idx="6059">
                  <c:v>0.377875136911281</c:v>
                </c:pt>
                <c:pt idx="6060">
                  <c:v>0.37789203084832901</c:v>
                </c:pt>
                <c:pt idx="6061">
                  <c:v>0.37837837837837801</c:v>
                </c:pt>
                <c:pt idx="6062">
                  <c:v>0.37837837837837801</c:v>
                </c:pt>
                <c:pt idx="6063">
                  <c:v>0.37842778793418602</c:v>
                </c:pt>
                <c:pt idx="6064">
                  <c:v>0.37847222222222199</c:v>
                </c:pt>
                <c:pt idx="6065">
                  <c:v>0.37850467289719603</c:v>
                </c:pt>
                <c:pt idx="6066">
                  <c:v>0.37852112676056299</c:v>
                </c:pt>
                <c:pt idx="6067">
                  <c:v>0.37862950058071998</c:v>
                </c:pt>
                <c:pt idx="6068">
                  <c:v>0.37865497076023402</c:v>
                </c:pt>
                <c:pt idx="6069">
                  <c:v>0.37878787878787901</c:v>
                </c:pt>
                <c:pt idx="6070">
                  <c:v>0.37881508078994602</c:v>
                </c:pt>
                <c:pt idx="6071">
                  <c:v>0.37894736842105298</c:v>
                </c:pt>
                <c:pt idx="6072">
                  <c:v>0.37894736842105298</c:v>
                </c:pt>
                <c:pt idx="6073">
                  <c:v>0.37897310513447402</c:v>
                </c:pt>
                <c:pt idx="6074">
                  <c:v>0.37903225806451601</c:v>
                </c:pt>
                <c:pt idx="6075">
                  <c:v>0.379120879120879</c:v>
                </c:pt>
                <c:pt idx="6076">
                  <c:v>0.37924701561065199</c:v>
                </c:pt>
                <c:pt idx="6077">
                  <c:v>0.37931034482758602</c:v>
                </c:pt>
                <c:pt idx="6078">
                  <c:v>0.37931034482758602</c:v>
                </c:pt>
                <c:pt idx="6079">
                  <c:v>0.37931034482758602</c:v>
                </c:pt>
                <c:pt idx="6080">
                  <c:v>0.37931034482758602</c:v>
                </c:pt>
                <c:pt idx="6081">
                  <c:v>0.37931034482758602</c:v>
                </c:pt>
                <c:pt idx="6082">
                  <c:v>0.37935483870967701</c:v>
                </c:pt>
                <c:pt idx="6083">
                  <c:v>0.37944664031620501</c:v>
                </c:pt>
                <c:pt idx="6084">
                  <c:v>0.379780386217342</c:v>
                </c:pt>
                <c:pt idx="6085">
                  <c:v>0.37980769230769201</c:v>
                </c:pt>
                <c:pt idx="6086">
                  <c:v>0.37995049504950501</c:v>
                </c:pt>
                <c:pt idx="6087">
                  <c:v>0.38</c:v>
                </c:pt>
                <c:pt idx="6088">
                  <c:v>0.380145278450363</c:v>
                </c:pt>
                <c:pt idx="6089">
                  <c:v>0.380145278450363</c:v>
                </c:pt>
                <c:pt idx="6090">
                  <c:v>0.38016528925619802</c:v>
                </c:pt>
                <c:pt idx="6091">
                  <c:v>0.38016528925619802</c:v>
                </c:pt>
                <c:pt idx="6092">
                  <c:v>0.38016528925619802</c:v>
                </c:pt>
                <c:pt idx="6093">
                  <c:v>0.38020833333333298</c:v>
                </c:pt>
                <c:pt idx="6094">
                  <c:v>0.38028169014084501</c:v>
                </c:pt>
                <c:pt idx="6095">
                  <c:v>0.38028169014084501</c:v>
                </c:pt>
                <c:pt idx="6096">
                  <c:v>0.38030560271646902</c:v>
                </c:pt>
                <c:pt idx="6097">
                  <c:v>0.380368098159509</c:v>
                </c:pt>
                <c:pt idx="6098">
                  <c:v>0.38038277511961699</c:v>
                </c:pt>
                <c:pt idx="6099">
                  <c:v>0.38059701492537301</c:v>
                </c:pt>
                <c:pt idx="6100">
                  <c:v>0.38075017692852098</c:v>
                </c:pt>
                <c:pt idx="6101">
                  <c:v>0.38095238095238099</c:v>
                </c:pt>
                <c:pt idx="6102">
                  <c:v>0.38095238095238099</c:v>
                </c:pt>
                <c:pt idx="6103">
                  <c:v>0.38110236220472399</c:v>
                </c:pt>
                <c:pt idx="6104">
                  <c:v>0.38111888111888098</c:v>
                </c:pt>
                <c:pt idx="6105">
                  <c:v>0.38118811881188103</c:v>
                </c:pt>
                <c:pt idx="6106">
                  <c:v>0.38121546961326003</c:v>
                </c:pt>
                <c:pt idx="6107">
                  <c:v>0.38133333333333302</c:v>
                </c:pt>
                <c:pt idx="6108">
                  <c:v>0.381374722838137</c:v>
                </c:pt>
                <c:pt idx="6109">
                  <c:v>0.38145315487571702</c:v>
                </c:pt>
                <c:pt idx="6110">
                  <c:v>0.381509032943677</c:v>
                </c:pt>
                <c:pt idx="6111">
                  <c:v>0.38160377358490599</c:v>
                </c:pt>
                <c:pt idx="6112">
                  <c:v>0.38161559888579399</c:v>
                </c:pt>
                <c:pt idx="6113">
                  <c:v>0.38174273858921198</c:v>
                </c:pt>
                <c:pt idx="6114">
                  <c:v>0.38174550299800097</c:v>
                </c:pt>
                <c:pt idx="6115">
                  <c:v>0.38179800221975602</c:v>
                </c:pt>
                <c:pt idx="6116">
                  <c:v>0.381818181818182</c:v>
                </c:pt>
                <c:pt idx="6117">
                  <c:v>0.381818181818182</c:v>
                </c:pt>
                <c:pt idx="6118">
                  <c:v>0.38188976377952699</c:v>
                </c:pt>
                <c:pt idx="6119">
                  <c:v>0.38194444444444398</c:v>
                </c:pt>
                <c:pt idx="6120">
                  <c:v>0.38197424892703902</c:v>
                </c:pt>
                <c:pt idx="6121">
                  <c:v>0.38205128205128203</c:v>
                </c:pt>
                <c:pt idx="6122">
                  <c:v>0.382059800664452</c:v>
                </c:pt>
                <c:pt idx="6123">
                  <c:v>0.382059800664452</c:v>
                </c:pt>
                <c:pt idx="6124">
                  <c:v>0.38216560509554098</c:v>
                </c:pt>
                <c:pt idx="6125">
                  <c:v>0.38222222222222202</c:v>
                </c:pt>
                <c:pt idx="6126">
                  <c:v>0.38235294117647101</c:v>
                </c:pt>
                <c:pt idx="6127">
                  <c:v>0.38241308793456003</c:v>
                </c:pt>
                <c:pt idx="6128">
                  <c:v>0.38255033557047002</c:v>
                </c:pt>
                <c:pt idx="6129">
                  <c:v>0.382737576285963</c:v>
                </c:pt>
                <c:pt idx="6130">
                  <c:v>0.3828125</c:v>
                </c:pt>
                <c:pt idx="6131">
                  <c:v>0.3828125</c:v>
                </c:pt>
                <c:pt idx="6132">
                  <c:v>0.3828125</c:v>
                </c:pt>
                <c:pt idx="6133">
                  <c:v>0.3828125</c:v>
                </c:pt>
                <c:pt idx="6134">
                  <c:v>0.38283828382838297</c:v>
                </c:pt>
                <c:pt idx="6135">
                  <c:v>0.38307349665924301</c:v>
                </c:pt>
                <c:pt idx="6136">
                  <c:v>0.38322813345356199</c:v>
                </c:pt>
                <c:pt idx="6137">
                  <c:v>0.383367139959432</c:v>
                </c:pt>
                <c:pt idx="6138">
                  <c:v>0.38348868175765599</c:v>
                </c:pt>
                <c:pt idx="6139">
                  <c:v>0.38349514563106801</c:v>
                </c:pt>
                <c:pt idx="6140">
                  <c:v>0.38351254480286701</c:v>
                </c:pt>
                <c:pt idx="6141">
                  <c:v>0.38356164383561597</c:v>
                </c:pt>
                <c:pt idx="6142">
                  <c:v>0.38372093023255799</c:v>
                </c:pt>
                <c:pt idx="6143">
                  <c:v>0.38383838383838398</c:v>
                </c:pt>
                <c:pt idx="6144">
                  <c:v>0.38400000000000001</c:v>
                </c:pt>
                <c:pt idx="6145">
                  <c:v>0.38403041825095102</c:v>
                </c:pt>
                <c:pt idx="6146">
                  <c:v>0.38405797101449302</c:v>
                </c:pt>
                <c:pt idx="6147">
                  <c:v>0.384133611691023</c:v>
                </c:pt>
                <c:pt idx="6148">
                  <c:v>0.38428647781934799</c:v>
                </c:pt>
                <c:pt idx="6149">
                  <c:v>0.38431649593783102</c:v>
                </c:pt>
                <c:pt idx="6150">
                  <c:v>0.38435754189944099</c:v>
                </c:pt>
                <c:pt idx="6151">
                  <c:v>0.38455008488964298</c:v>
                </c:pt>
                <c:pt idx="6152">
                  <c:v>0.38461538461538503</c:v>
                </c:pt>
                <c:pt idx="6153">
                  <c:v>0.38461538461538503</c:v>
                </c:pt>
                <c:pt idx="6154">
                  <c:v>0.38461538461538503</c:v>
                </c:pt>
                <c:pt idx="6155">
                  <c:v>0.38461538461538503</c:v>
                </c:pt>
                <c:pt idx="6156">
                  <c:v>0.38461538461538503</c:v>
                </c:pt>
                <c:pt idx="6157">
                  <c:v>0.38461538461538503</c:v>
                </c:pt>
                <c:pt idx="6158">
                  <c:v>0.38461538461538503</c:v>
                </c:pt>
                <c:pt idx="6159">
                  <c:v>0.38461538461538503</c:v>
                </c:pt>
                <c:pt idx="6160">
                  <c:v>0.38461538461538503</c:v>
                </c:pt>
                <c:pt idx="6161">
                  <c:v>0.38461538461538503</c:v>
                </c:pt>
                <c:pt idx="6162">
                  <c:v>0.38461538461538503</c:v>
                </c:pt>
                <c:pt idx="6163">
                  <c:v>0.38476190476190503</c:v>
                </c:pt>
                <c:pt idx="6164">
                  <c:v>0.38490566037735802</c:v>
                </c:pt>
                <c:pt idx="6165">
                  <c:v>0.38495575221238898</c:v>
                </c:pt>
                <c:pt idx="6166">
                  <c:v>0.38497652582159603</c:v>
                </c:pt>
                <c:pt idx="6167">
                  <c:v>0.385085574572127</c:v>
                </c:pt>
                <c:pt idx="6168">
                  <c:v>0.38513513513513498</c:v>
                </c:pt>
                <c:pt idx="6169">
                  <c:v>0.38515674984005099</c:v>
                </c:pt>
                <c:pt idx="6170">
                  <c:v>0.38524590163934402</c:v>
                </c:pt>
                <c:pt idx="6171">
                  <c:v>0.38532110091743099</c:v>
                </c:pt>
                <c:pt idx="6172">
                  <c:v>0.38536585365853698</c:v>
                </c:pt>
                <c:pt idx="6173">
                  <c:v>0.38541666666666702</c:v>
                </c:pt>
                <c:pt idx="6174">
                  <c:v>0.38547486033519501</c:v>
                </c:pt>
                <c:pt idx="6175">
                  <c:v>0.38562091503267998</c:v>
                </c:pt>
                <c:pt idx="6176">
                  <c:v>0.38567493112947698</c:v>
                </c:pt>
                <c:pt idx="6177">
                  <c:v>0.38571428571428601</c:v>
                </c:pt>
                <c:pt idx="6178">
                  <c:v>0.38571428571428601</c:v>
                </c:pt>
                <c:pt idx="6179">
                  <c:v>0.385752688172043</c:v>
                </c:pt>
                <c:pt idx="6180">
                  <c:v>0.38586956521739102</c:v>
                </c:pt>
                <c:pt idx="6181">
                  <c:v>0.38596491228070201</c:v>
                </c:pt>
                <c:pt idx="6182">
                  <c:v>0.38598901098901101</c:v>
                </c:pt>
                <c:pt idx="6183">
                  <c:v>0.38636363636363602</c:v>
                </c:pt>
                <c:pt idx="6184">
                  <c:v>0.38638920134983101</c:v>
                </c:pt>
                <c:pt idx="6185">
                  <c:v>0.38640132669983401</c:v>
                </c:pt>
                <c:pt idx="6186">
                  <c:v>0.38650306748466301</c:v>
                </c:pt>
                <c:pt idx="6187">
                  <c:v>0.38655462184873901</c:v>
                </c:pt>
                <c:pt idx="6188">
                  <c:v>0.38658777120315602</c:v>
                </c:pt>
                <c:pt idx="6189">
                  <c:v>0.38666666666666699</c:v>
                </c:pt>
                <c:pt idx="6190">
                  <c:v>0.38666666666666699</c:v>
                </c:pt>
                <c:pt idx="6191">
                  <c:v>0.38669438669438699</c:v>
                </c:pt>
                <c:pt idx="6192">
                  <c:v>0.38679245283018898</c:v>
                </c:pt>
                <c:pt idx="6193">
                  <c:v>0.386861313868613</c:v>
                </c:pt>
                <c:pt idx="6194">
                  <c:v>0.38701725554642602</c:v>
                </c:pt>
                <c:pt idx="6195">
                  <c:v>0.38709677419354799</c:v>
                </c:pt>
                <c:pt idx="6196">
                  <c:v>0.38721804511278202</c:v>
                </c:pt>
                <c:pt idx="6197">
                  <c:v>0.38725490196078399</c:v>
                </c:pt>
                <c:pt idx="6198">
                  <c:v>0.38754325259515598</c:v>
                </c:pt>
                <c:pt idx="6199">
                  <c:v>0.38768115942029002</c:v>
                </c:pt>
                <c:pt idx="6200">
                  <c:v>0.387692307692308</c:v>
                </c:pt>
                <c:pt idx="6201">
                  <c:v>0.38775510204081598</c:v>
                </c:pt>
                <c:pt idx="6202">
                  <c:v>0.38775510204081598</c:v>
                </c:pt>
                <c:pt idx="6203">
                  <c:v>0.387862796833773</c:v>
                </c:pt>
                <c:pt idx="6204">
                  <c:v>0.38789376158122302</c:v>
                </c:pt>
                <c:pt idx="6205">
                  <c:v>0.38799661876584901</c:v>
                </c:pt>
                <c:pt idx="6206">
                  <c:v>0.38801261829653</c:v>
                </c:pt>
                <c:pt idx="6207">
                  <c:v>0.38815789473684198</c:v>
                </c:pt>
                <c:pt idx="6208">
                  <c:v>0.38820638820638798</c:v>
                </c:pt>
                <c:pt idx="6209">
                  <c:v>0.388489208633093</c:v>
                </c:pt>
                <c:pt idx="6210">
                  <c:v>0.38851351351351299</c:v>
                </c:pt>
                <c:pt idx="6211">
                  <c:v>0.38857142857142901</c:v>
                </c:pt>
                <c:pt idx="6212">
                  <c:v>0.388581952117864</c:v>
                </c:pt>
                <c:pt idx="6213">
                  <c:v>0.38860103626942999</c:v>
                </c:pt>
                <c:pt idx="6214">
                  <c:v>0.38875502008032098</c:v>
                </c:pt>
                <c:pt idx="6215">
                  <c:v>0.38876146788990801</c:v>
                </c:pt>
                <c:pt idx="6216">
                  <c:v>0.38880484114977298</c:v>
                </c:pt>
                <c:pt idx="6217">
                  <c:v>0.38882421420256102</c:v>
                </c:pt>
                <c:pt idx="6218">
                  <c:v>0.38888888888888901</c:v>
                </c:pt>
                <c:pt idx="6219">
                  <c:v>0.38888888888888901</c:v>
                </c:pt>
                <c:pt idx="6220">
                  <c:v>0.38888888888888901</c:v>
                </c:pt>
                <c:pt idx="6221">
                  <c:v>0.38888888888888901</c:v>
                </c:pt>
                <c:pt idx="6222">
                  <c:v>0.38888888888888901</c:v>
                </c:pt>
                <c:pt idx="6223">
                  <c:v>0.38904109589041103</c:v>
                </c:pt>
                <c:pt idx="6224">
                  <c:v>0.38904109589041103</c:v>
                </c:pt>
                <c:pt idx="6225">
                  <c:v>0.38929440389294401</c:v>
                </c:pt>
                <c:pt idx="6226">
                  <c:v>0.38934426229508201</c:v>
                </c:pt>
                <c:pt idx="6227">
                  <c:v>0.38938053097345099</c:v>
                </c:pt>
                <c:pt idx="6228">
                  <c:v>0.38942307692307698</c:v>
                </c:pt>
                <c:pt idx="6229">
                  <c:v>0.38942976356050102</c:v>
                </c:pt>
                <c:pt idx="6230">
                  <c:v>0.389513108614232</c:v>
                </c:pt>
                <c:pt idx="6231">
                  <c:v>0.38961038961039002</c:v>
                </c:pt>
                <c:pt idx="6232">
                  <c:v>0.38967136150234699</c:v>
                </c:pt>
                <c:pt idx="6233">
                  <c:v>0.38972162740899402</c:v>
                </c:pt>
                <c:pt idx="6234">
                  <c:v>0.389791183294663</c:v>
                </c:pt>
                <c:pt idx="6235">
                  <c:v>0.38987341772151901</c:v>
                </c:pt>
                <c:pt idx="6236">
                  <c:v>0.390070921985816</c:v>
                </c:pt>
                <c:pt idx="6237">
                  <c:v>0.39016897081413199</c:v>
                </c:pt>
                <c:pt idx="6238">
                  <c:v>0.39020537124802501</c:v>
                </c:pt>
                <c:pt idx="6239">
                  <c:v>0.39024390243902402</c:v>
                </c:pt>
                <c:pt idx="6240">
                  <c:v>0.39024390243902402</c:v>
                </c:pt>
                <c:pt idx="6241">
                  <c:v>0.39031567683253099</c:v>
                </c:pt>
                <c:pt idx="6242">
                  <c:v>0.39037433155080198</c:v>
                </c:pt>
                <c:pt idx="6243">
                  <c:v>0.39047619047618998</c:v>
                </c:pt>
                <c:pt idx="6244">
                  <c:v>0.39050131926121401</c:v>
                </c:pt>
                <c:pt idx="6245">
                  <c:v>0.390532544378698</c:v>
                </c:pt>
                <c:pt idx="6246">
                  <c:v>0.39055793991416299</c:v>
                </c:pt>
                <c:pt idx="6247">
                  <c:v>0.39072847682119199</c:v>
                </c:pt>
                <c:pt idx="6248">
                  <c:v>0.39076154806491897</c:v>
                </c:pt>
                <c:pt idx="6249">
                  <c:v>0.39076923076923098</c:v>
                </c:pt>
                <c:pt idx="6250">
                  <c:v>0.39082687338501299</c:v>
                </c:pt>
                <c:pt idx="6251">
                  <c:v>0.390862944162436</c:v>
                </c:pt>
                <c:pt idx="6252">
                  <c:v>0.39102564102564102</c:v>
                </c:pt>
                <c:pt idx="6253">
                  <c:v>0.39110070257611201</c:v>
                </c:pt>
                <c:pt idx="6254">
                  <c:v>0.39130434782608697</c:v>
                </c:pt>
                <c:pt idx="6255">
                  <c:v>0.39130434782608697</c:v>
                </c:pt>
                <c:pt idx="6256">
                  <c:v>0.39130434782608697</c:v>
                </c:pt>
                <c:pt idx="6257">
                  <c:v>0.39130434782608697</c:v>
                </c:pt>
                <c:pt idx="6258">
                  <c:v>0.39140811455847302</c:v>
                </c:pt>
                <c:pt idx="6259">
                  <c:v>0.391496899911426</c:v>
                </c:pt>
                <c:pt idx="6260">
                  <c:v>0.39150943396226401</c:v>
                </c:pt>
                <c:pt idx="6261">
                  <c:v>0.39170506912442399</c:v>
                </c:pt>
                <c:pt idx="6262">
                  <c:v>0.39175257731958801</c:v>
                </c:pt>
                <c:pt idx="6263">
                  <c:v>0.39175257731958801</c:v>
                </c:pt>
                <c:pt idx="6264">
                  <c:v>0.39175257731958801</c:v>
                </c:pt>
                <c:pt idx="6265">
                  <c:v>0.39175257731958801</c:v>
                </c:pt>
                <c:pt idx="6266">
                  <c:v>0.39184952978056398</c:v>
                </c:pt>
                <c:pt idx="6267">
                  <c:v>0.391891891891892</c:v>
                </c:pt>
                <c:pt idx="6268">
                  <c:v>0.391891891891892</c:v>
                </c:pt>
                <c:pt idx="6269">
                  <c:v>0.39200000000000002</c:v>
                </c:pt>
                <c:pt idx="6270">
                  <c:v>0.39209726443769</c:v>
                </c:pt>
                <c:pt idx="6271">
                  <c:v>0.39210526315789501</c:v>
                </c:pt>
                <c:pt idx="6272">
                  <c:v>0.39215686274509798</c:v>
                </c:pt>
                <c:pt idx="6273">
                  <c:v>0.39215686274509798</c:v>
                </c:pt>
                <c:pt idx="6274">
                  <c:v>0.39218328840970301</c:v>
                </c:pt>
                <c:pt idx="6275">
                  <c:v>0.392226148409894</c:v>
                </c:pt>
                <c:pt idx="6276">
                  <c:v>0.39229422066549902</c:v>
                </c:pt>
                <c:pt idx="6277">
                  <c:v>0.39236111111111099</c:v>
                </c:pt>
                <c:pt idx="6278">
                  <c:v>0.392405063291139</c:v>
                </c:pt>
                <c:pt idx="6279">
                  <c:v>0.392405063291139</c:v>
                </c:pt>
                <c:pt idx="6280">
                  <c:v>0.392405063291139</c:v>
                </c:pt>
                <c:pt idx="6281">
                  <c:v>0.39241585002130402</c:v>
                </c:pt>
                <c:pt idx="6282">
                  <c:v>0.39252336448598102</c:v>
                </c:pt>
                <c:pt idx="6283">
                  <c:v>0.39256198347107402</c:v>
                </c:pt>
                <c:pt idx="6284">
                  <c:v>0.39256198347107402</c:v>
                </c:pt>
                <c:pt idx="6285">
                  <c:v>0.39272030651341</c:v>
                </c:pt>
                <c:pt idx="6286">
                  <c:v>0.39272727272727298</c:v>
                </c:pt>
                <c:pt idx="6287">
                  <c:v>0.39285714285714302</c:v>
                </c:pt>
                <c:pt idx="6288">
                  <c:v>0.39285714285714302</c:v>
                </c:pt>
                <c:pt idx="6289">
                  <c:v>0.39304812834224601</c:v>
                </c:pt>
                <c:pt idx="6290">
                  <c:v>0.39312977099236601</c:v>
                </c:pt>
                <c:pt idx="6291">
                  <c:v>0.39313984168865401</c:v>
                </c:pt>
                <c:pt idx="6292">
                  <c:v>0.39333333333333298</c:v>
                </c:pt>
                <c:pt idx="6293">
                  <c:v>0.393364928909953</c:v>
                </c:pt>
                <c:pt idx="6294">
                  <c:v>0.393386545039909</c:v>
                </c:pt>
                <c:pt idx="6295">
                  <c:v>0.39341563786008199</c:v>
                </c:pt>
                <c:pt idx="6296">
                  <c:v>0.39347079037800697</c:v>
                </c:pt>
                <c:pt idx="6297">
                  <c:v>0.39353891336270203</c:v>
                </c:pt>
                <c:pt idx="6298">
                  <c:v>0.39370078740157499</c:v>
                </c:pt>
                <c:pt idx="6299">
                  <c:v>0.39393939393939398</c:v>
                </c:pt>
                <c:pt idx="6300">
                  <c:v>0.39402985074626901</c:v>
                </c:pt>
                <c:pt idx="6301">
                  <c:v>0.39411764705882302</c:v>
                </c:pt>
                <c:pt idx="6302">
                  <c:v>0.39418316831683198</c:v>
                </c:pt>
                <c:pt idx="6303">
                  <c:v>0.39424280350438001</c:v>
                </c:pt>
                <c:pt idx="6304">
                  <c:v>0.39436619718309801</c:v>
                </c:pt>
                <c:pt idx="6305">
                  <c:v>0.39443378119001898</c:v>
                </c:pt>
                <c:pt idx="6306">
                  <c:v>0.39446721311475402</c:v>
                </c:pt>
                <c:pt idx="6307">
                  <c:v>0.394736842105263</c:v>
                </c:pt>
                <c:pt idx="6308">
                  <c:v>0.394736842105263</c:v>
                </c:pt>
                <c:pt idx="6309">
                  <c:v>0.394769613947696</c:v>
                </c:pt>
                <c:pt idx="6310">
                  <c:v>0.39478584729981397</c:v>
                </c:pt>
                <c:pt idx="6311">
                  <c:v>0.39482200647249199</c:v>
                </c:pt>
                <c:pt idx="6312">
                  <c:v>0.39490445859872603</c:v>
                </c:pt>
                <c:pt idx="6313">
                  <c:v>0.39500000000000002</c:v>
                </c:pt>
                <c:pt idx="6314">
                  <c:v>0.39502762430939198</c:v>
                </c:pt>
                <c:pt idx="6315">
                  <c:v>0.39506172839506198</c:v>
                </c:pt>
                <c:pt idx="6316">
                  <c:v>0.39516129032258102</c:v>
                </c:pt>
                <c:pt idx="6317">
                  <c:v>0.395238095238095</c:v>
                </c:pt>
                <c:pt idx="6318">
                  <c:v>0.395360564800807</c:v>
                </c:pt>
                <c:pt idx="6319">
                  <c:v>0.395437262357414</c:v>
                </c:pt>
                <c:pt idx="6320">
                  <c:v>0.39560439560439598</c:v>
                </c:pt>
                <c:pt idx="6321">
                  <c:v>0.395759717314488</c:v>
                </c:pt>
                <c:pt idx="6322">
                  <c:v>0.39577039274924503</c:v>
                </c:pt>
                <c:pt idx="6323">
                  <c:v>0.39583333333333298</c:v>
                </c:pt>
                <c:pt idx="6324">
                  <c:v>0.39591836734693903</c:v>
                </c:pt>
                <c:pt idx="6325">
                  <c:v>0.39610389610389601</c:v>
                </c:pt>
                <c:pt idx="6326">
                  <c:v>0.39622641509433998</c:v>
                </c:pt>
                <c:pt idx="6327">
                  <c:v>0.39630390143737199</c:v>
                </c:pt>
                <c:pt idx="6328">
                  <c:v>0.396484375</c:v>
                </c:pt>
                <c:pt idx="6329">
                  <c:v>0.396610169491525</c:v>
                </c:pt>
                <c:pt idx="6330">
                  <c:v>0.39669421487603301</c:v>
                </c:pt>
                <c:pt idx="6331">
                  <c:v>0.39682539682539703</c:v>
                </c:pt>
                <c:pt idx="6332">
                  <c:v>0.39682539682539703</c:v>
                </c:pt>
                <c:pt idx="6333">
                  <c:v>0.39682539682539703</c:v>
                </c:pt>
                <c:pt idx="6334">
                  <c:v>0.39694656488549601</c:v>
                </c:pt>
                <c:pt idx="6335">
                  <c:v>0.397031539888683</c:v>
                </c:pt>
                <c:pt idx="6336">
                  <c:v>0.39703903095558502</c:v>
                </c:pt>
                <c:pt idx="6337">
                  <c:v>0.39705882352941202</c:v>
                </c:pt>
                <c:pt idx="6338">
                  <c:v>0.39705882352941202</c:v>
                </c:pt>
                <c:pt idx="6339">
                  <c:v>0.39716312056737602</c:v>
                </c:pt>
                <c:pt idx="6340">
                  <c:v>0.39722222222222198</c:v>
                </c:pt>
                <c:pt idx="6341">
                  <c:v>0.39741219963031399</c:v>
                </c:pt>
                <c:pt idx="6342">
                  <c:v>0.39743589743589702</c:v>
                </c:pt>
                <c:pt idx="6343">
                  <c:v>0.39745627980922099</c:v>
                </c:pt>
                <c:pt idx="6344">
                  <c:v>0.39754098360655699</c:v>
                </c:pt>
                <c:pt idx="6345">
                  <c:v>0.39769452449567699</c:v>
                </c:pt>
                <c:pt idx="6346">
                  <c:v>0.39772727272727298</c:v>
                </c:pt>
                <c:pt idx="6347">
                  <c:v>0.39772727272727298</c:v>
                </c:pt>
                <c:pt idx="6348">
                  <c:v>0.397743300423131</c:v>
                </c:pt>
                <c:pt idx="6349">
                  <c:v>0.39776951672862398</c:v>
                </c:pt>
                <c:pt idx="6350">
                  <c:v>0.397959183673469</c:v>
                </c:pt>
                <c:pt idx="6351">
                  <c:v>0.397959183673469</c:v>
                </c:pt>
                <c:pt idx="6352">
                  <c:v>0.397959183673469</c:v>
                </c:pt>
                <c:pt idx="6353">
                  <c:v>0.39800000000000002</c:v>
                </c:pt>
                <c:pt idx="6354">
                  <c:v>0.39801980198019798</c:v>
                </c:pt>
                <c:pt idx="6355">
                  <c:v>0.39805825242718401</c:v>
                </c:pt>
                <c:pt idx="6356">
                  <c:v>0.39810426540284399</c:v>
                </c:pt>
                <c:pt idx="6357">
                  <c:v>0.398382204246714</c:v>
                </c:pt>
                <c:pt idx="6358">
                  <c:v>0.39844660194174802</c:v>
                </c:pt>
                <c:pt idx="6359">
                  <c:v>0.39855072463768099</c:v>
                </c:pt>
                <c:pt idx="6360">
                  <c:v>0.39873417721519</c:v>
                </c:pt>
                <c:pt idx="6361">
                  <c:v>0.39884393063583801</c:v>
                </c:pt>
                <c:pt idx="6362">
                  <c:v>0.39889196675900301</c:v>
                </c:pt>
                <c:pt idx="6363">
                  <c:v>0.398907103825137</c:v>
                </c:pt>
                <c:pt idx="6364">
                  <c:v>0.398952879581152</c:v>
                </c:pt>
                <c:pt idx="6365">
                  <c:v>0.39898989898989901</c:v>
                </c:pt>
                <c:pt idx="6366">
                  <c:v>0.39912280701754399</c:v>
                </c:pt>
                <c:pt idx="6367">
                  <c:v>0.39935414424111898</c:v>
                </c:pt>
                <c:pt idx="6368">
                  <c:v>0.39944903581267199</c:v>
                </c:pt>
                <c:pt idx="6369">
                  <c:v>0.39948453608247397</c:v>
                </c:pt>
                <c:pt idx="6370">
                  <c:v>0.39964157706093201</c:v>
                </c:pt>
                <c:pt idx="6371">
                  <c:v>0.39971139971140002</c:v>
                </c:pt>
                <c:pt idx="6372">
                  <c:v>0.4</c:v>
                </c:pt>
                <c:pt idx="6373">
                  <c:v>0.4</c:v>
                </c:pt>
                <c:pt idx="6374">
                  <c:v>0.4</c:v>
                </c:pt>
                <c:pt idx="6375">
                  <c:v>0.4</c:v>
                </c:pt>
                <c:pt idx="6376">
                  <c:v>0.4</c:v>
                </c:pt>
                <c:pt idx="6377">
                  <c:v>0.4</c:v>
                </c:pt>
                <c:pt idx="6378">
                  <c:v>0.4</c:v>
                </c:pt>
                <c:pt idx="6379">
                  <c:v>0.4</c:v>
                </c:pt>
                <c:pt idx="6380">
                  <c:v>0.4</c:v>
                </c:pt>
                <c:pt idx="6381">
                  <c:v>0.4</c:v>
                </c:pt>
                <c:pt idx="6382">
                  <c:v>0.4</c:v>
                </c:pt>
                <c:pt idx="6383">
                  <c:v>0.4</c:v>
                </c:pt>
                <c:pt idx="6384">
                  <c:v>0.4</c:v>
                </c:pt>
                <c:pt idx="6385">
                  <c:v>0.40011750881316099</c:v>
                </c:pt>
                <c:pt idx="6386">
                  <c:v>0.40041493775933601</c:v>
                </c:pt>
                <c:pt idx="6387">
                  <c:v>0.40044742729306498</c:v>
                </c:pt>
                <c:pt idx="6388">
                  <c:v>0.40061633281972298</c:v>
                </c:pt>
                <c:pt idx="6389">
                  <c:v>0.400709219858156</c:v>
                </c:pt>
                <c:pt idx="6390">
                  <c:v>0.400770712909441</c:v>
                </c:pt>
                <c:pt idx="6391">
                  <c:v>0.40084388185654002</c:v>
                </c:pt>
                <c:pt idx="6392">
                  <c:v>0.40104166666666702</c:v>
                </c:pt>
                <c:pt idx="6393">
                  <c:v>0.40119760479041899</c:v>
                </c:pt>
                <c:pt idx="6394">
                  <c:v>0.40119760479041899</c:v>
                </c:pt>
                <c:pt idx="6395">
                  <c:v>0.40129449838187697</c:v>
                </c:pt>
                <c:pt idx="6396">
                  <c:v>0.40149253731343298</c:v>
                </c:pt>
                <c:pt idx="6397">
                  <c:v>0.40168067226890802</c:v>
                </c:pt>
                <c:pt idx="6398">
                  <c:v>0.401709401709402</c:v>
                </c:pt>
                <c:pt idx="6399">
                  <c:v>0.40178571428571402</c:v>
                </c:pt>
                <c:pt idx="6400">
                  <c:v>0.40178571428571402</c:v>
                </c:pt>
                <c:pt idx="6401">
                  <c:v>0.40178571428571402</c:v>
                </c:pt>
                <c:pt idx="6402">
                  <c:v>0.40182648401826498</c:v>
                </c:pt>
                <c:pt idx="6403">
                  <c:v>0.40184453227931499</c:v>
                </c:pt>
                <c:pt idx="6404">
                  <c:v>0.40203562340966897</c:v>
                </c:pt>
                <c:pt idx="6405">
                  <c:v>0.40233236151603502</c:v>
                </c:pt>
                <c:pt idx="6406">
                  <c:v>0.40243902439024398</c:v>
                </c:pt>
                <c:pt idx="6407">
                  <c:v>0.40251572327044</c:v>
                </c:pt>
                <c:pt idx="6408">
                  <c:v>0.40254652301665</c:v>
                </c:pt>
                <c:pt idx="6409">
                  <c:v>0.40265486725663702</c:v>
                </c:pt>
                <c:pt idx="6410">
                  <c:v>0.40268456375838901</c:v>
                </c:pt>
                <c:pt idx="6411">
                  <c:v>0.402877697841727</c:v>
                </c:pt>
                <c:pt idx="6412">
                  <c:v>0.402930402930403</c:v>
                </c:pt>
                <c:pt idx="6413">
                  <c:v>0.40303030303030302</c:v>
                </c:pt>
                <c:pt idx="6414">
                  <c:v>0.40304182509505698</c:v>
                </c:pt>
                <c:pt idx="6415">
                  <c:v>0.403189066059225</c:v>
                </c:pt>
                <c:pt idx="6416">
                  <c:v>0.40322580645161299</c:v>
                </c:pt>
                <c:pt idx="6417">
                  <c:v>0.40333871836295099</c:v>
                </c:pt>
                <c:pt idx="6418">
                  <c:v>0.403345724907063</c:v>
                </c:pt>
                <c:pt idx="6419">
                  <c:v>0.40343915343915299</c:v>
                </c:pt>
                <c:pt idx="6420">
                  <c:v>0.40350877192982498</c:v>
                </c:pt>
                <c:pt idx="6421">
                  <c:v>0.40350877192982498</c:v>
                </c:pt>
                <c:pt idx="6422">
                  <c:v>0.40350877192982498</c:v>
                </c:pt>
                <c:pt idx="6423">
                  <c:v>0.40362225097024601</c:v>
                </c:pt>
                <c:pt idx="6424">
                  <c:v>0.40363636363636402</c:v>
                </c:pt>
                <c:pt idx="6425">
                  <c:v>0.403669724770642</c:v>
                </c:pt>
                <c:pt idx="6426">
                  <c:v>0.40370370370370401</c:v>
                </c:pt>
                <c:pt idx="6427">
                  <c:v>0.40375586854460099</c:v>
                </c:pt>
                <c:pt idx="6428">
                  <c:v>0.40384615384615402</c:v>
                </c:pt>
                <c:pt idx="6429">
                  <c:v>0.40384615384615402</c:v>
                </c:pt>
                <c:pt idx="6430">
                  <c:v>0.40388349514563099</c:v>
                </c:pt>
                <c:pt idx="6431">
                  <c:v>0.40397350993377501</c:v>
                </c:pt>
                <c:pt idx="6432">
                  <c:v>0.40404040404040398</c:v>
                </c:pt>
                <c:pt idx="6433">
                  <c:v>0.40408163265306102</c:v>
                </c:pt>
                <c:pt idx="6434">
                  <c:v>0.40412219359587798</c:v>
                </c:pt>
                <c:pt idx="6435">
                  <c:v>0.40425531914893598</c:v>
                </c:pt>
                <c:pt idx="6436">
                  <c:v>0.40433815350389302</c:v>
                </c:pt>
                <c:pt idx="6437">
                  <c:v>0.404466501240695</c:v>
                </c:pt>
                <c:pt idx="6438">
                  <c:v>0.40449438202247201</c:v>
                </c:pt>
                <c:pt idx="6439">
                  <c:v>0.40460526315789502</c:v>
                </c:pt>
                <c:pt idx="6440">
                  <c:v>0.40472878998609202</c:v>
                </c:pt>
                <c:pt idx="6441">
                  <c:v>0.40486725663716799</c:v>
                </c:pt>
                <c:pt idx="6442">
                  <c:v>0.40492957746478903</c:v>
                </c:pt>
                <c:pt idx="6443">
                  <c:v>0.40493942218080098</c:v>
                </c:pt>
                <c:pt idx="6444">
                  <c:v>0.40498442367601201</c:v>
                </c:pt>
                <c:pt idx="6445">
                  <c:v>0.40512820512820502</c:v>
                </c:pt>
                <c:pt idx="6446">
                  <c:v>0.405208333333333</c:v>
                </c:pt>
                <c:pt idx="6447">
                  <c:v>0.40522875816993498</c:v>
                </c:pt>
                <c:pt idx="6448">
                  <c:v>0.40540540540540498</c:v>
                </c:pt>
                <c:pt idx="6449">
                  <c:v>0.40540540540540498</c:v>
                </c:pt>
                <c:pt idx="6450">
                  <c:v>0.40550458715596299</c:v>
                </c:pt>
                <c:pt idx="6451">
                  <c:v>0.40566037735849098</c:v>
                </c:pt>
                <c:pt idx="6452">
                  <c:v>0.405797101449275</c:v>
                </c:pt>
                <c:pt idx="6453">
                  <c:v>0.40588235294117597</c:v>
                </c:pt>
                <c:pt idx="6454">
                  <c:v>0.40594059405940602</c:v>
                </c:pt>
                <c:pt idx="6455">
                  <c:v>0.40594059405940602</c:v>
                </c:pt>
                <c:pt idx="6456">
                  <c:v>0.40625</c:v>
                </c:pt>
                <c:pt idx="6457">
                  <c:v>0.406360424028269</c:v>
                </c:pt>
                <c:pt idx="6458">
                  <c:v>0.40663176265270501</c:v>
                </c:pt>
                <c:pt idx="6459">
                  <c:v>0.40677966101694901</c:v>
                </c:pt>
                <c:pt idx="6460">
                  <c:v>0.40697674418604601</c:v>
                </c:pt>
                <c:pt idx="6461">
                  <c:v>0.40704647676161898</c:v>
                </c:pt>
                <c:pt idx="6462">
                  <c:v>0.40705128205128199</c:v>
                </c:pt>
                <c:pt idx="6463">
                  <c:v>0.407134071340713</c:v>
                </c:pt>
                <c:pt idx="6464">
                  <c:v>0.407407407407407</c:v>
                </c:pt>
                <c:pt idx="6465">
                  <c:v>0.407407407407407</c:v>
                </c:pt>
                <c:pt idx="6466">
                  <c:v>0.407407407407407</c:v>
                </c:pt>
                <c:pt idx="6467">
                  <c:v>0.40756302521008397</c:v>
                </c:pt>
                <c:pt idx="6468">
                  <c:v>0.40762463343108502</c:v>
                </c:pt>
                <c:pt idx="6469">
                  <c:v>0.40782828282828298</c:v>
                </c:pt>
                <c:pt idx="6470">
                  <c:v>0.40784313725490201</c:v>
                </c:pt>
                <c:pt idx="6471">
                  <c:v>0.40789473684210498</c:v>
                </c:pt>
                <c:pt idx="6472">
                  <c:v>0.40804597701149398</c:v>
                </c:pt>
                <c:pt idx="6473">
                  <c:v>0.40816326530612201</c:v>
                </c:pt>
                <c:pt idx="6474">
                  <c:v>0.40816326530612201</c:v>
                </c:pt>
                <c:pt idx="6475">
                  <c:v>0.40816326530612201</c:v>
                </c:pt>
                <c:pt idx="6476">
                  <c:v>0.40837696335078499</c:v>
                </c:pt>
                <c:pt idx="6477">
                  <c:v>0.40839694656488501</c:v>
                </c:pt>
                <c:pt idx="6478">
                  <c:v>0.40840140023337201</c:v>
                </c:pt>
                <c:pt idx="6479">
                  <c:v>0.40845070422535201</c:v>
                </c:pt>
                <c:pt idx="6480">
                  <c:v>0.40846681922196798</c:v>
                </c:pt>
                <c:pt idx="6481">
                  <c:v>0.40869565217391302</c:v>
                </c:pt>
                <c:pt idx="6482">
                  <c:v>0.40869565217391302</c:v>
                </c:pt>
                <c:pt idx="6483">
                  <c:v>0.40878828229028003</c:v>
                </c:pt>
                <c:pt idx="6484">
                  <c:v>0.409326424870466</c:v>
                </c:pt>
                <c:pt idx="6485">
                  <c:v>0.40948275862069</c:v>
                </c:pt>
                <c:pt idx="6486">
                  <c:v>0.40954274353876702</c:v>
                </c:pt>
                <c:pt idx="6487">
                  <c:v>0.40955364134690703</c:v>
                </c:pt>
                <c:pt idx="6488">
                  <c:v>0.40972222222222199</c:v>
                </c:pt>
                <c:pt idx="6489">
                  <c:v>0.40983606557377</c:v>
                </c:pt>
                <c:pt idx="6490">
                  <c:v>0.40990099009900999</c:v>
                </c:pt>
                <c:pt idx="6491">
                  <c:v>0.41</c:v>
                </c:pt>
                <c:pt idx="6492">
                  <c:v>0.41002277904327999</c:v>
                </c:pt>
                <c:pt idx="6493">
                  <c:v>0.41011235955056202</c:v>
                </c:pt>
                <c:pt idx="6494">
                  <c:v>0.41013215859030799</c:v>
                </c:pt>
                <c:pt idx="6495">
                  <c:v>0.41014084507042298</c:v>
                </c:pt>
                <c:pt idx="6496">
                  <c:v>0.41015625</c:v>
                </c:pt>
                <c:pt idx="6497">
                  <c:v>0.41017385705086901</c:v>
                </c:pt>
                <c:pt idx="6498">
                  <c:v>0.41019955654102003</c:v>
                </c:pt>
                <c:pt idx="6499">
                  <c:v>0.41044776119402998</c:v>
                </c:pt>
                <c:pt idx="6500">
                  <c:v>0.41054232133806401</c:v>
                </c:pt>
                <c:pt idx="6501">
                  <c:v>0.41059602649006599</c:v>
                </c:pt>
                <c:pt idx="6502">
                  <c:v>0.41060606060606097</c:v>
                </c:pt>
                <c:pt idx="6503">
                  <c:v>0.41071428571428598</c:v>
                </c:pt>
                <c:pt idx="6504">
                  <c:v>0.41071428571428598</c:v>
                </c:pt>
                <c:pt idx="6505">
                  <c:v>0.41071428571428598</c:v>
                </c:pt>
                <c:pt idx="6506">
                  <c:v>0.41082802547770703</c:v>
                </c:pt>
                <c:pt idx="6507">
                  <c:v>0.41083521444695298</c:v>
                </c:pt>
                <c:pt idx="6508">
                  <c:v>0.41089108910891098</c:v>
                </c:pt>
                <c:pt idx="6509">
                  <c:v>0.410926365795724</c:v>
                </c:pt>
                <c:pt idx="6510">
                  <c:v>0.41095890410958902</c:v>
                </c:pt>
                <c:pt idx="6511">
                  <c:v>0.41105121293800501</c:v>
                </c:pt>
                <c:pt idx="6512">
                  <c:v>0.41106719367588901</c:v>
                </c:pt>
                <c:pt idx="6513">
                  <c:v>0.41111111111111098</c:v>
                </c:pt>
                <c:pt idx="6514">
                  <c:v>0.411228070175439</c:v>
                </c:pt>
                <c:pt idx="6515">
                  <c:v>0.41134751773049599</c:v>
                </c:pt>
                <c:pt idx="6516">
                  <c:v>0.41161616161616199</c:v>
                </c:pt>
                <c:pt idx="6517">
                  <c:v>0.41176470588235298</c:v>
                </c:pt>
                <c:pt idx="6518">
                  <c:v>0.41176470588235298</c:v>
                </c:pt>
                <c:pt idx="6519">
                  <c:v>0.41176470588235298</c:v>
                </c:pt>
                <c:pt idx="6520">
                  <c:v>0.41182645206438101</c:v>
                </c:pt>
                <c:pt idx="6521">
                  <c:v>0.41194968553459099</c:v>
                </c:pt>
                <c:pt idx="6522">
                  <c:v>0.41221374045801501</c:v>
                </c:pt>
                <c:pt idx="6523">
                  <c:v>0.41228070175438603</c:v>
                </c:pt>
                <c:pt idx="6524">
                  <c:v>0.41232227488151701</c:v>
                </c:pt>
                <c:pt idx="6525">
                  <c:v>0.41237113402061898</c:v>
                </c:pt>
                <c:pt idx="6526">
                  <c:v>0.41249999999999998</c:v>
                </c:pt>
                <c:pt idx="6527">
                  <c:v>0.41249999999999998</c:v>
                </c:pt>
                <c:pt idx="6528">
                  <c:v>0.41262848751835501</c:v>
                </c:pt>
                <c:pt idx="6529">
                  <c:v>0.41263940520446102</c:v>
                </c:pt>
                <c:pt idx="6530">
                  <c:v>0.41265822784810102</c:v>
                </c:pt>
                <c:pt idx="6531">
                  <c:v>0.41283018867924498</c:v>
                </c:pt>
                <c:pt idx="6532">
                  <c:v>0.41287878787878801</c:v>
                </c:pt>
                <c:pt idx="6533">
                  <c:v>0.412903225806452</c:v>
                </c:pt>
                <c:pt idx="6534">
                  <c:v>0.41293532338308497</c:v>
                </c:pt>
                <c:pt idx="6535">
                  <c:v>0.41297935103244798</c:v>
                </c:pt>
                <c:pt idx="6536">
                  <c:v>0.413223140495868</c:v>
                </c:pt>
                <c:pt idx="6537">
                  <c:v>0.41330645161290303</c:v>
                </c:pt>
                <c:pt idx="6538">
                  <c:v>0.413612565445026</c:v>
                </c:pt>
                <c:pt idx="6539">
                  <c:v>0.413680781758958</c:v>
                </c:pt>
                <c:pt idx="6540">
                  <c:v>0.41379310344827602</c:v>
                </c:pt>
                <c:pt idx="6541">
                  <c:v>0.41393442622950799</c:v>
                </c:pt>
                <c:pt idx="6542">
                  <c:v>0.41399416909621001</c:v>
                </c:pt>
                <c:pt idx="6543">
                  <c:v>0.41401273885350298</c:v>
                </c:pt>
                <c:pt idx="6544">
                  <c:v>0.414225941422594</c:v>
                </c:pt>
                <c:pt idx="6545">
                  <c:v>0.41441441441441401</c:v>
                </c:pt>
                <c:pt idx="6546">
                  <c:v>0.41443633414436298</c:v>
                </c:pt>
                <c:pt idx="6547">
                  <c:v>0.41447368421052599</c:v>
                </c:pt>
                <c:pt idx="6548">
                  <c:v>0.41447368421052599</c:v>
                </c:pt>
                <c:pt idx="6549">
                  <c:v>0.41450777202072497</c:v>
                </c:pt>
                <c:pt idx="6550">
                  <c:v>0.41458333333333303</c:v>
                </c:pt>
                <c:pt idx="6551">
                  <c:v>0.41463414634146301</c:v>
                </c:pt>
                <c:pt idx="6552">
                  <c:v>0.41463414634146301</c:v>
                </c:pt>
                <c:pt idx="6553">
                  <c:v>0.41466498103666199</c:v>
                </c:pt>
                <c:pt idx="6554">
                  <c:v>0.41472868217054298</c:v>
                </c:pt>
                <c:pt idx="6555">
                  <c:v>0.41481481481481502</c:v>
                </c:pt>
                <c:pt idx="6556">
                  <c:v>0.41484716157205198</c:v>
                </c:pt>
                <c:pt idx="6557">
                  <c:v>0.41499999999999998</c:v>
                </c:pt>
                <c:pt idx="6558">
                  <c:v>0.41509433962264197</c:v>
                </c:pt>
                <c:pt idx="6559">
                  <c:v>0.41534391534391502</c:v>
                </c:pt>
                <c:pt idx="6560">
                  <c:v>0.41538461538461502</c:v>
                </c:pt>
                <c:pt idx="6561">
                  <c:v>0.41545189504373198</c:v>
                </c:pt>
                <c:pt idx="6562">
                  <c:v>0.41549295774647899</c:v>
                </c:pt>
                <c:pt idx="6563">
                  <c:v>0.415542363734485</c:v>
                </c:pt>
                <c:pt idx="6564">
                  <c:v>0.415584415584416</c:v>
                </c:pt>
                <c:pt idx="6565">
                  <c:v>0.41590612777053498</c:v>
                </c:pt>
                <c:pt idx="6566">
                  <c:v>0.41603630862329799</c:v>
                </c:pt>
                <c:pt idx="6567">
                  <c:v>0.41605839416058399</c:v>
                </c:pt>
                <c:pt idx="6568">
                  <c:v>0.41610169491525401</c:v>
                </c:pt>
                <c:pt idx="6569">
                  <c:v>0.41617357001972399</c:v>
                </c:pt>
                <c:pt idx="6570">
                  <c:v>0.41630901287553601</c:v>
                </c:pt>
                <c:pt idx="6571">
                  <c:v>0.41654357459379598</c:v>
                </c:pt>
                <c:pt idx="6572">
                  <c:v>0.41655658300308201</c:v>
                </c:pt>
                <c:pt idx="6573">
                  <c:v>0.41656210790464199</c:v>
                </c:pt>
                <c:pt idx="6574">
                  <c:v>0.41666666666666702</c:v>
                </c:pt>
                <c:pt idx="6575">
                  <c:v>0.41693811074918602</c:v>
                </c:pt>
                <c:pt idx="6576">
                  <c:v>0.41746538871139499</c:v>
                </c:pt>
                <c:pt idx="6577">
                  <c:v>0.41747572815534001</c:v>
                </c:pt>
                <c:pt idx="6578">
                  <c:v>0.41758241758241799</c:v>
                </c:pt>
                <c:pt idx="6579">
                  <c:v>0.41758241758241799</c:v>
                </c:pt>
                <c:pt idx="6580">
                  <c:v>0.41766467065868301</c:v>
                </c:pt>
                <c:pt idx="6581">
                  <c:v>0.41781450872359999</c:v>
                </c:pt>
                <c:pt idx="6582">
                  <c:v>0.41791044776119401</c:v>
                </c:pt>
                <c:pt idx="6583">
                  <c:v>0.41791044776119401</c:v>
                </c:pt>
                <c:pt idx="6584">
                  <c:v>0.41791044776119401</c:v>
                </c:pt>
                <c:pt idx="6585">
                  <c:v>0.41812400635930003</c:v>
                </c:pt>
                <c:pt idx="6586">
                  <c:v>0.41818181818181799</c:v>
                </c:pt>
                <c:pt idx="6587">
                  <c:v>0.418359668924003</c:v>
                </c:pt>
                <c:pt idx="6588">
                  <c:v>0.41836734693877597</c:v>
                </c:pt>
                <c:pt idx="6589">
                  <c:v>0.418604651162791</c:v>
                </c:pt>
                <c:pt idx="6590">
                  <c:v>0.41868512110726602</c:v>
                </c:pt>
                <c:pt idx="6591">
                  <c:v>0.41869918699186998</c:v>
                </c:pt>
                <c:pt idx="6592">
                  <c:v>0.41869918699186998</c:v>
                </c:pt>
                <c:pt idx="6593">
                  <c:v>0.41901408450704197</c:v>
                </c:pt>
                <c:pt idx="6594">
                  <c:v>0.419047619047619</c:v>
                </c:pt>
                <c:pt idx="6595">
                  <c:v>0.41908713692946098</c:v>
                </c:pt>
                <c:pt idx="6596">
                  <c:v>0.41918294849023102</c:v>
                </c:pt>
                <c:pt idx="6597">
                  <c:v>0.41935483870967699</c:v>
                </c:pt>
                <c:pt idx="6598">
                  <c:v>0.41952506596306099</c:v>
                </c:pt>
                <c:pt idx="6599">
                  <c:v>0.41970802919708</c:v>
                </c:pt>
                <c:pt idx="6600">
                  <c:v>0.41977077363896798</c:v>
                </c:pt>
                <c:pt idx="6601">
                  <c:v>0.41980198019802001</c:v>
                </c:pt>
                <c:pt idx="6602">
                  <c:v>0.419965576592083</c:v>
                </c:pt>
                <c:pt idx="6603">
                  <c:v>0.42</c:v>
                </c:pt>
                <c:pt idx="6604">
                  <c:v>0.42</c:v>
                </c:pt>
                <c:pt idx="6605">
                  <c:v>0.42016806722689098</c:v>
                </c:pt>
                <c:pt idx="6606">
                  <c:v>0.42028985507246402</c:v>
                </c:pt>
                <c:pt idx="6607">
                  <c:v>0.42028985507246402</c:v>
                </c:pt>
                <c:pt idx="6608">
                  <c:v>0.42028985507246402</c:v>
                </c:pt>
                <c:pt idx="6609">
                  <c:v>0.42033898305084699</c:v>
                </c:pt>
                <c:pt idx="6610">
                  <c:v>0.42041312272175002</c:v>
                </c:pt>
                <c:pt idx="6611">
                  <c:v>0.420560747663551</c:v>
                </c:pt>
                <c:pt idx="6612">
                  <c:v>0.42063492063492097</c:v>
                </c:pt>
                <c:pt idx="6613">
                  <c:v>0.42063492063492097</c:v>
                </c:pt>
                <c:pt idx="6614">
                  <c:v>0.42105263157894701</c:v>
                </c:pt>
                <c:pt idx="6615">
                  <c:v>0.42105263157894701</c:v>
                </c:pt>
                <c:pt idx="6616">
                  <c:v>0.42105263157894701</c:v>
                </c:pt>
                <c:pt idx="6617">
                  <c:v>0.42105263157894701</c:v>
                </c:pt>
                <c:pt idx="6618">
                  <c:v>0.42105263157894701</c:v>
                </c:pt>
                <c:pt idx="6619">
                  <c:v>0.42120343839541502</c:v>
                </c:pt>
                <c:pt idx="6620">
                  <c:v>0.42123287671232901</c:v>
                </c:pt>
                <c:pt idx="6621">
                  <c:v>0.42131979695431498</c:v>
                </c:pt>
                <c:pt idx="6622">
                  <c:v>0.42134831460674199</c:v>
                </c:pt>
                <c:pt idx="6623">
                  <c:v>0.42142857142857099</c:v>
                </c:pt>
                <c:pt idx="6624">
                  <c:v>0.421678996461885</c:v>
                </c:pt>
                <c:pt idx="6625">
                  <c:v>0.421875</c:v>
                </c:pt>
                <c:pt idx="6626">
                  <c:v>0.42188130803391199</c:v>
                </c:pt>
                <c:pt idx="6627">
                  <c:v>0.42201834862385301</c:v>
                </c:pt>
                <c:pt idx="6628">
                  <c:v>0.42211055276381898</c:v>
                </c:pt>
                <c:pt idx="6629">
                  <c:v>0.42215568862275399</c:v>
                </c:pt>
                <c:pt idx="6630">
                  <c:v>0.42241379310344801</c:v>
                </c:pt>
                <c:pt idx="6631">
                  <c:v>0.42241379310344801</c:v>
                </c:pt>
                <c:pt idx="6632">
                  <c:v>0.42251655629139101</c:v>
                </c:pt>
                <c:pt idx="6633">
                  <c:v>0.42253521126760601</c:v>
                </c:pt>
                <c:pt idx="6634">
                  <c:v>0.42253521126760601</c:v>
                </c:pt>
                <c:pt idx="6635">
                  <c:v>0.42260869565217402</c:v>
                </c:pt>
                <c:pt idx="6636">
                  <c:v>0.42268041237113402</c:v>
                </c:pt>
                <c:pt idx="6637">
                  <c:v>0.42268041237113402</c:v>
                </c:pt>
                <c:pt idx="6638">
                  <c:v>0.422764227642276</c:v>
                </c:pt>
                <c:pt idx="6639">
                  <c:v>0.42286751361161501</c:v>
                </c:pt>
                <c:pt idx="6640">
                  <c:v>0.42296072507552901</c:v>
                </c:pt>
                <c:pt idx="6641">
                  <c:v>0.42307692307692302</c:v>
                </c:pt>
                <c:pt idx="6642">
                  <c:v>0.42348754448398601</c:v>
                </c:pt>
                <c:pt idx="6643">
                  <c:v>0.423655913978495</c:v>
                </c:pt>
                <c:pt idx="6644">
                  <c:v>0.42368742368742401</c:v>
                </c:pt>
                <c:pt idx="6645">
                  <c:v>0.42385786802030501</c:v>
                </c:pt>
                <c:pt idx="6646">
                  <c:v>0.423921271763815</c:v>
                </c:pt>
                <c:pt idx="6647">
                  <c:v>0.42439024390243901</c:v>
                </c:pt>
                <c:pt idx="6648">
                  <c:v>0.42465753424657499</c:v>
                </c:pt>
                <c:pt idx="6649">
                  <c:v>0.42477876106194701</c:v>
                </c:pt>
                <c:pt idx="6650">
                  <c:v>0.42489270386266098</c:v>
                </c:pt>
                <c:pt idx="6651">
                  <c:v>0.42499999999999999</c:v>
                </c:pt>
                <c:pt idx="6652">
                  <c:v>0.42511013215859</c:v>
                </c:pt>
                <c:pt idx="6653">
                  <c:v>0.42531645569620202</c:v>
                </c:pt>
                <c:pt idx="6654">
                  <c:v>0.42548435171386001</c:v>
                </c:pt>
                <c:pt idx="6655">
                  <c:v>0.42553191489361702</c:v>
                </c:pt>
                <c:pt idx="6656">
                  <c:v>0.42553191489361702</c:v>
                </c:pt>
                <c:pt idx="6657">
                  <c:v>0.42553191489361702</c:v>
                </c:pt>
                <c:pt idx="6658">
                  <c:v>0.42553191489361702</c:v>
                </c:pt>
                <c:pt idx="6659">
                  <c:v>0.42558139534883699</c:v>
                </c:pt>
                <c:pt idx="6660">
                  <c:v>0.42568807339449499</c:v>
                </c:pt>
                <c:pt idx="6661">
                  <c:v>0.42574257425742601</c:v>
                </c:pt>
                <c:pt idx="6662">
                  <c:v>0.42578710644677698</c:v>
                </c:pt>
                <c:pt idx="6663">
                  <c:v>0.42580645161290298</c:v>
                </c:pt>
                <c:pt idx="6664">
                  <c:v>0.42592592592592599</c:v>
                </c:pt>
                <c:pt idx="6665">
                  <c:v>0.42596810933940799</c:v>
                </c:pt>
                <c:pt idx="6666">
                  <c:v>0.42619392185238802</c:v>
                </c:pt>
                <c:pt idx="6667">
                  <c:v>0.42628039317123601</c:v>
                </c:pt>
                <c:pt idx="6668">
                  <c:v>0.42639593908629397</c:v>
                </c:pt>
                <c:pt idx="6669">
                  <c:v>0.42642642642642598</c:v>
                </c:pt>
                <c:pt idx="6670">
                  <c:v>0.42655367231638402</c:v>
                </c:pt>
                <c:pt idx="6671">
                  <c:v>0.42661448140900199</c:v>
                </c:pt>
                <c:pt idx="6672">
                  <c:v>0.426966292134831</c:v>
                </c:pt>
                <c:pt idx="6673">
                  <c:v>0.426966292134831</c:v>
                </c:pt>
                <c:pt idx="6674">
                  <c:v>0.42703533026113699</c:v>
                </c:pt>
                <c:pt idx="6675">
                  <c:v>0.42718446601941701</c:v>
                </c:pt>
                <c:pt idx="6676">
                  <c:v>0.42723816107846502</c:v>
                </c:pt>
                <c:pt idx="6677">
                  <c:v>0.42727272727272703</c:v>
                </c:pt>
                <c:pt idx="6678">
                  <c:v>0.427350427350427</c:v>
                </c:pt>
                <c:pt idx="6679">
                  <c:v>0.427350427350427</c:v>
                </c:pt>
                <c:pt idx="6680">
                  <c:v>0.427350427350427</c:v>
                </c:pt>
                <c:pt idx="6681">
                  <c:v>0.42741935483871002</c:v>
                </c:pt>
                <c:pt idx="6682">
                  <c:v>0.42748091603053401</c:v>
                </c:pt>
                <c:pt idx="6683">
                  <c:v>0.42758620689655202</c:v>
                </c:pt>
                <c:pt idx="6684">
                  <c:v>0.42780748663101598</c:v>
                </c:pt>
                <c:pt idx="6685">
                  <c:v>0.42804428044280401</c:v>
                </c:pt>
                <c:pt idx="6686">
                  <c:v>0.42809364548494999</c:v>
                </c:pt>
                <c:pt idx="6687">
                  <c:v>0.42815249266862199</c:v>
                </c:pt>
                <c:pt idx="6688">
                  <c:v>0.42825112107623298</c:v>
                </c:pt>
                <c:pt idx="6689">
                  <c:v>0.42837176799440901</c:v>
                </c:pt>
                <c:pt idx="6690">
                  <c:v>0.42842535787321101</c:v>
                </c:pt>
                <c:pt idx="6691">
                  <c:v>0.42857142857142899</c:v>
                </c:pt>
                <c:pt idx="6692">
                  <c:v>0.42857142857142899</c:v>
                </c:pt>
                <c:pt idx="6693">
                  <c:v>0.42869490060501297</c:v>
                </c:pt>
                <c:pt idx="6694">
                  <c:v>0.42881355932203402</c:v>
                </c:pt>
                <c:pt idx="6695">
                  <c:v>0.42881745120551101</c:v>
                </c:pt>
                <c:pt idx="6696">
                  <c:v>0.42882249560632701</c:v>
                </c:pt>
                <c:pt idx="6697">
                  <c:v>0.42888402625820599</c:v>
                </c:pt>
                <c:pt idx="6698">
                  <c:v>0.42889390519187398</c:v>
                </c:pt>
                <c:pt idx="6699">
                  <c:v>0.42922374429223698</c:v>
                </c:pt>
                <c:pt idx="6700">
                  <c:v>0.429441624365482</c:v>
                </c:pt>
                <c:pt idx="6701">
                  <c:v>0.42944785276073599</c:v>
                </c:pt>
                <c:pt idx="6702">
                  <c:v>0.42948717948717902</c:v>
                </c:pt>
                <c:pt idx="6703">
                  <c:v>0.42953020134228198</c:v>
                </c:pt>
                <c:pt idx="6704">
                  <c:v>0.42962962962963003</c:v>
                </c:pt>
                <c:pt idx="6705">
                  <c:v>0.4296875</c:v>
                </c:pt>
                <c:pt idx="6706">
                  <c:v>0.4296875</c:v>
                </c:pt>
                <c:pt idx="6707">
                  <c:v>0.42984869325997199</c:v>
                </c:pt>
                <c:pt idx="6708">
                  <c:v>0.42985074626865699</c:v>
                </c:pt>
                <c:pt idx="6709">
                  <c:v>0.42990654205607498</c:v>
                </c:pt>
                <c:pt idx="6710">
                  <c:v>0.42991829038340701</c:v>
                </c:pt>
                <c:pt idx="6711">
                  <c:v>0.43027888446215101</c:v>
                </c:pt>
                <c:pt idx="6712">
                  <c:v>0.43046357615893999</c:v>
                </c:pt>
                <c:pt idx="6713">
                  <c:v>0.43065693430656898</c:v>
                </c:pt>
                <c:pt idx="6714">
                  <c:v>0.43069306930693102</c:v>
                </c:pt>
                <c:pt idx="6715">
                  <c:v>0.430753564154786</c:v>
                </c:pt>
                <c:pt idx="6716">
                  <c:v>0.43076923076923102</c:v>
                </c:pt>
                <c:pt idx="6717">
                  <c:v>0.43092105263157898</c:v>
                </c:pt>
                <c:pt idx="6718">
                  <c:v>0.431034482758621</c:v>
                </c:pt>
                <c:pt idx="6719">
                  <c:v>0.43115942028985499</c:v>
                </c:pt>
                <c:pt idx="6720">
                  <c:v>0.43141153081510902</c:v>
                </c:pt>
                <c:pt idx="6721">
                  <c:v>0.43142144638404001</c:v>
                </c:pt>
                <c:pt idx="6722">
                  <c:v>0.43148688046647199</c:v>
                </c:pt>
                <c:pt idx="6723">
                  <c:v>0.43157894736842101</c:v>
                </c:pt>
                <c:pt idx="6724">
                  <c:v>0.43157894736842101</c:v>
                </c:pt>
                <c:pt idx="6725">
                  <c:v>0.43167701863354002</c:v>
                </c:pt>
                <c:pt idx="6726">
                  <c:v>0.43174250832408401</c:v>
                </c:pt>
                <c:pt idx="6727">
                  <c:v>0.43181818181818199</c:v>
                </c:pt>
                <c:pt idx="6728">
                  <c:v>0.43195266272189298</c:v>
                </c:pt>
                <c:pt idx="6729">
                  <c:v>0.43195266272189298</c:v>
                </c:pt>
                <c:pt idx="6730">
                  <c:v>0.43197278911564602</c:v>
                </c:pt>
                <c:pt idx="6731">
                  <c:v>0.43209876543209902</c:v>
                </c:pt>
                <c:pt idx="6732">
                  <c:v>0.43224699828473401</c:v>
                </c:pt>
                <c:pt idx="6733">
                  <c:v>0.43239113827349102</c:v>
                </c:pt>
                <c:pt idx="6734">
                  <c:v>0.43243243243243201</c:v>
                </c:pt>
                <c:pt idx="6735">
                  <c:v>0.43243243243243201</c:v>
                </c:pt>
                <c:pt idx="6736">
                  <c:v>0.432642487046632</c:v>
                </c:pt>
                <c:pt idx="6737">
                  <c:v>0.432668329177057</c:v>
                </c:pt>
                <c:pt idx="6738">
                  <c:v>0.43275862068965498</c:v>
                </c:pt>
                <c:pt idx="6739">
                  <c:v>0.43283582089552203</c:v>
                </c:pt>
                <c:pt idx="6740">
                  <c:v>0.43283582089552203</c:v>
                </c:pt>
                <c:pt idx="6741">
                  <c:v>0.43296089385474901</c:v>
                </c:pt>
                <c:pt idx="6742">
                  <c:v>0.43312101910827999</c:v>
                </c:pt>
                <c:pt idx="6743">
                  <c:v>0.43312101910827999</c:v>
                </c:pt>
                <c:pt idx="6744">
                  <c:v>0.43333333333333302</c:v>
                </c:pt>
                <c:pt idx="6745">
                  <c:v>0.43352601156069398</c:v>
                </c:pt>
                <c:pt idx="6746">
                  <c:v>0.43362068965517198</c:v>
                </c:pt>
                <c:pt idx="6747">
                  <c:v>0.43396226415094302</c:v>
                </c:pt>
                <c:pt idx="6748">
                  <c:v>0.434285714285714</c:v>
                </c:pt>
                <c:pt idx="6749">
                  <c:v>0.434412265758092</c:v>
                </c:pt>
                <c:pt idx="6750">
                  <c:v>0.43445692883895098</c:v>
                </c:pt>
                <c:pt idx="6751">
                  <c:v>0.434782608695652</c:v>
                </c:pt>
                <c:pt idx="6752">
                  <c:v>0.43492695883134103</c:v>
                </c:pt>
                <c:pt idx="6753">
                  <c:v>0.435019841269841</c:v>
                </c:pt>
                <c:pt idx="6754">
                  <c:v>0.43505674653215598</c:v>
                </c:pt>
                <c:pt idx="6755">
                  <c:v>0.43525179856115098</c:v>
                </c:pt>
                <c:pt idx="6756">
                  <c:v>0.43535427319211101</c:v>
                </c:pt>
                <c:pt idx="6757">
                  <c:v>0.43538461538461498</c:v>
                </c:pt>
                <c:pt idx="6758">
                  <c:v>0.43546365914787</c:v>
                </c:pt>
                <c:pt idx="6759">
                  <c:v>0.43566591422121898</c:v>
                </c:pt>
                <c:pt idx="6760">
                  <c:v>0.43570057581573901</c:v>
                </c:pt>
                <c:pt idx="6761">
                  <c:v>0.435828877005348</c:v>
                </c:pt>
                <c:pt idx="6762">
                  <c:v>0.43589743589743601</c:v>
                </c:pt>
                <c:pt idx="6763">
                  <c:v>0.43589743589743601</c:v>
                </c:pt>
                <c:pt idx="6764">
                  <c:v>0.43612334801762098</c:v>
                </c:pt>
                <c:pt idx="6765">
                  <c:v>0.43619047619047602</c:v>
                </c:pt>
                <c:pt idx="6766">
                  <c:v>0.43621621621621598</c:v>
                </c:pt>
                <c:pt idx="6767">
                  <c:v>0.43636363636363601</c:v>
                </c:pt>
                <c:pt idx="6768">
                  <c:v>0.43636363636363601</c:v>
                </c:pt>
                <c:pt idx="6769">
                  <c:v>0.43636363636363601</c:v>
                </c:pt>
                <c:pt idx="6770">
                  <c:v>0.43646408839779</c:v>
                </c:pt>
                <c:pt idx="6771">
                  <c:v>0.43653458697112202</c:v>
                </c:pt>
                <c:pt idx="6772">
                  <c:v>0.43653846153846199</c:v>
                </c:pt>
                <c:pt idx="6773">
                  <c:v>0.43661971830985902</c:v>
                </c:pt>
                <c:pt idx="6774">
                  <c:v>0.43661971830985902</c:v>
                </c:pt>
                <c:pt idx="6775">
                  <c:v>0.43661971830985902</c:v>
                </c:pt>
                <c:pt idx="6776">
                  <c:v>0.43667296786389398</c:v>
                </c:pt>
                <c:pt idx="6777">
                  <c:v>0.436708860759494</c:v>
                </c:pt>
                <c:pt idx="6778">
                  <c:v>0.43674176776429802</c:v>
                </c:pt>
                <c:pt idx="6779">
                  <c:v>0.43678160919540199</c:v>
                </c:pt>
                <c:pt idx="6780">
                  <c:v>0.43726235741444902</c:v>
                </c:pt>
                <c:pt idx="6781">
                  <c:v>0.43735763097949898</c:v>
                </c:pt>
                <c:pt idx="6782">
                  <c:v>0.43741209563994399</c:v>
                </c:pt>
                <c:pt idx="6783">
                  <c:v>0.4375</c:v>
                </c:pt>
                <c:pt idx="6784">
                  <c:v>0.4375</c:v>
                </c:pt>
                <c:pt idx="6785">
                  <c:v>0.4375</c:v>
                </c:pt>
                <c:pt idx="6786">
                  <c:v>0.43782383419689103</c:v>
                </c:pt>
                <c:pt idx="6787">
                  <c:v>0.43809523809523798</c:v>
                </c:pt>
                <c:pt idx="6788">
                  <c:v>0.43810096153846201</c:v>
                </c:pt>
                <c:pt idx="6789">
                  <c:v>0.43859649122806998</c:v>
                </c:pt>
                <c:pt idx="6790">
                  <c:v>0.43859649122806998</c:v>
                </c:pt>
                <c:pt idx="6791">
                  <c:v>0.43878185208203802</c:v>
                </c:pt>
                <c:pt idx="6792">
                  <c:v>0.43911248710010298</c:v>
                </c:pt>
                <c:pt idx="6793">
                  <c:v>0.43925233644859801</c:v>
                </c:pt>
                <c:pt idx="6794">
                  <c:v>0.43936243936243902</c:v>
                </c:pt>
                <c:pt idx="6795">
                  <c:v>0.43942133815551498</c:v>
                </c:pt>
                <c:pt idx="6796">
                  <c:v>0.43951612903225801</c:v>
                </c:pt>
                <c:pt idx="6797">
                  <c:v>0.43951612903225801</c:v>
                </c:pt>
                <c:pt idx="6798">
                  <c:v>0.439645625692137</c:v>
                </c:pt>
                <c:pt idx="6799">
                  <c:v>0.43969368219527799</c:v>
                </c:pt>
                <c:pt idx="6800">
                  <c:v>0.439716312056738</c:v>
                </c:pt>
                <c:pt idx="6801">
                  <c:v>0.43984962406014999</c:v>
                </c:pt>
                <c:pt idx="6802">
                  <c:v>0.44</c:v>
                </c:pt>
                <c:pt idx="6803">
                  <c:v>0.440217391304348</c:v>
                </c:pt>
                <c:pt idx="6804">
                  <c:v>0.44032921810699599</c:v>
                </c:pt>
                <c:pt idx="6805">
                  <c:v>0.44041450777202101</c:v>
                </c:pt>
                <c:pt idx="6806">
                  <c:v>0.44059405940594099</c:v>
                </c:pt>
                <c:pt idx="6807">
                  <c:v>0.44059405940594099</c:v>
                </c:pt>
                <c:pt idx="6808">
                  <c:v>0.44079885877318098</c:v>
                </c:pt>
                <c:pt idx="6809">
                  <c:v>0.44082840236686399</c:v>
                </c:pt>
                <c:pt idx="6810">
                  <c:v>0.44114411441144102</c:v>
                </c:pt>
                <c:pt idx="6811">
                  <c:v>0.441156691324815</c:v>
                </c:pt>
                <c:pt idx="6812">
                  <c:v>0.441176470588235</c:v>
                </c:pt>
                <c:pt idx="6813">
                  <c:v>0.441176470588235</c:v>
                </c:pt>
                <c:pt idx="6814">
                  <c:v>0.441176470588235</c:v>
                </c:pt>
                <c:pt idx="6815">
                  <c:v>0.44131455399060998</c:v>
                </c:pt>
                <c:pt idx="6816">
                  <c:v>0.44137931034482802</c:v>
                </c:pt>
                <c:pt idx="6817">
                  <c:v>0.44155844155844198</c:v>
                </c:pt>
                <c:pt idx="6818">
                  <c:v>0.44166666666666698</c:v>
                </c:pt>
                <c:pt idx="6819">
                  <c:v>0.44186046511627902</c:v>
                </c:pt>
                <c:pt idx="6820">
                  <c:v>0.44186046511627902</c:v>
                </c:pt>
                <c:pt idx="6821">
                  <c:v>0.44196428571428598</c:v>
                </c:pt>
                <c:pt idx="6822">
                  <c:v>0.442105263157895</c:v>
                </c:pt>
                <c:pt idx="6823">
                  <c:v>0.44213649851631998</c:v>
                </c:pt>
                <c:pt idx="6824">
                  <c:v>0.44217687074829898</c:v>
                </c:pt>
                <c:pt idx="6825">
                  <c:v>0.44247787610619499</c:v>
                </c:pt>
                <c:pt idx="6826">
                  <c:v>0.44266666666666699</c:v>
                </c:pt>
                <c:pt idx="6827">
                  <c:v>0.442857142857143</c:v>
                </c:pt>
                <c:pt idx="6828">
                  <c:v>0.44327176781002597</c:v>
                </c:pt>
                <c:pt idx="6829">
                  <c:v>0.44342507645259899</c:v>
                </c:pt>
                <c:pt idx="6830">
                  <c:v>0.44354838709677402</c:v>
                </c:pt>
                <c:pt idx="6831">
                  <c:v>0.443843031123139</c:v>
                </c:pt>
                <c:pt idx="6832">
                  <c:v>0.44423791821561298</c:v>
                </c:pt>
                <c:pt idx="6833">
                  <c:v>0.44444444444444398</c:v>
                </c:pt>
                <c:pt idx="6834">
                  <c:v>0.44444444444444398</c:v>
                </c:pt>
                <c:pt idx="6835">
                  <c:v>0.44444444444444398</c:v>
                </c:pt>
                <c:pt idx="6836">
                  <c:v>0.44444444444444398</c:v>
                </c:pt>
                <c:pt idx="6837">
                  <c:v>0.44444444444444398</c:v>
                </c:pt>
                <c:pt idx="6838">
                  <c:v>0.44444444444444398</c:v>
                </c:pt>
                <c:pt idx="6839">
                  <c:v>0.444651162790698</c:v>
                </c:pt>
                <c:pt idx="6840">
                  <c:v>0.44483985765124601</c:v>
                </c:pt>
                <c:pt idx="6841">
                  <c:v>0.444933920704846</c:v>
                </c:pt>
                <c:pt idx="6842">
                  <c:v>0.44494584837545098</c:v>
                </c:pt>
                <c:pt idx="6843">
                  <c:v>0.44498777506112502</c:v>
                </c:pt>
                <c:pt idx="6844">
                  <c:v>0.44510978043912203</c:v>
                </c:pt>
                <c:pt idx="6845">
                  <c:v>0.44537815126050401</c:v>
                </c:pt>
                <c:pt idx="6846">
                  <c:v>0.44537815126050401</c:v>
                </c:pt>
                <c:pt idx="6847">
                  <c:v>0.44550109729334297</c:v>
                </c:pt>
                <c:pt idx="6848">
                  <c:v>0.44565217391304301</c:v>
                </c:pt>
                <c:pt idx="6849">
                  <c:v>0.44569939183318802</c:v>
                </c:pt>
                <c:pt idx="6850">
                  <c:v>0.44573322286661099</c:v>
                </c:pt>
                <c:pt idx="6851">
                  <c:v>0.44584913611462301</c:v>
                </c:pt>
                <c:pt idx="6852">
                  <c:v>0.44604316546762601</c:v>
                </c:pt>
                <c:pt idx="6853">
                  <c:v>0.44615384615384601</c:v>
                </c:pt>
                <c:pt idx="6854">
                  <c:v>0.44623655913978499</c:v>
                </c:pt>
                <c:pt idx="6855">
                  <c:v>0.44631901840490801</c:v>
                </c:pt>
                <c:pt idx="6856">
                  <c:v>0.44660194174757301</c:v>
                </c:pt>
                <c:pt idx="6857">
                  <c:v>0.44667370644139398</c:v>
                </c:pt>
                <c:pt idx="6858">
                  <c:v>0.44670050761421298</c:v>
                </c:pt>
                <c:pt idx="6859">
                  <c:v>0.44674556213017702</c:v>
                </c:pt>
                <c:pt idx="6860">
                  <c:v>0.44696969696969702</c:v>
                </c:pt>
                <c:pt idx="6861">
                  <c:v>0.44698544698544701</c:v>
                </c:pt>
                <c:pt idx="6862">
                  <c:v>0.44705882352941201</c:v>
                </c:pt>
                <c:pt idx="6863">
                  <c:v>0.447204968944099</c:v>
                </c:pt>
                <c:pt idx="6864">
                  <c:v>0.44747081712062298</c:v>
                </c:pt>
                <c:pt idx="6865">
                  <c:v>0.44751381215469599</c:v>
                </c:pt>
                <c:pt idx="6866">
                  <c:v>0.44776119402985098</c:v>
                </c:pt>
                <c:pt idx="6867">
                  <c:v>0.44827586206896503</c:v>
                </c:pt>
                <c:pt idx="6868">
                  <c:v>0.44881889763779498</c:v>
                </c:pt>
                <c:pt idx="6869">
                  <c:v>0.44897959183673503</c:v>
                </c:pt>
                <c:pt idx="6870">
                  <c:v>0.44897959183673503</c:v>
                </c:pt>
                <c:pt idx="6871">
                  <c:v>0.44897959183673503</c:v>
                </c:pt>
                <c:pt idx="6872">
                  <c:v>0.449013157894737</c:v>
                </c:pt>
                <c:pt idx="6873">
                  <c:v>0.44940476190476197</c:v>
                </c:pt>
                <c:pt idx="6874">
                  <c:v>0.449438202247191</c:v>
                </c:pt>
                <c:pt idx="6875">
                  <c:v>0.449438202247191</c:v>
                </c:pt>
                <c:pt idx="6876">
                  <c:v>0.449438202247191</c:v>
                </c:pt>
                <c:pt idx="6877">
                  <c:v>0.449487554904832</c:v>
                </c:pt>
                <c:pt idx="6878">
                  <c:v>0.44950495049504902</c:v>
                </c:pt>
                <c:pt idx="6879">
                  <c:v>0.449511400651466</c:v>
                </c:pt>
                <c:pt idx="6880">
                  <c:v>0.44954128440367003</c:v>
                </c:pt>
                <c:pt idx="6881">
                  <c:v>0.44957841483979799</c:v>
                </c:pt>
                <c:pt idx="6882">
                  <c:v>0.44959128065395099</c:v>
                </c:pt>
                <c:pt idx="6883">
                  <c:v>0.44966442953020103</c:v>
                </c:pt>
                <c:pt idx="6884">
                  <c:v>0.449826989619377</c:v>
                </c:pt>
                <c:pt idx="6885">
                  <c:v>0.45</c:v>
                </c:pt>
                <c:pt idx="6886">
                  <c:v>0.45</c:v>
                </c:pt>
                <c:pt idx="6887">
                  <c:v>0.45</c:v>
                </c:pt>
                <c:pt idx="6888">
                  <c:v>0.45028142589118197</c:v>
                </c:pt>
                <c:pt idx="6889">
                  <c:v>0.45051194539249101</c:v>
                </c:pt>
                <c:pt idx="6890">
                  <c:v>0.45052083333333298</c:v>
                </c:pt>
                <c:pt idx="6891">
                  <c:v>0.45061728395061701</c:v>
                </c:pt>
                <c:pt idx="6892">
                  <c:v>0.45098039215686297</c:v>
                </c:pt>
                <c:pt idx="6893">
                  <c:v>0.45108695652173902</c:v>
                </c:pt>
                <c:pt idx="6894">
                  <c:v>0.45132743362831901</c:v>
                </c:pt>
                <c:pt idx="6895">
                  <c:v>0.45161290322580599</c:v>
                </c:pt>
                <c:pt idx="6896">
                  <c:v>0.45161290322580599</c:v>
                </c:pt>
                <c:pt idx="6897">
                  <c:v>0.451807228915663</c:v>
                </c:pt>
                <c:pt idx="6898">
                  <c:v>0.451807228915663</c:v>
                </c:pt>
                <c:pt idx="6899">
                  <c:v>0.45188284518828398</c:v>
                </c:pt>
                <c:pt idx="6900">
                  <c:v>0.45192307692307698</c:v>
                </c:pt>
                <c:pt idx="6901">
                  <c:v>0.45205479452054798</c:v>
                </c:pt>
                <c:pt idx="6902">
                  <c:v>0.45205479452054798</c:v>
                </c:pt>
                <c:pt idx="6903">
                  <c:v>0.452380952380952</c:v>
                </c:pt>
                <c:pt idx="6904">
                  <c:v>0.452380952380952</c:v>
                </c:pt>
                <c:pt idx="6905">
                  <c:v>0.45265151515151503</c:v>
                </c:pt>
                <c:pt idx="6906">
                  <c:v>0.45272727272727298</c:v>
                </c:pt>
                <c:pt idx="6907">
                  <c:v>0.45274725274725303</c:v>
                </c:pt>
                <c:pt idx="6908">
                  <c:v>0.452755905511811</c:v>
                </c:pt>
                <c:pt idx="6909">
                  <c:v>0.45295404814004397</c:v>
                </c:pt>
                <c:pt idx="6910">
                  <c:v>0.45305164319248797</c:v>
                </c:pt>
                <c:pt idx="6911">
                  <c:v>0.453125</c:v>
                </c:pt>
                <c:pt idx="6912">
                  <c:v>0.45333333333333298</c:v>
                </c:pt>
                <c:pt idx="6913">
                  <c:v>0.453416149068323</c:v>
                </c:pt>
                <c:pt idx="6914">
                  <c:v>0.45348837209302301</c:v>
                </c:pt>
                <c:pt idx="6915">
                  <c:v>0.45374449339207001</c:v>
                </c:pt>
                <c:pt idx="6916">
                  <c:v>0.45378151260504201</c:v>
                </c:pt>
                <c:pt idx="6917">
                  <c:v>0.45387453874538702</c:v>
                </c:pt>
                <c:pt idx="6918">
                  <c:v>0.454098360655738</c:v>
                </c:pt>
                <c:pt idx="6919">
                  <c:v>0.45416913069189802</c:v>
                </c:pt>
                <c:pt idx="6920">
                  <c:v>0.454320987654321</c:v>
                </c:pt>
                <c:pt idx="6921">
                  <c:v>0.45454545454545398</c:v>
                </c:pt>
                <c:pt idx="6922">
                  <c:v>0.45454545454545398</c:v>
                </c:pt>
                <c:pt idx="6923">
                  <c:v>0.45454545454545398</c:v>
                </c:pt>
                <c:pt idx="6924">
                  <c:v>0.45454545454545398</c:v>
                </c:pt>
                <c:pt idx="6925">
                  <c:v>0.45454545454545398</c:v>
                </c:pt>
                <c:pt idx="6926">
                  <c:v>0.45478961504028598</c:v>
                </c:pt>
                <c:pt idx="6927">
                  <c:v>0.455407969639469</c:v>
                </c:pt>
                <c:pt idx="6928">
                  <c:v>0.45544554455445502</c:v>
                </c:pt>
                <c:pt idx="6929">
                  <c:v>0.45588235294117602</c:v>
                </c:pt>
                <c:pt idx="6930">
                  <c:v>0.45590327169274503</c:v>
                </c:pt>
                <c:pt idx="6931">
                  <c:v>0.45592705167173198</c:v>
                </c:pt>
                <c:pt idx="6932">
                  <c:v>0.45600000000000002</c:v>
                </c:pt>
                <c:pt idx="6933">
                  <c:v>0.456451612903226</c:v>
                </c:pt>
                <c:pt idx="6934">
                  <c:v>0.45645645645645599</c:v>
                </c:pt>
                <c:pt idx="6935">
                  <c:v>0.45652173913043498</c:v>
                </c:pt>
                <c:pt idx="6936">
                  <c:v>0.456603773584906</c:v>
                </c:pt>
                <c:pt idx="6937">
                  <c:v>0.45662100456621002</c:v>
                </c:pt>
                <c:pt idx="6938">
                  <c:v>0.45669291338582702</c:v>
                </c:pt>
                <c:pt idx="6939">
                  <c:v>0.45676274944567602</c:v>
                </c:pt>
                <c:pt idx="6940">
                  <c:v>0.45689655172413801</c:v>
                </c:pt>
                <c:pt idx="6941">
                  <c:v>0.45705521472392602</c:v>
                </c:pt>
                <c:pt idx="6942">
                  <c:v>0.45714285714285702</c:v>
                </c:pt>
                <c:pt idx="6943">
                  <c:v>0.45717592592592599</c:v>
                </c:pt>
                <c:pt idx="6944">
                  <c:v>0.45726141078838201</c:v>
                </c:pt>
                <c:pt idx="6945">
                  <c:v>0.45744680851063801</c:v>
                </c:pt>
                <c:pt idx="6946">
                  <c:v>0.45750000000000002</c:v>
                </c:pt>
                <c:pt idx="6947">
                  <c:v>0.45764053840063301</c:v>
                </c:pt>
                <c:pt idx="6948">
                  <c:v>0.45801526717557201</c:v>
                </c:pt>
                <c:pt idx="6949">
                  <c:v>0.45833333333333298</c:v>
                </c:pt>
                <c:pt idx="6950">
                  <c:v>0.45833333333333298</c:v>
                </c:pt>
                <c:pt idx="6951">
                  <c:v>0.45833333333333298</c:v>
                </c:pt>
                <c:pt idx="6952">
                  <c:v>0.45833333333333298</c:v>
                </c:pt>
                <c:pt idx="6953">
                  <c:v>0.458515283842795</c:v>
                </c:pt>
                <c:pt idx="6954">
                  <c:v>0.45868945868945898</c:v>
                </c:pt>
                <c:pt idx="6955">
                  <c:v>0.458937198067633</c:v>
                </c:pt>
                <c:pt idx="6956">
                  <c:v>0.45901639344262302</c:v>
                </c:pt>
                <c:pt idx="6957">
                  <c:v>0.45901639344262302</c:v>
                </c:pt>
                <c:pt idx="6958">
                  <c:v>0.45906432748538001</c:v>
                </c:pt>
                <c:pt idx="6959">
                  <c:v>0.45918367346938799</c:v>
                </c:pt>
                <c:pt idx="6960">
                  <c:v>0.45925925925925898</c:v>
                </c:pt>
                <c:pt idx="6961">
                  <c:v>0.45945945945945899</c:v>
                </c:pt>
                <c:pt idx="6962">
                  <c:v>0.45945945945945899</c:v>
                </c:pt>
                <c:pt idx="6963">
                  <c:v>0.45959595959596</c:v>
                </c:pt>
                <c:pt idx="6964">
                  <c:v>0.46</c:v>
                </c:pt>
                <c:pt idx="6965">
                  <c:v>0.460051546391753</c:v>
                </c:pt>
                <c:pt idx="6966">
                  <c:v>0.46006389776357798</c:v>
                </c:pt>
                <c:pt idx="6967">
                  <c:v>0.460093896713615</c:v>
                </c:pt>
                <c:pt idx="6968">
                  <c:v>0.46017699115044203</c:v>
                </c:pt>
                <c:pt idx="6969">
                  <c:v>0.46031746031746001</c:v>
                </c:pt>
                <c:pt idx="6970">
                  <c:v>0.46035805626598503</c:v>
                </c:pt>
                <c:pt idx="6971">
                  <c:v>0.46067415730337102</c:v>
                </c:pt>
                <c:pt idx="6972">
                  <c:v>0.46067415730337102</c:v>
                </c:pt>
                <c:pt idx="6973">
                  <c:v>0.46086956521739098</c:v>
                </c:pt>
                <c:pt idx="6974">
                  <c:v>0.46153846153846201</c:v>
                </c:pt>
                <c:pt idx="6975">
                  <c:v>0.46153846153846201</c:v>
                </c:pt>
                <c:pt idx="6976">
                  <c:v>0.46193771626297597</c:v>
                </c:pt>
                <c:pt idx="6977">
                  <c:v>0.46195652173912999</c:v>
                </c:pt>
                <c:pt idx="6978">
                  <c:v>0.46226415094339601</c:v>
                </c:pt>
                <c:pt idx="6979">
                  <c:v>0.462365591397849</c:v>
                </c:pt>
                <c:pt idx="6980">
                  <c:v>0.462686567164179</c:v>
                </c:pt>
                <c:pt idx="6981">
                  <c:v>0.46341463414634099</c:v>
                </c:pt>
                <c:pt idx="6982">
                  <c:v>0.46350364963503599</c:v>
                </c:pt>
                <c:pt idx="6983">
                  <c:v>0.46363636363636401</c:v>
                </c:pt>
                <c:pt idx="6984">
                  <c:v>0.46376811594202899</c:v>
                </c:pt>
                <c:pt idx="6985">
                  <c:v>0.46380090497737603</c:v>
                </c:pt>
                <c:pt idx="6986">
                  <c:v>0.463829787234043</c:v>
                </c:pt>
                <c:pt idx="6987">
                  <c:v>0.46405228758169897</c:v>
                </c:pt>
                <c:pt idx="6988">
                  <c:v>0.46443514644351502</c:v>
                </c:pt>
                <c:pt idx="6989">
                  <c:v>0.46452702702702697</c:v>
                </c:pt>
                <c:pt idx="6990">
                  <c:v>0.46461538461538499</c:v>
                </c:pt>
                <c:pt idx="6991">
                  <c:v>0.46464646464646497</c:v>
                </c:pt>
                <c:pt idx="6992">
                  <c:v>0.46484375</c:v>
                </c:pt>
                <c:pt idx="6993">
                  <c:v>0.46493902439024398</c:v>
                </c:pt>
                <c:pt idx="6994">
                  <c:v>0.46500402252614598</c:v>
                </c:pt>
                <c:pt idx="6995">
                  <c:v>0.465040650406504</c:v>
                </c:pt>
                <c:pt idx="6996">
                  <c:v>0.46511627906976699</c:v>
                </c:pt>
                <c:pt idx="6997">
                  <c:v>0.46527777777777801</c:v>
                </c:pt>
                <c:pt idx="6998">
                  <c:v>0.46533756230176698</c:v>
                </c:pt>
                <c:pt idx="6999">
                  <c:v>0.46551724137931</c:v>
                </c:pt>
                <c:pt idx="7000">
                  <c:v>0.46584488957370301</c:v>
                </c:pt>
                <c:pt idx="7001">
                  <c:v>0.466019417475728</c:v>
                </c:pt>
                <c:pt idx="7002">
                  <c:v>0.46605410923940799</c:v>
                </c:pt>
                <c:pt idx="7003">
                  <c:v>0.46630727762803198</c:v>
                </c:pt>
                <c:pt idx="7004">
                  <c:v>0.46643109540636002</c:v>
                </c:pt>
                <c:pt idx="7005">
                  <c:v>0.46666666666666701</c:v>
                </c:pt>
                <c:pt idx="7006">
                  <c:v>0.46666666666666701</c:v>
                </c:pt>
                <c:pt idx="7007">
                  <c:v>0.46666666666666701</c:v>
                </c:pt>
                <c:pt idx="7008">
                  <c:v>0.46700507614213199</c:v>
                </c:pt>
                <c:pt idx="7009">
                  <c:v>0.46701846965699201</c:v>
                </c:pt>
                <c:pt idx="7010">
                  <c:v>0.46712802768166101</c:v>
                </c:pt>
                <c:pt idx="7011">
                  <c:v>0.46720368239355597</c:v>
                </c:pt>
                <c:pt idx="7012">
                  <c:v>0.467289719626168</c:v>
                </c:pt>
                <c:pt idx="7013">
                  <c:v>0.467289719626168</c:v>
                </c:pt>
                <c:pt idx="7014">
                  <c:v>0.46766169154228898</c:v>
                </c:pt>
                <c:pt idx="7015">
                  <c:v>0.46768060836501901</c:v>
                </c:pt>
                <c:pt idx="7016">
                  <c:v>0.46770601336302903</c:v>
                </c:pt>
                <c:pt idx="7017">
                  <c:v>0.467741935483871</c:v>
                </c:pt>
                <c:pt idx="7018">
                  <c:v>0.46788990825688098</c:v>
                </c:pt>
                <c:pt idx="7019">
                  <c:v>0.46808510638297901</c:v>
                </c:pt>
                <c:pt idx="7020">
                  <c:v>0.46808510638297901</c:v>
                </c:pt>
                <c:pt idx="7021">
                  <c:v>0.46846846846846801</c:v>
                </c:pt>
                <c:pt idx="7022">
                  <c:v>0.46875</c:v>
                </c:pt>
                <c:pt idx="7023">
                  <c:v>0.46875</c:v>
                </c:pt>
                <c:pt idx="7024">
                  <c:v>0.469202898550725</c:v>
                </c:pt>
                <c:pt idx="7025">
                  <c:v>0.46923076923076901</c:v>
                </c:pt>
                <c:pt idx="7026">
                  <c:v>0.46932515337423297</c:v>
                </c:pt>
                <c:pt idx="7027">
                  <c:v>0.469387755102041</c:v>
                </c:pt>
                <c:pt idx="7028">
                  <c:v>0.46949152542372902</c:v>
                </c:pt>
                <c:pt idx="7029">
                  <c:v>0.46961325966850798</c:v>
                </c:pt>
                <c:pt idx="7030">
                  <c:v>0.46961325966850798</c:v>
                </c:pt>
                <c:pt idx="7031">
                  <c:v>0.46969696969697</c:v>
                </c:pt>
                <c:pt idx="7032">
                  <c:v>0.46969696969697</c:v>
                </c:pt>
                <c:pt idx="7033">
                  <c:v>0.46973365617433399</c:v>
                </c:pt>
                <c:pt idx="7034">
                  <c:v>0.46979038224414299</c:v>
                </c:pt>
                <c:pt idx="7035">
                  <c:v>0.47</c:v>
                </c:pt>
                <c:pt idx="7036">
                  <c:v>0.47014925373134298</c:v>
                </c:pt>
                <c:pt idx="7037">
                  <c:v>0.47014925373134298</c:v>
                </c:pt>
                <c:pt idx="7038">
                  <c:v>0.47017543859649102</c:v>
                </c:pt>
                <c:pt idx="7039">
                  <c:v>0.47019867549668898</c:v>
                </c:pt>
                <c:pt idx="7040">
                  <c:v>0.47058823529411797</c:v>
                </c:pt>
                <c:pt idx="7041">
                  <c:v>0.470703125</c:v>
                </c:pt>
                <c:pt idx="7042">
                  <c:v>0.47073052733430099</c:v>
                </c:pt>
                <c:pt idx="7043">
                  <c:v>0.47077922077922102</c:v>
                </c:pt>
                <c:pt idx="7044">
                  <c:v>0.47077922077922102</c:v>
                </c:pt>
                <c:pt idx="7045">
                  <c:v>0.47089947089947098</c:v>
                </c:pt>
                <c:pt idx="7046">
                  <c:v>0.47169811320754701</c:v>
                </c:pt>
                <c:pt idx="7047">
                  <c:v>0.47169811320754701</c:v>
                </c:pt>
                <c:pt idx="7048">
                  <c:v>0.47199999999999998</c:v>
                </c:pt>
                <c:pt idx="7049">
                  <c:v>0.47214076246334302</c:v>
                </c:pt>
                <c:pt idx="7050">
                  <c:v>0.47222222222222199</c:v>
                </c:pt>
                <c:pt idx="7051">
                  <c:v>0.47222222222222199</c:v>
                </c:pt>
                <c:pt idx="7052">
                  <c:v>0.472289156626506</c:v>
                </c:pt>
                <c:pt idx="7053">
                  <c:v>0.472350230414747</c:v>
                </c:pt>
                <c:pt idx="7054">
                  <c:v>0.47246696035242303</c:v>
                </c:pt>
                <c:pt idx="7055">
                  <c:v>0.47252747252747201</c:v>
                </c:pt>
                <c:pt idx="7056">
                  <c:v>0.472727272727273</c:v>
                </c:pt>
                <c:pt idx="7057">
                  <c:v>0.472727272727273</c:v>
                </c:pt>
                <c:pt idx="7058">
                  <c:v>0.472727272727273</c:v>
                </c:pt>
                <c:pt idx="7059">
                  <c:v>0.472882968601332</c:v>
                </c:pt>
                <c:pt idx="7060">
                  <c:v>0.47330960854092502</c:v>
                </c:pt>
                <c:pt idx="7061">
                  <c:v>0.47368421052631599</c:v>
                </c:pt>
                <c:pt idx="7062">
                  <c:v>0.47368421052631599</c:v>
                </c:pt>
                <c:pt idx="7063">
                  <c:v>0.47378277153558002</c:v>
                </c:pt>
                <c:pt idx="7064">
                  <c:v>0.47428571428571398</c:v>
                </c:pt>
                <c:pt idx="7065">
                  <c:v>0.47435897435897401</c:v>
                </c:pt>
                <c:pt idx="7066">
                  <c:v>0.47435897435897401</c:v>
                </c:pt>
                <c:pt idx="7067">
                  <c:v>0.47466666666666701</c:v>
                </c:pt>
                <c:pt idx="7068">
                  <c:v>0.47488151658767802</c:v>
                </c:pt>
                <c:pt idx="7069">
                  <c:v>0.47491638795986602</c:v>
                </c:pt>
                <c:pt idx="7070">
                  <c:v>0.47540983606557402</c:v>
                </c:pt>
                <c:pt idx="7071">
                  <c:v>0.47540983606557402</c:v>
                </c:pt>
                <c:pt idx="7072">
                  <c:v>0.47540983606557402</c:v>
                </c:pt>
                <c:pt idx="7073">
                  <c:v>0.47580645161290303</c:v>
                </c:pt>
                <c:pt idx="7074">
                  <c:v>0.47587511825922402</c:v>
                </c:pt>
                <c:pt idx="7075">
                  <c:v>0.47599999999999998</c:v>
                </c:pt>
                <c:pt idx="7076">
                  <c:v>0.476190476190476</c:v>
                </c:pt>
                <c:pt idx="7077">
                  <c:v>0.476190476190476</c:v>
                </c:pt>
                <c:pt idx="7078">
                  <c:v>0.47634069400630902</c:v>
                </c:pt>
                <c:pt idx="7079">
                  <c:v>0.47643979057591601</c:v>
                </c:pt>
                <c:pt idx="7080">
                  <c:v>0.4765625</c:v>
                </c:pt>
                <c:pt idx="7081">
                  <c:v>0.47671232876712299</c:v>
                </c:pt>
                <c:pt idx="7082">
                  <c:v>0.47683923705722098</c:v>
                </c:pt>
                <c:pt idx="7083">
                  <c:v>0.47692307692307701</c:v>
                </c:pt>
                <c:pt idx="7084">
                  <c:v>0.47727272727272702</c:v>
                </c:pt>
                <c:pt idx="7085">
                  <c:v>0.47736976942783899</c:v>
                </c:pt>
                <c:pt idx="7086">
                  <c:v>0.47737355811889998</c:v>
                </c:pt>
                <c:pt idx="7087">
                  <c:v>0.47741935483871001</c:v>
                </c:pt>
                <c:pt idx="7088">
                  <c:v>0.47747747747747699</c:v>
                </c:pt>
                <c:pt idx="7089">
                  <c:v>0.47761194029850701</c:v>
                </c:pt>
                <c:pt idx="7090">
                  <c:v>0.477732793522267</c:v>
                </c:pt>
                <c:pt idx="7091">
                  <c:v>0.47781818181818198</c:v>
                </c:pt>
                <c:pt idx="7092">
                  <c:v>0.47798742138364803</c:v>
                </c:pt>
                <c:pt idx="7093">
                  <c:v>0.47826086956521702</c:v>
                </c:pt>
                <c:pt idx="7094">
                  <c:v>0.47839506172839502</c:v>
                </c:pt>
                <c:pt idx="7095">
                  <c:v>0.47877984084880598</c:v>
                </c:pt>
                <c:pt idx="7096">
                  <c:v>0.47894736842105301</c:v>
                </c:pt>
                <c:pt idx="7097">
                  <c:v>0.47896879240162799</c:v>
                </c:pt>
                <c:pt idx="7098">
                  <c:v>0.47902869757174399</c:v>
                </c:pt>
                <c:pt idx="7099">
                  <c:v>0.47916666666666702</c:v>
                </c:pt>
                <c:pt idx="7100">
                  <c:v>0.47926267281106</c:v>
                </c:pt>
                <c:pt idx="7101">
                  <c:v>0.47933884297520701</c:v>
                </c:pt>
                <c:pt idx="7102">
                  <c:v>0.47933884297520701</c:v>
                </c:pt>
                <c:pt idx="7103">
                  <c:v>0.47945205479452002</c:v>
                </c:pt>
                <c:pt idx="7104">
                  <c:v>0.47959183673469402</c:v>
                </c:pt>
                <c:pt idx="7105">
                  <c:v>0.479757085020243</c:v>
                </c:pt>
                <c:pt idx="7106">
                  <c:v>0.47986577181208001</c:v>
                </c:pt>
                <c:pt idx="7107">
                  <c:v>0.48</c:v>
                </c:pt>
                <c:pt idx="7108">
                  <c:v>0.480263157894737</c:v>
                </c:pt>
                <c:pt idx="7109">
                  <c:v>0.48031496062992102</c:v>
                </c:pt>
                <c:pt idx="7110">
                  <c:v>0.48051948051948001</c:v>
                </c:pt>
                <c:pt idx="7111">
                  <c:v>0.48067010309278302</c:v>
                </c:pt>
                <c:pt idx="7112">
                  <c:v>0.48120300751879702</c:v>
                </c:pt>
                <c:pt idx="7113">
                  <c:v>0.48125000000000001</c:v>
                </c:pt>
                <c:pt idx="7114">
                  <c:v>0.48130841121495299</c:v>
                </c:pt>
                <c:pt idx="7115">
                  <c:v>0.48148148148148101</c:v>
                </c:pt>
                <c:pt idx="7116">
                  <c:v>0.48148148148148101</c:v>
                </c:pt>
                <c:pt idx="7117">
                  <c:v>0.48148148148148101</c:v>
                </c:pt>
                <c:pt idx="7118">
                  <c:v>0.48148148148148101</c:v>
                </c:pt>
                <c:pt idx="7119">
                  <c:v>0.48217054263565901</c:v>
                </c:pt>
                <c:pt idx="7120">
                  <c:v>0.48230088495575202</c:v>
                </c:pt>
                <c:pt idx="7121">
                  <c:v>0.48245614035087703</c:v>
                </c:pt>
                <c:pt idx="7122">
                  <c:v>0.48257839721254298</c:v>
                </c:pt>
                <c:pt idx="7123">
                  <c:v>0.48275862068965503</c:v>
                </c:pt>
                <c:pt idx="7124">
                  <c:v>0.48275862068965503</c:v>
                </c:pt>
                <c:pt idx="7125">
                  <c:v>0.48275862068965503</c:v>
                </c:pt>
                <c:pt idx="7126">
                  <c:v>0.48324958123953099</c:v>
                </c:pt>
                <c:pt idx="7127">
                  <c:v>0.483333333333333</c:v>
                </c:pt>
                <c:pt idx="7128">
                  <c:v>0.48378839590443701</c:v>
                </c:pt>
                <c:pt idx="7129">
                  <c:v>0.483870967741935</c:v>
                </c:pt>
                <c:pt idx="7130">
                  <c:v>0.484076433121019</c:v>
                </c:pt>
                <c:pt idx="7131">
                  <c:v>0.48478015783540002</c:v>
                </c:pt>
                <c:pt idx="7132">
                  <c:v>0.48484848484848497</c:v>
                </c:pt>
                <c:pt idx="7133">
                  <c:v>0.48507462686567199</c:v>
                </c:pt>
                <c:pt idx="7134">
                  <c:v>0.48534201954397399</c:v>
                </c:pt>
                <c:pt idx="7135">
                  <c:v>0.48557692307692302</c:v>
                </c:pt>
                <c:pt idx="7136">
                  <c:v>0.48561759729272402</c:v>
                </c:pt>
                <c:pt idx="7137">
                  <c:v>0.48571428571428599</c:v>
                </c:pt>
                <c:pt idx="7138">
                  <c:v>0.48587570621468901</c:v>
                </c:pt>
                <c:pt idx="7139">
                  <c:v>0.486033519553073</c:v>
                </c:pt>
                <c:pt idx="7140">
                  <c:v>0.48614609571788397</c:v>
                </c:pt>
                <c:pt idx="7141">
                  <c:v>0.48623853211009199</c:v>
                </c:pt>
                <c:pt idx="7142">
                  <c:v>0.486312399355878</c:v>
                </c:pt>
                <c:pt idx="7143">
                  <c:v>0.48641304347826098</c:v>
                </c:pt>
                <c:pt idx="7144">
                  <c:v>0.48653846153846098</c:v>
                </c:pt>
                <c:pt idx="7145">
                  <c:v>0.48660714285714302</c:v>
                </c:pt>
                <c:pt idx="7146">
                  <c:v>0.48672566371681403</c:v>
                </c:pt>
                <c:pt idx="7147">
                  <c:v>0.48672566371681403</c:v>
                </c:pt>
                <c:pt idx="7148">
                  <c:v>0.48685857321652098</c:v>
                </c:pt>
                <c:pt idx="7149">
                  <c:v>0.48715415019762798</c:v>
                </c:pt>
                <c:pt idx="7150">
                  <c:v>0.487179487179487</c:v>
                </c:pt>
                <c:pt idx="7151">
                  <c:v>0.487544483985765</c:v>
                </c:pt>
                <c:pt idx="7152">
                  <c:v>0.48760330578512401</c:v>
                </c:pt>
                <c:pt idx="7153">
                  <c:v>0.48764996471418498</c:v>
                </c:pt>
                <c:pt idx="7154">
                  <c:v>0.48780487804877998</c:v>
                </c:pt>
                <c:pt idx="7155">
                  <c:v>0.48780487804877998</c:v>
                </c:pt>
                <c:pt idx="7156">
                  <c:v>0.48806366047745398</c:v>
                </c:pt>
                <c:pt idx="7157">
                  <c:v>0.48814229249011898</c:v>
                </c:pt>
                <c:pt idx="7158">
                  <c:v>0.48825065274151402</c:v>
                </c:pt>
                <c:pt idx="7159">
                  <c:v>0.488400488400488</c:v>
                </c:pt>
                <c:pt idx="7160">
                  <c:v>0.48863636363636398</c:v>
                </c:pt>
                <c:pt idx="7161">
                  <c:v>0.488721804511278</c:v>
                </c:pt>
                <c:pt idx="7162">
                  <c:v>0.48958333333333298</c:v>
                </c:pt>
                <c:pt idx="7163">
                  <c:v>0.489614243323442</c:v>
                </c:pt>
                <c:pt idx="7164">
                  <c:v>0.48979591836734698</c:v>
                </c:pt>
                <c:pt idx="7165">
                  <c:v>0.49</c:v>
                </c:pt>
                <c:pt idx="7166">
                  <c:v>0.49044585987261102</c:v>
                </c:pt>
                <c:pt idx="7167">
                  <c:v>0.49044585987261102</c:v>
                </c:pt>
                <c:pt idx="7168">
                  <c:v>0.49048316251830198</c:v>
                </c:pt>
                <c:pt idx="7169">
                  <c:v>0.49052132701421802</c:v>
                </c:pt>
                <c:pt idx="7170">
                  <c:v>0.490566037735849</c:v>
                </c:pt>
                <c:pt idx="7171">
                  <c:v>0.490566037735849</c:v>
                </c:pt>
                <c:pt idx="7172">
                  <c:v>0.49079754601226999</c:v>
                </c:pt>
                <c:pt idx="7173">
                  <c:v>0.49090909090909102</c:v>
                </c:pt>
                <c:pt idx="7174">
                  <c:v>0.49128919860627202</c:v>
                </c:pt>
                <c:pt idx="7175">
                  <c:v>0.49137931034482801</c:v>
                </c:pt>
                <c:pt idx="7176">
                  <c:v>0.49137931034482801</c:v>
                </c:pt>
                <c:pt idx="7177">
                  <c:v>0.49175824175824201</c:v>
                </c:pt>
                <c:pt idx="7178">
                  <c:v>0.49180327868852503</c:v>
                </c:pt>
                <c:pt idx="7179">
                  <c:v>0.491869918699187</c:v>
                </c:pt>
                <c:pt idx="7180">
                  <c:v>0.49206349206349198</c:v>
                </c:pt>
                <c:pt idx="7181">
                  <c:v>0.49206349206349198</c:v>
                </c:pt>
                <c:pt idx="7182">
                  <c:v>0.49241658240647102</c:v>
                </c:pt>
                <c:pt idx="7183">
                  <c:v>0.49258160237388698</c:v>
                </c:pt>
                <c:pt idx="7184">
                  <c:v>0.49320388349514599</c:v>
                </c:pt>
                <c:pt idx="7185">
                  <c:v>0.49360044518642199</c:v>
                </c:pt>
                <c:pt idx="7186">
                  <c:v>0.49363057324840798</c:v>
                </c:pt>
                <c:pt idx="7187">
                  <c:v>0.49465648854961802</c:v>
                </c:pt>
                <c:pt idx="7188">
                  <c:v>0.49532710280373798</c:v>
                </c:pt>
                <c:pt idx="7189">
                  <c:v>0.495412844036697</c:v>
                </c:pt>
                <c:pt idx="7190">
                  <c:v>0.49549549549549499</c:v>
                </c:pt>
                <c:pt idx="7191">
                  <c:v>0.49551569506726501</c:v>
                </c:pt>
                <c:pt idx="7192">
                  <c:v>0.49662162162162199</c:v>
                </c:pt>
                <c:pt idx="7193">
                  <c:v>0.49670329670329699</c:v>
                </c:pt>
                <c:pt idx="7194">
                  <c:v>0.49710982658959502</c:v>
                </c:pt>
                <c:pt idx="7195">
                  <c:v>0.49717514124293799</c:v>
                </c:pt>
                <c:pt idx="7196">
                  <c:v>0.49859154929577498</c:v>
                </c:pt>
                <c:pt idx="7197">
                  <c:v>0.49897540983606598</c:v>
                </c:pt>
                <c:pt idx="7198">
                  <c:v>0.5</c:v>
                </c:pt>
                <c:pt idx="7199">
                  <c:v>0.5</c:v>
                </c:pt>
                <c:pt idx="7200">
                  <c:v>0.5</c:v>
                </c:pt>
                <c:pt idx="7201">
                  <c:v>0.5</c:v>
                </c:pt>
                <c:pt idx="7202">
                  <c:v>0.5</c:v>
                </c:pt>
                <c:pt idx="7203">
                  <c:v>0.5</c:v>
                </c:pt>
                <c:pt idx="7204">
                  <c:v>0.5</c:v>
                </c:pt>
                <c:pt idx="7205">
                  <c:v>0.5</c:v>
                </c:pt>
                <c:pt idx="7206">
                  <c:v>0.5</c:v>
                </c:pt>
                <c:pt idx="7207">
                  <c:v>0.5</c:v>
                </c:pt>
                <c:pt idx="7208">
                  <c:v>0.5</c:v>
                </c:pt>
                <c:pt idx="7209">
                  <c:v>0.5</c:v>
                </c:pt>
                <c:pt idx="7210">
                  <c:v>0.5</c:v>
                </c:pt>
                <c:pt idx="7211">
                  <c:v>0.5</c:v>
                </c:pt>
                <c:pt idx="7212">
                  <c:v>0.5</c:v>
                </c:pt>
                <c:pt idx="7213">
                  <c:v>0.5</c:v>
                </c:pt>
                <c:pt idx="7214">
                  <c:v>0.5</c:v>
                </c:pt>
                <c:pt idx="7215">
                  <c:v>0.5</c:v>
                </c:pt>
                <c:pt idx="7216">
                  <c:v>0.5</c:v>
                </c:pt>
                <c:pt idx="7217">
                  <c:v>0.50130208333333304</c:v>
                </c:pt>
                <c:pt idx="7218">
                  <c:v>0.501811594202899</c:v>
                </c:pt>
                <c:pt idx="7219">
                  <c:v>0.50196695515342205</c:v>
                </c:pt>
                <c:pt idx="7220">
                  <c:v>0.50224215246636805</c:v>
                </c:pt>
                <c:pt idx="7221">
                  <c:v>0.502325581395349</c:v>
                </c:pt>
                <c:pt idx="7222">
                  <c:v>0.50241779497098604</c:v>
                </c:pt>
                <c:pt idx="7223">
                  <c:v>0.50314465408804998</c:v>
                </c:pt>
                <c:pt idx="7224">
                  <c:v>0.50416666666666698</c:v>
                </c:pt>
                <c:pt idx="7225">
                  <c:v>0.50485436893203905</c:v>
                </c:pt>
                <c:pt idx="7226">
                  <c:v>0.50515463917525805</c:v>
                </c:pt>
                <c:pt idx="7227">
                  <c:v>0.50537634408602095</c:v>
                </c:pt>
                <c:pt idx="7228">
                  <c:v>0.50596782563570297</c:v>
                </c:pt>
                <c:pt idx="7229">
                  <c:v>0.50617283950617298</c:v>
                </c:pt>
                <c:pt idx="7230">
                  <c:v>0.506329113924051</c:v>
                </c:pt>
                <c:pt idx="7231">
                  <c:v>0.506493506493506</c:v>
                </c:pt>
                <c:pt idx="7232">
                  <c:v>0.50652528548123998</c:v>
                </c:pt>
                <c:pt idx="7233">
                  <c:v>0.50666666666666704</c:v>
                </c:pt>
                <c:pt idx="7234">
                  <c:v>0.50678733031674195</c:v>
                </c:pt>
                <c:pt idx="7235">
                  <c:v>0.50689655172413794</c:v>
                </c:pt>
                <c:pt idx="7236">
                  <c:v>0.50709219858155996</c:v>
                </c:pt>
                <c:pt idx="7237">
                  <c:v>0.50793650793650802</c:v>
                </c:pt>
                <c:pt idx="7238">
                  <c:v>0.50793650793650802</c:v>
                </c:pt>
                <c:pt idx="7239">
                  <c:v>0.50799507995079995</c:v>
                </c:pt>
                <c:pt idx="7240">
                  <c:v>0.50819672131147497</c:v>
                </c:pt>
                <c:pt idx="7241">
                  <c:v>0.50819672131147497</c:v>
                </c:pt>
                <c:pt idx="7242">
                  <c:v>0.50840336134453801</c:v>
                </c:pt>
                <c:pt idx="7243">
                  <c:v>0.50843881856540096</c:v>
                </c:pt>
                <c:pt idx="7244">
                  <c:v>0.508486562942008</c:v>
                </c:pt>
                <c:pt idx="7245">
                  <c:v>0.50887573964497002</c:v>
                </c:pt>
                <c:pt idx="7246">
                  <c:v>0.50898203592814395</c:v>
                </c:pt>
                <c:pt idx="7247">
                  <c:v>0.50898203592814395</c:v>
                </c:pt>
                <c:pt idx="7248">
                  <c:v>0.50904392764857898</c:v>
                </c:pt>
                <c:pt idx="7249">
                  <c:v>0.50906555090655503</c:v>
                </c:pt>
                <c:pt idx="7250">
                  <c:v>0.509423503325942</c:v>
                </c:pt>
                <c:pt idx="7251">
                  <c:v>0.50950570342205304</c:v>
                </c:pt>
                <c:pt idx="7252">
                  <c:v>0.50961538461538503</c:v>
                </c:pt>
                <c:pt idx="7253">
                  <c:v>0.50986842105263197</c:v>
                </c:pt>
                <c:pt idx="7254">
                  <c:v>0.51</c:v>
                </c:pt>
                <c:pt idx="7255">
                  <c:v>0.510112359550562</c:v>
                </c:pt>
                <c:pt idx="7256">
                  <c:v>0.51020408163265296</c:v>
                </c:pt>
                <c:pt idx="7257">
                  <c:v>0.51059635288319405</c:v>
                </c:pt>
                <c:pt idx="7258">
                  <c:v>0.51063829787234005</c:v>
                </c:pt>
                <c:pt idx="7259">
                  <c:v>0.51070528967254403</c:v>
                </c:pt>
                <c:pt idx="7260">
                  <c:v>0.51147540983606599</c:v>
                </c:pt>
                <c:pt idx="7261">
                  <c:v>0.51168224299065401</c:v>
                </c:pt>
                <c:pt idx="7262">
                  <c:v>0.51193317422434403</c:v>
                </c:pt>
                <c:pt idx="7263">
                  <c:v>0.51225490196078405</c:v>
                </c:pt>
                <c:pt idx="7264">
                  <c:v>0.51263537906137202</c:v>
                </c:pt>
                <c:pt idx="7265">
                  <c:v>0.512820512820513</c:v>
                </c:pt>
                <c:pt idx="7266">
                  <c:v>0.51302083333333304</c:v>
                </c:pt>
                <c:pt idx="7267">
                  <c:v>0.51304347826087005</c:v>
                </c:pt>
                <c:pt idx="7268">
                  <c:v>0.51327433628318597</c:v>
                </c:pt>
                <c:pt idx="7269">
                  <c:v>0.51388888888888895</c:v>
                </c:pt>
                <c:pt idx="7270">
                  <c:v>0.51412429378531099</c:v>
                </c:pt>
                <c:pt idx="7271">
                  <c:v>0.51412429378531099</c:v>
                </c:pt>
                <c:pt idx="7272">
                  <c:v>0.51432129514321301</c:v>
                </c:pt>
                <c:pt idx="7273">
                  <c:v>0.51499348109517595</c:v>
                </c:pt>
                <c:pt idx="7274">
                  <c:v>0.515384615384615</c:v>
                </c:pt>
                <c:pt idx="7275">
                  <c:v>0.515486725663717</c:v>
                </c:pt>
                <c:pt idx="7276">
                  <c:v>0.51578947368421102</c:v>
                </c:pt>
                <c:pt idx="7277">
                  <c:v>0.51578947368421102</c:v>
                </c:pt>
                <c:pt idx="7278">
                  <c:v>0.51612903225806395</c:v>
                </c:pt>
                <c:pt idx="7279">
                  <c:v>0.51642475171886904</c:v>
                </c:pt>
                <c:pt idx="7280">
                  <c:v>0.51646090534979405</c:v>
                </c:pt>
                <c:pt idx="7281">
                  <c:v>0.51659751037344404</c:v>
                </c:pt>
                <c:pt idx="7282">
                  <c:v>0.51717902350813705</c:v>
                </c:pt>
                <c:pt idx="7283">
                  <c:v>0.51724137931034497</c:v>
                </c:pt>
                <c:pt idx="7284">
                  <c:v>0.51785714285714302</c:v>
                </c:pt>
                <c:pt idx="7285">
                  <c:v>0.51838610827374898</c:v>
                </c:pt>
                <c:pt idx="7286">
                  <c:v>0.518427518427518</c:v>
                </c:pt>
                <c:pt idx="7287">
                  <c:v>0.51886792452830199</c:v>
                </c:pt>
                <c:pt idx="7288">
                  <c:v>0.518987341772152</c:v>
                </c:pt>
                <c:pt idx="7289">
                  <c:v>0.51933701657458597</c:v>
                </c:pt>
                <c:pt idx="7290">
                  <c:v>0.51937984496124001</c:v>
                </c:pt>
                <c:pt idx="7291">
                  <c:v>0.51948051948051899</c:v>
                </c:pt>
                <c:pt idx="7292">
                  <c:v>0.51948051948051899</c:v>
                </c:pt>
                <c:pt idx="7293">
                  <c:v>0.51973684210526305</c:v>
                </c:pt>
                <c:pt idx="7294">
                  <c:v>0.52024291497975705</c:v>
                </c:pt>
                <c:pt idx="7295">
                  <c:v>0.52034883720930203</c:v>
                </c:pt>
                <c:pt idx="7296">
                  <c:v>0.52083333333333304</c:v>
                </c:pt>
                <c:pt idx="7297">
                  <c:v>0.52112676056338003</c:v>
                </c:pt>
                <c:pt idx="7298">
                  <c:v>0.52175969725638605</c:v>
                </c:pt>
                <c:pt idx="7299">
                  <c:v>0.522198731501057</c:v>
                </c:pt>
                <c:pt idx="7300">
                  <c:v>0.52235772357723598</c:v>
                </c:pt>
                <c:pt idx="7301">
                  <c:v>0.52293577981651396</c:v>
                </c:pt>
                <c:pt idx="7302">
                  <c:v>0.52302631578947401</c:v>
                </c:pt>
                <c:pt idx="7303">
                  <c:v>0.52307692307692299</c:v>
                </c:pt>
                <c:pt idx="7304">
                  <c:v>0.52317880794701999</c:v>
                </c:pt>
                <c:pt idx="7305">
                  <c:v>0.52320675105485204</c:v>
                </c:pt>
                <c:pt idx="7306">
                  <c:v>0.52358490566037696</c:v>
                </c:pt>
                <c:pt idx="7307">
                  <c:v>0.52380952380952395</c:v>
                </c:pt>
                <c:pt idx="7308">
                  <c:v>0.52427184466019405</c:v>
                </c:pt>
                <c:pt idx="7309">
                  <c:v>0.52450558899398103</c:v>
                </c:pt>
                <c:pt idx="7310">
                  <c:v>0.524752475247525</c:v>
                </c:pt>
                <c:pt idx="7311">
                  <c:v>0.52494415487714097</c:v>
                </c:pt>
                <c:pt idx="7312">
                  <c:v>0.52560646900269503</c:v>
                </c:pt>
                <c:pt idx="7313">
                  <c:v>0.52560646900269503</c:v>
                </c:pt>
                <c:pt idx="7314">
                  <c:v>0.52578361981799804</c:v>
                </c:pt>
                <c:pt idx="7315">
                  <c:v>0.52593917710196803</c:v>
                </c:pt>
                <c:pt idx="7316">
                  <c:v>0.52610441767068294</c:v>
                </c:pt>
                <c:pt idx="7317">
                  <c:v>0.52631578947368396</c:v>
                </c:pt>
                <c:pt idx="7318">
                  <c:v>0.52631578947368396</c:v>
                </c:pt>
                <c:pt idx="7319">
                  <c:v>0.52657601977750301</c:v>
                </c:pt>
                <c:pt idx="7320">
                  <c:v>0.52688172043010695</c:v>
                </c:pt>
                <c:pt idx="7321">
                  <c:v>0.52705061082024396</c:v>
                </c:pt>
                <c:pt idx="7322">
                  <c:v>0.52710843373493999</c:v>
                </c:pt>
                <c:pt idx="7323">
                  <c:v>0.52747252747252704</c:v>
                </c:pt>
                <c:pt idx="7324">
                  <c:v>0.52747252747252704</c:v>
                </c:pt>
                <c:pt idx="7325">
                  <c:v>0.527586206896552</c:v>
                </c:pt>
                <c:pt idx="7326">
                  <c:v>0.52777777777777801</c:v>
                </c:pt>
                <c:pt idx="7327">
                  <c:v>0.52840909090909105</c:v>
                </c:pt>
                <c:pt idx="7328">
                  <c:v>0.52857142857142903</c:v>
                </c:pt>
                <c:pt idx="7329">
                  <c:v>0.52881654201495798</c:v>
                </c:pt>
                <c:pt idx="7330">
                  <c:v>0.52884615384615397</c:v>
                </c:pt>
                <c:pt idx="7331">
                  <c:v>0.52884615384615397</c:v>
                </c:pt>
                <c:pt idx="7332">
                  <c:v>0.52894211576846295</c:v>
                </c:pt>
                <c:pt idx="7333">
                  <c:v>0.52906976744186096</c:v>
                </c:pt>
                <c:pt idx="7334">
                  <c:v>0.52910052910052896</c:v>
                </c:pt>
                <c:pt idx="7335">
                  <c:v>0.52930883639545101</c:v>
                </c:pt>
                <c:pt idx="7336">
                  <c:v>0.52941176470588203</c:v>
                </c:pt>
                <c:pt idx="7337">
                  <c:v>0.52980132450331097</c:v>
                </c:pt>
                <c:pt idx="7338">
                  <c:v>0.52982954545454497</c:v>
                </c:pt>
                <c:pt idx="7339">
                  <c:v>0.52986857825567502</c:v>
                </c:pt>
                <c:pt idx="7340">
                  <c:v>0.53</c:v>
                </c:pt>
                <c:pt idx="7341">
                  <c:v>0.53030303030303005</c:v>
                </c:pt>
                <c:pt idx="7342">
                  <c:v>0.530612244897959</c:v>
                </c:pt>
                <c:pt idx="7343">
                  <c:v>0.53067484662576703</c:v>
                </c:pt>
                <c:pt idx="7344">
                  <c:v>0.53166421207658299</c:v>
                </c:pt>
                <c:pt idx="7345">
                  <c:v>0.532258064516129</c:v>
                </c:pt>
                <c:pt idx="7346">
                  <c:v>0.53246753246753198</c:v>
                </c:pt>
                <c:pt idx="7347">
                  <c:v>0.53246753246753198</c:v>
                </c:pt>
                <c:pt idx="7348">
                  <c:v>0.53260869565217395</c:v>
                </c:pt>
                <c:pt idx="7349">
                  <c:v>0.53274336283185797</c:v>
                </c:pt>
                <c:pt idx="7350">
                  <c:v>0.53325123152709397</c:v>
                </c:pt>
                <c:pt idx="7351">
                  <c:v>0.53333333333333299</c:v>
                </c:pt>
                <c:pt idx="7352">
                  <c:v>0.53333333333333299</c:v>
                </c:pt>
                <c:pt idx="7353">
                  <c:v>0.53333333333333299</c:v>
                </c:pt>
                <c:pt idx="7354">
                  <c:v>0.53333333333333299</c:v>
                </c:pt>
                <c:pt idx="7355">
                  <c:v>0.53362255965292804</c:v>
                </c:pt>
                <c:pt idx="7356">
                  <c:v>0.53403141361256501</c:v>
                </c:pt>
                <c:pt idx="7357">
                  <c:v>0.53438395415472795</c:v>
                </c:pt>
                <c:pt idx="7358">
                  <c:v>0.53467954345917501</c:v>
                </c:pt>
                <c:pt idx="7359">
                  <c:v>0.534959349593496</c:v>
                </c:pt>
                <c:pt idx="7360">
                  <c:v>0.53597650513950101</c:v>
                </c:pt>
                <c:pt idx="7361">
                  <c:v>0.53658536585365901</c:v>
                </c:pt>
                <c:pt idx="7362">
                  <c:v>0.53684210526315801</c:v>
                </c:pt>
                <c:pt idx="7363">
                  <c:v>0.53703703703703698</c:v>
                </c:pt>
                <c:pt idx="7364">
                  <c:v>0.53716216216216195</c:v>
                </c:pt>
                <c:pt idx="7365">
                  <c:v>0.53723404255319196</c:v>
                </c:pt>
                <c:pt idx="7366">
                  <c:v>0.53725261932479595</c:v>
                </c:pt>
                <c:pt idx="7367">
                  <c:v>0.537313432835821</c:v>
                </c:pt>
                <c:pt idx="7368">
                  <c:v>0.53754940711462496</c:v>
                </c:pt>
                <c:pt idx="7369">
                  <c:v>0.53765323992994796</c:v>
                </c:pt>
                <c:pt idx="7370">
                  <c:v>0.53888888888888897</c:v>
                </c:pt>
                <c:pt idx="7371">
                  <c:v>0.53917050691244195</c:v>
                </c:pt>
                <c:pt idx="7372">
                  <c:v>0.53932584269662898</c:v>
                </c:pt>
                <c:pt idx="7373">
                  <c:v>0.53950338600451497</c:v>
                </c:pt>
                <c:pt idx="7374">
                  <c:v>0.54008438818565396</c:v>
                </c:pt>
                <c:pt idx="7375">
                  <c:v>0.54069767441860495</c:v>
                </c:pt>
                <c:pt idx="7376">
                  <c:v>0.54081632653061196</c:v>
                </c:pt>
                <c:pt idx="7377">
                  <c:v>0.54141414141414101</c:v>
                </c:pt>
                <c:pt idx="7378">
                  <c:v>0.54166666666666696</c:v>
                </c:pt>
                <c:pt idx="7379">
                  <c:v>0.54166666666666696</c:v>
                </c:pt>
                <c:pt idx="7380">
                  <c:v>0.54166666666666696</c:v>
                </c:pt>
                <c:pt idx="7381">
                  <c:v>0.54205607476635498</c:v>
                </c:pt>
                <c:pt idx="7382">
                  <c:v>0.54216867469879504</c:v>
                </c:pt>
                <c:pt idx="7383">
                  <c:v>0.54236060825488797</c:v>
                </c:pt>
                <c:pt idx="7384">
                  <c:v>0.54273504273504303</c:v>
                </c:pt>
                <c:pt idx="7385">
                  <c:v>0.54320987654320996</c:v>
                </c:pt>
                <c:pt idx="7386">
                  <c:v>0.54329608938547502</c:v>
                </c:pt>
                <c:pt idx="7387">
                  <c:v>0.54347826086956497</c:v>
                </c:pt>
                <c:pt idx="7388">
                  <c:v>0.54347826086956497</c:v>
                </c:pt>
                <c:pt idx="7389">
                  <c:v>0.54347826086956497</c:v>
                </c:pt>
                <c:pt idx="7390">
                  <c:v>0.54385964912280704</c:v>
                </c:pt>
                <c:pt idx="7391">
                  <c:v>0.54545454545454497</c:v>
                </c:pt>
                <c:pt idx="7392">
                  <c:v>0.54545454545454497</c:v>
                </c:pt>
                <c:pt idx="7393">
                  <c:v>0.54545454545454497</c:v>
                </c:pt>
                <c:pt idx="7394">
                  <c:v>0.54545454545454497</c:v>
                </c:pt>
                <c:pt idx="7395">
                  <c:v>0.54545454545454497</c:v>
                </c:pt>
                <c:pt idx="7396">
                  <c:v>0.547808764940239</c:v>
                </c:pt>
                <c:pt idx="7397">
                  <c:v>0.54810126582278496</c:v>
                </c:pt>
                <c:pt idx="7398">
                  <c:v>0.54819277108433695</c:v>
                </c:pt>
                <c:pt idx="7399">
                  <c:v>0.54838709677419295</c:v>
                </c:pt>
                <c:pt idx="7400">
                  <c:v>0.55012224938875298</c:v>
                </c:pt>
                <c:pt idx="7401">
                  <c:v>0.55038759689922501</c:v>
                </c:pt>
                <c:pt idx="7402">
                  <c:v>0.55042016806722704</c:v>
                </c:pt>
                <c:pt idx="7403">
                  <c:v>0.55191256830601099</c:v>
                </c:pt>
                <c:pt idx="7404">
                  <c:v>0.55194805194805197</c:v>
                </c:pt>
                <c:pt idx="7405">
                  <c:v>0.55383480825958697</c:v>
                </c:pt>
                <c:pt idx="7406">
                  <c:v>0.55416666666666703</c:v>
                </c:pt>
                <c:pt idx="7407">
                  <c:v>0.55511022044088199</c:v>
                </c:pt>
                <c:pt idx="7408">
                  <c:v>0.55555555555555602</c:v>
                </c:pt>
                <c:pt idx="7409">
                  <c:v>0.55652173913043501</c:v>
                </c:pt>
                <c:pt idx="7410">
                  <c:v>0.55680224403927103</c:v>
                </c:pt>
                <c:pt idx="7411">
                  <c:v>0.556962025316456</c:v>
                </c:pt>
                <c:pt idx="7412">
                  <c:v>0.55714285714285705</c:v>
                </c:pt>
                <c:pt idx="7413">
                  <c:v>0.55752212389380496</c:v>
                </c:pt>
                <c:pt idx="7414">
                  <c:v>0.55769230769230804</c:v>
                </c:pt>
                <c:pt idx="7415">
                  <c:v>0.55769230769230804</c:v>
                </c:pt>
                <c:pt idx="7416">
                  <c:v>0.55819477434679299</c:v>
                </c:pt>
                <c:pt idx="7417">
                  <c:v>0.55851063829787195</c:v>
                </c:pt>
                <c:pt idx="7418">
                  <c:v>0.55882352941176505</c:v>
                </c:pt>
                <c:pt idx="7419">
                  <c:v>0.55901639344262299</c:v>
                </c:pt>
                <c:pt idx="7420">
                  <c:v>0.56000000000000005</c:v>
                </c:pt>
                <c:pt idx="7421">
                  <c:v>0.56005788712011595</c:v>
                </c:pt>
                <c:pt idx="7422">
                  <c:v>0.56087408949011397</c:v>
                </c:pt>
                <c:pt idx="7423">
                  <c:v>0.56097560975609795</c:v>
                </c:pt>
                <c:pt idx="7424">
                  <c:v>0.56097560975609795</c:v>
                </c:pt>
                <c:pt idx="7425">
                  <c:v>0.56115107913669104</c:v>
                </c:pt>
                <c:pt idx="7426">
                  <c:v>0.56164383561643805</c:v>
                </c:pt>
                <c:pt idx="7427">
                  <c:v>0.5625</c:v>
                </c:pt>
                <c:pt idx="7428">
                  <c:v>0.5625</c:v>
                </c:pt>
                <c:pt idx="7429">
                  <c:v>0.56338028169014098</c:v>
                </c:pt>
                <c:pt idx="7430">
                  <c:v>0.56349206349206304</c:v>
                </c:pt>
                <c:pt idx="7431">
                  <c:v>0.56603773584905703</c:v>
                </c:pt>
                <c:pt idx="7432">
                  <c:v>0.56678700361010803</c:v>
                </c:pt>
                <c:pt idx="7433">
                  <c:v>0.56696428571428603</c:v>
                </c:pt>
                <c:pt idx="7434">
                  <c:v>0.567114093959732</c:v>
                </c:pt>
                <c:pt idx="7435">
                  <c:v>0.56799999999999995</c:v>
                </c:pt>
                <c:pt idx="7436">
                  <c:v>0.56799999999999995</c:v>
                </c:pt>
                <c:pt idx="7437">
                  <c:v>0.56818181818181801</c:v>
                </c:pt>
                <c:pt idx="7438">
                  <c:v>0.56842105263157905</c:v>
                </c:pt>
                <c:pt idx="7439">
                  <c:v>0.56862745098039202</c:v>
                </c:pt>
                <c:pt idx="7440">
                  <c:v>0.56882591093117396</c:v>
                </c:pt>
                <c:pt idx="7441">
                  <c:v>0.56902356902356899</c:v>
                </c:pt>
                <c:pt idx="7442">
                  <c:v>0.56995884773662597</c:v>
                </c:pt>
                <c:pt idx="7443">
                  <c:v>0.57058823529411795</c:v>
                </c:pt>
                <c:pt idx="7444">
                  <c:v>0.57073954983922803</c:v>
                </c:pt>
                <c:pt idx="7445">
                  <c:v>0.57083333333333297</c:v>
                </c:pt>
                <c:pt idx="7446">
                  <c:v>0.57104557640750697</c:v>
                </c:pt>
                <c:pt idx="7447">
                  <c:v>0.57114624505928901</c:v>
                </c:pt>
                <c:pt idx="7448">
                  <c:v>0.57142857142857095</c:v>
                </c:pt>
                <c:pt idx="7449">
                  <c:v>0.57199999999999995</c:v>
                </c:pt>
                <c:pt idx="7450">
                  <c:v>0.57209302325581401</c:v>
                </c:pt>
                <c:pt idx="7451">
                  <c:v>0.57225433526011604</c:v>
                </c:pt>
                <c:pt idx="7452">
                  <c:v>0.57246376811594202</c:v>
                </c:pt>
                <c:pt idx="7453">
                  <c:v>0.57272727272727297</c:v>
                </c:pt>
                <c:pt idx="7454">
                  <c:v>0.57275541795665597</c:v>
                </c:pt>
                <c:pt idx="7455">
                  <c:v>0.57300275482093699</c:v>
                </c:pt>
                <c:pt idx="7456">
                  <c:v>0.573260073260073</c:v>
                </c:pt>
                <c:pt idx="7457">
                  <c:v>0.57333333333333303</c:v>
                </c:pt>
                <c:pt idx="7458">
                  <c:v>0.57364341085271298</c:v>
                </c:pt>
                <c:pt idx="7459">
                  <c:v>0.57407407407407396</c:v>
                </c:pt>
                <c:pt idx="7460">
                  <c:v>0.57431192660550501</c:v>
                </c:pt>
                <c:pt idx="7461">
                  <c:v>0.57666666666666699</c:v>
                </c:pt>
                <c:pt idx="7462">
                  <c:v>0.57692307692307698</c:v>
                </c:pt>
                <c:pt idx="7463">
                  <c:v>0.57700205338808996</c:v>
                </c:pt>
                <c:pt idx="7464">
                  <c:v>0.57729941291585096</c:v>
                </c:pt>
                <c:pt idx="7465">
                  <c:v>0.57746478873239404</c:v>
                </c:pt>
                <c:pt idx="7466">
                  <c:v>0.57751937984496104</c:v>
                </c:pt>
                <c:pt idx="7467">
                  <c:v>0.577565632458234</c:v>
                </c:pt>
                <c:pt idx="7468">
                  <c:v>0.57843137254902</c:v>
                </c:pt>
                <c:pt idx="7469">
                  <c:v>0.57870370370370405</c:v>
                </c:pt>
                <c:pt idx="7470">
                  <c:v>0.57999999999999996</c:v>
                </c:pt>
                <c:pt idx="7471">
                  <c:v>0.57999999999999996</c:v>
                </c:pt>
                <c:pt idx="7472">
                  <c:v>0.58015267175572505</c:v>
                </c:pt>
                <c:pt idx="7473">
                  <c:v>0.58048780487804896</c:v>
                </c:pt>
                <c:pt idx="7474">
                  <c:v>0.580808080808081</c:v>
                </c:pt>
                <c:pt idx="7475">
                  <c:v>0.58148893360161003</c:v>
                </c:pt>
                <c:pt idx="7476">
                  <c:v>0.58181818181818201</c:v>
                </c:pt>
                <c:pt idx="7477">
                  <c:v>0.58333333333333304</c:v>
                </c:pt>
                <c:pt idx="7478">
                  <c:v>0.58333333333333304</c:v>
                </c:pt>
                <c:pt idx="7479">
                  <c:v>0.58369098712446399</c:v>
                </c:pt>
                <c:pt idx="7480">
                  <c:v>0.58445040214477195</c:v>
                </c:pt>
                <c:pt idx="7481">
                  <c:v>0.58490566037735803</c:v>
                </c:pt>
                <c:pt idx="7482">
                  <c:v>0.58686440677966101</c:v>
                </c:pt>
                <c:pt idx="7483">
                  <c:v>0.58690176322418097</c:v>
                </c:pt>
                <c:pt idx="7484">
                  <c:v>0.58695652173913004</c:v>
                </c:pt>
                <c:pt idx="7485">
                  <c:v>0.58695652173913004</c:v>
                </c:pt>
                <c:pt idx="7486">
                  <c:v>0.58771929824561397</c:v>
                </c:pt>
                <c:pt idx="7487">
                  <c:v>0.58778625954198505</c:v>
                </c:pt>
                <c:pt idx="7488">
                  <c:v>0.58802816901408395</c:v>
                </c:pt>
                <c:pt idx="7489">
                  <c:v>0.58823529411764697</c:v>
                </c:pt>
                <c:pt idx="7490">
                  <c:v>0.58823529411764697</c:v>
                </c:pt>
                <c:pt idx="7491">
                  <c:v>0.58854166666666696</c:v>
                </c:pt>
                <c:pt idx="7492">
                  <c:v>0.58901515151515105</c:v>
                </c:pt>
                <c:pt idx="7493">
                  <c:v>0.58904109589041098</c:v>
                </c:pt>
                <c:pt idx="7494">
                  <c:v>0.59110169491525399</c:v>
                </c:pt>
                <c:pt idx="7495">
                  <c:v>0.59183673469387799</c:v>
                </c:pt>
                <c:pt idx="7496">
                  <c:v>0.59223300970873805</c:v>
                </c:pt>
                <c:pt idx="7497">
                  <c:v>0.59230769230769198</c:v>
                </c:pt>
                <c:pt idx="7498">
                  <c:v>0.59340659340659296</c:v>
                </c:pt>
                <c:pt idx="7499">
                  <c:v>0.59375</c:v>
                </c:pt>
                <c:pt idx="7500">
                  <c:v>0.59433962264150897</c:v>
                </c:pt>
                <c:pt idx="7501">
                  <c:v>0.59583694709453605</c:v>
                </c:pt>
                <c:pt idx="7502">
                  <c:v>0.59621993127147799</c:v>
                </c:pt>
                <c:pt idx="7503">
                  <c:v>0.596730245231608</c:v>
                </c:pt>
                <c:pt idx="7504">
                  <c:v>0.59961807765754305</c:v>
                </c:pt>
                <c:pt idx="7505">
                  <c:v>0.6</c:v>
                </c:pt>
                <c:pt idx="7506">
                  <c:v>0.6</c:v>
                </c:pt>
                <c:pt idx="7507">
                  <c:v>0.6</c:v>
                </c:pt>
                <c:pt idx="7508">
                  <c:v>0.60077519379844901</c:v>
                </c:pt>
                <c:pt idx="7509">
                  <c:v>0.6015625</c:v>
                </c:pt>
                <c:pt idx="7510">
                  <c:v>0.60256410256410198</c:v>
                </c:pt>
                <c:pt idx="7511">
                  <c:v>0.60282574568288805</c:v>
                </c:pt>
                <c:pt idx="7512">
                  <c:v>0.60377358490566002</c:v>
                </c:pt>
                <c:pt idx="7513">
                  <c:v>0.60420650095602302</c:v>
                </c:pt>
                <c:pt idx="7514">
                  <c:v>0.607594936708861</c:v>
                </c:pt>
                <c:pt idx="7515">
                  <c:v>0.607655502392344</c:v>
                </c:pt>
                <c:pt idx="7516">
                  <c:v>0.60784313725490202</c:v>
                </c:pt>
                <c:pt idx="7517">
                  <c:v>0.60784313725490202</c:v>
                </c:pt>
                <c:pt idx="7518">
                  <c:v>0.60849772382397604</c:v>
                </c:pt>
                <c:pt idx="7519">
                  <c:v>0.61165048543689304</c:v>
                </c:pt>
                <c:pt idx="7520">
                  <c:v>0.61242603550295904</c:v>
                </c:pt>
                <c:pt idx="7521">
                  <c:v>0.61318681318681301</c:v>
                </c:pt>
                <c:pt idx="7522">
                  <c:v>0.614250614250614</c:v>
                </c:pt>
                <c:pt idx="7523">
                  <c:v>0.61594202898550698</c:v>
                </c:pt>
                <c:pt idx="7524">
                  <c:v>0.61682242990654201</c:v>
                </c:pt>
                <c:pt idx="7525">
                  <c:v>0.61702127659574502</c:v>
                </c:pt>
                <c:pt idx="7526">
                  <c:v>0.61832061068702304</c:v>
                </c:pt>
                <c:pt idx="7527">
                  <c:v>0.61832740213523096</c:v>
                </c:pt>
                <c:pt idx="7528">
                  <c:v>0.618618618618619</c:v>
                </c:pt>
                <c:pt idx="7529">
                  <c:v>0.62105263157894697</c:v>
                </c:pt>
                <c:pt idx="7530">
                  <c:v>0.62393162393162405</c:v>
                </c:pt>
                <c:pt idx="7531">
                  <c:v>0.62596259625962603</c:v>
                </c:pt>
                <c:pt idx="7532">
                  <c:v>0.62624584717608001</c:v>
                </c:pt>
                <c:pt idx="7533">
                  <c:v>0.63057324840764295</c:v>
                </c:pt>
                <c:pt idx="7534">
                  <c:v>0.63157894736842102</c:v>
                </c:pt>
                <c:pt idx="7535">
                  <c:v>0.633663366336634</c:v>
                </c:pt>
                <c:pt idx="7536">
                  <c:v>0.633663366336634</c:v>
                </c:pt>
                <c:pt idx="7537">
                  <c:v>0.63406940063091499</c:v>
                </c:pt>
                <c:pt idx="7538">
                  <c:v>0.63414634146341498</c:v>
                </c:pt>
                <c:pt idx="7539">
                  <c:v>0.634920634920635</c:v>
                </c:pt>
                <c:pt idx="7540">
                  <c:v>0.63517915309446205</c:v>
                </c:pt>
                <c:pt idx="7541">
                  <c:v>0.63786764705882304</c:v>
                </c:pt>
                <c:pt idx="7542">
                  <c:v>0.63793103448275901</c:v>
                </c:pt>
                <c:pt idx="7543">
                  <c:v>0.63839285714285698</c:v>
                </c:pt>
                <c:pt idx="7544">
                  <c:v>0.63934426229508201</c:v>
                </c:pt>
                <c:pt idx="7545">
                  <c:v>0.64044943820224698</c:v>
                </c:pt>
                <c:pt idx="7546">
                  <c:v>0.64055299539170496</c:v>
                </c:pt>
                <c:pt idx="7547">
                  <c:v>0.64119601328903597</c:v>
                </c:pt>
                <c:pt idx="7548">
                  <c:v>0.64135021097046396</c:v>
                </c:pt>
                <c:pt idx="7549">
                  <c:v>0.64244186046511598</c:v>
                </c:pt>
                <c:pt idx="7550">
                  <c:v>0.64516129032258096</c:v>
                </c:pt>
                <c:pt idx="7551">
                  <c:v>0.64622641509433998</c:v>
                </c:pt>
                <c:pt idx="7552">
                  <c:v>0.64705882352941202</c:v>
                </c:pt>
                <c:pt idx="7553">
                  <c:v>0.64926931106471797</c:v>
                </c:pt>
                <c:pt idx="7554">
                  <c:v>0.64983164983164998</c:v>
                </c:pt>
                <c:pt idx="7555">
                  <c:v>0.65</c:v>
                </c:pt>
                <c:pt idx="7556">
                  <c:v>0.65040650406504097</c:v>
                </c:pt>
                <c:pt idx="7557">
                  <c:v>0.65069686411149796</c:v>
                </c:pt>
                <c:pt idx="7558">
                  <c:v>0.65074626865671603</c:v>
                </c:pt>
                <c:pt idx="7559">
                  <c:v>0.65384615384615397</c:v>
                </c:pt>
                <c:pt idx="7560">
                  <c:v>0.65441176470588203</c:v>
                </c:pt>
                <c:pt idx="7561">
                  <c:v>0.65476190476190499</c:v>
                </c:pt>
                <c:pt idx="7562">
                  <c:v>0.655555555555555</c:v>
                </c:pt>
                <c:pt idx="7563">
                  <c:v>0.65625</c:v>
                </c:pt>
                <c:pt idx="7564">
                  <c:v>0.65882352941176503</c:v>
                </c:pt>
                <c:pt idx="7565">
                  <c:v>0.66004962779156295</c:v>
                </c:pt>
                <c:pt idx="7566">
                  <c:v>0.66161616161616199</c:v>
                </c:pt>
                <c:pt idx="7567">
                  <c:v>0.66346153846153799</c:v>
                </c:pt>
                <c:pt idx="7568">
                  <c:v>0.66666666666666696</c:v>
                </c:pt>
                <c:pt idx="7569">
                  <c:v>0.66666666666666696</c:v>
                </c:pt>
                <c:pt idx="7570">
                  <c:v>0.66666666666666696</c:v>
                </c:pt>
                <c:pt idx="7571">
                  <c:v>0.66666666666666696</c:v>
                </c:pt>
                <c:pt idx="7572">
                  <c:v>0.66666666666666696</c:v>
                </c:pt>
                <c:pt idx="7573">
                  <c:v>0.66666666666666696</c:v>
                </c:pt>
                <c:pt idx="7574">
                  <c:v>0.67054263565891503</c:v>
                </c:pt>
                <c:pt idx="7575">
                  <c:v>0.67175572519084004</c:v>
                </c:pt>
                <c:pt idx="7576">
                  <c:v>0.67256637168141598</c:v>
                </c:pt>
                <c:pt idx="7577">
                  <c:v>0.67298578199052095</c:v>
                </c:pt>
                <c:pt idx="7578">
                  <c:v>0.67345276872964199</c:v>
                </c:pt>
                <c:pt idx="7579">
                  <c:v>0.67633928571428603</c:v>
                </c:pt>
                <c:pt idx="7580">
                  <c:v>0.67708333333333304</c:v>
                </c:pt>
                <c:pt idx="7581">
                  <c:v>0.67948717948717896</c:v>
                </c:pt>
                <c:pt idx="7582">
                  <c:v>0.68075117370892002</c:v>
                </c:pt>
                <c:pt idx="7583">
                  <c:v>0.68092105263157898</c:v>
                </c:pt>
                <c:pt idx="7584">
                  <c:v>0.68115942028985499</c:v>
                </c:pt>
                <c:pt idx="7585">
                  <c:v>0.68379446640316199</c:v>
                </c:pt>
                <c:pt idx="7586">
                  <c:v>0.68438538205980104</c:v>
                </c:pt>
                <c:pt idx="7587">
                  <c:v>0.684579439252336</c:v>
                </c:pt>
                <c:pt idx="7588">
                  <c:v>0.684782608695652</c:v>
                </c:pt>
                <c:pt idx="7589">
                  <c:v>0.68533333333333302</c:v>
                </c:pt>
                <c:pt idx="7590">
                  <c:v>0.68571428571428605</c:v>
                </c:pt>
                <c:pt idx="7591">
                  <c:v>0.68727272727272704</c:v>
                </c:pt>
                <c:pt idx="7592">
                  <c:v>0.6875</c:v>
                </c:pt>
                <c:pt idx="7593">
                  <c:v>0.68933539412673905</c:v>
                </c:pt>
                <c:pt idx="7594">
                  <c:v>0.69023569023568998</c:v>
                </c:pt>
                <c:pt idx="7595">
                  <c:v>0.69064748201438797</c:v>
                </c:pt>
                <c:pt idx="7596">
                  <c:v>0.69359331476323105</c:v>
                </c:pt>
                <c:pt idx="7597">
                  <c:v>0.69672131147541005</c:v>
                </c:pt>
                <c:pt idx="7598">
                  <c:v>0.69759450171821302</c:v>
                </c:pt>
                <c:pt idx="7599">
                  <c:v>0.70270270270270296</c:v>
                </c:pt>
                <c:pt idx="7600">
                  <c:v>0.70796460176991105</c:v>
                </c:pt>
                <c:pt idx="7601">
                  <c:v>0.71428571428571397</c:v>
                </c:pt>
                <c:pt idx="7602">
                  <c:v>0.71428571428571397</c:v>
                </c:pt>
                <c:pt idx="7603">
                  <c:v>0.71491228070175405</c:v>
                </c:pt>
                <c:pt idx="7604">
                  <c:v>0.71578947368420998</c:v>
                </c:pt>
                <c:pt idx="7605">
                  <c:v>0.71646341463414598</c:v>
                </c:pt>
                <c:pt idx="7606">
                  <c:v>0.71739130434782605</c:v>
                </c:pt>
                <c:pt idx="7607">
                  <c:v>0.71794871794871795</c:v>
                </c:pt>
                <c:pt idx="7608">
                  <c:v>0.71929824561403499</c:v>
                </c:pt>
                <c:pt idx="7609">
                  <c:v>0.723981900452489</c:v>
                </c:pt>
                <c:pt idx="7610">
                  <c:v>0.72499999999999998</c:v>
                </c:pt>
                <c:pt idx="7611">
                  <c:v>0.72982456140350904</c:v>
                </c:pt>
                <c:pt idx="7612">
                  <c:v>0.731343283582089</c:v>
                </c:pt>
                <c:pt idx="7613">
                  <c:v>0.73263157894736797</c:v>
                </c:pt>
                <c:pt idx="7614">
                  <c:v>0.73355263157894701</c:v>
                </c:pt>
                <c:pt idx="7615">
                  <c:v>0.73655913978494603</c:v>
                </c:pt>
                <c:pt idx="7616">
                  <c:v>0.74188034188034202</c:v>
                </c:pt>
                <c:pt idx="7617">
                  <c:v>0.75</c:v>
                </c:pt>
                <c:pt idx="7618">
                  <c:v>0.75274725274725296</c:v>
                </c:pt>
                <c:pt idx="7619">
                  <c:v>0.75438596491228105</c:v>
                </c:pt>
                <c:pt idx="7620">
                  <c:v>0.75710594315245505</c:v>
                </c:pt>
                <c:pt idx="7621">
                  <c:v>0.76190476190476197</c:v>
                </c:pt>
                <c:pt idx="7622">
                  <c:v>0.76381909547738702</c:v>
                </c:pt>
                <c:pt idx="7623">
                  <c:v>0.77099236641221403</c:v>
                </c:pt>
                <c:pt idx="7624">
                  <c:v>0.77142857142857102</c:v>
                </c:pt>
                <c:pt idx="7625">
                  <c:v>0.77446808510638299</c:v>
                </c:pt>
                <c:pt idx="7626">
                  <c:v>0.77608695652173898</c:v>
                </c:pt>
                <c:pt idx="7627">
                  <c:v>0.77901785714285698</c:v>
                </c:pt>
                <c:pt idx="7628">
                  <c:v>0.77941176470588203</c:v>
                </c:pt>
                <c:pt idx="7629">
                  <c:v>0.78217821782178198</c:v>
                </c:pt>
                <c:pt idx="7630">
                  <c:v>0.78500000000000003</c:v>
                </c:pt>
                <c:pt idx="7631">
                  <c:v>0.78571428571428603</c:v>
                </c:pt>
                <c:pt idx="7632">
                  <c:v>0.786885245901639</c:v>
                </c:pt>
                <c:pt idx="7633">
                  <c:v>0.80472103004291795</c:v>
                </c:pt>
                <c:pt idx="7634">
                  <c:v>0.80544747081712098</c:v>
                </c:pt>
                <c:pt idx="7635">
                  <c:v>0.81272084805653699</c:v>
                </c:pt>
                <c:pt idx="7636">
                  <c:v>0.81407035175879405</c:v>
                </c:pt>
                <c:pt idx="7637">
                  <c:v>0.81860465116279102</c:v>
                </c:pt>
                <c:pt idx="7638">
                  <c:v>0.82094594594594605</c:v>
                </c:pt>
                <c:pt idx="7639">
                  <c:v>0.82105263157894703</c:v>
                </c:pt>
                <c:pt idx="7640">
                  <c:v>0.82727272727272705</c:v>
                </c:pt>
                <c:pt idx="7641">
                  <c:v>0.82939632545931796</c:v>
                </c:pt>
                <c:pt idx="7642">
                  <c:v>0.83132530120481896</c:v>
                </c:pt>
                <c:pt idx="7643">
                  <c:v>0.84951456310679596</c:v>
                </c:pt>
                <c:pt idx="7644">
                  <c:v>0.85772357723577197</c:v>
                </c:pt>
                <c:pt idx="7645">
                  <c:v>0.85897435897435903</c:v>
                </c:pt>
                <c:pt idx="7646">
                  <c:v>0.86153846153846203</c:v>
                </c:pt>
                <c:pt idx="7647">
                  <c:v>0.86206896551724099</c:v>
                </c:pt>
                <c:pt idx="7648">
                  <c:v>0.865771812080537</c:v>
                </c:pt>
                <c:pt idx="7649">
                  <c:v>0.879432624113475</c:v>
                </c:pt>
                <c:pt idx="7650">
                  <c:v>0.87969924812030098</c:v>
                </c:pt>
                <c:pt idx="7651">
                  <c:v>0.88888888888888895</c:v>
                </c:pt>
                <c:pt idx="7652">
                  <c:v>0.88888888888888895</c:v>
                </c:pt>
                <c:pt idx="7653">
                  <c:v>0.88888888888888895</c:v>
                </c:pt>
                <c:pt idx="7654">
                  <c:v>0.89919354838709697</c:v>
                </c:pt>
                <c:pt idx="7655">
                  <c:v>0.90196078431372495</c:v>
                </c:pt>
                <c:pt idx="7656">
                  <c:v>0.90660592255125305</c:v>
                </c:pt>
                <c:pt idx="7657">
                  <c:v>0.91696750902527102</c:v>
                </c:pt>
                <c:pt idx="7658">
                  <c:v>0.92021276595744705</c:v>
                </c:pt>
                <c:pt idx="7659">
                  <c:v>0.92222222222222205</c:v>
                </c:pt>
                <c:pt idx="7660">
                  <c:v>0.93537414965986398</c:v>
                </c:pt>
                <c:pt idx="7661">
                  <c:v>0.97752808988763995</c:v>
                </c:pt>
                <c:pt idx="7662">
                  <c:v>0.98309859154929602</c:v>
                </c:pt>
                <c:pt idx="7663">
                  <c:v>0.98529411764705899</c:v>
                </c:pt>
                <c:pt idx="7664">
                  <c:v>0.99074074074074103</c:v>
                </c:pt>
                <c:pt idx="7665">
                  <c:v>0.99583333333333302</c:v>
                </c:pt>
                <c:pt idx="7666">
                  <c:v>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837272"/>
        <c:axId val="205837664"/>
      </c:scatterChart>
      <c:valAx>
        <c:axId val="205837272"/>
        <c:scaling>
          <c:orientation val="minMax"/>
          <c:max val="20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Average Teacher Experience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crossAx val="205837664"/>
        <c:crosses val="autoZero"/>
        <c:crossBetween val="midCat"/>
      </c:valAx>
      <c:valAx>
        <c:axId val="205837664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Percentage of </a:t>
                </a:r>
                <a:r>
                  <a:rPr lang="en-US" dirty="0" err="1" smtClean="0"/>
                  <a:t>EcoDis</a:t>
                </a:r>
                <a:r>
                  <a:rPr lang="en-US" baseline="0" dirty="0" smtClean="0"/>
                  <a:t> Students Meeting Postsecondary Standard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1.8312925864262499E-2"/>
              <c:y val="0.10062586502269499"/>
            </c:manualLayout>
          </c:layout>
          <c:overlay val="0"/>
        </c:title>
        <c:numFmt formatCode="0%" sourceLinked="1"/>
        <c:majorTickMark val="none"/>
        <c:minorTickMark val="none"/>
        <c:tickLblPos val="nextTo"/>
        <c:crossAx val="205837272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a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3rd Grade</c:v>
                </c:pt>
                <c:pt idx="1">
                  <c:v>4th Grade</c:v>
                </c:pt>
                <c:pt idx="2">
                  <c:v>5th Grade</c:v>
                </c:pt>
                <c:pt idx="3">
                  <c:v>6th Grade</c:v>
                </c:pt>
                <c:pt idx="4">
                  <c:v>7th Grade</c:v>
                </c:pt>
                <c:pt idx="5">
                  <c:v>8th Grad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5</c:v>
                </c:pt>
                <c:pt idx="1">
                  <c:v>0.27</c:v>
                </c:pt>
                <c:pt idx="2">
                  <c:v>0.05</c:v>
                </c:pt>
                <c:pt idx="3">
                  <c:v>-0.02</c:v>
                </c:pt>
                <c:pt idx="4">
                  <c:v>0.08</c:v>
                </c:pt>
                <c:pt idx="5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654-4A24-A744-29AA056B21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t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3rd Grade</c:v>
                </c:pt>
                <c:pt idx="1">
                  <c:v>4th Grade</c:v>
                </c:pt>
                <c:pt idx="2">
                  <c:v>5th Grade</c:v>
                </c:pt>
                <c:pt idx="3">
                  <c:v>6th Grade</c:v>
                </c:pt>
                <c:pt idx="4">
                  <c:v>7th Grade</c:v>
                </c:pt>
                <c:pt idx="5">
                  <c:v>8th Grade</c:v>
                </c:pt>
              </c:strCache>
            </c:strRef>
          </c:cat>
          <c:val>
            <c:numRef>
              <c:f>Sheet1!$C$2:$C$7</c:f>
              <c:numCache>
                <c:formatCode>0%</c:formatCode>
                <c:ptCount val="6"/>
                <c:pt idx="0">
                  <c:v>0.19</c:v>
                </c:pt>
                <c:pt idx="1">
                  <c:v>0.26</c:v>
                </c:pt>
                <c:pt idx="2">
                  <c:v>0.35</c:v>
                </c:pt>
                <c:pt idx="3">
                  <c:v>0.02</c:v>
                </c:pt>
                <c:pt idx="4">
                  <c:v>0.08</c:v>
                </c:pt>
                <c:pt idx="5">
                  <c:v>0.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654-4A24-A744-29AA056B21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cien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3rd Grade</c:v>
                </c:pt>
                <c:pt idx="1">
                  <c:v>4th Grade</c:v>
                </c:pt>
                <c:pt idx="2">
                  <c:v>5th Grade</c:v>
                </c:pt>
                <c:pt idx="3">
                  <c:v>6th Grade</c:v>
                </c:pt>
                <c:pt idx="4">
                  <c:v>7th Grade</c:v>
                </c:pt>
                <c:pt idx="5">
                  <c:v>8th Grad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2" formatCode="0%">
                  <c:v>0.28000000000000003</c:v>
                </c:pt>
                <c:pt idx="5" formatCode="0%">
                  <c:v>0.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654-4A24-A744-29AA056B21B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49515120"/>
        <c:axId val="349515512"/>
      </c:barChart>
      <c:catAx>
        <c:axId val="349515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9515512"/>
        <c:crosses val="autoZero"/>
        <c:auto val="1"/>
        <c:lblAlgn val="ctr"/>
        <c:lblOffset val="100"/>
        <c:noMultiLvlLbl val="0"/>
      </c:catAx>
      <c:valAx>
        <c:axId val="349515512"/>
        <c:scaling>
          <c:orientation val="minMax"/>
          <c:max val="0.35"/>
          <c:min val="-0.0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9515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a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3rd Grade</c:v>
                </c:pt>
                <c:pt idx="1">
                  <c:v>4th Grade</c:v>
                </c:pt>
                <c:pt idx="2">
                  <c:v>5th Grade</c:v>
                </c:pt>
                <c:pt idx="3">
                  <c:v>6th Grade</c:v>
                </c:pt>
                <c:pt idx="4">
                  <c:v>7th Grade</c:v>
                </c:pt>
                <c:pt idx="5">
                  <c:v>8th Grad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-0.02</c:v>
                </c:pt>
                <c:pt idx="1">
                  <c:v>0.04</c:v>
                </c:pt>
                <c:pt idx="2">
                  <c:v>-0.03</c:v>
                </c:pt>
                <c:pt idx="3">
                  <c:v>-0.05</c:v>
                </c:pt>
                <c:pt idx="4">
                  <c:v>-0.03</c:v>
                </c:pt>
                <c:pt idx="5">
                  <c:v>0.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CFD-450B-8125-9FE70A094AC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t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3rd Grade</c:v>
                </c:pt>
                <c:pt idx="1">
                  <c:v>4th Grade</c:v>
                </c:pt>
                <c:pt idx="2">
                  <c:v>5th Grade</c:v>
                </c:pt>
                <c:pt idx="3">
                  <c:v>6th Grade</c:v>
                </c:pt>
                <c:pt idx="4">
                  <c:v>7th Grade</c:v>
                </c:pt>
                <c:pt idx="5">
                  <c:v>8th Grade</c:v>
                </c:pt>
              </c:strCache>
            </c:strRef>
          </c:cat>
          <c:val>
            <c:numRef>
              <c:f>Sheet1!$C$2:$C$7</c:f>
              <c:numCache>
                <c:formatCode>0%</c:formatCode>
                <c:ptCount val="6"/>
                <c:pt idx="0">
                  <c:v>0</c:v>
                </c:pt>
                <c:pt idx="1">
                  <c:v>0.02</c:v>
                </c:pt>
                <c:pt idx="2">
                  <c:v>0.01</c:v>
                </c:pt>
                <c:pt idx="3">
                  <c:v>-0.01</c:v>
                </c:pt>
                <c:pt idx="4">
                  <c:v>-0.01</c:v>
                </c:pt>
                <c:pt idx="5">
                  <c:v>-0.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CFD-450B-8125-9FE70A094AC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cien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3rd Grade</c:v>
                </c:pt>
                <c:pt idx="1">
                  <c:v>4th Grade</c:v>
                </c:pt>
                <c:pt idx="2">
                  <c:v>5th Grade</c:v>
                </c:pt>
                <c:pt idx="3">
                  <c:v>6th Grade</c:v>
                </c:pt>
                <c:pt idx="4">
                  <c:v>7th Grade</c:v>
                </c:pt>
                <c:pt idx="5">
                  <c:v>8th Grade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2" formatCode="0%">
                  <c:v>0.04</c:v>
                </c:pt>
                <c:pt idx="5" formatCode="0%">
                  <c:v>0.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CFD-450B-8125-9FE70A094AC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9373840"/>
        <c:axId val="209374232"/>
      </c:barChart>
      <c:catAx>
        <c:axId val="209373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374232"/>
        <c:crosses val="autoZero"/>
        <c:auto val="1"/>
        <c:lblAlgn val="ctr"/>
        <c:lblOffset val="100"/>
        <c:noMultiLvlLbl val="0"/>
      </c:catAx>
      <c:valAx>
        <c:axId val="209374232"/>
        <c:scaling>
          <c:orientation val="minMax"/>
          <c:max val="0.35"/>
          <c:min val="-0.0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3738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en-US" sz="1500" b="1" dirty="0">
                <a:effectLst/>
              </a:rPr>
              <a:t>1</a:t>
            </a:r>
            <a:r>
              <a:rPr lang="en-US" sz="1500" b="1" baseline="30000" dirty="0">
                <a:effectLst/>
              </a:rPr>
              <a:t>st</a:t>
            </a:r>
            <a:r>
              <a:rPr lang="en-US" sz="1500" b="1" dirty="0">
                <a:effectLst/>
              </a:rPr>
              <a:t> Grade</a:t>
            </a:r>
          </a:p>
          <a:p>
            <a:pPr>
              <a:defRPr sz="1600">
                <a:solidFill>
                  <a:srgbClr val="002060"/>
                </a:solidFill>
              </a:defRPr>
            </a:pPr>
            <a:r>
              <a:rPr lang="en-US" sz="1500" b="1" dirty="0">
                <a:effectLst/>
              </a:rPr>
              <a:t>34% Gains Across ACE Schools in ISIP Literacy Scores From EOY ‘15 to EOY ‘16</a:t>
            </a:r>
          </a:p>
          <a:p>
            <a:pPr>
              <a:defRPr sz="1600">
                <a:solidFill>
                  <a:srgbClr val="002060"/>
                </a:solidFill>
              </a:defRPr>
            </a:pPr>
            <a:r>
              <a:rPr lang="en-US" sz="1500" b="1" i="1" dirty="0">
                <a:solidFill>
                  <a:schemeClr val="accent6">
                    <a:lumMod val="50000"/>
                  </a:schemeClr>
                </a:solidFill>
                <a:effectLst/>
              </a:rPr>
              <a:t>(</a:t>
            </a:r>
            <a:r>
              <a:rPr lang="en-US" sz="1500" b="1" i="1" dirty="0" err="1">
                <a:solidFill>
                  <a:schemeClr val="accent6">
                    <a:lumMod val="50000"/>
                  </a:schemeClr>
                </a:solidFill>
                <a:effectLst/>
              </a:rPr>
              <a:t>Elim</a:t>
            </a:r>
            <a:r>
              <a:rPr lang="en-US" sz="1500" b="1" i="1" dirty="0">
                <a:solidFill>
                  <a:schemeClr val="accent6">
                    <a:lumMod val="50000"/>
                  </a:schemeClr>
                </a:solidFill>
                <a:effectLst/>
              </a:rPr>
              <a:t>.</a:t>
            </a:r>
            <a:r>
              <a:rPr lang="en-US" sz="1500" b="1" i="1" baseline="0" dirty="0">
                <a:solidFill>
                  <a:schemeClr val="accent6">
                    <a:lumMod val="50000"/>
                  </a:schemeClr>
                </a:solidFill>
                <a:effectLst/>
              </a:rPr>
              <a:t> </a:t>
            </a:r>
            <a:r>
              <a:rPr lang="en-US" sz="1500" b="1" i="1" dirty="0" smtClean="0">
                <a:solidFill>
                  <a:schemeClr val="accent6">
                    <a:lumMod val="50000"/>
                  </a:schemeClr>
                </a:solidFill>
                <a:effectLst/>
              </a:rPr>
              <a:t>Gap with District, </a:t>
            </a:r>
            <a:r>
              <a:rPr lang="en-US" sz="1500" b="1" i="1" dirty="0">
                <a:solidFill>
                  <a:schemeClr val="accent6">
                    <a:lumMod val="50000"/>
                  </a:schemeClr>
                </a:solidFill>
                <a:effectLst/>
              </a:rPr>
              <a:t>Now </a:t>
            </a:r>
            <a:r>
              <a:rPr lang="en-US" sz="1500" b="1" i="1" dirty="0" smtClean="0">
                <a:solidFill>
                  <a:schemeClr val="accent6">
                    <a:lumMod val="50000"/>
                  </a:schemeClr>
                </a:solidFill>
                <a:effectLst/>
              </a:rPr>
              <a:t>EXCEED </a:t>
            </a:r>
            <a:r>
              <a:rPr lang="en-US" sz="1500" b="1" i="1" dirty="0">
                <a:solidFill>
                  <a:schemeClr val="accent6">
                    <a:lumMod val="50000"/>
                  </a:schemeClr>
                </a:solidFill>
                <a:effectLst/>
              </a:rPr>
              <a:t>by 4%)</a:t>
            </a:r>
            <a:endParaRPr lang="en-US" sz="1500" i="1" dirty="0">
              <a:solidFill>
                <a:schemeClr val="accent6">
                  <a:lumMod val="50000"/>
                </a:schemeClr>
              </a:solidFill>
              <a:effectLst/>
            </a:endParaRPr>
          </a:p>
        </c:rich>
      </c:tx>
      <c:layout>
        <c:manualLayout>
          <c:xMode val="edge"/>
          <c:yMode val="edge"/>
          <c:x val="0.106708324557092"/>
          <c:y val="1.699968120020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1</c:f>
              <c:strCache>
                <c:ptCount val="1"/>
                <c:pt idx="0">
                  <c:v>2014-2015 EOY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:$A$17</c:f>
              <c:strCache>
                <c:ptCount val="6"/>
                <c:pt idx="0">
                  <c:v>Blanton ES</c:v>
                </c:pt>
                <c:pt idx="1">
                  <c:v>Mills ES</c:v>
                </c:pt>
                <c:pt idx="2">
                  <c:v>Pease ES</c:v>
                </c:pt>
                <c:pt idx="3">
                  <c:v>U. Lee ES</c:v>
                </c:pt>
                <c:pt idx="4">
                  <c:v>All ACE Schools</c:v>
                </c:pt>
                <c:pt idx="5">
                  <c:v>District</c:v>
                </c:pt>
              </c:strCache>
            </c:strRef>
          </c:cat>
          <c:val>
            <c:numRef>
              <c:f>Sheet1!$B$12:$B$17</c:f>
              <c:numCache>
                <c:formatCode>0%</c:formatCode>
                <c:ptCount val="6"/>
                <c:pt idx="0">
                  <c:v>0.36299999999999999</c:v>
                </c:pt>
                <c:pt idx="1">
                  <c:v>0.38900000000000001</c:v>
                </c:pt>
                <c:pt idx="2">
                  <c:v>0.13900000000000001</c:v>
                </c:pt>
                <c:pt idx="3">
                  <c:v>0.217</c:v>
                </c:pt>
                <c:pt idx="4">
                  <c:v>0.26600000000000001</c:v>
                </c:pt>
                <c:pt idx="5">
                  <c:v>0.4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E1-43DF-BC2E-4D38A44EB4F5}"/>
            </c:ext>
          </c:extLst>
        </c:ser>
        <c:ser>
          <c:idx val="1"/>
          <c:order val="1"/>
          <c:tx>
            <c:strRef>
              <c:f>Sheet1!$C$11</c:f>
              <c:strCache>
                <c:ptCount val="1"/>
                <c:pt idx="0">
                  <c:v>2015-2016 EOY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2:$A$17</c:f>
              <c:strCache>
                <c:ptCount val="6"/>
                <c:pt idx="0">
                  <c:v>Blanton ES</c:v>
                </c:pt>
                <c:pt idx="1">
                  <c:v>Mills ES</c:v>
                </c:pt>
                <c:pt idx="2">
                  <c:v>Pease ES</c:v>
                </c:pt>
                <c:pt idx="3">
                  <c:v>U. Lee ES</c:v>
                </c:pt>
                <c:pt idx="4">
                  <c:v>All ACE Schools</c:v>
                </c:pt>
                <c:pt idx="5">
                  <c:v>District</c:v>
                </c:pt>
              </c:strCache>
            </c:strRef>
          </c:cat>
          <c:val>
            <c:numRef>
              <c:f>Sheet1!$C$12:$C$17</c:f>
              <c:numCache>
                <c:formatCode>0%</c:formatCode>
                <c:ptCount val="6"/>
                <c:pt idx="0">
                  <c:v>0.83099999999999996</c:v>
                </c:pt>
                <c:pt idx="1">
                  <c:v>0.55400000000000005</c:v>
                </c:pt>
                <c:pt idx="2">
                  <c:v>0.45500000000000002</c:v>
                </c:pt>
                <c:pt idx="3">
                  <c:v>0.55800000000000005</c:v>
                </c:pt>
                <c:pt idx="4">
                  <c:v>0.60899999999999999</c:v>
                </c:pt>
                <c:pt idx="5">
                  <c:v>0.5709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EE1-43DF-BC2E-4D38A44EB4F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5838448"/>
        <c:axId val="205838840"/>
      </c:barChart>
      <c:catAx>
        <c:axId val="2058384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838840"/>
        <c:crosses val="autoZero"/>
        <c:auto val="1"/>
        <c:lblAlgn val="ctr"/>
        <c:lblOffset val="100"/>
        <c:noMultiLvlLbl val="0"/>
      </c:catAx>
      <c:valAx>
        <c:axId val="205838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838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2550492639659"/>
          <c:y val="0.94587532605992297"/>
          <c:w val="0.76517681200121701"/>
          <c:h val="5.41246739400770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dirty="0">
                <a:solidFill>
                  <a:srgbClr val="002060"/>
                </a:solidFill>
                <a:effectLst/>
              </a:rPr>
              <a:t>2</a:t>
            </a:r>
            <a:r>
              <a:rPr lang="en-US" sz="1500" b="1" baseline="30000" dirty="0">
                <a:solidFill>
                  <a:srgbClr val="002060"/>
                </a:solidFill>
                <a:effectLst/>
              </a:rPr>
              <a:t>nd</a:t>
            </a:r>
            <a:r>
              <a:rPr lang="en-US" sz="1500" b="1" dirty="0">
                <a:solidFill>
                  <a:srgbClr val="002060"/>
                </a:solidFill>
                <a:effectLst/>
              </a:rPr>
              <a:t> Grade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prstClr val="black">
                    <a:lumMod val="65000"/>
                    <a:lumOff val="35000"/>
                  </a:prstClr>
                </a:solidFill>
              </a:defRPr>
            </a:pPr>
            <a:r>
              <a:rPr lang="en-US" sz="1500" b="1" dirty="0">
                <a:solidFill>
                  <a:srgbClr val="002060"/>
                </a:solidFill>
                <a:effectLst/>
              </a:rPr>
              <a:t>30% Gains Across ACE Schools in ISIP Literacy Scores From EOY ‘15 to EOY ‘16 </a:t>
            </a:r>
            <a:r>
              <a:rPr lang="en-US" sz="1500" b="1" i="1" dirty="0">
                <a:solidFill>
                  <a:schemeClr val="accent6">
                    <a:lumMod val="50000"/>
                  </a:schemeClr>
                </a:solidFill>
                <a:effectLst/>
              </a:rPr>
              <a:t>(Closed District Gap From 23% to 4%)</a:t>
            </a:r>
            <a:endParaRPr lang="en-US" sz="1500" i="1" dirty="0">
              <a:solidFill>
                <a:schemeClr val="accent6">
                  <a:lumMod val="50000"/>
                </a:schemeClr>
              </a:solidFill>
              <a:effectLst/>
            </a:endParaRPr>
          </a:p>
        </c:rich>
      </c:tx>
      <c:layout>
        <c:manualLayout>
          <c:xMode val="edge"/>
          <c:yMode val="edge"/>
          <c:x val="0.17007283840233201"/>
          <c:y val="1.6946464960737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4538385215143"/>
          <c:y val="0.22663072474159399"/>
          <c:w val="0.85497403743298495"/>
          <c:h val="0.576692650504957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21</c:f>
              <c:strCache>
                <c:ptCount val="1"/>
                <c:pt idx="0">
                  <c:v>2014-2015 EOY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2:$A$27</c:f>
              <c:strCache>
                <c:ptCount val="6"/>
                <c:pt idx="0">
                  <c:v>Blanton ES</c:v>
                </c:pt>
                <c:pt idx="1">
                  <c:v>Mills ES</c:v>
                </c:pt>
                <c:pt idx="2">
                  <c:v>Pease ES</c:v>
                </c:pt>
                <c:pt idx="3">
                  <c:v>U. Lee ES</c:v>
                </c:pt>
                <c:pt idx="4">
                  <c:v>All ACE Schools</c:v>
                </c:pt>
                <c:pt idx="5">
                  <c:v>District</c:v>
                </c:pt>
              </c:strCache>
            </c:strRef>
          </c:cat>
          <c:val>
            <c:numRef>
              <c:f>Sheet1!$B$22:$B$27</c:f>
              <c:numCache>
                <c:formatCode>0%</c:formatCode>
                <c:ptCount val="6"/>
                <c:pt idx="0">
                  <c:v>0.247</c:v>
                </c:pt>
                <c:pt idx="1">
                  <c:v>0.24299999999999999</c:v>
                </c:pt>
                <c:pt idx="2">
                  <c:v>0.13700000000000001</c:v>
                </c:pt>
                <c:pt idx="3">
                  <c:v>0.17299999999999999</c:v>
                </c:pt>
                <c:pt idx="4">
                  <c:v>0.2</c:v>
                </c:pt>
                <c:pt idx="5">
                  <c:v>0.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395-4A2A-86AB-DB28A5A20261}"/>
            </c:ext>
          </c:extLst>
        </c:ser>
        <c:ser>
          <c:idx val="1"/>
          <c:order val="1"/>
          <c:tx>
            <c:strRef>
              <c:f>Sheet1!$C$21</c:f>
              <c:strCache>
                <c:ptCount val="1"/>
                <c:pt idx="0">
                  <c:v>2015-2016 EOY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2:$A$27</c:f>
              <c:strCache>
                <c:ptCount val="6"/>
                <c:pt idx="0">
                  <c:v>Blanton ES</c:v>
                </c:pt>
                <c:pt idx="1">
                  <c:v>Mills ES</c:v>
                </c:pt>
                <c:pt idx="2">
                  <c:v>Pease ES</c:v>
                </c:pt>
                <c:pt idx="3">
                  <c:v>U. Lee ES</c:v>
                </c:pt>
                <c:pt idx="4">
                  <c:v>All ACE Schools</c:v>
                </c:pt>
                <c:pt idx="5">
                  <c:v>District</c:v>
                </c:pt>
              </c:strCache>
            </c:strRef>
          </c:cat>
          <c:val>
            <c:numRef>
              <c:f>Sheet1!$C$22:$C$27</c:f>
              <c:numCache>
                <c:formatCode>0%</c:formatCode>
                <c:ptCount val="6"/>
                <c:pt idx="0">
                  <c:v>0.6</c:v>
                </c:pt>
                <c:pt idx="1">
                  <c:v>0.46200000000000002</c:v>
                </c:pt>
                <c:pt idx="2">
                  <c:v>0.46400000000000002</c:v>
                </c:pt>
                <c:pt idx="3">
                  <c:v>0.47599999999999998</c:v>
                </c:pt>
                <c:pt idx="4">
                  <c:v>0.502</c:v>
                </c:pt>
                <c:pt idx="5">
                  <c:v>0.539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395-4A2A-86AB-DB28A5A202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5839624"/>
        <c:axId val="205840016"/>
      </c:barChart>
      <c:catAx>
        <c:axId val="2058396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840016"/>
        <c:crosses val="autoZero"/>
        <c:auto val="1"/>
        <c:lblAlgn val="ctr"/>
        <c:lblOffset val="100"/>
        <c:noMultiLvlLbl val="0"/>
      </c:catAx>
      <c:valAx>
        <c:axId val="205840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839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5273557222360893E-2"/>
          <c:y val="0.94587543231995397"/>
          <c:w val="0.80114027339291805"/>
          <c:h val="5.41246624543086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 smtClean="0">
                <a:solidFill>
                  <a:srgbClr val="002060"/>
                </a:solidFill>
              </a:rPr>
              <a:t>TEA </a:t>
            </a:r>
            <a:r>
              <a:rPr lang="en-US" sz="1400" dirty="0" err="1" smtClean="0">
                <a:solidFill>
                  <a:srgbClr val="002060"/>
                </a:solidFill>
              </a:rPr>
              <a:t>staar</a:t>
            </a:r>
            <a:r>
              <a:rPr lang="en-US" sz="1400" dirty="0" smtClean="0">
                <a:solidFill>
                  <a:srgbClr val="002060"/>
                </a:solidFill>
              </a:rPr>
              <a:t> </a:t>
            </a:r>
            <a:r>
              <a:rPr lang="en-US" sz="1400" dirty="0">
                <a:solidFill>
                  <a:srgbClr val="002060"/>
                </a:solidFill>
              </a:rPr>
              <a:t>raw score conversions</a:t>
            </a:r>
          </a:p>
          <a:p>
            <a:pPr>
              <a:defRPr>
                <a:solidFill>
                  <a:srgbClr val="002060"/>
                </a:solidFill>
              </a:defRPr>
            </a:pPr>
            <a:r>
              <a:rPr lang="en-US" sz="1400" dirty="0">
                <a:solidFill>
                  <a:srgbClr val="002060"/>
                </a:solidFill>
              </a:rPr>
              <a:t>spring</a:t>
            </a:r>
            <a:r>
              <a:rPr lang="en-US" sz="1400" baseline="0" dirty="0">
                <a:solidFill>
                  <a:srgbClr val="002060"/>
                </a:solidFill>
              </a:rPr>
              <a:t> 2015 grades 3-8 and </a:t>
            </a:r>
            <a:r>
              <a:rPr lang="en-US" sz="1400" baseline="0" dirty="0" err="1">
                <a:solidFill>
                  <a:srgbClr val="002060"/>
                </a:solidFill>
              </a:rPr>
              <a:t>eocs</a:t>
            </a:r>
            <a:endParaRPr lang="en-US" sz="1400" dirty="0">
              <a:solidFill>
                <a:srgbClr val="002060"/>
              </a:solidFill>
            </a:endParaRPr>
          </a:p>
        </c:rich>
      </c:tx>
      <c:layout>
        <c:manualLayout>
          <c:xMode val="edge"/>
          <c:yMode val="edge"/>
          <c:x val="0.26019718258852198"/>
          <c:y val="3.12963652048868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120" normalizeH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Minimum Phase 2 Passing Std.</c:v>
          </c:tx>
          <c:spPr>
            <a:ln w="22225" cap="rnd">
              <a:solidFill>
                <a:schemeClr val="accent1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Sheet1!$A$2:$B$23</c:f>
              <c:multiLvlStrCache>
                <c:ptCount val="22"/>
                <c:lvl>
                  <c:pt idx="0">
                    <c:v>Grade 3</c:v>
                  </c:pt>
                  <c:pt idx="1">
                    <c:v>Grade 4</c:v>
                  </c:pt>
                  <c:pt idx="2">
                    <c:v>Grade 5</c:v>
                  </c:pt>
                  <c:pt idx="3">
                    <c:v>Grade 6</c:v>
                  </c:pt>
                  <c:pt idx="4">
                    <c:v>Grade 7</c:v>
                  </c:pt>
                  <c:pt idx="5">
                    <c:v>Grade 8</c:v>
                  </c:pt>
                  <c:pt idx="6">
                    <c:v>English I</c:v>
                  </c:pt>
                  <c:pt idx="7">
                    <c:v>English II</c:v>
                  </c:pt>
                  <c:pt idx="8">
                    <c:v>Grade 3</c:v>
                  </c:pt>
                  <c:pt idx="9">
                    <c:v>Grade 4</c:v>
                  </c:pt>
                  <c:pt idx="10">
                    <c:v>Grade 5</c:v>
                  </c:pt>
                  <c:pt idx="11">
                    <c:v>Grade 6</c:v>
                  </c:pt>
                  <c:pt idx="12">
                    <c:v>Grade 7</c:v>
                  </c:pt>
                  <c:pt idx="13">
                    <c:v>Grade 8</c:v>
                  </c:pt>
                  <c:pt idx="14">
                    <c:v>Algebra I</c:v>
                  </c:pt>
                  <c:pt idx="15">
                    <c:v>Grade 5</c:v>
                  </c:pt>
                  <c:pt idx="16">
                    <c:v>Grade 8</c:v>
                  </c:pt>
                  <c:pt idx="17">
                    <c:v>Biology</c:v>
                  </c:pt>
                  <c:pt idx="18">
                    <c:v>Grade 8</c:v>
                  </c:pt>
                  <c:pt idx="19">
                    <c:v>U.S. History</c:v>
                  </c:pt>
                  <c:pt idx="20">
                    <c:v>Grade 4</c:v>
                  </c:pt>
                  <c:pt idx="21">
                    <c:v>Grade 7</c:v>
                  </c:pt>
                </c:lvl>
                <c:lvl>
                  <c:pt idx="0">
                    <c:v>Reading</c:v>
                  </c:pt>
                  <c:pt idx="8">
                    <c:v>Math</c:v>
                  </c:pt>
                  <c:pt idx="15">
                    <c:v>Science</c:v>
                  </c:pt>
                  <c:pt idx="18">
                    <c:v>SS</c:v>
                  </c:pt>
                  <c:pt idx="20">
                    <c:v>Writing</c:v>
                  </c:pt>
                </c:lvl>
              </c:multiLvlStrCache>
            </c:multiLvlStrRef>
          </c:cat>
          <c:val>
            <c:numRef>
              <c:f>Sheet1!$C$2:$C$23</c:f>
              <c:numCache>
                <c:formatCode>0%</c:formatCode>
                <c:ptCount val="22"/>
                <c:pt idx="0">
                  <c:v>0.57999999999999996</c:v>
                </c:pt>
                <c:pt idx="1">
                  <c:v>0.59</c:v>
                </c:pt>
                <c:pt idx="2">
                  <c:v>0.63</c:v>
                </c:pt>
                <c:pt idx="3">
                  <c:v>0.63</c:v>
                </c:pt>
                <c:pt idx="4">
                  <c:v>0.6</c:v>
                </c:pt>
                <c:pt idx="5">
                  <c:v>0.62</c:v>
                </c:pt>
                <c:pt idx="6">
                  <c:v>0.57999999999999996</c:v>
                </c:pt>
                <c:pt idx="7">
                  <c:v>0.6</c:v>
                </c:pt>
                <c:pt idx="8">
                  <c:v>0.56999999999999995</c:v>
                </c:pt>
                <c:pt idx="9">
                  <c:v>0.56000000000000005</c:v>
                </c:pt>
                <c:pt idx="10">
                  <c:v>0.54</c:v>
                </c:pt>
                <c:pt idx="11">
                  <c:v>0.42</c:v>
                </c:pt>
                <c:pt idx="12">
                  <c:v>0.44</c:v>
                </c:pt>
                <c:pt idx="13">
                  <c:v>0.5</c:v>
                </c:pt>
                <c:pt idx="14">
                  <c:v>0.44</c:v>
                </c:pt>
                <c:pt idx="15">
                  <c:v>0.66</c:v>
                </c:pt>
                <c:pt idx="16">
                  <c:v>0.63</c:v>
                </c:pt>
                <c:pt idx="17">
                  <c:v>0.43</c:v>
                </c:pt>
                <c:pt idx="18">
                  <c:v>0.57999999999999996</c:v>
                </c:pt>
                <c:pt idx="19">
                  <c:v>0.49</c:v>
                </c:pt>
                <c:pt idx="20">
                  <c:v>0.59</c:v>
                </c:pt>
                <c:pt idx="21">
                  <c:v>0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1917-4E40-B661-B69BC6C41BAC}"/>
            </c:ext>
          </c:extLst>
        </c:ser>
        <c:ser>
          <c:idx val="1"/>
          <c:order val="1"/>
          <c:tx>
            <c:v>Post Secondary Std. (Final Recommended)</c:v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square"/>
            <c:size val="6"/>
            <c:spPr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multiLvlStrRef>
              <c:f>Sheet1!$A$2:$B$23</c:f>
              <c:multiLvlStrCache>
                <c:ptCount val="22"/>
                <c:lvl>
                  <c:pt idx="0">
                    <c:v>Grade 3</c:v>
                  </c:pt>
                  <c:pt idx="1">
                    <c:v>Grade 4</c:v>
                  </c:pt>
                  <c:pt idx="2">
                    <c:v>Grade 5</c:v>
                  </c:pt>
                  <c:pt idx="3">
                    <c:v>Grade 6</c:v>
                  </c:pt>
                  <c:pt idx="4">
                    <c:v>Grade 7</c:v>
                  </c:pt>
                  <c:pt idx="5">
                    <c:v>Grade 8</c:v>
                  </c:pt>
                  <c:pt idx="6">
                    <c:v>English I</c:v>
                  </c:pt>
                  <c:pt idx="7">
                    <c:v>English II</c:v>
                  </c:pt>
                  <c:pt idx="8">
                    <c:v>Grade 3</c:v>
                  </c:pt>
                  <c:pt idx="9">
                    <c:v>Grade 4</c:v>
                  </c:pt>
                  <c:pt idx="10">
                    <c:v>Grade 5</c:v>
                  </c:pt>
                  <c:pt idx="11">
                    <c:v>Grade 6</c:v>
                  </c:pt>
                  <c:pt idx="12">
                    <c:v>Grade 7</c:v>
                  </c:pt>
                  <c:pt idx="13">
                    <c:v>Grade 8</c:v>
                  </c:pt>
                  <c:pt idx="14">
                    <c:v>Algebra I</c:v>
                  </c:pt>
                  <c:pt idx="15">
                    <c:v>Grade 5</c:v>
                  </c:pt>
                  <c:pt idx="16">
                    <c:v>Grade 8</c:v>
                  </c:pt>
                  <c:pt idx="17">
                    <c:v>Biology</c:v>
                  </c:pt>
                  <c:pt idx="18">
                    <c:v>Grade 8</c:v>
                  </c:pt>
                  <c:pt idx="19">
                    <c:v>U.S. History</c:v>
                  </c:pt>
                  <c:pt idx="20">
                    <c:v>Grade 4</c:v>
                  </c:pt>
                  <c:pt idx="21">
                    <c:v>Grade 7</c:v>
                  </c:pt>
                </c:lvl>
                <c:lvl>
                  <c:pt idx="0">
                    <c:v>Reading</c:v>
                  </c:pt>
                  <c:pt idx="8">
                    <c:v>Math</c:v>
                  </c:pt>
                  <c:pt idx="15">
                    <c:v>Science</c:v>
                  </c:pt>
                  <c:pt idx="18">
                    <c:v>SS</c:v>
                  </c:pt>
                  <c:pt idx="20">
                    <c:v>Writing</c:v>
                  </c:pt>
                </c:lvl>
              </c:multiLvlStrCache>
            </c:multiLvlStrRef>
          </c:cat>
          <c:val>
            <c:numRef>
              <c:f>Sheet1!$D$2:$D$23</c:f>
              <c:numCache>
                <c:formatCode>0%</c:formatCode>
                <c:ptCount val="22"/>
                <c:pt idx="0">
                  <c:v>0.75</c:v>
                </c:pt>
                <c:pt idx="1">
                  <c:v>0.75</c:v>
                </c:pt>
                <c:pt idx="2">
                  <c:v>0.78</c:v>
                </c:pt>
                <c:pt idx="3">
                  <c:v>0.77</c:v>
                </c:pt>
                <c:pt idx="4">
                  <c:v>0.76</c:v>
                </c:pt>
                <c:pt idx="5">
                  <c:v>0.77</c:v>
                </c:pt>
                <c:pt idx="6">
                  <c:v>0.64</c:v>
                </c:pt>
                <c:pt idx="7">
                  <c:v>0.66</c:v>
                </c:pt>
                <c:pt idx="8">
                  <c:v>0.74</c:v>
                </c:pt>
                <c:pt idx="9">
                  <c:v>0.73</c:v>
                </c:pt>
                <c:pt idx="10">
                  <c:v>0.72</c:v>
                </c:pt>
                <c:pt idx="11">
                  <c:v>0.6</c:v>
                </c:pt>
                <c:pt idx="12">
                  <c:v>0.61</c:v>
                </c:pt>
                <c:pt idx="13">
                  <c:v>0.64</c:v>
                </c:pt>
                <c:pt idx="14">
                  <c:v>0.63</c:v>
                </c:pt>
                <c:pt idx="15">
                  <c:v>0.8</c:v>
                </c:pt>
                <c:pt idx="16">
                  <c:v>0.76</c:v>
                </c:pt>
                <c:pt idx="17">
                  <c:v>0.61</c:v>
                </c:pt>
                <c:pt idx="18">
                  <c:v>0.73</c:v>
                </c:pt>
                <c:pt idx="19">
                  <c:v>0.63</c:v>
                </c:pt>
                <c:pt idx="20">
                  <c:v>0.7</c:v>
                </c:pt>
                <c:pt idx="21">
                  <c:v>0.6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917-4E40-B661-B69BC6C41BAC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5512664"/>
        <c:axId val="205513056"/>
      </c:lineChart>
      <c:catAx>
        <c:axId val="2055126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513056"/>
        <c:crosses val="autoZero"/>
        <c:auto val="1"/>
        <c:lblAlgn val="ctr"/>
        <c:lblOffset val="100"/>
        <c:noMultiLvlLbl val="0"/>
      </c:catAx>
      <c:valAx>
        <c:axId val="205513056"/>
        <c:scaling>
          <c:orientation val="minMax"/>
          <c:max val="1"/>
          <c:min val="0.3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5512664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7338823461401201"/>
          <c:y val="0.16618369923795001"/>
          <c:w val="0.653223418303154"/>
          <c:h val="0.136814591119908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000608167220401"/>
          <c:y val="8.0249128008748005E-2"/>
          <c:w val="0.80963383088366703"/>
          <c:h val="0.8490147687440300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08613"/>
            </a:solidFill>
            <a:effectLst/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A334-4ED8-816E-E41699F1EF6E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A334-4ED8-816E-E41699F1EF6E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334-4ED8-816E-E41699F1EF6E}"/>
              </c:ext>
            </c:extLst>
          </c:dPt>
          <c:dPt>
            <c:idx val="1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A334-4ED8-816E-E41699F1EF6E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36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30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44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is-IS" smtClean="0"/>
                      <a:t>223,000</a:t>
                    </a:r>
                    <a:endParaRPr lang="is-I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26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53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37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45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85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249,000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334-4ED8-816E-E41699F1EF6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K$1</c:f>
              <c:strCache>
                <c:ptCount val="10"/>
                <c:pt idx="0">
                  <c:v>% of Eligible PreK4 Students Enrolled</c:v>
                </c:pt>
                <c:pt idx="1">
                  <c:v>3rd Reading</c:v>
                </c:pt>
                <c:pt idx="2">
                  <c:v>4th Math</c:v>
                </c:pt>
                <c:pt idx="3">
                  <c:v>8th Science</c:v>
                </c:pt>
                <c:pt idx="4">
                  <c:v>Algebra 1</c:v>
                </c:pt>
                <c:pt idx="5">
                  <c:v>College Ready</c:v>
                </c:pt>
                <c:pt idx="6">
                  <c:v>Graduation Rate</c:v>
                </c:pt>
                <c:pt idx="7">
                  <c:v>PS Enrollment</c:v>
                </c:pt>
                <c:pt idx="8">
                  <c:v>PS 1st Yr Persistence</c:v>
                </c:pt>
                <c:pt idx="9">
                  <c:v>PS 6-Yr Completion</c:v>
                </c:pt>
              </c:strCache>
            </c:strRef>
          </c:cat>
          <c:val>
            <c:numRef>
              <c:f>Sheet1!$B$2:$K$2</c:f>
              <c:numCache>
                <c:formatCode>0.00</c:formatCode>
                <c:ptCount val="10"/>
                <c:pt idx="0">
                  <c:v>-36000</c:v>
                </c:pt>
                <c:pt idx="1">
                  <c:v>-230000</c:v>
                </c:pt>
                <c:pt idx="2">
                  <c:v>-244000</c:v>
                </c:pt>
                <c:pt idx="3">
                  <c:v>-223000</c:v>
                </c:pt>
                <c:pt idx="4">
                  <c:v>-226000</c:v>
                </c:pt>
                <c:pt idx="5">
                  <c:v>-253000</c:v>
                </c:pt>
                <c:pt idx="6">
                  <c:v>-37000</c:v>
                </c:pt>
                <c:pt idx="7">
                  <c:v>-145000</c:v>
                </c:pt>
                <c:pt idx="8">
                  <c:v>-185000</c:v>
                </c:pt>
                <c:pt idx="9">
                  <c:v>-249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A334-4ED8-816E-E41699F1EF6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"/>
        <c:overlap val="100"/>
        <c:axId val="209666048"/>
        <c:axId val="209665656"/>
      </c:barChart>
      <c:catAx>
        <c:axId val="20966604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9665656"/>
        <c:crosses val="autoZero"/>
        <c:auto val="1"/>
        <c:lblAlgn val="ctr"/>
        <c:lblOffset val="100"/>
        <c:noMultiLvlLbl val="0"/>
      </c:catAx>
      <c:valAx>
        <c:axId val="209665656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2096660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effectLst/>
          <a:latin typeface="+mj-lt"/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428-4DD1-BFF2-64AEBDF9DC84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428-4DD1-BFF2-64AEBDF9DC84}"/>
              </c:ext>
            </c:extLst>
          </c:dPt>
          <c:cat>
            <c:strRef>
              <c:f>Sheet1!$A$2:$A$5</c:f>
              <c:strCache>
                <c:ptCount val="4"/>
                <c:pt idx="0">
                  <c:v>2005-06_x000d_Total U.S.</c:v>
                </c:pt>
                <c:pt idx="1">
                  <c:v>TX_x000d_10 Yr Change</c:v>
                </c:pt>
                <c:pt idx="2">
                  <c:v>Rest of U.S._x000d_10 Yr Change</c:v>
                </c:pt>
                <c:pt idx="3">
                  <c:v>2014-15_x000d_Total U.S.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9.113298</c:v>
                </c:pt>
                <c:pt idx="1">
                  <c:v>49.113298</c:v>
                </c:pt>
                <c:pt idx="2">
                  <c:v>49.113298</c:v>
                </c:pt>
                <c:pt idx="3">
                  <c:v>49.1132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428-4DD1-BFF2-64AEBDF9DC8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X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FF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428-4DD1-BFF2-64AEBDF9DC84}"/>
              </c:ext>
            </c:extLst>
          </c:dPt>
          <c:cat>
            <c:strRef>
              <c:f>Sheet1!$A$2:$A$5</c:f>
              <c:strCache>
                <c:ptCount val="4"/>
                <c:pt idx="0">
                  <c:v>2005-06_x000d_Total U.S.</c:v>
                </c:pt>
                <c:pt idx="1">
                  <c:v>TX_x000d_10 Yr Change</c:v>
                </c:pt>
                <c:pt idx="2">
                  <c:v>Rest of U.S._x000d_10 Yr Change</c:v>
                </c:pt>
                <c:pt idx="3">
                  <c:v>2014-15_x000d_Total U.S.</c:v>
                </c:pt>
              </c:strCache>
            </c:strRef>
          </c:cat>
          <c:val>
            <c:numRef>
              <c:f>Sheet1!$C$2:$C$5</c:f>
              <c:numCache>
                <c:formatCode>0.000</c:formatCode>
                <c:ptCount val="4"/>
                <c:pt idx="1">
                  <c:v>0.70970999999999995</c:v>
                </c:pt>
                <c:pt idx="2">
                  <c:v>0.70970999999999995</c:v>
                </c:pt>
                <c:pt idx="3">
                  <c:v>0.70970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C428-4DD1-BFF2-64AEBDF9DC8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X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C428-4DD1-BFF2-64AEBDF9DC84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C428-4DD1-BFF2-64AEBDF9DC84}"/>
              </c:ext>
            </c:extLst>
          </c:dPt>
          <c:cat>
            <c:strRef>
              <c:f>Sheet1!$A$2:$A$5</c:f>
              <c:strCache>
                <c:ptCount val="4"/>
                <c:pt idx="0">
                  <c:v>2005-06_x000d_Total U.S.</c:v>
                </c:pt>
                <c:pt idx="1">
                  <c:v>TX_x000d_10 Yr Change</c:v>
                </c:pt>
                <c:pt idx="2">
                  <c:v>Rest of U.S._x000d_10 Yr Change</c:v>
                </c:pt>
                <c:pt idx="3">
                  <c:v>2014-15_x000d_Total U.S.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2" formatCode="0.000">
                  <c:v>0.30859199999999998</c:v>
                </c:pt>
                <c:pt idx="3" formatCode="0.000">
                  <c:v>0.308591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C428-4DD1-BFF2-64AEBDF9DC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10492856"/>
        <c:axId val="210493248"/>
      </c:barChart>
      <c:catAx>
        <c:axId val="210492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493248"/>
        <c:crosses val="autoZero"/>
        <c:auto val="1"/>
        <c:lblAlgn val="ctr"/>
        <c:lblOffset val="100"/>
        <c:noMultiLvlLbl val="0"/>
      </c:catAx>
      <c:valAx>
        <c:axId val="210493248"/>
        <c:scaling>
          <c:orientation val="minMax"/>
          <c:max val="52"/>
          <c:min val="45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crossAx val="210492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000608167220401"/>
          <c:y val="0.176308456050811"/>
          <c:w val="0.80963383088366703"/>
          <c:h val="0.7529551469213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9E0"/>
            </a:solidFill>
            <a:effectLst/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58ED-4114-BE65-CBCE04D1317F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58ED-4114-BE65-CBCE04D1317F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58ED-4114-BE65-CBCE04D1317F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58ED-4114-BE65-CBCE04D1317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D$1</c:f>
              <c:strCache>
                <c:ptCount val="2"/>
                <c:pt idx="0">
                  <c:v>% of Eligible PreK4 Students Enrolled</c:v>
                </c:pt>
                <c:pt idx="1">
                  <c:v>3rd Reading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2"/>
                <c:pt idx="0">
                  <c:v>0.86</c:v>
                </c:pt>
                <c:pt idx="1">
                  <c:v>0.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8ED-4114-BE65-CBCE04D1317F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10494032"/>
        <c:axId val="211026016"/>
      </c:barChart>
      <c:catAx>
        <c:axId val="21049403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11026016"/>
        <c:crossesAt val="0"/>
        <c:auto val="1"/>
        <c:lblAlgn val="ctr"/>
        <c:lblOffset val="100"/>
        <c:noMultiLvlLbl val="0"/>
      </c:catAx>
      <c:valAx>
        <c:axId val="211026016"/>
        <c:scaling>
          <c:orientation val="minMax"/>
          <c:max val="1"/>
          <c:min val="0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Verdana"/>
                <a:cs typeface="Verdana"/>
              </a:defRPr>
            </a:pPr>
            <a:endParaRPr lang="en-US"/>
          </a:p>
        </c:txPr>
        <c:crossAx val="210494032"/>
        <c:crosses val="autoZero"/>
        <c:crossBetween val="between"/>
        <c:majorUnit val="0.2"/>
        <c:min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effectLst/>
          <a:latin typeface="+mj-lt"/>
        </a:defRPr>
      </a:pPr>
      <a:endParaRPr lang="en-US"/>
    </a:p>
  </c:txPr>
  <c:externalData r:id="rId2">
    <c:autoUpdate val="0"/>
  </c:externalData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000608167220401"/>
          <c:y val="0.176308456050811"/>
          <c:w val="0.80963383088366703"/>
          <c:h val="0.7529551469213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9E0"/>
            </a:solidFill>
            <a:effectLst/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DE7E-4C71-BC5F-50D2DAE33C4C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DE7E-4C71-BC5F-50D2DAE33C4C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E7E-4C71-BC5F-50D2DAE33C4C}"/>
              </c:ext>
            </c:extLst>
          </c:dPt>
          <c:dPt>
            <c:idx val="1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E7E-4C71-BC5F-50D2DAE33C4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D$1</c:f>
              <c:strCache>
                <c:ptCount val="3"/>
                <c:pt idx="0">
                  <c:v>4th Math</c:v>
                </c:pt>
                <c:pt idx="1">
                  <c:v>8th Science</c:v>
                </c:pt>
                <c:pt idx="2">
                  <c:v>Algebra 1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33</c:v>
                </c:pt>
                <c:pt idx="1">
                  <c:v>0.38</c:v>
                </c:pt>
                <c:pt idx="2">
                  <c:v>0.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E7E-4C71-BC5F-50D2DAE33C4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11027192"/>
        <c:axId val="209957424"/>
      </c:barChart>
      <c:catAx>
        <c:axId val="2110271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9957424"/>
        <c:crossesAt val="0"/>
        <c:auto val="1"/>
        <c:lblAlgn val="ctr"/>
        <c:lblOffset val="100"/>
        <c:noMultiLvlLbl val="0"/>
      </c:catAx>
      <c:valAx>
        <c:axId val="209957424"/>
        <c:scaling>
          <c:orientation val="minMax"/>
          <c:max val="0.6"/>
          <c:min val="0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Verdana"/>
                <a:cs typeface="Verdana"/>
              </a:defRPr>
            </a:pPr>
            <a:endParaRPr lang="en-US"/>
          </a:p>
        </c:txPr>
        <c:crossAx val="211027192"/>
        <c:crosses val="autoZero"/>
        <c:crossBetween val="between"/>
        <c:majorUnit val="0.2"/>
        <c:min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effectLst/>
          <a:latin typeface="+mj-lt"/>
        </a:defRPr>
      </a:pPr>
      <a:endParaRPr lang="en-US"/>
    </a:p>
  </c:txPr>
  <c:externalData r:id="rId2">
    <c:autoUpdate val="0"/>
  </c:externalData>
  <c:userShapes r:id="rId3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9000608167220401"/>
          <c:y val="0.176308456050811"/>
          <c:w val="0.80963383088366703"/>
          <c:h val="0.7529551469213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9E0"/>
            </a:solidFill>
            <a:effectLst/>
          </c:spPr>
          <c:invertIfNegative val="0"/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D92B-4595-834C-A719A075A544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D92B-4595-834C-A719A075A544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D92B-4595-834C-A719A075A544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92B-4595-834C-A719A075A54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D$1</c:f>
              <c:strCache>
                <c:ptCount val="2"/>
                <c:pt idx="0">
                  <c:v>College Ready</c:v>
                </c:pt>
                <c:pt idx="1">
                  <c:v>Graduation Rate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2"/>
                <c:pt idx="0">
                  <c:v>0.17</c:v>
                </c:pt>
                <c:pt idx="1">
                  <c:v>0.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92B-4595-834C-A719A075A54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9958208"/>
        <c:axId val="209958600"/>
      </c:barChart>
      <c:catAx>
        <c:axId val="20995820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9958600"/>
        <c:crossesAt val="0"/>
        <c:auto val="1"/>
        <c:lblAlgn val="ctr"/>
        <c:lblOffset val="100"/>
        <c:noMultiLvlLbl val="0"/>
      </c:catAx>
      <c:valAx>
        <c:axId val="209958600"/>
        <c:scaling>
          <c:orientation val="minMax"/>
          <c:min val="0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>
                <a:latin typeface="Verdana"/>
                <a:cs typeface="Verdana"/>
              </a:defRPr>
            </a:pPr>
            <a:endParaRPr lang="en-US"/>
          </a:p>
        </c:txPr>
        <c:crossAx val="209958208"/>
        <c:crosses val="autoZero"/>
        <c:crossBetween val="between"/>
        <c:majorUnit val="0.2"/>
        <c:min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effectLst/>
          <a:latin typeface="+mj-lt"/>
        </a:defRPr>
      </a:pPr>
      <a:endParaRPr lang="en-US"/>
    </a:p>
  </c:txPr>
  <c:externalData r:id="rId2">
    <c:autoUpdate val="0"/>
  </c:externalData>
  <c:userShapes r:id="rId3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b="1" i="0" baseline="0" dirty="0" smtClean="0">
                <a:effectLst/>
              </a:rPr>
              <a:t>Student Achievement (Min. Passing Std.) for Economically Disadvantaged Students</a:t>
            </a:r>
            <a:endParaRPr lang="en-US" sz="1200" dirty="0" smtClean="0">
              <a:effectLst/>
            </a:endParaRPr>
          </a:p>
          <a:p>
            <a:pPr>
              <a:defRPr/>
            </a:pPr>
            <a:r>
              <a:rPr lang="en-US" sz="1200" b="1" i="0" baseline="0" dirty="0" smtClean="0">
                <a:effectLst/>
              </a:rPr>
              <a:t>Across All Campuses in Texas</a:t>
            </a:r>
            <a:endParaRPr lang="en-US" sz="1200" dirty="0" smtClean="0">
              <a:effectLst/>
            </a:endParaRP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EcoDis Phase In'!$C$1:$C$2</c:f>
              <c:strCache>
                <c:ptCount val="2"/>
                <c:pt idx="1">
                  <c:v>Phase in %</c:v>
                </c:pt>
              </c:strCache>
            </c:strRef>
          </c:tx>
          <c:spPr>
            <a:ln w="31750">
              <a:noFill/>
            </a:ln>
          </c:spPr>
          <c:trendline>
            <c:spPr>
              <a:ln w="31750">
                <a:solidFill>
                  <a:schemeClr val="accent2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'EcoDis Phase In'!$B$3:$B$7728</c:f>
              <c:numCache>
                <c:formatCode>0%</c:formatCode>
                <c:ptCount val="7726"/>
                <c:pt idx="0">
                  <c:v>0.93200000000000005</c:v>
                </c:pt>
                <c:pt idx="1">
                  <c:v>1</c:v>
                </c:pt>
                <c:pt idx="2">
                  <c:v>0.19</c:v>
                </c:pt>
                <c:pt idx="3">
                  <c:v>0.95299999999999996</c:v>
                </c:pt>
                <c:pt idx="4">
                  <c:v>0.99399999999999999</c:v>
                </c:pt>
                <c:pt idx="5">
                  <c:v>1</c:v>
                </c:pt>
                <c:pt idx="6">
                  <c:v>0.75700000000000001</c:v>
                </c:pt>
                <c:pt idx="7">
                  <c:v>0.61199999999999999</c:v>
                </c:pt>
                <c:pt idx="8">
                  <c:v>0.35</c:v>
                </c:pt>
                <c:pt idx="9">
                  <c:v>1</c:v>
                </c:pt>
                <c:pt idx="10">
                  <c:v>0.88200000000000001</c:v>
                </c:pt>
                <c:pt idx="11">
                  <c:v>0.54200000000000004</c:v>
                </c:pt>
                <c:pt idx="12">
                  <c:v>0.58599999999999997</c:v>
                </c:pt>
                <c:pt idx="13">
                  <c:v>0.97</c:v>
                </c:pt>
                <c:pt idx="14">
                  <c:v>0.46700000000000003</c:v>
                </c:pt>
                <c:pt idx="15">
                  <c:v>0.22700000000000001</c:v>
                </c:pt>
                <c:pt idx="16">
                  <c:v>0.92500000000000004</c:v>
                </c:pt>
                <c:pt idx="17">
                  <c:v>1</c:v>
                </c:pt>
                <c:pt idx="18">
                  <c:v>6.3E-2</c:v>
                </c:pt>
                <c:pt idx="19">
                  <c:v>1</c:v>
                </c:pt>
                <c:pt idx="20">
                  <c:v>0.75</c:v>
                </c:pt>
                <c:pt idx="21">
                  <c:v>0.9</c:v>
                </c:pt>
                <c:pt idx="22">
                  <c:v>0.56100000000000005</c:v>
                </c:pt>
                <c:pt idx="23">
                  <c:v>0.30499999999999999</c:v>
                </c:pt>
                <c:pt idx="24">
                  <c:v>1</c:v>
                </c:pt>
                <c:pt idx="25">
                  <c:v>0.03</c:v>
                </c:pt>
                <c:pt idx="26">
                  <c:v>0.224</c:v>
                </c:pt>
                <c:pt idx="27">
                  <c:v>0.67900000000000005</c:v>
                </c:pt>
                <c:pt idx="28">
                  <c:v>0.15</c:v>
                </c:pt>
                <c:pt idx="29">
                  <c:v>0.13500000000000001</c:v>
                </c:pt>
                <c:pt idx="30">
                  <c:v>1</c:v>
                </c:pt>
                <c:pt idx="31">
                  <c:v>0.69799999999999995</c:v>
                </c:pt>
                <c:pt idx="32">
                  <c:v>0.54200000000000004</c:v>
                </c:pt>
                <c:pt idx="33">
                  <c:v>0.33300000000000002</c:v>
                </c:pt>
                <c:pt idx="34">
                  <c:v>0.55700000000000005</c:v>
                </c:pt>
                <c:pt idx="35">
                  <c:v>0.64300000000000002</c:v>
                </c:pt>
                <c:pt idx="36">
                  <c:v>1</c:v>
                </c:pt>
                <c:pt idx="37">
                  <c:v>0.71399999999999997</c:v>
                </c:pt>
                <c:pt idx="38">
                  <c:v>0.28000000000000003</c:v>
                </c:pt>
                <c:pt idx="39">
                  <c:v>0.1400000000000000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0.28199999999999997</c:v>
                </c:pt>
                <c:pt idx="48">
                  <c:v>0.41699999999999998</c:v>
                </c:pt>
                <c:pt idx="49">
                  <c:v>0.86799999999999999</c:v>
                </c:pt>
                <c:pt idx="50">
                  <c:v>1</c:v>
                </c:pt>
                <c:pt idx="51">
                  <c:v>0.23100000000000001</c:v>
                </c:pt>
                <c:pt idx="52">
                  <c:v>0.35099999999999998</c:v>
                </c:pt>
                <c:pt idx="53">
                  <c:v>0.21199999999999999</c:v>
                </c:pt>
                <c:pt idx="54">
                  <c:v>0.04</c:v>
                </c:pt>
                <c:pt idx="55">
                  <c:v>0.52800000000000002</c:v>
                </c:pt>
                <c:pt idx="56">
                  <c:v>1</c:v>
                </c:pt>
                <c:pt idx="57">
                  <c:v>1</c:v>
                </c:pt>
                <c:pt idx="58">
                  <c:v>0.95799999999999996</c:v>
                </c:pt>
                <c:pt idx="59">
                  <c:v>0.49199999999999999</c:v>
                </c:pt>
                <c:pt idx="60">
                  <c:v>0.73099999999999998</c:v>
                </c:pt>
                <c:pt idx="61">
                  <c:v>0.38500000000000001</c:v>
                </c:pt>
                <c:pt idx="62">
                  <c:v>0.69299999999999995</c:v>
                </c:pt>
                <c:pt idx="63">
                  <c:v>0.16</c:v>
                </c:pt>
                <c:pt idx="64">
                  <c:v>0.81899999999999995</c:v>
                </c:pt>
                <c:pt idx="65">
                  <c:v>1</c:v>
                </c:pt>
                <c:pt idx="66">
                  <c:v>5.2999999999999999E-2</c:v>
                </c:pt>
                <c:pt idx="67">
                  <c:v>1</c:v>
                </c:pt>
                <c:pt idx="68">
                  <c:v>0.44</c:v>
                </c:pt>
                <c:pt idx="69">
                  <c:v>0.68600000000000005</c:v>
                </c:pt>
                <c:pt idx="70">
                  <c:v>0.88900000000000001</c:v>
                </c:pt>
                <c:pt idx="71">
                  <c:v>1</c:v>
                </c:pt>
                <c:pt idx="72">
                  <c:v>0.23200000000000001</c:v>
                </c:pt>
                <c:pt idx="73">
                  <c:v>1</c:v>
                </c:pt>
                <c:pt idx="74">
                  <c:v>0.33800000000000002</c:v>
                </c:pt>
                <c:pt idx="75">
                  <c:v>0.41599999999999998</c:v>
                </c:pt>
                <c:pt idx="76">
                  <c:v>0.74199999999999999</c:v>
                </c:pt>
                <c:pt idx="77">
                  <c:v>0.51500000000000001</c:v>
                </c:pt>
                <c:pt idx="78">
                  <c:v>0.95</c:v>
                </c:pt>
                <c:pt idx="79">
                  <c:v>0.80500000000000005</c:v>
                </c:pt>
                <c:pt idx="80">
                  <c:v>0.58699999999999997</c:v>
                </c:pt>
                <c:pt idx="81">
                  <c:v>0.33300000000000002</c:v>
                </c:pt>
                <c:pt idx="82">
                  <c:v>0.79500000000000004</c:v>
                </c:pt>
                <c:pt idx="83">
                  <c:v>1</c:v>
                </c:pt>
                <c:pt idx="84">
                  <c:v>0.83299999999999996</c:v>
                </c:pt>
                <c:pt idx="85">
                  <c:v>0.77400000000000002</c:v>
                </c:pt>
                <c:pt idx="86">
                  <c:v>1</c:v>
                </c:pt>
                <c:pt idx="87">
                  <c:v>1</c:v>
                </c:pt>
                <c:pt idx="88">
                  <c:v>0.73299999999999998</c:v>
                </c:pt>
                <c:pt idx="89">
                  <c:v>0.65600000000000003</c:v>
                </c:pt>
                <c:pt idx="90">
                  <c:v>0.63600000000000001</c:v>
                </c:pt>
                <c:pt idx="91">
                  <c:v>1</c:v>
                </c:pt>
                <c:pt idx="92">
                  <c:v>0.94799999999999995</c:v>
                </c:pt>
                <c:pt idx="93">
                  <c:v>0.53300000000000003</c:v>
                </c:pt>
                <c:pt idx="94">
                  <c:v>0.77200000000000002</c:v>
                </c:pt>
                <c:pt idx="95">
                  <c:v>0.433</c:v>
                </c:pt>
                <c:pt idx="96">
                  <c:v>0.57299999999999995</c:v>
                </c:pt>
                <c:pt idx="97">
                  <c:v>0.53800000000000003</c:v>
                </c:pt>
                <c:pt idx="98">
                  <c:v>0.86699999999999999</c:v>
                </c:pt>
                <c:pt idx="99">
                  <c:v>1</c:v>
                </c:pt>
                <c:pt idx="100">
                  <c:v>0.89600000000000002</c:v>
                </c:pt>
                <c:pt idx="101">
                  <c:v>0.52700000000000002</c:v>
                </c:pt>
                <c:pt idx="102">
                  <c:v>0.25600000000000001</c:v>
                </c:pt>
                <c:pt idx="103">
                  <c:v>1</c:v>
                </c:pt>
                <c:pt idx="104">
                  <c:v>0.36799999999999999</c:v>
                </c:pt>
                <c:pt idx="105">
                  <c:v>0.80700000000000005</c:v>
                </c:pt>
                <c:pt idx="106">
                  <c:v>5.6000000000000001E-2</c:v>
                </c:pt>
                <c:pt idx="107">
                  <c:v>0.313</c:v>
                </c:pt>
                <c:pt idx="108">
                  <c:v>0.375</c:v>
                </c:pt>
                <c:pt idx="109">
                  <c:v>1</c:v>
                </c:pt>
                <c:pt idx="110">
                  <c:v>0.29799999999999999</c:v>
                </c:pt>
                <c:pt idx="111">
                  <c:v>0.61799999999999999</c:v>
                </c:pt>
                <c:pt idx="112">
                  <c:v>0.52900000000000003</c:v>
                </c:pt>
                <c:pt idx="113">
                  <c:v>0.69199999999999995</c:v>
                </c:pt>
                <c:pt idx="114">
                  <c:v>0.70599999999999996</c:v>
                </c:pt>
                <c:pt idx="115">
                  <c:v>0.98099999999999998</c:v>
                </c:pt>
                <c:pt idx="116">
                  <c:v>0.64500000000000002</c:v>
                </c:pt>
                <c:pt idx="117">
                  <c:v>0.03</c:v>
                </c:pt>
                <c:pt idx="118">
                  <c:v>0.45</c:v>
                </c:pt>
                <c:pt idx="119">
                  <c:v>0.86299999999999999</c:v>
                </c:pt>
                <c:pt idx="120">
                  <c:v>0.89700000000000002</c:v>
                </c:pt>
                <c:pt idx="121">
                  <c:v>0.95099999999999996</c:v>
                </c:pt>
                <c:pt idx="122">
                  <c:v>1</c:v>
                </c:pt>
                <c:pt idx="123">
                  <c:v>4.4999999999999998E-2</c:v>
                </c:pt>
                <c:pt idx="124">
                  <c:v>0.49299999999999999</c:v>
                </c:pt>
                <c:pt idx="125">
                  <c:v>0.89600000000000002</c:v>
                </c:pt>
                <c:pt idx="126">
                  <c:v>0.92100000000000004</c:v>
                </c:pt>
                <c:pt idx="127">
                  <c:v>0.55600000000000005</c:v>
                </c:pt>
                <c:pt idx="128">
                  <c:v>1</c:v>
                </c:pt>
                <c:pt idx="129">
                  <c:v>0.79600000000000004</c:v>
                </c:pt>
                <c:pt idx="130">
                  <c:v>0.55200000000000005</c:v>
                </c:pt>
                <c:pt idx="131">
                  <c:v>0.92400000000000004</c:v>
                </c:pt>
                <c:pt idx="132">
                  <c:v>0.71699999999999997</c:v>
                </c:pt>
                <c:pt idx="133">
                  <c:v>4.9000000000000002E-2</c:v>
                </c:pt>
                <c:pt idx="134">
                  <c:v>0.95299999999999996</c:v>
                </c:pt>
                <c:pt idx="135">
                  <c:v>0.874</c:v>
                </c:pt>
                <c:pt idx="136">
                  <c:v>0.91</c:v>
                </c:pt>
                <c:pt idx="137">
                  <c:v>0.52200000000000002</c:v>
                </c:pt>
                <c:pt idx="138">
                  <c:v>0.05</c:v>
                </c:pt>
                <c:pt idx="139">
                  <c:v>7.6999999999999999E-2</c:v>
                </c:pt>
                <c:pt idx="140">
                  <c:v>0.85699999999999998</c:v>
                </c:pt>
                <c:pt idx="141">
                  <c:v>0.60799999999999998</c:v>
                </c:pt>
                <c:pt idx="142">
                  <c:v>0.17100000000000001</c:v>
                </c:pt>
                <c:pt idx="143">
                  <c:v>0.65500000000000003</c:v>
                </c:pt>
                <c:pt idx="144">
                  <c:v>0.96299999999999997</c:v>
                </c:pt>
                <c:pt idx="145">
                  <c:v>0.623</c:v>
                </c:pt>
                <c:pt idx="146">
                  <c:v>0.313</c:v>
                </c:pt>
                <c:pt idx="147">
                  <c:v>0.85799999999999998</c:v>
                </c:pt>
                <c:pt idx="148">
                  <c:v>0.82899999999999996</c:v>
                </c:pt>
                <c:pt idx="149">
                  <c:v>0.70599999999999996</c:v>
                </c:pt>
                <c:pt idx="150">
                  <c:v>1</c:v>
                </c:pt>
                <c:pt idx="151">
                  <c:v>0.94199999999999995</c:v>
                </c:pt>
                <c:pt idx="152">
                  <c:v>0.95399999999999996</c:v>
                </c:pt>
                <c:pt idx="153">
                  <c:v>0.96499999999999997</c:v>
                </c:pt>
                <c:pt idx="154">
                  <c:v>0.98499999999999999</c:v>
                </c:pt>
                <c:pt idx="155">
                  <c:v>0.89200000000000002</c:v>
                </c:pt>
                <c:pt idx="156">
                  <c:v>0.48899999999999999</c:v>
                </c:pt>
                <c:pt idx="157">
                  <c:v>0.49099999999999999</c:v>
                </c:pt>
                <c:pt idx="158">
                  <c:v>0.73799999999999999</c:v>
                </c:pt>
                <c:pt idx="159">
                  <c:v>6.7000000000000004E-2</c:v>
                </c:pt>
                <c:pt idx="160">
                  <c:v>0.80400000000000005</c:v>
                </c:pt>
                <c:pt idx="161">
                  <c:v>0.85299999999999998</c:v>
                </c:pt>
                <c:pt idx="162">
                  <c:v>0.84</c:v>
                </c:pt>
                <c:pt idx="163">
                  <c:v>0.64700000000000002</c:v>
                </c:pt>
                <c:pt idx="164">
                  <c:v>0.99</c:v>
                </c:pt>
                <c:pt idx="165">
                  <c:v>0.66700000000000004</c:v>
                </c:pt>
                <c:pt idx="166">
                  <c:v>0.99099999999999999</c:v>
                </c:pt>
                <c:pt idx="167">
                  <c:v>0.56499999999999995</c:v>
                </c:pt>
                <c:pt idx="168">
                  <c:v>0.9</c:v>
                </c:pt>
                <c:pt idx="169">
                  <c:v>7.2999999999999995E-2</c:v>
                </c:pt>
                <c:pt idx="170">
                  <c:v>0.66700000000000004</c:v>
                </c:pt>
                <c:pt idx="171">
                  <c:v>0.376</c:v>
                </c:pt>
                <c:pt idx="172">
                  <c:v>0.376</c:v>
                </c:pt>
                <c:pt idx="173">
                  <c:v>3.2000000000000001E-2</c:v>
                </c:pt>
                <c:pt idx="174">
                  <c:v>0.876</c:v>
                </c:pt>
                <c:pt idx="175">
                  <c:v>0.48599999999999999</c:v>
                </c:pt>
                <c:pt idx="176">
                  <c:v>0.48499999999999999</c:v>
                </c:pt>
                <c:pt idx="177">
                  <c:v>2.5000000000000001E-2</c:v>
                </c:pt>
                <c:pt idx="178">
                  <c:v>0.40799999999999997</c:v>
                </c:pt>
                <c:pt idx="179">
                  <c:v>0.91700000000000004</c:v>
                </c:pt>
                <c:pt idx="180">
                  <c:v>0.54700000000000004</c:v>
                </c:pt>
                <c:pt idx="181">
                  <c:v>0.88</c:v>
                </c:pt>
                <c:pt idx="182">
                  <c:v>0.64</c:v>
                </c:pt>
                <c:pt idx="183">
                  <c:v>0.79500000000000004</c:v>
                </c:pt>
                <c:pt idx="184">
                  <c:v>0.51100000000000001</c:v>
                </c:pt>
                <c:pt idx="185">
                  <c:v>0.624</c:v>
                </c:pt>
                <c:pt idx="186">
                  <c:v>0.63600000000000001</c:v>
                </c:pt>
                <c:pt idx="187">
                  <c:v>0.69399999999999995</c:v>
                </c:pt>
                <c:pt idx="188">
                  <c:v>0.81399999999999995</c:v>
                </c:pt>
                <c:pt idx="189">
                  <c:v>0.67300000000000004</c:v>
                </c:pt>
                <c:pt idx="190">
                  <c:v>0.51600000000000001</c:v>
                </c:pt>
                <c:pt idx="191">
                  <c:v>0.629</c:v>
                </c:pt>
                <c:pt idx="192">
                  <c:v>0.71699999999999997</c:v>
                </c:pt>
                <c:pt idx="193">
                  <c:v>0.58799999999999997</c:v>
                </c:pt>
                <c:pt idx="194">
                  <c:v>1</c:v>
                </c:pt>
                <c:pt idx="195">
                  <c:v>1</c:v>
                </c:pt>
                <c:pt idx="196">
                  <c:v>1</c:v>
                </c:pt>
                <c:pt idx="197">
                  <c:v>0.84799999999999998</c:v>
                </c:pt>
                <c:pt idx="198">
                  <c:v>0.76900000000000002</c:v>
                </c:pt>
                <c:pt idx="199">
                  <c:v>0.39500000000000002</c:v>
                </c:pt>
                <c:pt idx="200">
                  <c:v>0.65</c:v>
                </c:pt>
                <c:pt idx="201">
                  <c:v>0.65700000000000003</c:v>
                </c:pt>
                <c:pt idx="202">
                  <c:v>0.111</c:v>
                </c:pt>
                <c:pt idx="203">
                  <c:v>0.76900000000000002</c:v>
                </c:pt>
                <c:pt idx="204">
                  <c:v>1</c:v>
                </c:pt>
                <c:pt idx="205">
                  <c:v>0.57899999999999996</c:v>
                </c:pt>
                <c:pt idx="206">
                  <c:v>0.9</c:v>
                </c:pt>
                <c:pt idx="207">
                  <c:v>0.98899999999999999</c:v>
                </c:pt>
                <c:pt idx="208">
                  <c:v>0.95699999999999996</c:v>
                </c:pt>
                <c:pt idx="209">
                  <c:v>0.98299999999999998</c:v>
                </c:pt>
                <c:pt idx="210">
                  <c:v>1</c:v>
                </c:pt>
                <c:pt idx="211">
                  <c:v>0.90900000000000003</c:v>
                </c:pt>
                <c:pt idx="212">
                  <c:v>0.04</c:v>
                </c:pt>
                <c:pt idx="213">
                  <c:v>0.47699999999999998</c:v>
                </c:pt>
                <c:pt idx="214">
                  <c:v>0.84099999999999997</c:v>
                </c:pt>
                <c:pt idx="215">
                  <c:v>0.94099999999999995</c:v>
                </c:pt>
                <c:pt idx="216">
                  <c:v>0.91100000000000003</c:v>
                </c:pt>
                <c:pt idx="217">
                  <c:v>0.70099999999999996</c:v>
                </c:pt>
                <c:pt idx="218">
                  <c:v>0.89200000000000002</c:v>
                </c:pt>
                <c:pt idx="219">
                  <c:v>0.85299999999999998</c:v>
                </c:pt>
                <c:pt idx="220">
                  <c:v>0.78200000000000003</c:v>
                </c:pt>
                <c:pt idx="221">
                  <c:v>0.77</c:v>
                </c:pt>
                <c:pt idx="222">
                  <c:v>0.81299999999999994</c:v>
                </c:pt>
                <c:pt idx="223">
                  <c:v>0.92300000000000004</c:v>
                </c:pt>
                <c:pt idx="224">
                  <c:v>0.26900000000000002</c:v>
                </c:pt>
                <c:pt idx="225">
                  <c:v>0.63900000000000001</c:v>
                </c:pt>
                <c:pt idx="226">
                  <c:v>0.52200000000000002</c:v>
                </c:pt>
                <c:pt idx="227">
                  <c:v>0.875</c:v>
                </c:pt>
                <c:pt idx="228">
                  <c:v>0.75</c:v>
                </c:pt>
                <c:pt idx="229">
                  <c:v>0.91900000000000004</c:v>
                </c:pt>
                <c:pt idx="230">
                  <c:v>0.65600000000000003</c:v>
                </c:pt>
                <c:pt idx="231">
                  <c:v>0.7</c:v>
                </c:pt>
                <c:pt idx="232">
                  <c:v>0.8</c:v>
                </c:pt>
                <c:pt idx="233">
                  <c:v>0.71199999999999997</c:v>
                </c:pt>
                <c:pt idx="234">
                  <c:v>0.97799999999999998</c:v>
                </c:pt>
                <c:pt idx="235">
                  <c:v>0.68799999999999994</c:v>
                </c:pt>
                <c:pt idx="236">
                  <c:v>0.73899999999999999</c:v>
                </c:pt>
                <c:pt idx="237">
                  <c:v>0.59799999999999998</c:v>
                </c:pt>
                <c:pt idx="238">
                  <c:v>0.56000000000000005</c:v>
                </c:pt>
                <c:pt idx="239">
                  <c:v>0.83299999999999996</c:v>
                </c:pt>
                <c:pt idx="240">
                  <c:v>0.185</c:v>
                </c:pt>
                <c:pt idx="241">
                  <c:v>0.432</c:v>
                </c:pt>
                <c:pt idx="242">
                  <c:v>0.96499999999999997</c:v>
                </c:pt>
                <c:pt idx="243">
                  <c:v>0.52300000000000002</c:v>
                </c:pt>
                <c:pt idx="244">
                  <c:v>0.77700000000000002</c:v>
                </c:pt>
                <c:pt idx="245">
                  <c:v>0.42899999999999999</c:v>
                </c:pt>
                <c:pt idx="246">
                  <c:v>0.61799999999999999</c:v>
                </c:pt>
                <c:pt idx="247">
                  <c:v>0.52300000000000002</c:v>
                </c:pt>
                <c:pt idx="248">
                  <c:v>0.625</c:v>
                </c:pt>
                <c:pt idx="249">
                  <c:v>0.92600000000000005</c:v>
                </c:pt>
                <c:pt idx="250">
                  <c:v>0.83099999999999996</c:v>
                </c:pt>
                <c:pt idx="251">
                  <c:v>0.58599999999999997</c:v>
                </c:pt>
                <c:pt idx="252">
                  <c:v>0.78200000000000003</c:v>
                </c:pt>
                <c:pt idx="253">
                  <c:v>0.89900000000000002</c:v>
                </c:pt>
                <c:pt idx="254">
                  <c:v>0.93899999999999995</c:v>
                </c:pt>
                <c:pt idx="255">
                  <c:v>0.16700000000000001</c:v>
                </c:pt>
                <c:pt idx="256">
                  <c:v>0.54100000000000004</c:v>
                </c:pt>
                <c:pt idx="257">
                  <c:v>0.82899999999999996</c:v>
                </c:pt>
                <c:pt idx="258">
                  <c:v>0.75600000000000001</c:v>
                </c:pt>
                <c:pt idx="259">
                  <c:v>0.84899999999999998</c:v>
                </c:pt>
                <c:pt idx="260">
                  <c:v>0.69099999999999995</c:v>
                </c:pt>
                <c:pt idx="261">
                  <c:v>0.503</c:v>
                </c:pt>
                <c:pt idx="262">
                  <c:v>0.88300000000000001</c:v>
                </c:pt>
                <c:pt idx="263">
                  <c:v>0.91400000000000003</c:v>
                </c:pt>
                <c:pt idx="264">
                  <c:v>0.94399999999999995</c:v>
                </c:pt>
                <c:pt idx="265">
                  <c:v>0.58099999999999996</c:v>
                </c:pt>
                <c:pt idx="266">
                  <c:v>0.94299999999999995</c:v>
                </c:pt>
                <c:pt idx="267">
                  <c:v>0.94599999999999995</c:v>
                </c:pt>
                <c:pt idx="268">
                  <c:v>0.95299999999999996</c:v>
                </c:pt>
                <c:pt idx="269">
                  <c:v>0.94499999999999995</c:v>
                </c:pt>
                <c:pt idx="270">
                  <c:v>0.61599999999999999</c:v>
                </c:pt>
                <c:pt idx="271">
                  <c:v>0.78800000000000003</c:v>
                </c:pt>
                <c:pt idx="272">
                  <c:v>0.91300000000000003</c:v>
                </c:pt>
                <c:pt idx="273">
                  <c:v>1</c:v>
                </c:pt>
                <c:pt idx="274">
                  <c:v>0.86299999999999999</c:v>
                </c:pt>
                <c:pt idx="275">
                  <c:v>0.66700000000000004</c:v>
                </c:pt>
                <c:pt idx="276">
                  <c:v>1</c:v>
                </c:pt>
                <c:pt idx="277">
                  <c:v>0.70699999999999996</c:v>
                </c:pt>
                <c:pt idx="278">
                  <c:v>1.6E-2</c:v>
                </c:pt>
                <c:pt idx="279">
                  <c:v>0.57399999999999995</c:v>
                </c:pt>
                <c:pt idx="280">
                  <c:v>0.68200000000000005</c:v>
                </c:pt>
                <c:pt idx="281">
                  <c:v>0.85299999999999998</c:v>
                </c:pt>
                <c:pt idx="282">
                  <c:v>0.43</c:v>
                </c:pt>
                <c:pt idx="283">
                  <c:v>0.223</c:v>
                </c:pt>
                <c:pt idx="284">
                  <c:v>0.74399999999999999</c:v>
                </c:pt>
                <c:pt idx="285">
                  <c:v>1</c:v>
                </c:pt>
                <c:pt idx="286">
                  <c:v>1</c:v>
                </c:pt>
                <c:pt idx="287">
                  <c:v>0.66700000000000004</c:v>
                </c:pt>
                <c:pt idx="288">
                  <c:v>0.88500000000000001</c:v>
                </c:pt>
                <c:pt idx="289">
                  <c:v>0.107</c:v>
                </c:pt>
                <c:pt idx="290">
                  <c:v>0.54</c:v>
                </c:pt>
                <c:pt idx="291">
                  <c:v>1</c:v>
                </c:pt>
                <c:pt idx="292">
                  <c:v>0.94</c:v>
                </c:pt>
                <c:pt idx="293">
                  <c:v>0.437</c:v>
                </c:pt>
                <c:pt idx="294">
                  <c:v>0.83899999999999997</c:v>
                </c:pt>
                <c:pt idx="295">
                  <c:v>0.93600000000000005</c:v>
                </c:pt>
                <c:pt idx="296">
                  <c:v>0.93</c:v>
                </c:pt>
                <c:pt idx="297">
                  <c:v>0.75700000000000001</c:v>
                </c:pt>
                <c:pt idx="298">
                  <c:v>0.91800000000000004</c:v>
                </c:pt>
                <c:pt idx="299">
                  <c:v>0.93400000000000005</c:v>
                </c:pt>
                <c:pt idx="300">
                  <c:v>0.48599999999999999</c:v>
                </c:pt>
                <c:pt idx="301">
                  <c:v>0.6</c:v>
                </c:pt>
                <c:pt idx="302">
                  <c:v>0.84599999999999997</c:v>
                </c:pt>
                <c:pt idx="303">
                  <c:v>0.81499999999999995</c:v>
                </c:pt>
                <c:pt idx="304">
                  <c:v>0.54</c:v>
                </c:pt>
                <c:pt idx="305">
                  <c:v>0.78</c:v>
                </c:pt>
                <c:pt idx="306">
                  <c:v>0.89300000000000002</c:v>
                </c:pt>
                <c:pt idx="307">
                  <c:v>0.94099999999999995</c:v>
                </c:pt>
                <c:pt idx="308">
                  <c:v>0.60399999999999998</c:v>
                </c:pt>
                <c:pt idx="309">
                  <c:v>0.84899999999999998</c:v>
                </c:pt>
                <c:pt idx="310">
                  <c:v>0.88800000000000001</c:v>
                </c:pt>
                <c:pt idx="311">
                  <c:v>0.92800000000000005</c:v>
                </c:pt>
                <c:pt idx="312">
                  <c:v>0.75900000000000001</c:v>
                </c:pt>
                <c:pt idx="313">
                  <c:v>0.32100000000000001</c:v>
                </c:pt>
                <c:pt idx="314">
                  <c:v>0.67400000000000004</c:v>
                </c:pt>
                <c:pt idx="315">
                  <c:v>0.75600000000000001</c:v>
                </c:pt>
                <c:pt idx="316">
                  <c:v>0.875</c:v>
                </c:pt>
                <c:pt idx="317">
                  <c:v>0.71099999999999997</c:v>
                </c:pt>
                <c:pt idx="318">
                  <c:v>0.81399999999999995</c:v>
                </c:pt>
                <c:pt idx="319">
                  <c:v>0.83299999999999996</c:v>
                </c:pt>
                <c:pt idx="320">
                  <c:v>0.66500000000000004</c:v>
                </c:pt>
                <c:pt idx="321">
                  <c:v>0.78800000000000003</c:v>
                </c:pt>
                <c:pt idx="322">
                  <c:v>0.215</c:v>
                </c:pt>
                <c:pt idx="323">
                  <c:v>0.90100000000000002</c:v>
                </c:pt>
                <c:pt idx="324">
                  <c:v>0.625</c:v>
                </c:pt>
                <c:pt idx="325">
                  <c:v>1.6E-2</c:v>
                </c:pt>
                <c:pt idx="326">
                  <c:v>0.70499999999999996</c:v>
                </c:pt>
                <c:pt idx="327">
                  <c:v>0.53100000000000003</c:v>
                </c:pt>
                <c:pt idx="328">
                  <c:v>0.97099999999999997</c:v>
                </c:pt>
                <c:pt idx="329">
                  <c:v>0.81299999999999994</c:v>
                </c:pt>
                <c:pt idx="330">
                  <c:v>0.29799999999999999</c:v>
                </c:pt>
                <c:pt idx="331">
                  <c:v>0.47399999999999998</c:v>
                </c:pt>
                <c:pt idx="332">
                  <c:v>0.47</c:v>
                </c:pt>
                <c:pt idx="333">
                  <c:v>1</c:v>
                </c:pt>
                <c:pt idx="334">
                  <c:v>0.83699999999999997</c:v>
                </c:pt>
                <c:pt idx="335">
                  <c:v>0.35299999999999998</c:v>
                </c:pt>
                <c:pt idx="336">
                  <c:v>0.65700000000000003</c:v>
                </c:pt>
                <c:pt idx="337">
                  <c:v>0.98899999999999999</c:v>
                </c:pt>
                <c:pt idx="338">
                  <c:v>0.97399999999999998</c:v>
                </c:pt>
                <c:pt idx="339">
                  <c:v>0.93</c:v>
                </c:pt>
                <c:pt idx="340">
                  <c:v>0.90900000000000003</c:v>
                </c:pt>
                <c:pt idx="341">
                  <c:v>0.95599999999999996</c:v>
                </c:pt>
                <c:pt idx="342">
                  <c:v>0.66400000000000003</c:v>
                </c:pt>
                <c:pt idx="343">
                  <c:v>0.76300000000000001</c:v>
                </c:pt>
                <c:pt idx="344">
                  <c:v>0.71799999999999997</c:v>
                </c:pt>
                <c:pt idx="345">
                  <c:v>0.84899999999999998</c:v>
                </c:pt>
                <c:pt idx="346">
                  <c:v>4.2000000000000003E-2</c:v>
                </c:pt>
                <c:pt idx="347">
                  <c:v>0.54500000000000004</c:v>
                </c:pt>
                <c:pt idx="348">
                  <c:v>0.78900000000000003</c:v>
                </c:pt>
                <c:pt idx="349">
                  <c:v>0.66200000000000003</c:v>
                </c:pt>
                <c:pt idx="350">
                  <c:v>0.90400000000000003</c:v>
                </c:pt>
                <c:pt idx="351">
                  <c:v>0.94</c:v>
                </c:pt>
                <c:pt idx="352">
                  <c:v>0.88200000000000001</c:v>
                </c:pt>
                <c:pt idx="353">
                  <c:v>0.78700000000000003</c:v>
                </c:pt>
                <c:pt idx="354">
                  <c:v>0.31</c:v>
                </c:pt>
                <c:pt idx="355">
                  <c:v>0.33800000000000002</c:v>
                </c:pt>
                <c:pt idx="356">
                  <c:v>0.90200000000000002</c:v>
                </c:pt>
                <c:pt idx="357">
                  <c:v>0.47899999999999998</c:v>
                </c:pt>
                <c:pt idx="358">
                  <c:v>0.85</c:v>
                </c:pt>
                <c:pt idx="359">
                  <c:v>0.34899999999999998</c:v>
                </c:pt>
                <c:pt idx="360">
                  <c:v>0.94399999999999995</c:v>
                </c:pt>
                <c:pt idx="361">
                  <c:v>0.89300000000000002</c:v>
                </c:pt>
                <c:pt idx="362">
                  <c:v>0.90100000000000002</c:v>
                </c:pt>
                <c:pt idx="363">
                  <c:v>0.78700000000000003</c:v>
                </c:pt>
                <c:pt idx="364">
                  <c:v>0.73399999999999999</c:v>
                </c:pt>
                <c:pt idx="365">
                  <c:v>4.2000000000000003E-2</c:v>
                </c:pt>
                <c:pt idx="366">
                  <c:v>0.81299999999999994</c:v>
                </c:pt>
                <c:pt idx="367">
                  <c:v>0.65300000000000002</c:v>
                </c:pt>
                <c:pt idx="368">
                  <c:v>0.879</c:v>
                </c:pt>
                <c:pt idx="369">
                  <c:v>2.5000000000000001E-2</c:v>
                </c:pt>
                <c:pt idx="370">
                  <c:v>0.61099999999999999</c:v>
                </c:pt>
                <c:pt idx="371">
                  <c:v>0.35799999999999998</c:v>
                </c:pt>
                <c:pt idx="372">
                  <c:v>0.69099999999999995</c:v>
                </c:pt>
                <c:pt idx="373">
                  <c:v>0.97699999999999998</c:v>
                </c:pt>
                <c:pt idx="374">
                  <c:v>0.88200000000000001</c:v>
                </c:pt>
                <c:pt idx="375">
                  <c:v>0.48299999999999998</c:v>
                </c:pt>
                <c:pt idx="376">
                  <c:v>0.95099999999999996</c:v>
                </c:pt>
                <c:pt idx="377">
                  <c:v>0.59099999999999997</c:v>
                </c:pt>
                <c:pt idx="378">
                  <c:v>0.73399999999999999</c:v>
                </c:pt>
                <c:pt idx="379">
                  <c:v>0.92300000000000004</c:v>
                </c:pt>
                <c:pt idx="380">
                  <c:v>0.45700000000000002</c:v>
                </c:pt>
                <c:pt idx="381">
                  <c:v>0.34399999999999997</c:v>
                </c:pt>
                <c:pt idx="382">
                  <c:v>0.54900000000000004</c:v>
                </c:pt>
                <c:pt idx="383">
                  <c:v>0.56999999999999995</c:v>
                </c:pt>
                <c:pt idx="384">
                  <c:v>0.40400000000000003</c:v>
                </c:pt>
                <c:pt idx="385">
                  <c:v>0.84099999999999997</c:v>
                </c:pt>
                <c:pt idx="386">
                  <c:v>0.46300000000000002</c:v>
                </c:pt>
                <c:pt idx="387">
                  <c:v>0.94199999999999995</c:v>
                </c:pt>
                <c:pt idx="388">
                  <c:v>0.81599999999999995</c:v>
                </c:pt>
                <c:pt idx="389">
                  <c:v>0.75800000000000001</c:v>
                </c:pt>
                <c:pt idx="390">
                  <c:v>0.96799999999999997</c:v>
                </c:pt>
                <c:pt idx="391">
                  <c:v>0.77900000000000003</c:v>
                </c:pt>
                <c:pt idx="392">
                  <c:v>0.61499999999999999</c:v>
                </c:pt>
                <c:pt idx="393">
                  <c:v>0.78800000000000003</c:v>
                </c:pt>
                <c:pt idx="394">
                  <c:v>0.82899999999999996</c:v>
                </c:pt>
                <c:pt idx="395">
                  <c:v>0.52900000000000003</c:v>
                </c:pt>
                <c:pt idx="396">
                  <c:v>0.68500000000000005</c:v>
                </c:pt>
                <c:pt idx="397">
                  <c:v>0.69499999999999995</c:v>
                </c:pt>
                <c:pt idx="398">
                  <c:v>0.76600000000000001</c:v>
                </c:pt>
                <c:pt idx="399">
                  <c:v>0.26500000000000001</c:v>
                </c:pt>
                <c:pt idx="400">
                  <c:v>0.86699999999999999</c:v>
                </c:pt>
                <c:pt idx="401">
                  <c:v>0.94299999999999995</c:v>
                </c:pt>
                <c:pt idx="402">
                  <c:v>0.93100000000000005</c:v>
                </c:pt>
                <c:pt idx="403">
                  <c:v>0.79400000000000004</c:v>
                </c:pt>
                <c:pt idx="404">
                  <c:v>0.188</c:v>
                </c:pt>
                <c:pt idx="405">
                  <c:v>3.6999999999999998E-2</c:v>
                </c:pt>
                <c:pt idx="406">
                  <c:v>0.99</c:v>
                </c:pt>
                <c:pt idx="407">
                  <c:v>0.151</c:v>
                </c:pt>
                <c:pt idx="408">
                  <c:v>0.97399999999999998</c:v>
                </c:pt>
                <c:pt idx="409">
                  <c:v>0.95299999999999996</c:v>
                </c:pt>
                <c:pt idx="410">
                  <c:v>0.71199999999999997</c:v>
                </c:pt>
                <c:pt idx="411">
                  <c:v>0.96599999999999997</c:v>
                </c:pt>
                <c:pt idx="412">
                  <c:v>0.78600000000000003</c:v>
                </c:pt>
                <c:pt idx="413">
                  <c:v>0.95599999999999996</c:v>
                </c:pt>
                <c:pt idx="414">
                  <c:v>0.81399999999999995</c:v>
                </c:pt>
                <c:pt idx="415">
                  <c:v>0.751</c:v>
                </c:pt>
                <c:pt idx="416">
                  <c:v>0.70899999999999996</c:v>
                </c:pt>
                <c:pt idx="417">
                  <c:v>0.50900000000000001</c:v>
                </c:pt>
                <c:pt idx="418">
                  <c:v>0.86</c:v>
                </c:pt>
                <c:pt idx="419">
                  <c:v>2.3E-2</c:v>
                </c:pt>
                <c:pt idx="420">
                  <c:v>3.9E-2</c:v>
                </c:pt>
                <c:pt idx="421">
                  <c:v>0.4</c:v>
                </c:pt>
                <c:pt idx="422">
                  <c:v>0.89</c:v>
                </c:pt>
                <c:pt idx="423">
                  <c:v>0.93400000000000005</c:v>
                </c:pt>
                <c:pt idx="424">
                  <c:v>0.88400000000000001</c:v>
                </c:pt>
                <c:pt idx="425">
                  <c:v>0.81</c:v>
                </c:pt>
                <c:pt idx="426">
                  <c:v>0.98</c:v>
                </c:pt>
                <c:pt idx="427">
                  <c:v>0.96</c:v>
                </c:pt>
                <c:pt idx="428">
                  <c:v>0.26900000000000002</c:v>
                </c:pt>
                <c:pt idx="429">
                  <c:v>0.55200000000000005</c:v>
                </c:pt>
                <c:pt idx="430">
                  <c:v>0.71699999999999997</c:v>
                </c:pt>
                <c:pt idx="431">
                  <c:v>0.42499999999999999</c:v>
                </c:pt>
                <c:pt idx="432">
                  <c:v>0.67800000000000005</c:v>
                </c:pt>
                <c:pt idx="433">
                  <c:v>0.85599999999999998</c:v>
                </c:pt>
                <c:pt idx="434">
                  <c:v>0.94399999999999995</c:v>
                </c:pt>
                <c:pt idx="435">
                  <c:v>0.89700000000000002</c:v>
                </c:pt>
                <c:pt idx="436">
                  <c:v>0.84499999999999997</c:v>
                </c:pt>
                <c:pt idx="437">
                  <c:v>0.80400000000000005</c:v>
                </c:pt>
                <c:pt idx="438">
                  <c:v>0.875</c:v>
                </c:pt>
                <c:pt idx="439">
                  <c:v>0.36699999999999999</c:v>
                </c:pt>
                <c:pt idx="440">
                  <c:v>0.82599999999999996</c:v>
                </c:pt>
                <c:pt idx="441">
                  <c:v>0.72499999999999998</c:v>
                </c:pt>
                <c:pt idx="442">
                  <c:v>0.85599999999999998</c:v>
                </c:pt>
                <c:pt idx="443">
                  <c:v>0.86</c:v>
                </c:pt>
                <c:pt idx="444">
                  <c:v>0.88</c:v>
                </c:pt>
                <c:pt idx="445">
                  <c:v>0.505</c:v>
                </c:pt>
                <c:pt idx="446">
                  <c:v>0.71</c:v>
                </c:pt>
                <c:pt idx="447">
                  <c:v>0.88800000000000001</c:v>
                </c:pt>
                <c:pt idx="448">
                  <c:v>0.58299999999999996</c:v>
                </c:pt>
                <c:pt idx="449">
                  <c:v>0.63200000000000001</c:v>
                </c:pt>
                <c:pt idx="450">
                  <c:v>0.68100000000000005</c:v>
                </c:pt>
                <c:pt idx="451">
                  <c:v>0.97599999999999998</c:v>
                </c:pt>
                <c:pt idx="452">
                  <c:v>0.77</c:v>
                </c:pt>
                <c:pt idx="453">
                  <c:v>0.16</c:v>
                </c:pt>
                <c:pt idx="454">
                  <c:v>0.96799999999999997</c:v>
                </c:pt>
                <c:pt idx="455">
                  <c:v>0.75800000000000001</c:v>
                </c:pt>
                <c:pt idx="456">
                  <c:v>0.84599999999999997</c:v>
                </c:pt>
                <c:pt idx="457">
                  <c:v>0.54400000000000004</c:v>
                </c:pt>
                <c:pt idx="458">
                  <c:v>0.57899999999999996</c:v>
                </c:pt>
                <c:pt idx="459">
                  <c:v>0.94099999999999995</c:v>
                </c:pt>
                <c:pt idx="460">
                  <c:v>0.98199999999999998</c:v>
                </c:pt>
                <c:pt idx="461">
                  <c:v>0.88200000000000001</c:v>
                </c:pt>
                <c:pt idx="462">
                  <c:v>0.76900000000000002</c:v>
                </c:pt>
                <c:pt idx="463">
                  <c:v>0.49099999999999999</c:v>
                </c:pt>
                <c:pt idx="464">
                  <c:v>0.72099999999999997</c:v>
                </c:pt>
                <c:pt idx="465">
                  <c:v>0.90900000000000003</c:v>
                </c:pt>
                <c:pt idx="466">
                  <c:v>0.64500000000000002</c:v>
                </c:pt>
                <c:pt idx="467">
                  <c:v>0.74</c:v>
                </c:pt>
                <c:pt idx="468">
                  <c:v>0.72399999999999998</c:v>
                </c:pt>
                <c:pt idx="469">
                  <c:v>0.96099999999999997</c:v>
                </c:pt>
                <c:pt idx="470">
                  <c:v>0.85599999999999998</c:v>
                </c:pt>
                <c:pt idx="471">
                  <c:v>0.61199999999999999</c:v>
                </c:pt>
                <c:pt idx="472">
                  <c:v>0.7</c:v>
                </c:pt>
                <c:pt idx="473">
                  <c:v>0.59599999999999997</c:v>
                </c:pt>
                <c:pt idx="474">
                  <c:v>0.75600000000000001</c:v>
                </c:pt>
                <c:pt idx="475">
                  <c:v>0.93300000000000005</c:v>
                </c:pt>
                <c:pt idx="476">
                  <c:v>0.92300000000000004</c:v>
                </c:pt>
                <c:pt idx="477">
                  <c:v>0.88400000000000001</c:v>
                </c:pt>
                <c:pt idx="478">
                  <c:v>3.5999999999999997E-2</c:v>
                </c:pt>
                <c:pt idx="479">
                  <c:v>0.98799999999999999</c:v>
                </c:pt>
                <c:pt idx="480">
                  <c:v>0.95299999999999996</c:v>
                </c:pt>
                <c:pt idx="481">
                  <c:v>0.83499999999999996</c:v>
                </c:pt>
                <c:pt idx="482">
                  <c:v>0.54900000000000004</c:v>
                </c:pt>
                <c:pt idx="483">
                  <c:v>0.60599999999999998</c:v>
                </c:pt>
                <c:pt idx="484">
                  <c:v>0.24099999999999999</c:v>
                </c:pt>
                <c:pt idx="485">
                  <c:v>0.61499999999999999</c:v>
                </c:pt>
                <c:pt idx="486">
                  <c:v>0.92</c:v>
                </c:pt>
                <c:pt idx="487">
                  <c:v>0.93500000000000005</c:v>
                </c:pt>
                <c:pt idx="488">
                  <c:v>0.22800000000000001</c:v>
                </c:pt>
                <c:pt idx="489">
                  <c:v>0.85699999999999998</c:v>
                </c:pt>
                <c:pt idx="490">
                  <c:v>0.92100000000000004</c:v>
                </c:pt>
                <c:pt idx="491">
                  <c:v>0.85499999999999998</c:v>
                </c:pt>
                <c:pt idx="492">
                  <c:v>2.7E-2</c:v>
                </c:pt>
                <c:pt idx="493">
                  <c:v>7.1999999999999995E-2</c:v>
                </c:pt>
                <c:pt idx="494">
                  <c:v>0.625</c:v>
                </c:pt>
                <c:pt idx="495">
                  <c:v>0.95399999999999996</c:v>
                </c:pt>
                <c:pt idx="496">
                  <c:v>0.83799999999999997</c:v>
                </c:pt>
                <c:pt idx="497">
                  <c:v>0.67300000000000004</c:v>
                </c:pt>
                <c:pt idx="498">
                  <c:v>0.46</c:v>
                </c:pt>
                <c:pt idx="499">
                  <c:v>0.96299999999999997</c:v>
                </c:pt>
                <c:pt idx="500">
                  <c:v>0.91500000000000004</c:v>
                </c:pt>
                <c:pt idx="501">
                  <c:v>0.94399999999999995</c:v>
                </c:pt>
                <c:pt idx="502">
                  <c:v>0.65600000000000003</c:v>
                </c:pt>
                <c:pt idx="503">
                  <c:v>0.16200000000000001</c:v>
                </c:pt>
                <c:pt idx="504">
                  <c:v>0.90800000000000003</c:v>
                </c:pt>
                <c:pt idx="505">
                  <c:v>0.98399999999999999</c:v>
                </c:pt>
                <c:pt idx="506">
                  <c:v>0.60899999999999999</c:v>
                </c:pt>
                <c:pt idx="507">
                  <c:v>0.91700000000000004</c:v>
                </c:pt>
                <c:pt idx="508">
                  <c:v>0.83</c:v>
                </c:pt>
                <c:pt idx="509">
                  <c:v>0.56499999999999995</c:v>
                </c:pt>
                <c:pt idx="510">
                  <c:v>0.79400000000000004</c:v>
                </c:pt>
                <c:pt idx="511">
                  <c:v>0.875</c:v>
                </c:pt>
                <c:pt idx="512">
                  <c:v>0.877</c:v>
                </c:pt>
                <c:pt idx="513">
                  <c:v>0.51800000000000002</c:v>
                </c:pt>
                <c:pt idx="514">
                  <c:v>0.76600000000000001</c:v>
                </c:pt>
                <c:pt idx="515">
                  <c:v>0.97699999999999998</c:v>
                </c:pt>
                <c:pt idx="516">
                  <c:v>0.93400000000000005</c:v>
                </c:pt>
                <c:pt idx="517">
                  <c:v>0.316</c:v>
                </c:pt>
                <c:pt idx="518">
                  <c:v>0.74</c:v>
                </c:pt>
                <c:pt idx="519">
                  <c:v>0.79300000000000004</c:v>
                </c:pt>
                <c:pt idx="520">
                  <c:v>0.64800000000000002</c:v>
                </c:pt>
                <c:pt idx="521">
                  <c:v>0.79100000000000004</c:v>
                </c:pt>
                <c:pt idx="522">
                  <c:v>0.90300000000000002</c:v>
                </c:pt>
                <c:pt idx="523">
                  <c:v>0.57699999999999996</c:v>
                </c:pt>
                <c:pt idx="524">
                  <c:v>0.81100000000000005</c:v>
                </c:pt>
                <c:pt idx="525">
                  <c:v>0.89900000000000002</c:v>
                </c:pt>
                <c:pt idx="526">
                  <c:v>0.95399999999999996</c:v>
                </c:pt>
                <c:pt idx="527">
                  <c:v>0.216</c:v>
                </c:pt>
                <c:pt idx="528">
                  <c:v>0.52500000000000002</c:v>
                </c:pt>
                <c:pt idx="529">
                  <c:v>0.64400000000000002</c:v>
                </c:pt>
                <c:pt idx="530">
                  <c:v>0.77900000000000003</c:v>
                </c:pt>
                <c:pt idx="531">
                  <c:v>2.1000000000000001E-2</c:v>
                </c:pt>
                <c:pt idx="532">
                  <c:v>0.29799999999999999</c:v>
                </c:pt>
                <c:pt idx="533">
                  <c:v>0.89900000000000002</c:v>
                </c:pt>
                <c:pt idx="534">
                  <c:v>0.88200000000000001</c:v>
                </c:pt>
                <c:pt idx="535">
                  <c:v>0.92600000000000005</c:v>
                </c:pt>
                <c:pt idx="536">
                  <c:v>0.93</c:v>
                </c:pt>
                <c:pt idx="537">
                  <c:v>0.85399999999999998</c:v>
                </c:pt>
                <c:pt idx="538">
                  <c:v>0.79400000000000004</c:v>
                </c:pt>
                <c:pt idx="539">
                  <c:v>0.61899999999999999</c:v>
                </c:pt>
                <c:pt idx="540">
                  <c:v>0.68400000000000005</c:v>
                </c:pt>
                <c:pt idx="541">
                  <c:v>0.56899999999999995</c:v>
                </c:pt>
                <c:pt idx="542">
                  <c:v>0.66700000000000004</c:v>
                </c:pt>
                <c:pt idx="543">
                  <c:v>0.98399999999999999</c:v>
                </c:pt>
                <c:pt idx="544">
                  <c:v>0.89700000000000002</c:v>
                </c:pt>
                <c:pt idx="545">
                  <c:v>0.49</c:v>
                </c:pt>
                <c:pt idx="546">
                  <c:v>0.68100000000000005</c:v>
                </c:pt>
                <c:pt idx="547">
                  <c:v>0.73299999999999998</c:v>
                </c:pt>
                <c:pt idx="548">
                  <c:v>0.88900000000000001</c:v>
                </c:pt>
                <c:pt idx="549">
                  <c:v>0.82199999999999995</c:v>
                </c:pt>
                <c:pt idx="550">
                  <c:v>5.3999999999999999E-2</c:v>
                </c:pt>
                <c:pt idx="551">
                  <c:v>0.44400000000000001</c:v>
                </c:pt>
                <c:pt idx="552">
                  <c:v>0.84</c:v>
                </c:pt>
                <c:pt idx="553">
                  <c:v>0.91600000000000004</c:v>
                </c:pt>
                <c:pt idx="554">
                  <c:v>0.71899999999999997</c:v>
                </c:pt>
                <c:pt idx="555">
                  <c:v>0.91500000000000004</c:v>
                </c:pt>
                <c:pt idx="556">
                  <c:v>6.9000000000000006E-2</c:v>
                </c:pt>
                <c:pt idx="557">
                  <c:v>0.47399999999999998</c:v>
                </c:pt>
                <c:pt idx="558">
                  <c:v>0.87</c:v>
                </c:pt>
                <c:pt idx="559">
                  <c:v>0.88900000000000001</c:v>
                </c:pt>
                <c:pt idx="560">
                  <c:v>0.998</c:v>
                </c:pt>
                <c:pt idx="561">
                  <c:v>0.83499999999999996</c:v>
                </c:pt>
                <c:pt idx="562">
                  <c:v>0.79</c:v>
                </c:pt>
                <c:pt idx="563">
                  <c:v>0.4</c:v>
                </c:pt>
                <c:pt idx="564">
                  <c:v>0.81899999999999995</c:v>
                </c:pt>
                <c:pt idx="565">
                  <c:v>0.96299999999999997</c:v>
                </c:pt>
                <c:pt idx="566">
                  <c:v>0.32400000000000001</c:v>
                </c:pt>
                <c:pt idx="567">
                  <c:v>0.79200000000000004</c:v>
                </c:pt>
                <c:pt idx="568">
                  <c:v>0.89800000000000002</c:v>
                </c:pt>
                <c:pt idx="569">
                  <c:v>0.96299999999999997</c:v>
                </c:pt>
                <c:pt idx="570">
                  <c:v>7.4999999999999997E-2</c:v>
                </c:pt>
                <c:pt idx="571">
                  <c:v>0.82599999999999996</c:v>
                </c:pt>
                <c:pt idx="572">
                  <c:v>0.79</c:v>
                </c:pt>
                <c:pt idx="573">
                  <c:v>0.66700000000000004</c:v>
                </c:pt>
                <c:pt idx="574">
                  <c:v>0.59599999999999997</c:v>
                </c:pt>
                <c:pt idx="575">
                  <c:v>0.73899999999999999</c:v>
                </c:pt>
                <c:pt idx="576">
                  <c:v>0.752</c:v>
                </c:pt>
                <c:pt idx="577">
                  <c:v>0.77500000000000002</c:v>
                </c:pt>
                <c:pt idx="578">
                  <c:v>0.66600000000000004</c:v>
                </c:pt>
                <c:pt idx="579">
                  <c:v>0.96399999999999997</c:v>
                </c:pt>
                <c:pt idx="580">
                  <c:v>0.69</c:v>
                </c:pt>
                <c:pt idx="581">
                  <c:v>0.89400000000000002</c:v>
                </c:pt>
                <c:pt idx="582">
                  <c:v>0.89800000000000002</c:v>
                </c:pt>
                <c:pt idx="583">
                  <c:v>0.84499999999999997</c:v>
                </c:pt>
                <c:pt idx="584">
                  <c:v>0.126</c:v>
                </c:pt>
                <c:pt idx="585">
                  <c:v>0.61799999999999999</c:v>
                </c:pt>
                <c:pt idx="586">
                  <c:v>0.80200000000000005</c:v>
                </c:pt>
                <c:pt idx="587">
                  <c:v>0.81799999999999995</c:v>
                </c:pt>
                <c:pt idx="588">
                  <c:v>0.02</c:v>
                </c:pt>
                <c:pt idx="589">
                  <c:v>0.51600000000000001</c:v>
                </c:pt>
                <c:pt idx="590">
                  <c:v>0.68200000000000005</c:v>
                </c:pt>
                <c:pt idx="591">
                  <c:v>0.80100000000000005</c:v>
                </c:pt>
                <c:pt idx="592">
                  <c:v>0.74299999999999999</c:v>
                </c:pt>
                <c:pt idx="593">
                  <c:v>0.98699999999999999</c:v>
                </c:pt>
                <c:pt idx="594">
                  <c:v>0.82199999999999995</c:v>
                </c:pt>
                <c:pt idx="595">
                  <c:v>0.64</c:v>
                </c:pt>
                <c:pt idx="596">
                  <c:v>0.60199999999999998</c:v>
                </c:pt>
                <c:pt idx="597">
                  <c:v>0.92200000000000004</c:v>
                </c:pt>
                <c:pt idx="598">
                  <c:v>0.85399999999999998</c:v>
                </c:pt>
                <c:pt idx="599">
                  <c:v>0.89800000000000002</c:v>
                </c:pt>
                <c:pt idx="600">
                  <c:v>0.56399999999999995</c:v>
                </c:pt>
                <c:pt idx="601">
                  <c:v>0.86299999999999999</c:v>
                </c:pt>
                <c:pt idx="602">
                  <c:v>0.68500000000000005</c:v>
                </c:pt>
                <c:pt idx="603">
                  <c:v>0.59699999999999998</c:v>
                </c:pt>
                <c:pt idx="604">
                  <c:v>1.2999999999999999E-2</c:v>
                </c:pt>
                <c:pt idx="605">
                  <c:v>0.61799999999999999</c:v>
                </c:pt>
                <c:pt idx="606">
                  <c:v>0.64600000000000002</c:v>
                </c:pt>
                <c:pt idx="607">
                  <c:v>0.85299999999999998</c:v>
                </c:pt>
                <c:pt idx="608">
                  <c:v>0.65</c:v>
                </c:pt>
                <c:pt idx="609">
                  <c:v>0.92800000000000005</c:v>
                </c:pt>
                <c:pt idx="610">
                  <c:v>0.61499999999999999</c:v>
                </c:pt>
                <c:pt idx="611">
                  <c:v>0.30299999999999999</c:v>
                </c:pt>
                <c:pt idx="612">
                  <c:v>0.55700000000000005</c:v>
                </c:pt>
                <c:pt idx="613">
                  <c:v>0.60699999999999998</c:v>
                </c:pt>
                <c:pt idx="614">
                  <c:v>0.73799999999999999</c:v>
                </c:pt>
                <c:pt idx="615">
                  <c:v>0.92</c:v>
                </c:pt>
                <c:pt idx="616">
                  <c:v>0.88</c:v>
                </c:pt>
                <c:pt idx="617">
                  <c:v>0.24199999999999999</c:v>
                </c:pt>
                <c:pt idx="618">
                  <c:v>0.94199999999999995</c:v>
                </c:pt>
                <c:pt idx="619">
                  <c:v>0.91700000000000004</c:v>
                </c:pt>
                <c:pt idx="620">
                  <c:v>0.73</c:v>
                </c:pt>
                <c:pt idx="621">
                  <c:v>0.86099999999999999</c:v>
                </c:pt>
                <c:pt idx="622">
                  <c:v>0.95499999999999996</c:v>
                </c:pt>
                <c:pt idx="623">
                  <c:v>0.97</c:v>
                </c:pt>
                <c:pt idx="624">
                  <c:v>0.91900000000000004</c:v>
                </c:pt>
                <c:pt idx="625">
                  <c:v>0.25900000000000001</c:v>
                </c:pt>
                <c:pt idx="626">
                  <c:v>0.75900000000000001</c:v>
                </c:pt>
                <c:pt idx="627">
                  <c:v>0.67300000000000004</c:v>
                </c:pt>
                <c:pt idx="628">
                  <c:v>0.73299999999999998</c:v>
                </c:pt>
                <c:pt idx="629">
                  <c:v>0.89700000000000002</c:v>
                </c:pt>
                <c:pt idx="630">
                  <c:v>0.91700000000000004</c:v>
                </c:pt>
                <c:pt idx="631">
                  <c:v>0.90700000000000003</c:v>
                </c:pt>
                <c:pt idx="632">
                  <c:v>0.82299999999999995</c:v>
                </c:pt>
                <c:pt idx="633">
                  <c:v>0.89900000000000002</c:v>
                </c:pt>
                <c:pt idx="634">
                  <c:v>0.84799999999999998</c:v>
                </c:pt>
                <c:pt idx="635">
                  <c:v>0.95599999999999996</c:v>
                </c:pt>
                <c:pt idx="636">
                  <c:v>0.96599999999999997</c:v>
                </c:pt>
                <c:pt idx="637">
                  <c:v>0.76200000000000001</c:v>
                </c:pt>
                <c:pt idx="638">
                  <c:v>4.5999999999999999E-2</c:v>
                </c:pt>
                <c:pt idx="639">
                  <c:v>0.70199999999999996</c:v>
                </c:pt>
                <c:pt idx="640">
                  <c:v>0.96199999999999997</c:v>
                </c:pt>
                <c:pt idx="641">
                  <c:v>0.28000000000000003</c:v>
                </c:pt>
                <c:pt idx="642">
                  <c:v>0.83299999999999996</c:v>
                </c:pt>
                <c:pt idx="643">
                  <c:v>0.65900000000000003</c:v>
                </c:pt>
                <c:pt idx="644">
                  <c:v>0.79600000000000004</c:v>
                </c:pt>
                <c:pt idx="645">
                  <c:v>0.89900000000000002</c:v>
                </c:pt>
                <c:pt idx="646">
                  <c:v>0.28899999999999998</c:v>
                </c:pt>
                <c:pt idx="647">
                  <c:v>0.88</c:v>
                </c:pt>
                <c:pt idx="648">
                  <c:v>0.78</c:v>
                </c:pt>
                <c:pt idx="649">
                  <c:v>0.92500000000000004</c:v>
                </c:pt>
                <c:pt idx="650">
                  <c:v>0.92100000000000004</c:v>
                </c:pt>
                <c:pt idx="651">
                  <c:v>0.78800000000000003</c:v>
                </c:pt>
                <c:pt idx="652">
                  <c:v>0.92100000000000004</c:v>
                </c:pt>
                <c:pt idx="653">
                  <c:v>0.82499999999999996</c:v>
                </c:pt>
                <c:pt idx="654">
                  <c:v>0.42899999999999999</c:v>
                </c:pt>
                <c:pt idx="655">
                  <c:v>0.56399999999999995</c:v>
                </c:pt>
                <c:pt idx="656">
                  <c:v>0.32700000000000001</c:v>
                </c:pt>
                <c:pt idx="657">
                  <c:v>0.36299999999999999</c:v>
                </c:pt>
                <c:pt idx="658">
                  <c:v>0.72599999999999998</c:v>
                </c:pt>
                <c:pt idx="659">
                  <c:v>0.78600000000000003</c:v>
                </c:pt>
                <c:pt idx="660">
                  <c:v>0.80100000000000005</c:v>
                </c:pt>
                <c:pt idx="661">
                  <c:v>0.90100000000000002</c:v>
                </c:pt>
                <c:pt idx="662">
                  <c:v>0.59799999999999998</c:v>
                </c:pt>
                <c:pt idx="663">
                  <c:v>0.93500000000000005</c:v>
                </c:pt>
                <c:pt idx="664">
                  <c:v>0.91400000000000003</c:v>
                </c:pt>
                <c:pt idx="665">
                  <c:v>0.68700000000000006</c:v>
                </c:pt>
                <c:pt idx="666">
                  <c:v>0.65</c:v>
                </c:pt>
                <c:pt idx="667">
                  <c:v>0.83899999999999997</c:v>
                </c:pt>
                <c:pt idx="668">
                  <c:v>0.39300000000000002</c:v>
                </c:pt>
                <c:pt idx="669">
                  <c:v>0.155</c:v>
                </c:pt>
                <c:pt idx="670">
                  <c:v>0.91800000000000004</c:v>
                </c:pt>
                <c:pt idx="671">
                  <c:v>0.78700000000000003</c:v>
                </c:pt>
                <c:pt idx="672">
                  <c:v>3.1E-2</c:v>
                </c:pt>
                <c:pt idx="673">
                  <c:v>0.58399999999999996</c:v>
                </c:pt>
                <c:pt idx="674">
                  <c:v>0.67900000000000005</c:v>
                </c:pt>
                <c:pt idx="675">
                  <c:v>0.74199999999999999</c:v>
                </c:pt>
                <c:pt idx="676">
                  <c:v>0.94899999999999995</c:v>
                </c:pt>
                <c:pt idx="677">
                  <c:v>0.874</c:v>
                </c:pt>
                <c:pt idx="678">
                  <c:v>0.59699999999999998</c:v>
                </c:pt>
                <c:pt idx="679">
                  <c:v>0.79400000000000004</c:v>
                </c:pt>
                <c:pt idx="680">
                  <c:v>0.84199999999999997</c:v>
                </c:pt>
                <c:pt idx="681">
                  <c:v>0.29899999999999999</c:v>
                </c:pt>
                <c:pt idx="682">
                  <c:v>0.63500000000000001</c:v>
                </c:pt>
                <c:pt idx="683">
                  <c:v>0.92800000000000005</c:v>
                </c:pt>
                <c:pt idx="684">
                  <c:v>0.49199999999999999</c:v>
                </c:pt>
                <c:pt idx="685">
                  <c:v>0.68200000000000005</c:v>
                </c:pt>
                <c:pt idx="686">
                  <c:v>0.68200000000000005</c:v>
                </c:pt>
                <c:pt idx="687">
                  <c:v>0.59499999999999997</c:v>
                </c:pt>
                <c:pt idx="688">
                  <c:v>0.96599999999999997</c:v>
                </c:pt>
                <c:pt idx="689">
                  <c:v>0.93500000000000005</c:v>
                </c:pt>
                <c:pt idx="690">
                  <c:v>0.84</c:v>
                </c:pt>
                <c:pt idx="691">
                  <c:v>0.94099999999999995</c:v>
                </c:pt>
                <c:pt idx="692">
                  <c:v>0.78600000000000003</c:v>
                </c:pt>
                <c:pt idx="693">
                  <c:v>0.67500000000000004</c:v>
                </c:pt>
                <c:pt idx="694">
                  <c:v>0.85599999999999998</c:v>
                </c:pt>
                <c:pt idx="695">
                  <c:v>0.65800000000000003</c:v>
                </c:pt>
                <c:pt idx="696">
                  <c:v>0.93899999999999995</c:v>
                </c:pt>
                <c:pt idx="697">
                  <c:v>0.59799999999999998</c:v>
                </c:pt>
                <c:pt idx="698">
                  <c:v>0.51900000000000002</c:v>
                </c:pt>
                <c:pt idx="699">
                  <c:v>0.95499999999999996</c:v>
                </c:pt>
                <c:pt idx="700">
                  <c:v>0.97699999999999998</c:v>
                </c:pt>
                <c:pt idx="701">
                  <c:v>0.247</c:v>
                </c:pt>
                <c:pt idx="702">
                  <c:v>0.53800000000000003</c:v>
                </c:pt>
                <c:pt idx="703">
                  <c:v>0.66300000000000003</c:v>
                </c:pt>
                <c:pt idx="704">
                  <c:v>0.71399999999999997</c:v>
                </c:pt>
                <c:pt idx="705">
                  <c:v>0.76100000000000001</c:v>
                </c:pt>
                <c:pt idx="706">
                  <c:v>0.432</c:v>
                </c:pt>
                <c:pt idx="707">
                  <c:v>0.78200000000000003</c:v>
                </c:pt>
                <c:pt idx="708">
                  <c:v>0.91100000000000003</c:v>
                </c:pt>
                <c:pt idx="709">
                  <c:v>0.91100000000000003</c:v>
                </c:pt>
                <c:pt idx="710">
                  <c:v>0.73699999999999999</c:v>
                </c:pt>
                <c:pt idx="711">
                  <c:v>0.77700000000000002</c:v>
                </c:pt>
                <c:pt idx="712">
                  <c:v>0.97</c:v>
                </c:pt>
                <c:pt idx="713">
                  <c:v>0.78700000000000003</c:v>
                </c:pt>
                <c:pt idx="714">
                  <c:v>0.63600000000000001</c:v>
                </c:pt>
                <c:pt idx="715">
                  <c:v>0.88</c:v>
                </c:pt>
                <c:pt idx="716">
                  <c:v>0.90700000000000003</c:v>
                </c:pt>
                <c:pt idx="717">
                  <c:v>0.92200000000000004</c:v>
                </c:pt>
                <c:pt idx="718">
                  <c:v>0.876</c:v>
                </c:pt>
                <c:pt idx="719">
                  <c:v>0.61199999999999999</c:v>
                </c:pt>
                <c:pt idx="720">
                  <c:v>0.36299999999999999</c:v>
                </c:pt>
                <c:pt idx="721">
                  <c:v>0.78800000000000003</c:v>
                </c:pt>
                <c:pt idx="722">
                  <c:v>0.626</c:v>
                </c:pt>
                <c:pt idx="723">
                  <c:v>0.80600000000000005</c:v>
                </c:pt>
                <c:pt idx="724">
                  <c:v>0.75600000000000001</c:v>
                </c:pt>
                <c:pt idx="725">
                  <c:v>0.68300000000000005</c:v>
                </c:pt>
                <c:pt idx="726">
                  <c:v>0.87</c:v>
                </c:pt>
                <c:pt idx="727">
                  <c:v>0.85</c:v>
                </c:pt>
                <c:pt idx="728">
                  <c:v>0.75700000000000001</c:v>
                </c:pt>
                <c:pt idx="729">
                  <c:v>0.72299999999999998</c:v>
                </c:pt>
                <c:pt idx="730">
                  <c:v>0.84299999999999997</c:v>
                </c:pt>
                <c:pt idx="731">
                  <c:v>0.94599999999999995</c:v>
                </c:pt>
                <c:pt idx="732">
                  <c:v>1</c:v>
                </c:pt>
                <c:pt idx="733">
                  <c:v>0.93899999999999995</c:v>
                </c:pt>
                <c:pt idx="734">
                  <c:v>0.90400000000000003</c:v>
                </c:pt>
                <c:pt idx="735">
                  <c:v>1</c:v>
                </c:pt>
                <c:pt idx="736">
                  <c:v>0.50900000000000001</c:v>
                </c:pt>
                <c:pt idx="737">
                  <c:v>0.82199999999999995</c:v>
                </c:pt>
                <c:pt idx="738">
                  <c:v>0.78900000000000003</c:v>
                </c:pt>
                <c:pt idx="739">
                  <c:v>0.74399999999999999</c:v>
                </c:pt>
                <c:pt idx="740">
                  <c:v>0.89300000000000002</c:v>
                </c:pt>
                <c:pt idx="741">
                  <c:v>0.86599999999999999</c:v>
                </c:pt>
                <c:pt idx="742">
                  <c:v>0.84199999999999997</c:v>
                </c:pt>
                <c:pt idx="743">
                  <c:v>0.70799999999999996</c:v>
                </c:pt>
                <c:pt idx="744">
                  <c:v>0.95</c:v>
                </c:pt>
                <c:pt idx="745">
                  <c:v>0.80800000000000005</c:v>
                </c:pt>
                <c:pt idx="746">
                  <c:v>0.95699999999999996</c:v>
                </c:pt>
                <c:pt idx="747">
                  <c:v>0.71399999999999997</c:v>
                </c:pt>
                <c:pt idx="748">
                  <c:v>0.78300000000000003</c:v>
                </c:pt>
                <c:pt idx="749">
                  <c:v>0.85799999999999998</c:v>
                </c:pt>
                <c:pt idx="750">
                  <c:v>0.93300000000000005</c:v>
                </c:pt>
                <c:pt idx="751">
                  <c:v>0.96699999999999997</c:v>
                </c:pt>
                <c:pt idx="752">
                  <c:v>0.92200000000000004</c:v>
                </c:pt>
                <c:pt idx="753">
                  <c:v>0.91100000000000003</c:v>
                </c:pt>
                <c:pt idx="754">
                  <c:v>0.69199999999999995</c:v>
                </c:pt>
                <c:pt idx="755">
                  <c:v>0.755</c:v>
                </c:pt>
                <c:pt idx="756">
                  <c:v>0.80100000000000005</c:v>
                </c:pt>
                <c:pt idx="757">
                  <c:v>5.3999999999999999E-2</c:v>
                </c:pt>
                <c:pt idx="758">
                  <c:v>5.8000000000000003E-2</c:v>
                </c:pt>
                <c:pt idx="759">
                  <c:v>6.8000000000000005E-2</c:v>
                </c:pt>
                <c:pt idx="760">
                  <c:v>0.186</c:v>
                </c:pt>
                <c:pt idx="761">
                  <c:v>0.26300000000000001</c:v>
                </c:pt>
                <c:pt idx="762">
                  <c:v>0.32400000000000001</c:v>
                </c:pt>
                <c:pt idx="763">
                  <c:v>0.34200000000000003</c:v>
                </c:pt>
                <c:pt idx="764">
                  <c:v>0.35</c:v>
                </c:pt>
                <c:pt idx="765">
                  <c:v>0.40400000000000003</c:v>
                </c:pt>
                <c:pt idx="766">
                  <c:v>0.435</c:v>
                </c:pt>
                <c:pt idx="767">
                  <c:v>0.52200000000000002</c:v>
                </c:pt>
                <c:pt idx="768">
                  <c:v>0.55900000000000005</c:v>
                </c:pt>
                <c:pt idx="769">
                  <c:v>0.60699999999999998</c:v>
                </c:pt>
                <c:pt idx="770">
                  <c:v>0.61499999999999999</c:v>
                </c:pt>
                <c:pt idx="771">
                  <c:v>0.68500000000000005</c:v>
                </c:pt>
                <c:pt idx="772">
                  <c:v>0.71299999999999997</c:v>
                </c:pt>
                <c:pt idx="773">
                  <c:v>0.73499999999999999</c:v>
                </c:pt>
                <c:pt idx="774">
                  <c:v>0.83299999999999996</c:v>
                </c:pt>
                <c:pt idx="775">
                  <c:v>0.86</c:v>
                </c:pt>
                <c:pt idx="776">
                  <c:v>0.874</c:v>
                </c:pt>
                <c:pt idx="777">
                  <c:v>0.88600000000000001</c:v>
                </c:pt>
                <c:pt idx="778">
                  <c:v>0.97399999999999998</c:v>
                </c:pt>
                <c:pt idx="779">
                  <c:v>0.93899999999999995</c:v>
                </c:pt>
                <c:pt idx="780">
                  <c:v>0.878</c:v>
                </c:pt>
                <c:pt idx="781">
                  <c:v>0.72199999999999998</c:v>
                </c:pt>
                <c:pt idx="782">
                  <c:v>0.44500000000000001</c:v>
                </c:pt>
                <c:pt idx="783">
                  <c:v>0.72099999999999997</c:v>
                </c:pt>
                <c:pt idx="784">
                  <c:v>0.872</c:v>
                </c:pt>
                <c:pt idx="785">
                  <c:v>0.92</c:v>
                </c:pt>
                <c:pt idx="786">
                  <c:v>0.85099999999999998</c:v>
                </c:pt>
                <c:pt idx="787">
                  <c:v>0.78800000000000003</c:v>
                </c:pt>
                <c:pt idx="788">
                  <c:v>0.77400000000000002</c:v>
                </c:pt>
                <c:pt idx="789">
                  <c:v>0.54700000000000004</c:v>
                </c:pt>
                <c:pt idx="790">
                  <c:v>0.86</c:v>
                </c:pt>
                <c:pt idx="791">
                  <c:v>0.76</c:v>
                </c:pt>
                <c:pt idx="792">
                  <c:v>0.78700000000000003</c:v>
                </c:pt>
                <c:pt idx="793">
                  <c:v>0.55900000000000005</c:v>
                </c:pt>
                <c:pt idx="794">
                  <c:v>0.95499999999999996</c:v>
                </c:pt>
                <c:pt idx="795">
                  <c:v>0.91300000000000003</c:v>
                </c:pt>
                <c:pt idx="796">
                  <c:v>0.8</c:v>
                </c:pt>
                <c:pt idx="797">
                  <c:v>0.66200000000000003</c:v>
                </c:pt>
                <c:pt idx="798">
                  <c:v>0.73299999999999998</c:v>
                </c:pt>
                <c:pt idx="799">
                  <c:v>0.88800000000000001</c:v>
                </c:pt>
                <c:pt idx="800">
                  <c:v>0.39</c:v>
                </c:pt>
                <c:pt idx="801">
                  <c:v>0.91600000000000004</c:v>
                </c:pt>
                <c:pt idx="802">
                  <c:v>0.81599999999999995</c:v>
                </c:pt>
                <c:pt idx="803">
                  <c:v>0.66700000000000004</c:v>
                </c:pt>
                <c:pt idx="804">
                  <c:v>0.83799999999999997</c:v>
                </c:pt>
                <c:pt idx="805">
                  <c:v>0.79700000000000004</c:v>
                </c:pt>
                <c:pt idx="806">
                  <c:v>0.74</c:v>
                </c:pt>
                <c:pt idx="807">
                  <c:v>0.626</c:v>
                </c:pt>
                <c:pt idx="808">
                  <c:v>1</c:v>
                </c:pt>
                <c:pt idx="809">
                  <c:v>0.93500000000000005</c:v>
                </c:pt>
                <c:pt idx="810">
                  <c:v>0.61</c:v>
                </c:pt>
                <c:pt idx="811">
                  <c:v>0.80300000000000005</c:v>
                </c:pt>
                <c:pt idx="812">
                  <c:v>0.51400000000000001</c:v>
                </c:pt>
                <c:pt idx="813">
                  <c:v>0.77100000000000002</c:v>
                </c:pt>
                <c:pt idx="814">
                  <c:v>0.84499999999999997</c:v>
                </c:pt>
                <c:pt idx="815">
                  <c:v>0.91</c:v>
                </c:pt>
                <c:pt idx="816">
                  <c:v>0.61099999999999999</c:v>
                </c:pt>
                <c:pt idx="817">
                  <c:v>0.874</c:v>
                </c:pt>
                <c:pt idx="818">
                  <c:v>0.69599999999999995</c:v>
                </c:pt>
                <c:pt idx="819">
                  <c:v>0.83199999999999996</c:v>
                </c:pt>
                <c:pt idx="820">
                  <c:v>0.63300000000000001</c:v>
                </c:pt>
                <c:pt idx="821">
                  <c:v>0.83</c:v>
                </c:pt>
                <c:pt idx="822">
                  <c:v>0.97599999999999998</c:v>
                </c:pt>
                <c:pt idx="823">
                  <c:v>0.68</c:v>
                </c:pt>
                <c:pt idx="824">
                  <c:v>0.70199999999999996</c:v>
                </c:pt>
                <c:pt idx="825">
                  <c:v>0.86299999999999999</c:v>
                </c:pt>
                <c:pt idx="826">
                  <c:v>0.75800000000000001</c:v>
                </c:pt>
                <c:pt idx="827">
                  <c:v>0.84099999999999997</c:v>
                </c:pt>
                <c:pt idx="828">
                  <c:v>0.995</c:v>
                </c:pt>
                <c:pt idx="829">
                  <c:v>0.92</c:v>
                </c:pt>
                <c:pt idx="830">
                  <c:v>0.875</c:v>
                </c:pt>
                <c:pt idx="831">
                  <c:v>0.98599999999999999</c:v>
                </c:pt>
                <c:pt idx="832">
                  <c:v>0.36399999999999999</c:v>
                </c:pt>
                <c:pt idx="833">
                  <c:v>0.86799999999999999</c:v>
                </c:pt>
                <c:pt idx="834">
                  <c:v>0.92800000000000005</c:v>
                </c:pt>
                <c:pt idx="835">
                  <c:v>0.98699999999999999</c:v>
                </c:pt>
                <c:pt idx="836">
                  <c:v>0.84299999999999997</c:v>
                </c:pt>
                <c:pt idx="837">
                  <c:v>0.60299999999999998</c:v>
                </c:pt>
                <c:pt idx="838">
                  <c:v>0.68899999999999995</c:v>
                </c:pt>
                <c:pt idx="839">
                  <c:v>0.77500000000000002</c:v>
                </c:pt>
                <c:pt idx="840">
                  <c:v>0.90300000000000002</c:v>
                </c:pt>
                <c:pt idx="841">
                  <c:v>0.86499999999999999</c:v>
                </c:pt>
                <c:pt idx="842">
                  <c:v>0.96299999999999997</c:v>
                </c:pt>
                <c:pt idx="843">
                  <c:v>0.89200000000000002</c:v>
                </c:pt>
                <c:pt idx="844">
                  <c:v>0.97099999999999997</c:v>
                </c:pt>
                <c:pt idx="845">
                  <c:v>0.88100000000000001</c:v>
                </c:pt>
                <c:pt idx="846">
                  <c:v>0.67300000000000004</c:v>
                </c:pt>
                <c:pt idx="847">
                  <c:v>0.877</c:v>
                </c:pt>
                <c:pt idx="848">
                  <c:v>0.11600000000000001</c:v>
                </c:pt>
                <c:pt idx="849">
                  <c:v>0.5</c:v>
                </c:pt>
                <c:pt idx="850">
                  <c:v>0.872</c:v>
                </c:pt>
                <c:pt idx="851">
                  <c:v>0.80500000000000005</c:v>
                </c:pt>
                <c:pt idx="852">
                  <c:v>0.55600000000000005</c:v>
                </c:pt>
                <c:pt idx="853">
                  <c:v>0.92100000000000004</c:v>
                </c:pt>
                <c:pt idx="854">
                  <c:v>0.70099999999999996</c:v>
                </c:pt>
                <c:pt idx="855">
                  <c:v>0.75</c:v>
                </c:pt>
                <c:pt idx="856">
                  <c:v>0.89</c:v>
                </c:pt>
                <c:pt idx="857">
                  <c:v>0.96</c:v>
                </c:pt>
                <c:pt idx="858">
                  <c:v>0.879</c:v>
                </c:pt>
                <c:pt idx="859">
                  <c:v>0.84499999999999997</c:v>
                </c:pt>
                <c:pt idx="860">
                  <c:v>6.0999999999999999E-2</c:v>
                </c:pt>
                <c:pt idx="861">
                  <c:v>0.36599999999999999</c:v>
                </c:pt>
                <c:pt idx="862">
                  <c:v>0.84099999999999997</c:v>
                </c:pt>
                <c:pt idx="863">
                  <c:v>0.74399999999999999</c:v>
                </c:pt>
                <c:pt idx="864">
                  <c:v>0.80100000000000005</c:v>
                </c:pt>
                <c:pt idx="865">
                  <c:v>0.80600000000000005</c:v>
                </c:pt>
                <c:pt idx="866">
                  <c:v>0.92100000000000004</c:v>
                </c:pt>
                <c:pt idx="867">
                  <c:v>0.54400000000000004</c:v>
                </c:pt>
                <c:pt idx="868">
                  <c:v>0.754</c:v>
                </c:pt>
                <c:pt idx="869">
                  <c:v>0.92100000000000004</c:v>
                </c:pt>
                <c:pt idx="870">
                  <c:v>0.96</c:v>
                </c:pt>
                <c:pt idx="871">
                  <c:v>0.82899999999999996</c:v>
                </c:pt>
                <c:pt idx="872">
                  <c:v>0.66100000000000003</c:v>
                </c:pt>
                <c:pt idx="873">
                  <c:v>0.89</c:v>
                </c:pt>
                <c:pt idx="874">
                  <c:v>0.20799999999999999</c:v>
                </c:pt>
                <c:pt idx="875">
                  <c:v>0.505</c:v>
                </c:pt>
                <c:pt idx="876">
                  <c:v>0.59699999999999998</c:v>
                </c:pt>
                <c:pt idx="877">
                  <c:v>0.72299999999999998</c:v>
                </c:pt>
                <c:pt idx="878">
                  <c:v>0.76600000000000001</c:v>
                </c:pt>
                <c:pt idx="879">
                  <c:v>0.77100000000000002</c:v>
                </c:pt>
                <c:pt idx="880">
                  <c:v>0.95899999999999996</c:v>
                </c:pt>
                <c:pt idx="881">
                  <c:v>0.90400000000000003</c:v>
                </c:pt>
                <c:pt idx="882">
                  <c:v>0.83499999999999996</c:v>
                </c:pt>
                <c:pt idx="883">
                  <c:v>0.74099999999999999</c:v>
                </c:pt>
                <c:pt idx="884">
                  <c:v>0.81699999999999995</c:v>
                </c:pt>
                <c:pt idx="885">
                  <c:v>0.75800000000000001</c:v>
                </c:pt>
                <c:pt idx="886">
                  <c:v>0.93300000000000005</c:v>
                </c:pt>
                <c:pt idx="887">
                  <c:v>0.83899999999999997</c:v>
                </c:pt>
                <c:pt idx="888">
                  <c:v>0.94</c:v>
                </c:pt>
                <c:pt idx="889">
                  <c:v>0.86399999999999999</c:v>
                </c:pt>
                <c:pt idx="890">
                  <c:v>0.57899999999999996</c:v>
                </c:pt>
                <c:pt idx="891">
                  <c:v>0.93300000000000005</c:v>
                </c:pt>
                <c:pt idx="892">
                  <c:v>0.88900000000000001</c:v>
                </c:pt>
                <c:pt idx="893">
                  <c:v>0.84699999999999998</c:v>
                </c:pt>
                <c:pt idx="894">
                  <c:v>0.504</c:v>
                </c:pt>
                <c:pt idx="895">
                  <c:v>0.95599999999999996</c:v>
                </c:pt>
                <c:pt idx="896">
                  <c:v>0.84599999999999997</c:v>
                </c:pt>
                <c:pt idx="897">
                  <c:v>0.38600000000000001</c:v>
                </c:pt>
                <c:pt idx="898">
                  <c:v>0.876</c:v>
                </c:pt>
                <c:pt idx="899">
                  <c:v>0.73199999999999998</c:v>
                </c:pt>
                <c:pt idx="900">
                  <c:v>3.5000000000000003E-2</c:v>
                </c:pt>
                <c:pt idx="901">
                  <c:v>0.755</c:v>
                </c:pt>
                <c:pt idx="902">
                  <c:v>0.54800000000000004</c:v>
                </c:pt>
                <c:pt idx="903">
                  <c:v>0.57599999999999996</c:v>
                </c:pt>
                <c:pt idx="904">
                  <c:v>0.34899999999999998</c:v>
                </c:pt>
                <c:pt idx="905">
                  <c:v>0.83899999999999997</c:v>
                </c:pt>
                <c:pt idx="906">
                  <c:v>0.442</c:v>
                </c:pt>
                <c:pt idx="907">
                  <c:v>0.63800000000000001</c:v>
                </c:pt>
                <c:pt idx="908">
                  <c:v>0.89200000000000002</c:v>
                </c:pt>
                <c:pt idx="909">
                  <c:v>0.65300000000000002</c:v>
                </c:pt>
                <c:pt idx="910">
                  <c:v>0.96299999999999997</c:v>
                </c:pt>
                <c:pt idx="911">
                  <c:v>0.157</c:v>
                </c:pt>
                <c:pt idx="912">
                  <c:v>0.61499999999999999</c:v>
                </c:pt>
                <c:pt idx="913">
                  <c:v>0.86299999999999999</c:v>
                </c:pt>
                <c:pt idx="914">
                  <c:v>7.5999999999999998E-2</c:v>
                </c:pt>
                <c:pt idx="915">
                  <c:v>0.5</c:v>
                </c:pt>
                <c:pt idx="916">
                  <c:v>0.55200000000000005</c:v>
                </c:pt>
                <c:pt idx="917">
                  <c:v>1</c:v>
                </c:pt>
                <c:pt idx="918">
                  <c:v>0.84799999999999998</c:v>
                </c:pt>
                <c:pt idx="919">
                  <c:v>0.88900000000000001</c:v>
                </c:pt>
                <c:pt idx="920">
                  <c:v>0.68700000000000006</c:v>
                </c:pt>
                <c:pt idx="921">
                  <c:v>0.86199999999999999</c:v>
                </c:pt>
                <c:pt idx="922">
                  <c:v>0.55600000000000005</c:v>
                </c:pt>
                <c:pt idx="923">
                  <c:v>0.69799999999999995</c:v>
                </c:pt>
                <c:pt idx="924">
                  <c:v>0.86099999999999999</c:v>
                </c:pt>
                <c:pt idx="925">
                  <c:v>0.67400000000000004</c:v>
                </c:pt>
                <c:pt idx="926">
                  <c:v>0.625</c:v>
                </c:pt>
                <c:pt idx="927">
                  <c:v>0.71299999999999997</c:v>
                </c:pt>
                <c:pt idx="928">
                  <c:v>0.88400000000000001</c:v>
                </c:pt>
                <c:pt idx="929">
                  <c:v>0.91800000000000004</c:v>
                </c:pt>
                <c:pt idx="930">
                  <c:v>0.317</c:v>
                </c:pt>
                <c:pt idx="931">
                  <c:v>0.85699999999999998</c:v>
                </c:pt>
                <c:pt idx="932">
                  <c:v>0.92600000000000005</c:v>
                </c:pt>
                <c:pt idx="933">
                  <c:v>0.95099999999999996</c:v>
                </c:pt>
                <c:pt idx="934">
                  <c:v>0.77100000000000002</c:v>
                </c:pt>
                <c:pt idx="935">
                  <c:v>0.48199999999999998</c:v>
                </c:pt>
                <c:pt idx="936">
                  <c:v>0.74199999999999999</c:v>
                </c:pt>
                <c:pt idx="937">
                  <c:v>0.61599999999999999</c:v>
                </c:pt>
                <c:pt idx="938">
                  <c:v>0.71399999999999997</c:v>
                </c:pt>
                <c:pt idx="939">
                  <c:v>0.66700000000000004</c:v>
                </c:pt>
                <c:pt idx="940">
                  <c:v>0.371</c:v>
                </c:pt>
                <c:pt idx="941">
                  <c:v>0.92800000000000005</c:v>
                </c:pt>
                <c:pt idx="942">
                  <c:v>0.72899999999999998</c:v>
                </c:pt>
                <c:pt idx="943">
                  <c:v>0.90700000000000003</c:v>
                </c:pt>
                <c:pt idx="944">
                  <c:v>0.82099999999999995</c:v>
                </c:pt>
                <c:pt idx="945">
                  <c:v>0.92</c:v>
                </c:pt>
                <c:pt idx="946">
                  <c:v>0.88300000000000001</c:v>
                </c:pt>
                <c:pt idx="947">
                  <c:v>2.4E-2</c:v>
                </c:pt>
                <c:pt idx="948">
                  <c:v>0.86799999999999999</c:v>
                </c:pt>
                <c:pt idx="949">
                  <c:v>0.93899999999999995</c:v>
                </c:pt>
                <c:pt idx="950">
                  <c:v>0.875</c:v>
                </c:pt>
                <c:pt idx="951">
                  <c:v>0.90900000000000003</c:v>
                </c:pt>
                <c:pt idx="952">
                  <c:v>0.89300000000000002</c:v>
                </c:pt>
                <c:pt idx="953">
                  <c:v>0.52200000000000002</c:v>
                </c:pt>
                <c:pt idx="954">
                  <c:v>0.44700000000000001</c:v>
                </c:pt>
                <c:pt idx="955">
                  <c:v>0.92</c:v>
                </c:pt>
                <c:pt idx="956">
                  <c:v>0.03</c:v>
                </c:pt>
                <c:pt idx="957">
                  <c:v>0.32400000000000001</c:v>
                </c:pt>
                <c:pt idx="958">
                  <c:v>0.90400000000000003</c:v>
                </c:pt>
                <c:pt idx="959">
                  <c:v>0.874</c:v>
                </c:pt>
                <c:pt idx="960">
                  <c:v>0.57999999999999996</c:v>
                </c:pt>
                <c:pt idx="961">
                  <c:v>0.19</c:v>
                </c:pt>
                <c:pt idx="962">
                  <c:v>0.60699999999999998</c:v>
                </c:pt>
                <c:pt idx="963">
                  <c:v>0.91200000000000003</c:v>
                </c:pt>
                <c:pt idx="964">
                  <c:v>0.59599999999999997</c:v>
                </c:pt>
                <c:pt idx="965">
                  <c:v>0.627</c:v>
                </c:pt>
                <c:pt idx="966">
                  <c:v>0.76800000000000002</c:v>
                </c:pt>
                <c:pt idx="967">
                  <c:v>0.63300000000000001</c:v>
                </c:pt>
                <c:pt idx="968">
                  <c:v>0.60599999999999998</c:v>
                </c:pt>
                <c:pt idx="969">
                  <c:v>0.68100000000000005</c:v>
                </c:pt>
                <c:pt idx="970">
                  <c:v>0.621</c:v>
                </c:pt>
                <c:pt idx="971">
                  <c:v>0.83899999999999997</c:v>
                </c:pt>
                <c:pt idx="972">
                  <c:v>0.88100000000000001</c:v>
                </c:pt>
                <c:pt idx="973">
                  <c:v>0.75800000000000001</c:v>
                </c:pt>
                <c:pt idx="974">
                  <c:v>0.157</c:v>
                </c:pt>
                <c:pt idx="975">
                  <c:v>0.28499999999999998</c:v>
                </c:pt>
                <c:pt idx="976">
                  <c:v>0.81399999999999995</c:v>
                </c:pt>
                <c:pt idx="977">
                  <c:v>0.22900000000000001</c:v>
                </c:pt>
                <c:pt idx="978">
                  <c:v>0.95899999999999996</c:v>
                </c:pt>
                <c:pt idx="979">
                  <c:v>0.93500000000000005</c:v>
                </c:pt>
                <c:pt idx="980">
                  <c:v>0.97</c:v>
                </c:pt>
                <c:pt idx="981">
                  <c:v>0.311</c:v>
                </c:pt>
                <c:pt idx="982">
                  <c:v>0.85499999999999998</c:v>
                </c:pt>
                <c:pt idx="983">
                  <c:v>0.95699999999999996</c:v>
                </c:pt>
                <c:pt idx="984">
                  <c:v>0.65500000000000003</c:v>
                </c:pt>
                <c:pt idx="985">
                  <c:v>0.92600000000000005</c:v>
                </c:pt>
                <c:pt idx="986">
                  <c:v>0.433</c:v>
                </c:pt>
                <c:pt idx="987">
                  <c:v>0.94799999999999995</c:v>
                </c:pt>
                <c:pt idx="988">
                  <c:v>0.73399999999999999</c:v>
                </c:pt>
                <c:pt idx="989">
                  <c:v>0.44900000000000001</c:v>
                </c:pt>
                <c:pt idx="990">
                  <c:v>0.35599999999999998</c:v>
                </c:pt>
                <c:pt idx="991">
                  <c:v>0.88</c:v>
                </c:pt>
                <c:pt idx="992">
                  <c:v>0.79300000000000004</c:v>
                </c:pt>
                <c:pt idx="993">
                  <c:v>0.58899999999999997</c:v>
                </c:pt>
                <c:pt idx="994">
                  <c:v>0.68300000000000005</c:v>
                </c:pt>
                <c:pt idx="995">
                  <c:v>0.88400000000000001</c:v>
                </c:pt>
                <c:pt idx="996">
                  <c:v>0.69699999999999995</c:v>
                </c:pt>
                <c:pt idx="997">
                  <c:v>0.316</c:v>
                </c:pt>
                <c:pt idx="998">
                  <c:v>0.56499999999999995</c:v>
                </c:pt>
                <c:pt idx="999">
                  <c:v>0.68500000000000005</c:v>
                </c:pt>
                <c:pt idx="1000">
                  <c:v>0.92700000000000005</c:v>
                </c:pt>
                <c:pt idx="1001">
                  <c:v>0.58399999999999996</c:v>
                </c:pt>
                <c:pt idx="1002">
                  <c:v>0.66300000000000003</c:v>
                </c:pt>
                <c:pt idx="1003">
                  <c:v>0.84299999999999997</c:v>
                </c:pt>
                <c:pt idx="1004">
                  <c:v>0.95799999999999996</c:v>
                </c:pt>
                <c:pt idx="1005">
                  <c:v>0.73699999999999999</c:v>
                </c:pt>
                <c:pt idx="1006">
                  <c:v>0.70199999999999996</c:v>
                </c:pt>
                <c:pt idx="1007">
                  <c:v>0.68899999999999995</c:v>
                </c:pt>
                <c:pt idx="1008">
                  <c:v>0.73199999999999998</c:v>
                </c:pt>
                <c:pt idx="1009">
                  <c:v>0.93500000000000005</c:v>
                </c:pt>
                <c:pt idx="1010">
                  <c:v>4.1000000000000002E-2</c:v>
                </c:pt>
                <c:pt idx="1011">
                  <c:v>0.93700000000000006</c:v>
                </c:pt>
                <c:pt idx="1012">
                  <c:v>0.83899999999999997</c:v>
                </c:pt>
                <c:pt idx="1013">
                  <c:v>0.45600000000000002</c:v>
                </c:pt>
                <c:pt idx="1014">
                  <c:v>7.0000000000000007E-2</c:v>
                </c:pt>
                <c:pt idx="1015">
                  <c:v>0.63800000000000001</c:v>
                </c:pt>
                <c:pt idx="1016">
                  <c:v>0.33200000000000002</c:v>
                </c:pt>
                <c:pt idx="1017">
                  <c:v>0.77600000000000002</c:v>
                </c:pt>
                <c:pt idx="1018">
                  <c:v>0.91800000000000004</c:v>
                </c:pt>
                <c:pt idx="1019">
                  <c:v>0.95099999999999996</c:v>
                </c:pt>
                <c:pt idx="1020">
                  <c:v>0.91800000000000004</c:v>
                </c:pt>
                <c:pt idx="1021">
                  <c:v>0.92</c:v>
                </c:pt>
                <c:pt idx="1022">
                  <c:v>0.83</c:v>
                </c:pt>
                <c:pt idx="1023">
                  <c:v>0.76500000000000001</c:v>
                </c:pt>
                <c:pt idx="1024">
                  <c:v>0.73799999999999999</c:v>
                </c:pt>
                <c:pt idx="1025">
                  <c:v>0.89700000000000002</c:v>
                </c:pt>
                <c:pt idx="1026">
                  <c:v>0.36399999999999999</c:v>
                </c:pt>
                <c:pt idx="1027">
                  <c:v>0.71499999999999997</c:v>
                </c:pt>
                <c:pt idx="1028">
                  <c:v>0.91800000000000004</c:v>
                </c:pt>
                <c:pt idx="1029">
                  <c:v>0.82199999999999995</c:v>
                </c:pt>
                <c:pt idx="1030">
                  <c:v>0.748</c:v>
                </c:pt>
                <c:pt idx="1031">
                  <c:v>0.93899999999999995</c:v>
                </c:pt>
                <c:pt idx="1032">
                  <c:v>0.51200000000000001</c:v>
                </c:pt>
                <c:pt idx="1033">
                  <c:v>0.83499999999999996</c:v>
                </c:pt>
                <c:pt idx="1034">
                  <c:v>0.92600000000000005</c:v>
                </c:pt>
                <c:pt idx="1035">
                  <c:v>0.63600000000000001</c:v>
                </c:pt>
                <c:pt idx="1036">
                  <c:v>0.438</c:v>
                </c:pt>
                <c:pt idx="1037">
                  <c:v>0.91600000000000004</c:v>
                </c:pt>
                <c:pt idx="1038">
                  <c:v>0.503</c:v>
                </c:pt>
                <c:pt idx="1039">
                  <c:v>0.76300000000000001</c:v>
                </c:pt>
                <c:pt idx="1040">
                  <c:v>0.85899999999999999</c:v>
                </c:pt>
                <c:pt idx="1041">
                  <c:v>0.94799999999999995</c:v>
                </c:pt>
                <c:pt idx="1042">
                  <c:v>0.56000000000000005</c:v>
                </c:pt>
                <c:pt idx="1043">
                  <c:v>0.78700000000000003</c:v>
                </c:pt>
                <c:pt idx="1044">
                  <c:v>0.94599999999999995</c:v>
                </c:pt>
                <c:pt idx="1045">
                  <c:v>0.79600000000000004</c:v>
                </c:pt>
                <c:pt idx="1046">
                  <c:v>0.92</c:v>
                </c:pt>
                <c:pt idx="1047">
                  <c:v>3.6999999999999998E-2</c:v>
                </c:pt>
                <c:pt idx="1048">
                  <c:v>0.56000000000000005</c:v>
                </c:pt>
                <c:pt idx="1049">
                  <c:v>0.35199999999999998</c:v>
                </c:pt>
                <c:pt idx="1050">
                  <c:v>0.79</c:v>
                </c:pt>
                <c:pt idx="1051">
                  <c:v>0.91500000000000004</c:v>
                </c:pt>
                <c:pt idx="1052">
                  <c:v>0.877</c:v>
                </c:pt>
                <c:pt idx="1053">
                  <c:v>0.75900000000000001</c:v>
                </c:pt>
                <c:pt idx="1054">
                  <c:v>0.88700000000000001</c:v>
                </c:pt>
                <c:pt idx="1055">
                  <c:v>0.94</c:v>
                </c:pt>
                <c:pt idx="1056">
                  <c:v>0.93500000000000005</c:v>
                </c:pt>
                <c:pt idx="1057">
                  <c:v>0.51500000000000001</c:v>
                </c:pt>
                <c:pt idx="1058">
                  <c:v>0.56299999999999994</c:v>
                </c:pt>
                <c:pt idx="1059">
                  <c:v>0.65800000000000003</c:v>
                </c:pt>
                <c:pt idx="1060">
                  <c:v>0.75800000000000001</c:v>
                </c:pt>
                <c:pt idx="1061">
                  <c:v>0.40500000000000003</c:v>
                </c:pt>
                <c:pt idx="1062">
                  <c:v>0.78</c:v>
                </c:pt>
                <c:pt idx="1063">
                  <c:v>0.79900000000000004</c:v>
                </c:pt>
                <c:pt idx="1064">
                  <c:v>0.877</c:v>
                </c:pt>
                <c:pt idx="1065">
                  <c:v>0.85</c:v>
                </c:pt>
                <c:pt idx="1066">
                  <c:v>0.71199999999999997</c:v>
                </c:pt>
                <c:pt idx="1067">
                  <c:v>0.58399999999999996</c:v>
                </c:pt>
                <c:pt idx="1068">
                  <c:v>0.72</c:v>
                </c:pt>
                <c:pt idx="1069">
                  <c:v>0.81599999999999995</c:v>
                </c:pt>
                <c:pt idx="1070">
                  <c:v>0.41299999999999998</c:v>
                </c:pt>
                <c:pt idx="1071">
                  <c:v>0.878</c:v>
                </c:pt>
                <c:pt idx="1072">
                  <c:v>0.96199999999999997</c:v>
                </c:pt>
                <c:pt idx="1073">
                  <c:v>1</c:v>
                </c:pt>
                <c:pt idx="1074">
                  <c:v>0.88800000000000001</c:v>
                </c:pt>
                <c:pt idx="1075">
                  <c:v>0.68799999999999994</c:v>
                </c:pt>
                <c:pt idx="1076">
                  <c:v>0.78</c:v>
                </c:pt>
                <c:pt idx="1077">
                  <c:v>0.63200000000000001</c:v>
                </c:pt>
                <c:pt idx="1078">
                  <c:v>0.84</c:v>
                </c:pt>
                <c:pt idx="1079">
                  <c:v>0.86499999999999999</c:v>
                </c:pt>
                <c:pt idx="1080">
                  <c:v>0.86399999999999999</c:v>
                </c:pt>
                <c:pt idx="1081">
                  <c:v>0.505</c:v>
                </c:pt>
                <c:pt idx="1082">
                  <c:v>0.73499999999999999</c:v>
                </c:pt>
                <c:pt idx="1083">
                  <c:v>0.69699999999999995</c:v>
                </c:pt>
                <c:pt idx="1084">
                  <c:v>1</c:v>
                </c:pt>
                <c:pt idx="1085">
                  <c:v>0.95899999999999996</c:v>
                </c:pt>
                <c:pt idx="1086">
                  <c:v>0.88500000000000001</c:v>
                </c:pt>
                <c:pt idx="1087">
                  <c:v>0.72</c:v>
                </c:pt>
                <c:pt idx="1088">
                  <c:v>0.80200000000000005</c:v>
                </c:pt>
                <c:pt idx="1089">
                  <c:v>0.90800000000000003</c:v>
                </c:pt>
                <c:pt idx="1090">
                  <c:v>0.86199999999999999</c:v>
                </c:pt>
                <c:pt idx="1091">
                  <c:v>0.747</c:v>
                </c:pt>
                <c:pt idx="1092">
                  <c:v>0.92600000000000005</c:v>
                </c:pt>
                <c:pt idx="1093">
                  <c:v>0.93100000000000005</c:v>
                </c:pt>
                <c:pt idx="1094">
                  <c:v>0.48199999999999998</c:v>
                </c:pt>
                <c:pt idx="1095">
                  <c:v>0.89500000000000002</c:v>
                </c:pt>
                <c:pt idx="1096">
                  <c:v>0.93300000000000005</c:v>
                </c:pt>
                <c:pt idx="1097">
                  <c:v>0.755</c:v>
                </c:pt>
                <c:pt idx="1098">
                  <c:v>0.439</c:v>
                </c:pt>
                <c:pt idx="1099">
                  <c:v>0.90200000000000002</c:v>
                </c:pt>
                <c:pt idx="1100">
                  <c:v>0.81</c:v>
                </c:pt>
                <c:pt idx="1101">
                  <c:v>0.97799999999999998</c:v>
                </c:pt>
                <c:pt idx="1102">
                  <c:v>0.88800000000000001</c:v>
                </c:pt>
                <c:pt idx="1103">
                  <c:v>0.34499999999999997</c:v>
                </c:pt>
                <c:pt idx="1104">
                  <c:v>0.97099999999999997</c:v>
                </c:pt>
                <c:pt idx="1105">
                  <c:v>0.51800000000000002</c:v>
                </c:pt>
                <c:pt idx="1106">
                  <c:v>0.90800000000000003</c:v>
                </c:pt>
                <c:pt idx="1107">
                  <c:v>0.84099999999999997</c:v>
                </c:pt>
                <c:pt idx="1108">
                  <c:v>0.72599999999999998</c:v>
                </c:pt>
                <c:pt idx="1109">
                  <c:v>0.73499999999999999</c:v>
                </c:pt>
                <c:pt idx="1110">
                  <c:v>0.86199999999999999</c:v>
                </c:pt>
                <c:pt idx="1111">
                  <c:v>0.51500000000000001</c:v>
                </c:pt>
                <c:pt idx="1112">
                  <c:v>0.74099999999999999</c:v>
                </c:pt>
                <c:pt idx="1113">
                  <c:v>0.91600000000000004</c:v>
                </c:pt>
                <c:pt idx="1114">
                  <c:v>1</c:v>
                </c:pt>
                <c:pt idx="1115">
                  <c:v>0.626</c:v>
                </c:pt>
                <c:pt idx="1116">
                  <c:v>0.77900000000000003</c:v>
                </c:pt>
                <c:pt idx="1117">
                  <c:v>0.77</c:v>
                </c:pt>
                <c:pt idx="1118">
                  <c:v>0.90700000000000003</c:v>
                </c:pt>
                <c:pt idx="1119">
                  <c:v>0.73699999999999999</c:v>
                </c:pt>
                <c:pt idx="1120">
                  <c:v>0.60399999999999998</c:v>
                </c:pt>
                <c:pt idx="1121">
                  <c:v>0.68400000000000005</c:v>
                </c:pt>
                <c:pt idx="1122">
                  <c:v>0.47</c:v>
                </c:pt>
                <c:pt idx="1123">
                  <c:v>0.82</c:v>
                </c:pt>
                <c:pt idx="1124">
                  <c:v>0.34300000000000003</c:v>
                </c:pt>
                <c:pt idx="1125">
                  <c:v>0.91800000000000004</c:v>
                </c:pt>
                <c:pt idx="1126">
                  <c:v>0.54800000000000004</c:v>
                </c:pt>
                <c:pt idx="1127">
                  <c:v>0.95499999999999996</c:v>
                </c:pt>
                <c:pt idx="1128">
                  <c:v>0.70199999999999996</c:v>
                </c:pt>
                <c:pt idx="1129">
                  <c:v>0.875</c:v>
                </c:pt>
                <c:pt idx="1130">
                  <c:v>0.875</c:v>
                </c:pt>
                <c:pt idx="1131">
                  <c:v>0.39700000000000002</c:v>
                </c:pt>
                <c:pt idx="1132">
                  <c:v>0.52900000000000003</c:v>
                </c:pt>
                <c:pt idx="1133">
                  <c:v>0.53</c:v>
                </c:pt>
                <c:pt idx="1134">
                  <c:v>0.74</c:v>
                </c:pt>
                <c:pt idx="1135">
                  <c:v>0.84399999999999997</c:v>
                </c:pt>
                <c:pt idx="1136">
                  <c:v>0.8</c:v>
                </c:pt>
                <c:pt idx="1137">
                  <c:v>0.83399999999999996</c:v>
                </c:pt>
                <c:pt idx="1138">
                  <c:v>0.92100000000000004</c:v>
                </c:pt>
                <c:pt idx="1139">
                  <c:v>0.58099999999999996</c:v>
                </c:pt>
                <c:pt idx="1140">
                  <c:v>0.69</c:v>
                </c:pt>
                <c:pt idx="1141">
                  <c:v>0.53300000000000003</c:v>
                </c:pt>
                <c:pt idx="1142">
                  <c:v>0.96199999999999997</c:v>
                </c:pt>
                <c:pt idx="1143">
                  <c:v>0.58299999999999996</c:v>
                </c:pt>
                <c:pt idx="1144">
                  <c:v>0.91</c:v>
                </c:pt>
                <c:pt idx="1145">
                  <c:v>0.89600000000000002</c:v>
                </c:pt>
                <c:pt idx="1146">
                  <c:v>0.63800000000000001</c:v>
                </c:pt>
                <c:pt idx="1147">
                  <c:v>0.90100000000000002</c:v>
                </c:pt>
                <c:pt idx="1148">
                  <c:v>0.59</c:v>
                </c:pt>
                <c:pt idx="1149">
                  <c:v>0.90900000000000003</c:v>
                </c:pt>
                <c:pt idx="1150">
                  <c:v>0.64100000000000001</c:v>
                </c:pt>
                <c:pt idx="1151">
                  <c:v>0.89800000000000002</c:v>
                </c:pt>
                <c:pt idx="1152">
                  <c:v>0.23899999999999999</c:v>
                </c:pt>
                <c:pt idx="1153">
                  <c:v>0.54100000000000004</c:v>
                </c:pt>
                <c:pt idx="1154">
                  <c:v>0.95699999999999996</c:v>
                </c:pt>
                <c:pt idx="1155">
                  <c:v>0.76</c:v>
                </c:pt>
                <c:pt idx="1156">
                  <c:v>0.877</c:v>
                </c:pt>
                <c:pt idx="1157">
                  <c:v>0.64</c:v>
                </c:pt>
                <c:pt idx="1158">
                  <c:v>0.69899999999999995</c:v>
                </c:pt>
                <c:pt idx="1159">
                  <c:v>0.35299999999999998</c:v>
                </c:pt>
                <c:pt idx="1160">
                  <c:v>0.92300000000000004</c:v>
                </c:pt>
                <c:pt idx="1161">
                  <c:v>0.51</c:v>
                </c:pt>
                <c:pt idx="1162">
                  <c:v>0.75700000000000001</c:v>
                </c:pt>
                <c:pt idx="1163">
                  <c:v>0.53600000000000003</c:v>
                </c:pt>
                <c:pt idx="1164">
                  <c:v>0.83799999999999997</c:v>
                </c:pt>
                <c:pt idx="1165">
                  <c:v>0.72</c:v>
                </c:pt>
                <c:pt idx="1166">
                  <c:v>1</c:v>
                </c:pt>
                <c:pt idx="1167">
                  <c:v>0.42199999999999999</c:v>
                </c:pt>
                <c:pt idx="1168">
                  <c:v>0.95699999999999996</c:v>
                </c:pt>
                <c:pt idx="1169">
                  <c:v>0.52600000000000002</c:v>
                </c:pt>
                <c:pt idx="1170">
                  <c:v>0.86599999999999999</c:v>
                </c:pt>
                <c:pt idx="1171">
                  <c:v>0.91100000000000003</c:v>
                </c:pt>
                <c:pt idx="1172">
                  <c:v>0.73799999999999999</c:v>
                </c:pt>
                <c:pt idx="1173">
                  <c:v>0.89600000000000002</c:v>
                </c:pt>
                <c:pt idx="1174">
                  <c:v>0.79800000000000004</c:v>
                </c:pt>
                <c:pt idx="1175">
                  <c:v>0.80600000000000005</c:v>
                </c:pt>
                <c:pt idx="1176">
                  <c:v>0.871</c:v>
                </c:pt>
                <c:pt idx="1177">
                  <c:v>0.86299999999999999</c:v>
                </c:pt>
                <c:pt idx="1178">
                  <c:v>0.871</c:v>
                </c:pt>
                <c:pt idx="1179">
                  <c:v>0.88</c:v>
                </c:pt>
                <c:pt idx="1180">
                  <c:v>0.93600000000000005</c:v>
                </c:pt>
                <c:pt idx="1181">
                  <c:v>0.50800000000000001</c:v>
                </c:pt>
                <c:pt idx="1182">
                  <c:v>0.67</c:v>
                </c:pt>
                <c:pt idx="1183">
                  <c:v>0.76500000000000001</c:v>
                </c:pt>
                <c:pt idx="1184">
                  <c:v>0.94799999999999995</c:v>
                </c:pt>
                <c:pt idx="1185">
                  <c:v>0.88700000000000001</c:v>
                </c:pt>
                <c:pt idx="1186">
                  <c:v>0.38400000000000001</c:v>
                </c:pt>
                <c:pt idx="1187">
                  <c:v>0.79100000000000004</c:v>
                </c:pt>
                <c:pt idx="1188">
                  <c:v>0.93899999999999995</c:v>
                </c:pt>
                <c:pt idx="1189">
                  <c:v>0.71599999999999997</c:v>
                </c:pt>
                <c:pt idx="1190">
                  <c:v>0.56399999999999995</c:v>
                </c:pt>
                <c:pt idx="1191">
                  <c:v>0.77600000000000002</c:v>
                </c:pt>
                <c:pt idx="1192">
                  <c:v>1</c:v>
                </c:pt>
                <c:pt idx="1193">
                  <c:v>0.73399999999999999</c:v>
                </c:pt>
                <c:pt idx="1194">
                  <c:v>0.82099999999999995</c:v>
                </c:pt>
                <c:pt idx="1195">
                  <c:v>3.9E-2</c:v>
                </c:pt>
                <c:pt idx="1196">
                  <c:v>0.92100000000000004</c:v>
                </c:pt>
                <c:pt idx="1197">
                  <c:v>0.57999999999999996</c:v>
                </c:pt>
                <c:pt idx="1198">
                  <c:v>0.86</c:v>
                </c:pt>
                <c:pt idx="1199">
                  <c:v>0.44800000000000001</c:v>
                </c:pt>
                <c:pt idx="1200">
                  <c:v>0.78700000000000003</c:v>
                </c:pt>
                <c:pt idx="1201">
                  <c:v>0.97799999999999998</c:v>
                </c:pt>
                <c:pt idx="1202">
                  <c:v>0.77200000000000002</c:v>
                </c:pt>
                <c:pt idx="1203">
                  <c:v>0.85199999999999998</c:v>
                </c:pt>
                <c:pt idx="1204">
                  <c:v>0.42099999999999999</c:v>
                </c:pt>
                <c:pt idx="1205">
                  <c:v>0.68200000000000005</c:v>
                </c:pt>
                <c:pt idx="1206">
                  <c:v>0.47299999999999998</c:v>
                </c:pt>
                <c:pt idx="1207">
                  <c:v>0.95699999999999996</c:v>
                </c:pt>
                <c:pt idx="1208">
                  <c:v>0.24099999999999999</c:v>
                </c:pt>
                <c:pt idx="1209">
                  <c:v>0.61599999999999999</c:v>
                </c:pt>
                <c:pt idx="1210">
                  <c:v>0.97299999999999998</c:v>
                </c:pt>
                <c:pt idx="1211">
                  <c:v>0.441</c:v>
                </c:pt>
                <c:pt idx="1212">
                  <c:v>0.84199999999999997</c:v>
                </c:pt>
                <c:pt idx="1213">
                  <c:v>0.57099999999999995</c:v>
                </c:pt>
                <c:pt idx="1214">
                  <c:v>0.625</c:v>
                </c:pt>
                <c:pt idx="1215">
                  <c:v>0.65400000000000003</c:v>
                </c:pt>
                <c:pt idx="1216">
                  <c:v>0.746</c:v>
                </c:pt>
                <c:pt idx="1217">
                  <c:v>0.79900000000000004</c:v>
                </c:pt>
                <c:pt idx="1218">
                  <c:v>0.57099999999999995</c:v>
                </c:pt>
                <c:pt idx="1219">
                  <c:v>0.64800000000000002</c:v>
                </c:pt>
                <c:pt idx="1220">
                  <c:v>0.86599999999999999</c:v>
                </c:pt>
                <c:pt idx="1221">
                  <c:v>0.129</c:v>
                </c:pt>
                <c:pt idx="1222">
                  <c:v>0.97599999999999998</c:v>
                </c:pt>
                <c:pt idx="1223">
                  <c:v>0.52600000000000002</c:v>
                </c:pt>
                <c:pt idx="1224">
                  <c:v>0.41799999999999998</c:v>
                </c:pt>
                <c:pt idx="1225">
                  <c:v>0.626</c:v>
                </c:pt>
                <c:pt idx="1226">
                  <c:v>0.84399999999999997</c:v>
                </c:pt>
                <c:pt idx="1227">
                  <c:v>0.91800000000000004</c:v>
                </c:pt>
                <c:pt idx="1228">
                  <c:v>0.68899999999999995</c:v>
                </c:pt>
                <c:pt idx="1229">
                  <c:v>0.84599999999999997</c:v>
                </c:pt>
                <c:pt idx="1230">
                  <c:v>0.755</c:v>
                </c:pt>
                <c:pt idx="1231">
                  <c:v>0.88300000000000001</c:v>
                </c:pt>
                <c:pt idx="1232">
                  <c:v>0.39300000000000002</c:v>
                </c:pt>
                <c:pt idx="1233">
                  <c:v>0.45</c:v>
                </c:pt>
                <c:pt idx="1234">
                  <c:v>0.81499999999999995</c:v>
                </c:pt>
                <c:pt idx="1235">
                  <c:v>0.59699999999999998</c:v>
                </c:pt>
                <c:pt idx="1236">
                  <c:v>0.59699999999999998</c:v>
                </c:pt>
                <c:pt idx="1237">
                  <c:v>0.71399999999999997</c:v>
                </c:pt>
                <c:pt idx="1238">
                  <c:v>0.56200000000000006</c:v>
                </c:pt>
                <c:pt idx="1239">
                  <c:v>0.81599999999999995</c:v>
                </c:pt>
                <c:pt idx="1240">
                  <c:v>0.88500000000000001</c:v>
                </c:pt>
                <c:pt idx="1241">
                  <c:v>0.77600000000000002</c:v>
                </c:pt>
                <c:pt idx="1242">
                  <c:v>0.85</c:v>
                </c:pt>
                <c:pt idx="1243">
                  <c:v>0.90200000000000002</c:v>
                </c:pt>
                <c:pt idx="1244">
                  <c:v>0.748</c:v>
                </c:pt>
                <c:pt idx="1245">
                  <c:v>0.81499999999999995</c:v>
                </c:pt>
                <c:pt idx="1246">
                  <c:v>0.91100000000000003</c:v>
                </c:pt>
                <c:pt idx="1247">
                  <c:v>0.747</c:v>
                </c:pt>
                <c:pt idx="1248">
                  <c:v>0.76200000000000001</c:v>
                </c:pt>
                <c:pt idx="1249">
                  <c:v>0.93400000000000005</c:v>
                </c:pt>
                <c:pt idx="1250">
                  <c:v>0.70899999999999996</c:v>
                </c:pt>
                <c:pt idx="1251">
                  <c:v>0.88800000000000001</c:v>
                </c:pt>
                <c:pt idx="1252">
                  <c:v>0.61699999999999999</c:v>
                </c:pt>
                <c:pt idx="1253">
                  <c:v>0.14299999999999999</c:v>
                </c:pt>
                <c:pt idx="1254">
                  <c:v>0.71499999999999997</c:v>
                </c:pt>
                <c:pt idx="1255">
                  <c:v>0.78400000000000003</c:v>
                </c:pt>
                <c:pt idx="1256">
                  <c:v>0.78600000000000003</c:v>
                </c:pt>
                <c:pt idx="1257">
                  <c:v>0.55200000000000005</c:v>
                </c:pt>
                <c:pt idx="1258">
                  <c:v>0.79800000000000004</c:v>
                </c:pt>
                <c:pt idx="1259">
                  <c:v>0.48099999999999998</c:v>
                </c:pt>
                <c:pt idx="1260">
                  <c:v>0.70599999999999996</c:v>
                </c:pt>
                <c:pt idx="1261">
                  <c:v>0.68600000000000005</c:v>
                </c:pt>
                <c:pt idx="1262">
                  <c:v>0.90800000000000003</c:v>
                </c:pt>
                <c:pt idx="1263">
                  <c:v>0.91</c:v>
                </c:pt>
                <c:pt idx="1264">
                  <c:v>0.11899999999999999</c:v>
                </c:pt>
                <c:pt idx="1265">
                  <c:v>0.64600000000000002</c:v>
                </c:pt>
                <c:pt idx="1266">
                  <c:v>0.81200000000000006</c:v>
                </c:pt>
                <c:pt idx="1267">
                  <c:v>0.63400000000000001</c:v>
                </c:pt>
                <c:pt idx="1268">
                  <c:v>0.60099999999999998</c:v>
                </c:pt>
                <c:pt idx="1269">
                  <c:v>0.68700000000000006</c:v>
                </c:pt>
                <c:pt idx="1270">
                  <c:v>0.217</c:v>
                </c:pt>
                <c:pt idx="1271">
                  <c:v>0.86199999999999999</c:v>
                </c:pt>
                <c:pt idx="1272">
                  <c:v>0.61799999999999999</c:v>
                </c:pt>
                <c:pt idx="1273">
                  <c:v>0.59899999999999998</c:v>
                </c:pt>
                <c:pt idx="1274">
                  <c:v>0.91900000000000004</c:v>
                </c:pt>
                <c:pt idx="1275">
                  <c:v>0.97599999999999998</c:v>
                </c:pt>
                <c:pt idx="1276">
                  <c:v>0.94399999999999995</c:v>
                </c:pt>
                <c:pt idx="1277">
                  <c:v>0.57499999999999996</c:v>
                </c:pt>
                <c:pt idx="1278">
                  <c:v>0.51300000000000001</c:v>
                </c:pt>
                <c:pt idx="1279">
                  <c:v>0.82599999999999996</c:v>
                </c:pt>
                <c:pt idx="1280">
                  <c:v>0.90700000000000003</c:v>
                </c:pt>
                <c:pt idx="1281">
                  <c:v>0.372</c:v>
                </c:pt>
                <c:pt idx="1282">
                  <c:v>0.67600000000000005</c:v>
                </c:pt>
                <c:pt idx="1283">
                  <c:v>0.48499999999999999</c:v>
                </c:pt>
                <c:pt idx="1284">
                  <c:v>0.6</c:v>
                </c:pt>
                <c:pt idx="1285">
                  <c:v>0.83199999999999996</c:v>
                </c:pt>
                <c:pt idx="1286">
                  <c:v>0.871</c:v>
                </c:pt>
                <c:pt idx="1287">
                  <c:v>0.78900000000000003</c:v>
                </c:pt>
                <c:pt idx="1288">
                  <c:v>0.73599999999999999</c:v>
                </c:pt>
                <c:pt idx="1289">
                  <c:v>0.88600000000000001</c:v>
                </c:pt>
                <c:pt idx="1290">
                  <c:v>0.86699999999999999</c:v>
                </c:pt>
                <c:pt idx="1291">
                  <c:v>0.64100000000000001</c:v>
                </c:pt>
                <c:pt idx="1292">
                  <c:v>0.80100000000000005</c:v>
                </c:pt>
                <c:pt idx="1293">
                  <c:v>0.81499999999999995</c:v>
                </c:pt>
                <c:pt idx="1294">
                  <c:v>0.68</c:v>
                </c:pt>
                <c:pt idx="1295">
                  <c:v>0.30299999999999999</c:v>
                </c:pt>
                <c:pt idx="1296">
                  <c:v>0.66500000000000004</c:v>
                </c:pt>
                <c:pt idx="1297">
                  <c:v>0.93100000000000005</c:v>
                </c:pt>
                <c:pt idx="1298">
                  <c:v>0.55900000000000005</c:v>
                </c:pt>
                <c:pt idx="1299">
                  <c:v>0.83499999999999996</c:v>
                </c:pt>
                <c:pt idx="1300">
                  <c:v>0.621</c:v>
                </c:pt>
                <c:pt idx="1301">
                  <c:v>0.91100000000000003</c:v>
                </c:pt>
                <c:pt idx="1302">
                  <c:v>1</c:v>
                </c:pt>
                <c:pt idx="1303">
                  <c:v>0.84199999999999997</c:v>
                </c:pt>
                <c:pt idx="1304">
                  <c:v>0.39400000000000002</c:v>
                </c:pt>
                <c:pt idx="1305">
                  <c:v>0.56999999999999995</c:v>
                </c:pt>
                <c:pt idx="1306">
                  <c:v>0.83599999999999997</c:v>
                </c:pt>
                <c:pt idx="1307">
                  <c:v>0.78900000000000003</c:v>
                </c:pt>
                <c:pt idx="1308">
                  <c:v>0.84099999999999997</c:v>
                </c:pt>
                <c:pt idx="1309">
                  <c:v>0.77800000000000002</c:v>
                </c:pt>
                <c:pt idx="1310">
                  <c:v>0.94499999999999995</c:v>
                </c:pt>
                <c:pt idx="1311">
                  <c:v>0.91400000000000003</c:v>
                </c:pt>
                <c:pt idx="1312">
                  <c:v>0.64700000000000002</c:v>
                </c:pt>
                <c:pt idx="1313">
                  <c:v>0.64800000000000002</c:v>
                </c:pt>
                <c:pt idx="1314">
                  <c:v>0.876</c:v>
                </c:pt>
                <c:pt idx="1315">
                  <c:v>0.57199999999999995</c:v>
                </c:pt>
                <c:pt idx="1316">
                  <c:v>0.93400000000000005</c:v>
                </c:pt>
                <c:pt idx="1317">
                  <c:v>0.65500000000000003</c:v>
                </c:pt>
                <c:pt idx="1318">
                  <c:v>0.96399999999999997</c:v>
                </c:pt>
                <c:pt idx="1319">
                  <c:v>0.107</c:v>
                </c:pt>
                <c:pt idx="1320">
                  <c:v>0.22600000000000001</c:v>
                </c:pt>
                <c:pt idx="1321">
                  <c:v>0.33700000000000002</c:v>
                </c:pt>
                <c:pt idx="1322">
                  <c:v>0.36699999999999999</c:v>
                </c:pt>
                <c:pt idx="1323">
                  <c:v>0.6</c:v>
                </c:pt>
                <c:pt idx="1324">
                  <c:v>0.70399999999999996</c:v>
                </c:pt>
                <c:pt idx="1325">
                  <c:v>0.72699999999999998</c:v>
                </c:pt>
                <c:pt idx="1326">
                  <c:v>0.89500000000000002</c:v>
                </c:pt>
                <c:pt idx="1327">
                  <c:v>0.93600000000000005</c:v>
                </c:pt>
                <c:pt idx="1328">
                  <c:v>0.70099999999999996</c:v>
                </c:pt>
                <c:pt idx="1329">
                  <c:v>0.73299999999999998</c:v>
                </c:pt>
                <c:pt idx="1330">
                  <c:v>0.81899999999999995</c:v>
                </c:pt>
                <c:pt idx="1331">
                  <c:v>0.96599999999999997</c:v>
                </c:pt>
                <c:pt idx="1332">
                  <c:v>0.85699999999999998</c:v>
                </c:pt>
                <c:pt idx="1333">
                  <c:v>0.83699999999999997</c:v>
                </c:pt>
                <c:pt idx="1334">
                  <c:v>0.624</c:v>
                </c:pt>
                <c:pt idx="1335">
                  <c:v>0.89400000000000002</c:v>
                </c:pt>
                <c:pt idx="1336">
                  <c:v>0.58499999999999996</c:v>
                </c:pt>
                <c:pt idx="1337">
                  <c:v>0.84299999999999997</c:v>
                </c:pt>
                <c:pt idx="1338">
                  <c:v>0.83099999999999996</c:v>
                </c:pt>
                <c:pt idx="1339">
                  <c:v>0.68700000000000006</c:v>
                </c:pt>
                <c:pt idx="1340">
                  <c:v>0.73599999999999999</c:v>
                </c:pt>
                <c:pt idx="1341">
                  <c:v>0.52400000000000002</c:v>
                </c:pt>
                <c:pt idx="1342">
                  <c:v>0.58699999999999997</c:v>
                </c:pt>
                <c:pt idx="1343">
                  <c:v>0.95899999999999996</c:v>
                </c:pt>
                <c:pt idx="1344">
                  <c:v>0.86799999999999999</c:v>
                </c:pt>
                <c:pt idx="1345">
                  <c:v>0.92800000000000005</c:v>
                </c:pt>
                <c:pt idx="1346">
                  <c:v>0.6</c:v>
                </c:pt>
                <c:pt idx="1347">
                  <c:v>0.81299999999999994</c:v>
                </c:pt>
                <c:pt idx="1348">
                  <c:v>0.73899999999999999</c:v>
                </c:pt>
                <c:pt idx="1349">
                  <c:v>0.41099999999999998</c:v>
                </c:pt>
                <c:pt idx="1350">
                  <c:v>0.63300000000000001</c:v>
                </c:pt>
                <c:pt idx="1351">
                  <c:v>0.96699999999999997</c:v>
                </c:pt>
                <c:pt idx="1352">
                  <c:v>0.96899999999999997</c:v>
                </c:pt>
                <c:pt idx="1353">
                  <c:v>0.70099999999999996</c:v>
                </c:pt>
                <c:pt idx="1354">
                  <c:v>0.23499999999999999</c:v>
                </c:pt>
                <c:pt idx="1355">
                  <c:v>0.93100000000000005</c:v>
                </c:pt>
                <c:pt idx="1356">
                  <c:v>0.93400000000000005</c:v>
                </c:pt>
                <c:pt idx="1357">
                  <c:v>0.68700000000000006</c:v>
                </c:pt>
                <c:pt idx="1358">
                  <c:v>0.93500000000000005</c:v>
                </c:pt>
                <c:pt idx="1359">
                  <c:v>0.31900000000000001</c:v>
                </c:pt>
                <c:pt idx="1360">
                  <c:v>0.312</c:v>
                </c:pt>
                <c:pt idx="1361">
                  <c:v>0.98</c:v>
                </c:pt>
                <c:pt idx="1362">
                  <c:v>0.307</c:v>
                </c:pt>
                <c:pt idx="1363">
                  <c:v>0.83399999999999996</c:v>
                </c:pt>
                <c:pt idx="1364">
                  <c:v>0.29799999999999999</c:v>
                </c:pt>
                <c:pt idx="1365">
                  <c:v>0.83499999999999996</c:v>
                </c:pt>
                <c:pt idx="1366">
                  <c:v>0.96299999999999997</c:v>
                </c:pt>
                <c:pt idx="1367">
                  <c:v>0.71099999999999997</c:v>
                </c:pt>
                <c:pt idx="1368">
                  <c:v>0.52800000000000002</c:v>
                </c:pt>
                <c:pt idx="1369">
                  <c:v>0.70799999999999996</c:v>
                </c:pt>
                <c:pt idx="1370">
                  <c:v>0.72499999999999998</c:v>
                </c:pt>
                <c:pt idx="1371">
                  <c:v>0.92800000000000005</c:v>
                </c:pt>
                <c:pt idx="1372">
                  <c:v>0.52600000000000002</c:v>
                </c:pt>
                <c:pt idx="1373">
                  <c:v>0.86599999999999999</c:v>
                </c:pt>
                <c:pt idx="1374">
                  <c:v>0.81</c:v>
                </c:pt>
                <c:pt idx="1375">
                  <c:v>0.2</c:v>
                </c:pt>
                <c:pt idx="1376">
                  <c:v>0.68799999999999994</c:v>
                </c:pt>
                <c:pt idx="1377">
                  <c:v>0.95099999999999996</c:v>
                </c:pt>
                <c:pt idx="1378">
                  <c:v>0.76800000000000002</c:v>
                </c:pt>
                <c:pt idx="1379">
                  <c:v>0.67300000000000004</c:v>
                </c:pt>
                <c:pt idx="1380">
                  <c:v>0.81799999999999995</c:v>
                </c:pt>
                <c:pt idx="1381">
                  <c:v>0.76500000000000001</c:v>
                </c:pt>
                <c:pt idx="1382">
                  <c:v>0.90800000000000003</c:v>
                </c:pt>
                <c:pt idx="1383">
                  <c:v>0.55200000000000005</c:v>
                </c:pt>
                <c:pt idx="1384">
                  <c:v>0.97099999999999997</c:v>
                </c:pt>
                <c:pt idx="1385">
                  <c:v>0.65</c:v>
                </c:pt>
                <c:pt idx="1386">
                  <c:v>0.69099999999999995</c:v>
                </c:pt>
                <c:pt idx="1387">
                  <c:v>0.61699999999999999</c:v>
                </c:pt>
                <c:pt idx="1388">
                  <c:v>0.45300000000000001</c:v>
                </c:pt>
                <c:pt idx="1389">
                  <c:v>0.50900000000000001</c:v>
                </c:pt>
                <c:pt idx="1390">
                  <c:v>0.95199999999999996</c:v>
                </c:pt>
                <c:pt idx="1391">
                  <c:v>0.89500000000000002</c:v>
                </c:pt>
                <c:pt idx="1392">
                  <c:v>0.504</c:v>
                </c:pt>
                <c:pt idx="1393">
                  <c:v>0.75800000000000001</c:v>
                </c:pt>
                <c:pt idx="1394">
                  <c:v>0.80800000000000005</c:v>
                </c:pt>
                <c:pt idx="1395">
                  <c:v>0.55800000000000005</c:v>
                </c:pt>
                <c:pt idx="1396">
                  <c:v>0.57999999999999996</c:v>
                </c:pt>
                <c:pt idx="1397">
                  <c:v>0.91900000000000004</c:v>
                </c:pt>
                <c:pt idx="1398">
                  <c:v>0.73799999999999999</c:v>
                </c:pt>
                <c:pt idx="1399">
                  <c:v>0.64</c:v>
                </c:pt>
                <c:pt idx="1400">
                  <c:v>0.81399999999999995</c:v>
                </c:pt>
                <c:pt idx="1401">
                  <c:v>0.77600000000000002</c:v>
                </c:pt>
                <c:pt idx="1402">
                  <c:v>0.96699999999999997</c:v>
                </c:pt>
                <c:pt idx="1403">
                  <c:v>7.2999999999999995E-2</c:v>
                </c:pt>
                <c:pt idx="1404">
                  <c:v>0.81299999999999994</c:v>
                </c:pt>
                <c:pt idx="1405">
                  <c:v>0.85399999999999998</c:v>
                </c:pt>
                <c:pt idx="1406">
                  <c:v>0.94099999999999995</c:v>
                </c:pt>
                <c:pt idx="1407">
                  <c:v>0.746</c:v>
                </c:pt>
                <c:pt idx="1408">
                  <c:v>0.89900000000000002</c:v>
                </c:pt>
                <c:pt idx="1409">
                  <c:v>0.97299999999999998</c:v>
                </c:pt>
                <c:pt idx="1410">
                  <c:v>0.59499999999999997</c:v>
                </c:pt>
                <c:pt idx="1411">
                  <c:v>0.67500000000000004</c:v>
                </c:pt>
                <c:pt idx="1412">
                  <c:v>0.94299999999999995</c:v>
                </c:pt>
                <c:pt idx="1413">
                  <c:v>0.68100000000000005</c:v>
                </c:pt>
                <c:pt idx="1414">
                  <c:v>0.497</c:v>
                </c:pt>
                <c:pt idx="1415">
                  <c:v>0.73699999999999999</c:v>
                </c:pt>
                <c:pt idx="1416">
                  <c:v>0.78400000000000003</c:v>
                </c:pt>
                <c:pt idx="1417">
                  <c:v>0.56200000000000006</c:v>
                </c:pt>
                <c:pt idx="1418">
                  <c:v>0.56100000000000005</c:v>
                </c:pt>
                <c:pt idx="1419">
                  <c:v>0.73799999999999999</c:v>
                </c:pt>
                <c:pt idx="1420">
                  <c:v>0.80300000000000005</c:v>
                </c:pt>
                <c:pt idx="1421">
                  <c:v>0.75700000000000001</c:v>
                </c:pt>
                <c:pt idx="1422">
                  <c:v>0.31900000000000001</c:v>
                </c:pt>
                <c:pt idx="1423">
                  <c:v>0.379</c:v>
                </c:pt>
                <c:pt idx="1424">
                  <c:v>0.91500000000000004</c:v>
                </c:pt>
                <c:pt idx="1425">
                  <c:v>0.93300000000000005</c:v>
                </c:pt>
                <c:pt idx="1426">
                  <c:v>0.83699999999999997</c:v>
                </c:pt>
                <c:pt idx="1427">
                  <c:v>0.60199999999999998</c:v>
                </c:pt>
                <c:pt idx="1428">
                  <c:v>0.91</c:v>
                </c:pt>
                <c:pt idx="1429">
                  <c:v>0.93700000000000006</c:v>
                </c:pt>
                <c:pt idx="1430">
                  <c:v>0.91900000000000004</c:v>
                </c:pt>
                <c:pt idx="1431">
                  <c:v>0.90700000000000003</c:v>
                </c:pt>
                <c:pt idx="1432">
                  <c:v>0.71799999999999997</c:v>
                </c:pt>
                <c:pt idx="1433">
                  <c:v>0.78</c:v>
                </c:pt>
                <c:pt idx="1434">
                  <c:v>0.996</c:v>
                </c:pt>
                <c:pt idx="1435">
                  <c:v>0.95699999999999996</c:v>
                </c:pt>
                <c:pt idx="1436">
                  <c:v>0.72</c:v>
                </c:pt>
                <c:pt idx="1437">
                  <c:v>0.72699999999999998</c:v>
                </c:pt>
                <c:pt idx="1438">
                  <c:v>1</c:v>
                </c:pt>
                <c:pt idx="1439">
                  <c:v>0.84299999999999997</c:v>
                </c:pt>
                <c:pt idx="1440">
                  <c:v>0.71899999999999997</c:v>
                </c:pt>
                <c:pt idx="1441">
                  <c:v>0.755</c:v>
                </c:pt>
                <c:pt idx="1442">
                  <c:v>0.72699999999999998</c:v>
                </c:pt>
                <c:pt idx="1443">
                  <c:v>0.83099999999999996</c:v>
                </c:pt>
                <c:pt idx="1444">
                  <c:v>0.86699999999999999</c:v>
                </c:pt>
                <c:pt idx="1445">
                  <c:v>0.83</c:v>
                </c:pt>
                <c:pt idx="1446">
                  <c:v>0.60599999999999998</c:v>
                </c:pt>
                <c:pt idx="1447">
                  <c:v>0.72599999999999998</c:v>
                </c:pt>
                <c:pt idx="1448">
                  <c:v>0.9</c:v>
                </c:pt>
                <c:pt idx="1449">
                  <c:v>0.96299999999999997</c:v>
                </c:pt>
                <c:pt idx="1450">
                  <c:v>0.92300000000000004</c:v>
                </c:pt>
                <c:pt idx="1451">
                  <c:v>0.433</c:v>
                </c:pt>
                <c:pt idx="1452">
                  <c:v>0.89100000000000001</c:v>
                </c:pt>
                <c:pt idx="1453">
                  <c:v>0.88600000000000001</c:v>
                </c:pt>
                <c:pt idx="1454">
                  <c:v>0.52</c:v>
                </c:pt>
                <c:pt idx="1455">
                  <c:v>0.32200000000000001</c:v>
                </c:pt>
                <c:pt idx="1456">
                  <c:v>0.90700000000000003</c:v>
                </c:pt>
                <c:pt idx="1457">
                  <c:v>0.433</c:v>
                </c:pt>
                <c:pt idx="1458">
                  <c:v>0.99199999999999999</c:v>
                </c:pt>
                <c:pt idx="1459">
                  <c:v>0.82299999999999995</c:v>
                </c:pt>
                <c:pt idx="1460">
                  <c:v>0.80300000000000005</c:v>
                </c:pt>
                <c:pt idx="1461">
                  <c:v>0.85899999999999999</c:v>
                </c:pt>
                <c:pt idx="1462">
                  <c:v>0.58099999999999996</c:v>
                </c:pt>
                <c:pt idx="1463">
                  <c:v>0.65900000000000003</c:v>
                </c:pt>
                <c:pt idx="1464">
                  <c:v>0.78500000000000003</c:v>
                </c:pt>
                <c:pt idx="1465">
                  <c:v>0.86099999999999999</c:v>
                </c:pt>
                <c:pt idx="1466">
                  <c:v>0.85899999999999999</c:v>
                </c:pt>
                <c:pt idx="1467">
                  <c:v>0.42299999999999999</c:v>
                </c:pt>
                <c:pt idx="1468">
                  <c:v>0.90800000000000003</c:v>
                </c:pt>
                <c:pt idx="1469">
                  <c:v>0.90500000000000003</c:v>
                </c:pt>
                <c:pt idx="1470">
                  <c:v>0.47399999999999998</c:v>
                </c:pt>
                <c:pt idx="1471">
                  <c:v>0.83899999999999997</c:v>
                </c:pt>
                <c:pt idx="1472">
                  <c:v>0.55200000000000005</c:v>
                </c:pt>
                <c:pt idx="1473">
                  <c:v>0.188</c:v>
                </c:pt>
                <c:pt idx="1474">
                  <c:v>0.77300000000000002</c:v>
                </c:pt>
                <c:pt idx="1475">
                  <c:v>0.92200000000000004</c:v>
                </c:pt>
                <c:pt idx="1476">
                  <c:v>0.56200000000000006</c:v>
                </c:pt>
                <c:pt idx="1477">
                  <c:v>0.17100000000000001</c:v>
                </c:pt>
                <c:pt idx="1478">
                  <c:v>0.56899999999999995</c:v>
                </c:pt>
                <c:pt idx="1479">
                  <c:v>0.17399999999999999</c:v>
                </c:pt>
                <c:pt idx="1480">
                  <c:v>0.92</c:v>
                </c:pt>
                <c:pt idx="1481">
                  <c:v>0.32200000000000001</c:v>
                </c:pt>
                <c:pt idx="1482">
                  <c:v>0.94199999999999995</c:v>
                </c:pt>
                <c:pt idx="1483">
                  <c:v>0.73299999999999998</c:v>
                </c:pt>
                <c:pt idx="1484">
                  <c:v>0.38500000000000001</c:v>
                </c:pt>
                <c:pt idx="1485">
                  <c:v>0.79200000000000004</c:v>
                </c:pt>
                <c:pt idx="1486">
                  <c:v>0.73399999999999999</c:v>
                </c:pt>
                <c:pt idx="1487">
                  <c:v>0.67900000000000005</c:v>
                </c:pt>
                <c:pt idx="1488">
                  <c:v>0.99299999999999999</c:v>
                </c:pt>
                <c:pt idx="1489">
                  <c:v>0.73899999999999999</c:v>
                </c:pt>
                <c:pt idx="1490">
                  <c:v>0.106</c:v>
                </c:pt>
                <c:pt idx="1491">
                  <c:v>0.89400000000000002</c:v>
                </c:pt>
                <c:pt idx="1492">
                  <c:v>0.53800000000000003</c:v>
                </c:pt>
                <c:pt idx="1493">
                  <c:v>0.91700000000000004</c:v>
                </c:pt>
                <c:pt idx="1494">
                  <c:v>0.72199999999999998</c:v>
                </c:pt>
                <c:pt idx="1495">
                  <c:v>0.91800000000000004</c:v>
                </c:pt>
                <c:pt idx="1496">
                  <c:v>0.89100000000000001</c:v>
                </c:pt>
                <c:pt idx="1497">
                  <c:v>0.59</c:v>
                </c:pt>
                <c:pt idx="1498">
                  <c:v>0.32400000000000001</c:v>
                </c:pt>
                <c:pt idx="1499">
                  <c:v>0.93200000000000005</c:v>
                </c:pt>
                <c:pt idx="1500">
                  <c:v>0.89300000000000002</c:v>
                </c:pt>
                <c:pt idx="1501">
                  <c:v>0.91900000000000004</c:v>
                </c:pt>
                <c:pt idx="1502">
                  <c:v>0.60899999999999999</c:v>
                </c:pt>
                <c:pt idx="1503">
                  <c:v>0.76500000000000001</c:v>
                </c:pt>
                <c:pt idx="1504">
                  <c:v>0.9</c:v>
                </c:pt>
                <c:pt idx="1505">
                  <c:v>0.72899999999999998</c:v>
                </c:pt>
                <c:pt idx="1506">
                  <c:v>0.53100000000000003</c:v>
                </c:pt>
                <c:pt idx="1507">
                  <c:v>0.65300000000000002</c:v>
                </c:pt>
                <c:pt idx="1508">
                  <c:v>0.67800000000000005</c:v>
                </c:pt>
                <c:pt idx="1509">
                  <c:v>0.68100000000000005</c:v>
                </c:pt>
                <c:pt idx="1510">
                  <c:v>0.628</c:v>
                </c:pt>
                <c:pt idx="1511">
                  <c:v>0.88400000000000001</c:v>
                </c:pt>
                <c:pt idx="1512">
                  <c:v>0.83299999999999996</c:v>
                </c:pt>
                <c:pt idx="1513">
                  <c:v>0.68100000000000005</c:v>
                </c:pt>
                <c:pt idx="1514">
                  <c:v>0.67500000000000004</c:v>
                </c:pt>
                <c:pt idx="1515">
                  <c:v>0.78</c:v>
                </c:pt>
                <c:pt idx="1516">
                  <c:v>0.76</c:v>
                </c:pt>
                <c:pt idx="1517">
                  <c:v>0.67800000000000005</c:v>
                </c:pt>
                <c:pt idx="1518">
                  <c:v>0.85299999999999998</c:v>
                </c:pt>
                <c:pt idx="1519">
                  <c:v>0.70399999999999996</c:v>
                </c:pt>
                <c:pt idx="1520">
                  <c:v>0.66700000000000004</c:v>
                </c:pt>
                <c:pt idx="1521">
                  <c:v>0.59399999999999997</c:v>
                </c:pt>
                <c:pt idx="1522">
                  <c:v>0.91100000000000003</c:v>
                </c:pt>
                <c:pt idx="1523">
                  <c:v>0.71899999999999997</c:v>
                </c:pt>
                <c:pt idx="1524">
                  <c:v>0.59499999999999997</c:v>
                </c:pt>
                <c:pt idx="1525">
                  <c:v>0.79800000000000004</c:v>
                </c:pt>
                <c:pt idx="1526">
                  <c:v>0.85099999999999998</c:v>
                </c:pt>
                <c:pt idx="1527">
                  <c:v>0.74099999999999999</c:v>
                </c:pt>
                <c:pt idx="1528">
                  <c:v>0.91300000000000003</c:v>
                </c:pt>
                <c:pt idx="1529">
                  <c:v>0.88600000000000001</c:v>
                </c:pt>
                <c:pt idx="1530">
                  <c:v>0.69699999999999995</c:v>
                </c:pt>
                <c:pt idx="1531">
                  <c:v>0.77600000000000002</c:v>
                </c:pt>
                <c:pt idx="1532">
                  <c:v>0.95299999999999996</c:v>
                </c:pt>
                <c:pt idx="1533">
                  <c:v>0.442</c:v>
                </c:pt>
                <c:pt idx="1534">
                  <c:v>0.84499999999999997</c:v>
                </c:pt>
                <c:pt idx="1535">
                  <c:v>0.75800000000000001</c:v>
                </c:pt>
                <c:pt idx="1536">
                  <c:v>0.88100000000000001</c:v>
                </c:pt>
                <c:pt idx="1537">
                  <c:v>0.86799999999999999</c:v>
                </c:pt>
                <c:pt idx="1538">
                  <c:v>0.92700000000000005</c:v>
                </c:pt>
                <c:pt idx="1539">
                  <c:v>0.81</c:v>
                </c:pt>
                <c:pt idx="1540">
                  <c:v>0.94599999999999995</c:v>
                </c:pt>
                <c:pt idx="1541">
                  <c:v>0.38</c:v>
                </c:pt>
                <c:pt idx="1542">
                  <c:v>0.41599999999999998</c:v>
                </c:pt>
                <c:pt idx="1543">
                  <c:v>0.53500000000000003</c:v>
                </c:pt>
                <c:pt idx="1544">
                  <c:v>0.61199999999999999</c:v>
                </c:pt>
                <c:pt idx="1545">
                  <c:v>0.70099999999999996</c:v>
                </c:pt>
                <c:pt idx="1546">
                  <c:v>0.86699999999999999</c:v>
                </c:pt>
                <c:pt idx="1547">
                  <c:v>0.95399999999999996</c:v>
                </c:pt>
                <c:pt idx="1548">
                  <c:v>0.59499999999999997</c:v>
                </c:pt>
                <c:pt idx="1549">
                  <c:v>0.95899999999999996</c:v>
                </c:pt>
                <c:pt idx="1550">
                  <c:v>0.77100000000000002</c:v>
                </c:pt>
                <c:pt idx="1551">
                  <c:v>0.93300000000000005</c:v>
                </c:pt>
                <c:pt idx="1552">
                  <c:v>0.79900000000000004</c:v>
                </c:pt>
                <c:pt idx="1553">
                  <c:v>0.73399999999999999</c:v>
                </c:pt>
                <c:pt idx="1554">
                  <c:v>0.93400000000000005</c:v>
                </c:pt>
                <c:pt idx="1555">
                  <c:v>0.64100000000000001</c:v>
                </c:pt>
                <c:pt idx="1556">
                  <c:v>0.93899999999999995</c:v>
                </c:pt>
                <c:pt idx="1557">
                  <c:v>0.68100000000000005</c:v>
                </c:pt>
                <c:pt idx="1558">
                  <c:v>0.71499999999999997</c:v>
                </c:pt>
                <c:pt idx="1559">
                  <c:v>0.91700000000000004</c:v>
                </c:pt>
                <c:pt idx="1560">
                  <c:v>0.96799999999999997</c:v>
                </c:pt>
                <c:pt idx="1561">
                  <c:v>0.69199999999999995</c:v>
                </c:pt>
                <c:pt idx="1562">
                  <c:v>0.38700000000000001</c:v>
                </c:pt>
                <c:pt idx="1563">
                  <c:v>0.88200000000000001</c:v>
                </c:pt>
                <c:pt idx="1564">
                  <c:v>0.94199999999999995</c:v>
                </c:pt>
                <c:pt idx="1565">
                  <c:v>0.28000000000000003</c:v>
                </c:pt>
                <c:pt idx="1566">
                  <c:v>0.84599999999999997</c:v>
                </c:pt>
                <c:pt idx="1567">
                  <c:v>0.48099999999999998</c:v>
                </c:pt>
                <c:pt idx="1568">
                  <c:v>0.41899999999999998</c:v>
                </c:pt>
                <c:pt idx="1569">
                  <c:v>0.94199999999999995</c:v>
                </c:pt>
                <c:pt idx="1570">
                  <c:v>0.63400000000000001</c:v>
                </c:pt>
                <c:pt idx="1571">
                  <c:v>0.77500000000000002</c:v>
                </c:pt>
                <c:pt idx="1572">
                  <c:v>0.67300000000000004</c:v>
                </c:pt>
                <c:pt idx="1573">
                  <c:v>0.89</c:v>
                </c:pt>
                <c:pt idx="1574">
                  <c:v>0.60399999999999998</c:v>
                </c:pt>
                <c:pt idx="1575">
                  <c:v>0.35199999999999998</c:v>
                </c:pt>
                <c:pt idx="1576">
                  <c:v>0.60099999999999998</c:v>
                </c:pt>
                <c:pt idx="1577">
                  <c:v>0.80800000000000005</c:v>
                </c:pt>
                <c:pt idx="1578">
                  <c:v>0.72299999999999998</c:v>
                </c:pt>
                <c:pt idx="1579">
                  <c:v>0.83199999999999996</c:v>
                </c:pt>
                <c:pt idx="1580">
                  <c:v>0.98299999999999998</c:v>
                </c:pt>
                <c:pt idx="1581">
                  <c:v>0.108</c:v>
                </c:pt>
                <c:pt idx="1582">
                  <c:v>0.184</c:v>
                </c:pt>
                <c:pt idx="1583">
                  <c:v>0.73199999999999998</c:v>
                </c:pt>
                <c:pt idx="1584">
                  <c:v>0.86499999999999999</c:v>
                </c:pt>
                <c:pt idx="1585">
                  <c:v>0.76900000000000002</c:v>
                </c:pt>
                <c:pt idx="1586">
                  <c:v>0.36499999999999999</c:v>
                </c:pt>
                <c:pt idx="1587">
                  <c:v>0.90400000000000003</c:v>
                </c:pt>
                <c:pt idx="1588">
                  <c:v>0.52200000000000002</c:v>
                </c:pt>
                <c:pt idx="1589">
                  <c:v>0.79400000000000004</c:v>
                </c:pt>
                <c:pt idx="1590">
                  <c:v>0.97899999999999998</c:v>
                </c:pt>
                <c:pt idx="1591">
                  <c:v>0.621</c:v>
                </c:pt>
                <c:pt idx="1592">
                  <c:v>4.7E-2</c:v>
                </c:pt>
                <c:pt idx="1593">
                  <c:v>0.71199999999999997</c:v>
                </c:pt>
                <c:pt idx="1594">
                  <c:v>0.32600000000000001</c:v>
                </c:pt>
                <c:pt idx="1595">
                  <c:v>0.48099999999999998</c:v>
                </c:pt>
                <c:pt idx="1596">
                  <c:v>0.81399999999999995</c:v>
                </c:pt>
                <c:pt idx="1597">
                  <c:v>0.97899999999999998</c:v>
                </c:pt>
                <c:pt idx="1598">
                  <c:v>0.48899999999999999</c:v>
                </c:pt>
                <c:pt idx="1599">
                  <c:v>0.80500000000000005</c:v>
                </c:pt>
                <c:pt idx="1600">
                  <c:v>0.79100000000000004</c:v>
                </c:pt>
                <c:pt idx="1601">
                  <c:v>0.51800000000000002</c:v>
                </c:pt>
                <c:pt idx="1602">
                  <c:v>0.65600000000000003</c:v>
                </c:pt>
                <c:pt idx="1603">
                  <c:v>0.88300000000000001</c:v>
                </c:pt>
                <c:pt idx="1604">
                  <c:v>0.70399999999999996</c:v>
                </c:pt>
                <c:pt idx="1605">
                  <c:v>0.82</c:v>
                </c:pt>
                <c:pt idx="1606">
                  <c:v>0.63300000000000001</c:v>
                </c:pt>
                <c:pt idx="1607">
                  <c:v>0.95399999999999996</c:v>
                </c:pt>
                <c:pt idx="1608">
                  <c:v>0.92800000000000005</c:v>
                </c:pt>
                <c:pt idx="1609">
                  <c:v>0.86299999999999999</c:v>
                </c:pt>
                <c:pt idx="1610">
                  <c:v>0.73199999999999998</c:v>
                </c:pt>
                <c:pt idx="1611">
                  <c:v>0.64700000000000002</c:v>
                </c:pt>
                <c:pt idx="1612">
                  <c:v>0.74</c:v>
                </c:pt>
                <c:pt idx="1613">
                  <c:v>0.41599999999999998</c:v>
                </c:pt>
                <c:pt idx="1614">
                  <c:v>0.84099999999999997</c:v>
                </c:pt>
                <c:pt idx="1615">
                  <c:v>0.70799999999999996</c:v>
                </c:pt>
                <c:pt idx="1616">
                  <c:v>0.64700000000000002</c:v>
                </c:pt>
                <c:pt idx="1617">
                  <c:v>0.95</c:v>
                </c:pt>
                <c:pt idx="1618">
                  <c:v>0.89400000000000002</c:v>
                </c:pt>
                <c:pt idx="1619">
                  <c:v>0.76</c:v>
                </c:pt>
                <c:pt idx="1620">
                  <c:v>0.84499999999999997</c:v>
                </c:pt>
                <c:pt idx="1621">
                  <c:v>0.42099999999999999</c:v>
                </c:pt>
                <c:pt idx="1622">
                  <c:v>0.436</c:v>
                </c:pt>
                <c:pt idx="1623">
                  <c:v>0.51900000000000002</c:v>
                </c:pt>
                <c:pt idx="1624">
                  <c:v>0.54700000000000004</c:v>
                </c:pt>
                <c:pt idx="1625">
                  <c:v>0.25700000000000001</c:v>
                </c:pt>
                <c:pt idx="1626">
                  <c:v>0.44900000000000001</c:v>
                </c:pt>
                <c:pt idx="1627">
                  <c:v>0.57399999999999995</c:v>
                </c:pt>
                <c:pt idx="1628">
                  <c:v>0.71899999999999997</c:v>
                </c:pt>
                <c:pt idx="1629">
                  <c:v>0.82599999999999996</c:v>
                </c:pt>
                <c:pt idx="1630">
                  <c:v>0.93799999999999994</c:v>
                </c:pt>
                <c:pt idx="1631">
                  <c:v>0.71699999999999997</c:v>
                </c:pt>
                <c:pt idx="1632">
                  <c:v>0.59599999999999997</c:v>
                </c:pt>
                <c:pt idx="1633">
                  <c:v>0.79</c:v>
                </c:pt>
                <c:pt idx="1634">
                  <c:v>0.92100000000000004</c:v>
                </c:pt>
                <c:pt idx="1635">
                  <c:v>0.56299999999999994</c:v>
                </c:pt>
                <c:pt idx="1636">
                  <c:v>0.71199999999999997</c:v>
                </c:pt>
                <c:pt idx="1637">
                  <c:v>0.75800000000000001</c:v>
                </c:pt>
                <c:pt idx="1638">
                  <c:v>0.503</c:v>
                </c:pt>
                <c:pt idx="1639">
                  <c:v>0.89800000000000002</c:v>
                </c:pt>
                <c:pt idx="1640">
                  <c:v>0.84799999999999998</c:v>
                </c:pt>
                <c:pt idx="1641">
                  <c:v>0.80800000000000005</c:v>
                </c:pt>
                <c:pt idx="1642">
                  <c:v>0.66200000000000003</c:v>
                </c:pt>
                <c:pt idx="1643">
                  <c:v>0.874</c:v>
                </c:pt>
                <c:pt idx="1644">
                  <c:v>0.53700000000000003</c:v>
                </c:pt>
                <c:pt idx="1645">
                  <c:v>0.65300000000000002</c:v>
                </c:pt>
                <c:pt idx="1646">
                  <c:v>0.65100000000000002</c:v>
                </c:pt>
                <c:pt idx="1647">
                  <c:v>0.74099999999999999</c:v>
                </c:pt>
                <c:pt idx="1648">
                  <c:v>0.93600000000000005</c:v>
                </c:pt>
                <c:pt idx="1649">
                  <c:v>0.69099999999999995</c:v>
                </c:pt>
                <c:pt idx="1650">
                  <c:v>0.80300000000000005</c:v>
                </c:pt>
                <c:pt idx="1651">
                  <c:v>0.24</c:v>
                </c:pt>
                <c:pt idx="1652">
                  <c:v>0.68500000000000005</c:v>
                </c:pt>
                <c:pt idx="1653">
                  <c:v>0.34300000000000003</c:v>
                </c:pt>
                <c:pt idx="1654">
                  <c:v>0.114</c:v>
                </c:pt>
                <c:pt idx="1655">
                  <c:v>0.19700000000000001</c:v>
                </c:pt>
                <c:pt idx="1656">
                  <c:v>0.76600000000000001</c:v>
                </c:pt>
                <c:pt idx="1657">
                  <c:v>0.81799999999999995</c:v>
                </c:pt>
                <c:pt idx="1658">
                  <c:v>0.92700000000000005</c:v>
                </c:pt>
                <c:pt idx="1659">
                  <c:v>0.40600000000000003</c:v>
                </c:pt>
                <c:pt idx="1660">
                  <c:v>0.95799999999999996</c:v>
                </c:pt>
                <c:pt idx="1661">
                  <c:v>0.64800000000000002</c:v>
                </c:pt>
                <c:pt idx="1662">
                  <c:v>0.77700000000000002</c:v>
                </c:pt>
                <c:pt idx="1663">
                  <c:v>0.35399999999999998</c:v>
                </c:pt>
                <c:pt idx="1664">
                  <c:v>0.70799999999999996</c:v>
                </c:pt>
                <c:pt idx="1665">
                  <c:v>0.92900000000000005</c:v>
                </c:pt>
                <c:pt idx="1666">
                  <c:v>0.96199999999999997</c:v>
                </c:pt>
                <c:pt idx="1667">
                  <c:v>0.94399999999999995</c:v>
                </c:pt>
                <c:pt idx="1668">
                  <c:v>0.96499999999999997</c:v>
                </c:pt>
                <c:pt idx="1669">
                  <c:v>0.754</c:v>
                </c:pt>
                <c:pt idx="1670">
                  <c:v>0.81399999999999995</c:v>
                </c:pt>
                <c:pt idx="1671">
                  <c:v>0.81200000000000006</c:v>
                </c:pt>
                <c:pt idx="1672">
                  <c:v>0.93200000000000005</c:v>
                </c:pt>
                <c:pt idx="1673">
                  <c:v>0.42699999999999999</c:v>
                </c:pt>
                <c:pt idx="1674">
                  <c:v>0.30499999999999999</c:v>
                </c:pt>
                <c:pt idx="1675">
                  <c:v>0.98499999999999999</c:v>
                </c:pt>
                <c:pt idx="1676">
                  <c:v>0.76100000000000001</c:v>
                </c:pt>
                <c:pt idx="1677">
                  <c:v>0.221</c:v>
                </c:pt>
                <c:pt idx="1678">
                  <c:v>0.60299999999999998</c:v>
                </c:pt>
                <c:pt idx="1679">
                  <c:v>0.77900000000000003</c:v>
                </c:pt>
                <c:pt idx="1680">
                  <c:v>0.72</c:v>
                </c:pt>
                <c:pt idx="1681">
                  <c:v>0.92100000000000004</c:v>
                </c:pt>
                <c:pt idx="1682">
                  <c:v>0.249</c:v>
                </c:pt>
                <c:pt idx="1683">
                  <c:v>0.33300000000000002</c:v>
                </c:pt>
                <c:pt idx="1684">
                  <c:v>0.755</c:v>
                </c:pt>
                <c:pt idx="1685">
                  <c:v>0.38</c:v>
                </c:pt>
                <c:pt idx="1686">
                  <c:v>0.68200000000000005</c:v>
                </c:pt>
                <c:pt idx="1687">
                  <c:v>0.83499999999999996</c:v>
                </c:pt>
                <c:pt idx="1688">
                  <c:v>0.78300000000000003</c:v>
                </c:pt>
                <c:pt idx="1689">
                  <c:v>6.3E-2</c:v>
                </c:pt>
                <c:pt idx="1690">
                  <c:v>0.56000000000000005</c:v>
                </c:pt>
                <c:pt idx="1691">
                  <c:v>0.94399999999999995</c:v>
                </c:pt>
                <c:pt idx="1692">
                  <c:v>0.95</c:v>
                </c:pt>
                <c:pt idx="1693">
                  <c:v>0.55900000000000005</c:v>
                </c:pt>
                <c:pt idx="1694">
                  <c:v>0.24199999999999999</c:v>
                </c:pt>
                <c:pt idx="1695">
                  <c:v>0.81899999999999995</c:v>
                </c:pt>
                <c:pt idx="1696">
                  <c:v>0.86599999999999999</c:v>
                </c:pt>
                <c:pt idx="1697">
                  <c:v>0.44800000000000001</c:v>
                </c:pt>
                <c:pt idx="1698">
                  <c:v>0.87</c:v>
                </c:pt>
                <c:pt idx="1699">
                  <c:v>0.621</c:v>
                </c:pt>
                <c:pt idx="1700">
                  <c:v>6.2E-2</c:v>
                </c:pt>
                <c:pt idx="1701">
                  <c:v>0.86699999999999999</c:v>
                </c:pt>
                <c:pt idx="1702">
                  <c:v>0.93899999999999995</c:v>
                </c:pt>
                <c:pt idx="1703">
                  <c:v>0.82899999999999996</c:v>
                </c:pt>
                <c:pt idx="1704">
                  <c:v>0.93799999999999994</c:v>
                </c:pt>
                <c:pt idx="1705">
                  <c:v>0.79900000000000004</c:v>
                </c:pt>
                <c:pt idx="1706">
                  <c:v>0.81799999999999995</c:v>
                </c:pt>
                <c:pt idx="1707">
                  <c:v>0.872</c:v>
                </c:pt>
                <c:pt idx="1708">
                  <c:v>0.89800000000000002</c:v>
                </c:pt>
                <c:pt idx="1709">
                  <c:v>0.79200000000000004</c:v>
                </c:pt>
                <c:pt idx="1710">
                  <c:v>0.59599999999999997</c:v>
                </c:pt>
                <c:pt idx="1711">
                  <c:v>0.72499999999999998</c:v>
                </c:pt>
                <c:pt idx="1712">
                  <c:v>0.35499999999999998</c:v>
                </c:pt>
                <c:pt idx="1713">
                  <c:v>0.90800000000000003</c:v>
                </c:pt>
                <c:pt idx="1714">
                  <c:v>0.95499999999999996</c:v>
                </c:pt>
                <c:pt idx="1715">
                  <c:v>0.74299999999999999</c:v>
                </c:pt>
                <c:pt idx="1716">
                  <c:v>0.443</c:v>
                </c:pt>
                <c:pt idx="1717">
                  <c:v>0.57799999999999996</c:v>
                </c:pt>
                <c:pt idx="1718">
                  <c:v>0.80400000000000005</c:v>
                </c:pt>
                <c:pt idx="1719">
                  <c:v>0.86499999999999999</c:v>
                </c:pt>
                <c:pt idx="1720">
                  <c:v>0.38600000000000001</c:v>
                </c:pt>
                <c:pt idx="1721">
                  <c:v>0.42599999999999999</c:v>
                </c:pt>
                <c:pt idx="1722">
                  <c:v>0.57399999999999995</c:v>
                </c:pt>
                <c:pt idx="1723">
                  <c:v>0.57799999999999996</c:v>
                </c:pt>
                <c:pt idx="1724">
                  <c:v>0.318</c:v>
                </c:pt>
                <c:pt idx="1725">
                  <c:v>0.86699999999999999</c:v>
                </c:pt>
                <c:pt idx="1726">
                  <c:v>0.96099999999999997</c:v>
                </c:pt>
                <c:pt idx="1727">
                  <c:v>0.28000000000000003</c:v>
                </c:pt>
                <c:pt idx="1728">
                  <c:v>0.91</c:v>
                </c:pt>
                <c:pt idx="1729">
                  <c:v>0.92200000000000004</c:v>
                </c:pt>
                <c:pt idx="1730">
                  <c:v>0.59299999999999997</c:v>
                </c:pt>
                <c:pt idx="1731">
                  <c:v>0.54300000000000004</c:v>
                </c:pt>
                <c:pt idx="1732">
                  <c:v>0.71199999999999997</c:v>
                </c:pt>
                <c:pt idx="1733">
                  <c:v>5.1999999999999998E-2</c:v>
                </c:pt>
                <c:pt idx="1734">
                  <c:v>0.49</c:v>
                </c:pt>
                <c:pt idx="1735">
                  <c:v>0.76700000000000002</c:v>
                </c:pt>
                <c:pt idx="1736">
                  <c:v>0.85</c:v>
                </c:pt>
                <c:pt idx="1737">
                  <c:v>0.83599999999999997</c:v>
                </c:pt>
                <c:pt idx="1738">
                  <c:v>0.84</c:v>
                </c:pt>
                <c:pt idx="1739">
                  <c:v>0.94699999999999995</c:v>
                </c:pt>
                <c:pt idx="1740">
                  <c:v>0.44900000000000001</c:v>
                </c:pt>
                <c:pt idx="1741">
                  <c:v>0.85199999999999998</c:v>
                </c:pt>
                <c:pt idx="1742">
                  <c:v>0.92400000000000004</c:v>
                </c:pt>
                <c:pt idx="1743">
                  <c:v>0.65900000000000003</c:v>
                </c:pt>
                <c:pt idx="1744">
                  <c:v>0.84399999999999997</c:v>
                </c:pt>
                <c:pt idx="1745">
                  <c:v>0.95199999999999996</c:v>
                </c:pt>
                <c:pt idx="1746">
                  <c:v>0.86899999999999999</c:v>
                </c:pt>
                <c:pt idx="1747">
                  <c:v>0.54500000000000004</c:v>
                </c:pt>
                <c:pt idx="1748">
                  <c:v>0.59899999999999998</c:v>
                </c:pt>
                <c:pt idx="1749">
                  <c:v>0.94599999999999995</c:v>
                </c:pt>
                <c:pt idx="1750">
                  <c:v>0.91700000000000004</c:v>
                </c:pt>
                <c:pt idx="1751">
                  <c:v>0.47499999999999998</c:v>
                </c:pt>
                <c:pt idx="1752">
                  <c:v>0.78400000000000003</c:v>
                </c:pt>
                <c:pt idx="1753">
                  <c:v>0.46300000000000002</c:v>
                </c:pt>
                <c:pt idx="1754">
                  <c:v>0.94399999999999995</c:v>
                </c:pt>
                <c:pt idx="1755">
                  <c:v>0.503</c:v>
                </c:pt>
                <c:pt idx="1756">
                  <c:v>0.97499999999999998</c:v>
                </c:pt>
                <c:pt idx="1757">
                  <c:v>0.47199999999999998</c:v>
                </c:pt>
                <c:pt idx="1758">
                  <c:v>0.93799999999999994</c:v>
                </c:pt>
                <c:pt idx="1759">
                  <c:v>0.55300000000000005</c:v>
                </c:pt>
                <c:pt idx="1760">
                  <c:v>0.56100000000000005</c:v>
                </c:pt>
                <c:pt idx="1761">
                  <c:v>0.60399999999999998</c:v>
                </c:pt>
                <c:pt idx="1762">
                  <c:v>0.92800000000000005</c:v>
                </c:pt>
                <c:pt idx="1763">
                  <c:v>0.97</c:v>
                </c:pt>
                <c:pt idx="1764">
                  <c:v>0.53400000000000003</c:v>
                </c:pt>
                <c:pt idx="1765">
                  <c:v>0.63700000000000001</c:v>
                </c:pt>
                <c:pt idx="1766">
                  <c:v>0.73299999999999998</c:v>
                </c:pt>
                <c:pt idx="1767">
                  <c:v>4.9000000000000002E-2</c:v>
                </c:pt>
                <c:pt idx="1768">
                  <c:v>0.751</c:v>
                </c:pt>
                <c:pt idx="1769">
                  <c:v>0.81100000000000005</c:v>
                </c:pt>
                <c:pt idx="1770">
                  <c:v>0.83899999999999997</c:v>
                </c:pt>
                <c:pt idx="1771">
                  <c:v>0.83</c:v>
                </c:pt>
                <c:pt idx="1772">
                  <c:v>0.92200000000000004</c:v>
                </c:pt>
                <c:pt idx="1773">
                  <c:v>0.26400000000000001</c:v>
                </c:pt>
                <c:pt idx="1774">
                  <c:v>0.67200000000000004</c:v>
                </c:pt>
                <c:pt idx="1775">
                  <c:v>0.61899999999999999</c:v>
                </c:pt>
                <c:pt idx="1776">
                  <c:v>0.77600000000000002</c:v>
                </c:pt>
                <c:pt idx="1777">
                  <c:v>0.82899999999999996</c:v>
                </c:pt>
                <c:pt idx="1778">
                  <c:v>0.627</c:v>
                </c:pt>
                <c:pt idx="1779">
                  <c:v>0.499</c:v>
                </c:pt>
                <c:pt idx="1780">
                  <c:v>0.72799999999999998</c:v>
                </c:pt>
                <c:pt idx="1781">
                  <c:v>0.71799999999999997</c:v>
                </c:pt>
                <c:pt idx="1782">
                  <c:v>0.96</c:v>
                </c:pt>
                <c:pt idx="1783">
                  <c:v>0.91700000000000004</c:v>
                </c:pt>
                <c:pt idx="1784">
                  <c:v>0.90600000000000003</c:v>
                </c:pt>
                <c:pt idx="1785">
                  <c:v>0.32900000000000001</c:v>
                </c:pt>
                <c:pt idx="1786">
                  <c:v>0.46800000000000003</c:v>
                </c:pt>
                <c:pt idx="1787">
                  <c:v>0.81699999999999995</c:v>
                </c:pt>
                <c:pt idx="1788">
                  <c:v>0.53500000000000003</c:v>
                </c:pt>
                <c:pt idx="1789">
                  <c:v>0.89300000000000002</c:v>
                </c:pt>
                <c:pt idx="1790">
                  <c:v>0.66500000000000004</c:v>
                </c:pt>
                <c:pt idx="1791">
                  <c:v>0.95299999999999996</c:v>
                </c:pt>
                <c:pt idx="1792">
                  <c:v>0.97399999999999998</c:v>
                </c:pt>
                <c:pt idx="1793">
                  <c:v>0.69899999999999995</c:v>
                </c:pt>
                <c:pt idx="1794">
                  <c:v>0.45500000000000002</c:v>
                </c:pt>
                <c:pt idx="1795">
                  <c:v>0.95799999999999996</c:v>
                </c:pt>
                <c:pt idx="1796">
                  <c:v>0.65400000000000003</c:v>
                </c:pt>
                <c:pt idx="1797">
                  <c:v>0.94899999999999995</c:v>
                </c:pt>
                <c:pt idx="1798">
                  <c:v>0.86499999999999999</c:v>
                </c:pt>
                <c:pt idx="1799">
                  <c:v>0.56299999999999994</c:v>
                </c:pt>
                <c:pt idx="1800">
                  <c:v>0.88800000000000001</c:v>
                </c:pt>
                <c:pt idx="1801">
                  <c:v>0.45300000000000001</c:v>
                </c:pt>
                <c:pt idx="1802">
                  <c:v>0.66</c:v>
                </c:pt>
                <c:pt idx="1803">
                  <c:v>0.88400000000000001</c:v>
                </c:pt>
                <c:pt idx="1804">
                  <c:v>0.88900000000000001</c:v>
                </c:pt>
                <c:pt idx="1805">
                  <c:v>0.57799999999999996</c:v>
                </c:pt>
                <c:pt idx="1806">
                  <c:v>0.61499999999999999</c:v>
                </c:pt>
                <c:pt idx="1807">
                  <c:v>0.34300000000000003</c:v>
                </c:pt>
                <c:pt idx="1808">
                  <c:v>0.86299999999999999</c:v>
                </c:pt>
                <c:pt idx="1809">
                  <c:v>0.71599999999999997</c:v>
                </c:pt>
                <c:pt idx="1810">
                  <c:v>0.92100000000000004</c:v>
                </c:pt>
                <c:pt idx="1811">
                  <c:v>0.59399999999999997</c:v>
                </c:pt>
                <c:pt idx="1812">
                  <c:v>0.98499999999999999</c:v>
                </c:pt>
                <c:pt idx="1813">
                  <c:v>0.51</c:v>
                </c:pt>
                <c:pt idx="1814">
                  <c:v>0.78900000000000003</c:v>
                </c:pt>
                <c:pt idx="1815">
                  <c:v>0.874</c:v>
                </c:pt>
                <c:pt idx="1816">
                  <c:v>0.90900000000000003</c:v>
                </c:pt>
                <c:pt idx="1817">
                  <c:v>0.50600000000000001</c:v>
                </c:pt>
                <c:pt idx="1818">
                  <c:v>0.90900000000000003</c:v>
                </c:pt>
                <c:pt idx="1819">
                  <c:v>0.86599999999999999</c:v>
                </c:pt>
                <c:pt idx="1820">
                  <c:v>0.72399999999999998</c:v>
                </c:pt>
                <c:pt idx="1821">
                  <c:v>0.89200000000000002</c:v>
                </c:pt>
                <c:pt idx="1822">
                  <c:v>0.72899999999999998</c:v>
                </c:pt>
                <c:pt idx="1823">
                  <c:v>0.97499999999999998</c:v>
                </c:pt>
                <c:pt idx="1824">
                  <c:v>0.748</c:v>
                </c:pt>
                <c:pt idx="1825">
                  <c:v>0.46500000000000002</c:v>
                </c:pt>
                <c:pt idx="1826">
                  <c:v>0.81499999999999995</c:v>
                </c:pt>
                <c:pt idx="1827">
                  <c:v>0.79800000000000004</c:v>
                </c:pt>
                <c:pt idx="1828">
                  <c:v>0.71099999999999997</c:v>
                </c:pt>
                <c:pt idx="1829">
                  <c:v>0.75700000000000001</c:v>
                </c:pt>
                <c:pt idx="1830">
                  <c:v>0.83299999999999996</c:v>
                </c:pt>
                <c:pt idx="1831">
                  <c:v>0.92400000000000004</c:v>
                </c:pt>
                <c:pt idx="1832">
                  <c:v>0.91700000000000004</c:v>
                </c:pt>
                <c:pt idx="1833">
                  <c:v>0.63</c:v>
                </c:pt>
                <c:pt idx="1834">
                  <c:v>0.80100000000000005</c:v>
                </c:pt>
                <c:pt idx="1835">
                  <c:v>0.70799999999999996</c:v>
                </c:pt>
                <c:pt idx="1836">
                  <c:v>0.73</c:v>
                </c:pt>
                <c:pt idx="1837">
                  <c:v>0.88700000000000001</c:v>
                </c:pt>
                <c:pt idx="1838">
                  <c:v>0.82799999999999996</c:v>
                </c:pt>
                <c:pt idx="1839">
                  <c:v>0.82299999999999995</c:v>
                </c:pt>
                <c:pt idx="1840">
                  <c:v>0.69399999999999995</c:v>
                </c:pt>
                <c:pt idx="1841">
                  <c:v>0.56200000000000006</c:v>
                </c:pt>
                <c:pt idx="1842">
                  <c:v>0.91800000000000004</c:v>
                </c:pt>
                <c:pt idx="1843">
                  <c:v>0.67</c:v>
                </c:pt>
                <c:pt idx="1844">
                  <c:v>0.54900000000000004</c:v>
                </c:pt>
                <c:pt idx="1845">
                  <c:v>0.68600000000000005</c:v>
                </c:pt>
                <c:pt idx="1846">
                  <c:v>0.58599999999999997</c:v>
                </c:pt>
                <c:pt idx="1847">
                  <c:v>0.73299999999999998</c:v>
                </c:pt>
                <c:pt idx="1848">
                  <c:v>0.79100000000000004</c:v>
                </c:pt>
                <c:pt idx="1849">
                  <c:v>0.36099999999999999</c:v>
                </c:pt>
                <c:pt idx="1850">
                  <c:v>0.89100000000000001</c:v>
                </c:pt>
                <c:pt idx="1851">
                  <c:v>0.92800000000000005</c:v>
                </c:pt>
                <c:pt idx="1852">
                  <c:v>0.82799999999999996</c:v>
                </c:pt>
                <c:pt idx="1853">
                  <c:v>0.71399999999999997</c:v>
                </c:pt>
                <c:pt idx="1854">
                  <c:v>0.90400000000000003</c:v>
                </c:pt>
                <c:pt idx="1855">
                  <c:v>0.23200000000000001</c:v>
                </c:pt>
                <c:pt idx="1856">
                  <c:v>0.27</c:v>
                </c:pt>
                <c:pt idx="1857">
                  <c:v>0.68500000000000005</c:v>
                </c:pt>
                <c:pt idx="1858">
                  <c:v>0.89200000000000002</c:v>
                </c:pt>
                <c:pt idx="1859">
                  <c:v>0.69699999999999995</c:v>
                </c:pt>
                <c:pt idx="1860">
                  <c:v>0.92300000000000004</c:v>
                </c:pt>
                <c:pt idx="1861">
                  <c:v>0.622</c:v>
                </c:pt>
                <c:pt idx="1862">
                  <c:v>0.48399999999999999</c:v>
                </c:pt>
                <c:pt idx="1863">
                  <c:v>0.89700000000000002</c:v>
                </c:pt>
                <c:pt idx="1864">
                  <c:v>0.78500000000000003</c:v>
                </c:pt>
                <c:pt idx="1865">
                  <c:v>0.71299999999999997</c:v>
                </c:pt>
                <c:pt idx="1866">
                  <c:v>0.63600000000000001</c:v>
                </c:pt>
                <c:pt idx="1867">
                  <c:v>0.66</c:v>
                </c:pt>
                <c:pt idx="1868">
                  <c:v>0.81699999999999995</c:v>
                </c:pt>
                <c:pt idx="1869">
                  <c:v>0.80100000000000005</c:v>
                </c:pt>
                <c:pt idx="1870">
                  <c:v>0.90100000000000002</c:v>
                </c:pt>
                <c:pt idx="1871">
                  <c:v>0.54</c:v>
                </c:pt>
                <c:pt idx="1872">
                  <c:v>0.68600000000000005</c:v>
                </c:pt>
                <c:pt idx="1873">
                  <c:v>0.72499999999999998</c:v>
                </c:pt>
                <c:pt idx="1874">
                  <c:v>0.73199999999999998</c:v>
                </c:pt>
                <c:pt idx="1875">
                  <c:v>0.76500000000000001</c:v>
                </c:pt>
                <c:pt idx="1876">
                  <c:v>0.95099999999999996</c:v>
                </c:pt>
                <c:pt idx="1877">
                  <c:v>0.85599999999999998</c:v>
                </c:pt>
                <c:pt idx="1878">
                  <c:v>0.33600000000000002</c:v>
                </c:pt>
                <c:pt idx="1879">
                  <c:v>0.71199999999999997</c:v>
                </c:pt>
                <c:pt idx="1880">
                  <c:v>0.74399999999999999</c:v>
                </c:pt>
                <c:pt idx="1881">
                  <c:v>0.75600000000000001</c:v>
                </c:pt>
                <c:pt idx="1882">
                  <c:v>0.82099999999999995</c:v>
                </c:pt>
                <c:pt idx="1883">
                  <c:v>0.63900000000000001</c:v>
                </c:pt>
                <c:pt idx="1884">
                  <c:v>0.78400000000000003</c:v>
                </c:pt>
                <c:pt idx="1885">
                  <c:v>0.66500000000000004</c:v>
                </c:pt>
                <c:pt idx="1886">
                  <c:v>0.96099999999999997</c:v>
                </c:pt>
                <c:pt idx="1887">
                  <c:v>0.85599999999999998</c:v>
                </c:pt>
                <c:pt idx="1888">
                  <c:v>0.58299999999999996</c:v>
                </c:pt>
                <c:pt idx="1889">
                  <c:v>0.45300000000000001</c:v>
                </c:pt>
                <c:pt idx="1890">
                  <c:v>0.77</c:v>
                </c:pt>
                <c:pt idx="1891">
                  <c:v>0.65</c:v>
                </c:pt>
                <c:pt idx="1892">
                  <c:v>0.84199999999999997</c:v>
                </c:pt>
                <c:pt idx="1893">
                  <c:v>0.92900000000000005</c:v>
                </c:pt>
                <c:pt idx="1894">
                  <c:v>0.876</c:v>
                </c:pt>
                <c:pt idx="1895">
                  <c:v>0.59699999999999998</c:v>
                </c:pt>
                <c:pt idx="1896">
                  <c:v>7.0000000000000007E-2</c:v>
                </c:pt>
                <c:pt idx="1897">
                  <c:v>0.36399999999999999</c:v>
                </c:pt>
                <c:pt idx="1898">
                  <c:v>0.75900000000000001</c:v>
                </c:pt>
                <c:pt idx="1899">
                  <c:v>0.83299999999999996</c:v>
                </c:pt>
                <c:pt idx="1900">
                  <c:v>0.91</c:v>
                </c:pt>
                <c:pt idx="1901">
                  <c:v>0.67500000000000004</c:v>
                </c:pt>
                <c:pt idx="1902">
                  <c:v>0.86699999999999999</c:v>
                </c:pt>
                <c:pt idx="1903">
                  <c:v>0.68</c:v>
                </c:pt>
                <c:pt idx="1904">
                  <c:v>0.29699999999999999</c:v>
                </c:pt>
                <c:pt idx="1905">
                  <c:v>0.997</c:v>
                </c:pt>
                <c:pt idx="1906">
                  <c:v>0.48699999999999999</c:v>
                </c:pt>
                <c:pt idx="1907">
                  <c:v>0.76200000000000001</c:v>
                </c:pt>
                <c:pt idx="1908">
                  <c:v>0.82</c:v>
                </c:pt>
                <c:pt idx="1909">
                  <c:v>0.45700000000000002</c:v>
                </c:pt>
                <c:pt idx="1910">
                  <c:v>0.93700000000000006</c:v>
                </c:pt>
                <c:pt idx="1911">
                  <c:v>0.91700000000000004</c:v>
                </c:pt>
                <c:pt idx="1912">
                  <c:v>0.71699999999999997</c:v>
                </c:pt>
                <c:pt idx="1913">
                  <c:v>0.83299999999999996</c:v>
                </c:pt>
                <c:pt idx="1914">
                  <c:v>0.378</c:v>
                </c:pt>
                <c:pt idx="1915">
                  <c:v>0.52200000000000002</c:v>
                </c:pt>
                <c:pt idx="1916">
                  <c:v>0.67</c:v>
                </c:pt>
                <c:pt idx="1917">
                  <c:v>0.72499999999999998</c:v>
                </c:pt>
                <c:pt idx="1918">
                  <c:v>0.60199999999999998</c:v>
                </c:pt>
                <c:pt idx="1919">
                  <c:v>0.77700000000000002</c:v>
                </c:pt>
                <c:pt idx="1920">
                  <c:v>0.51500000000000001</c:v>
                </c:pt>
                <c:pt idx="1921">
                  <c:v>0.96199999999999997</c:v>
                </c:pt>
                <c:pt idx="1922">
                  <c:v>0.80600000000000005</c:v>
                </c:pt>
                <c:pt idx="1923">
                  <c:v>0.78300000000000003</c:v>
                </c:pt>
                <c:pt idx="1924">
                  <c:v>0.42499999999999999</c:v>
                </c:pt>
                <c:pt idx="1925">
                  <c:v>0.79500000000000004</c:v>
                </c:pt>
                <c:pt idx="1926">
                  <c:v>0.82899999999999996</c:v>
                </c:pt>
                <c:pt idx="1927">
                  <c:v>0.57199999999999995</c:v>
                </c:pt>
                <c:pt idx="1928">
                  <c:v>0.88600000000000001</c:v>
                </c:pt>
                <c:pt idx="1929">
                  <c:v>0.42</c:v>
                </c:pt>
                <c:pt idx="1930">
                  <c:v>0.80400000000000005</c:v>
                </c:pt>
                <c:pt idx="1931">
                  <c:v>0.81599999999999995</c:v>
                </c:pt>
                <c:pt idx="1932">
                  <c:v>0.93899999999999995</c:v>
                </c:pt>
                <c:pt idx="1933">
                  <c:v>0.70499999999999996</c:v>
                </c:pt>
                <c:pt idx="1934">
                  <c:v>0.90500000000000003</c:v>
                </c:pt>
                <c:pt idx="1935">
                  <c:v>0.65800000000000003</c:v>
                </c:pt>
                <c:pt idx="1936">
                  <c:v>0.94399999999999995</c:v>
                </c:pt>
                <c:pt idx="1937">
                  <c:v>0.47599999999999998</c:v>
                </c:pt>
                <c:pt idx="1938">
                  <c:v>0.17</c:v>
                </c:pt>
                <c:pt idx="1939">
                  <c:v>0.63300000000000001</c:v>
                </c:pt>
                <c:pt idx="1940">
                  <c:v>0.66700000000000004</c:v>
                </c:pt>
                <c:pt idx="1941">
                  <c:v>0.54600000000000004</c:v>
                </c:pt>
                <c:pt idx="1942">
                  <c:v>0.56999999999999995</c:v>
                </c:pt>
                <c:pt idx="1943">
                  <c:v>0.95099999999999996</c:v>
                </c:pt>
                <c:pt idx="1944">
                  <c:v>0.79700000000000004</c:v>
                </c:pt>
                <c:pt idx="1945">
                  <c:v>0.86399999999999999</c:v>
                </c:pt>
                <c:pt idx="1946">
                  <c:v>0.56699999999999995</c:v>
                </c:pt>
                <c:pt idx="1947">
                  <c:v>0.82199999999999995</c:v>
                </c:pt>
                <c:pt idx="1948">
                  <c:v>0.59899999999999998</c:v>
                </c:pt>
                <c:pt idx="1949">
                  <c:v>0.44400000000000001</c:v>
                </c:pt>
                <c:pt idx="1950">
                  <c:v>0.77</c:v>
                </c:pt>
                <c:pt idx="1951">
                  <c:v>0.52200000000000002</c:v>
                </c:pt>
                <c:pt idx="1952">
                  <c:v>0.82299999999999995</c:v>
                </c:pt>
                <c:pt idx="1953">
                  <c:v>0.94199999999999995</c:v>
                </c:pt>
                <c:pt idx="1954">
                  <c:v>0.57099999999999995</c:v>
                </c:pt>
                <c:pt idx="1955">
                  <c:v>0.875</c:v>
                </c:pt>
                <c:pt idx="1956">
                  <c:v>0.59299999999999997</c:v>
                </c:pt>
                <c:pt idx="1957">
                  <c:v>0.77200000000000002</c:v>
                </c:pt>
                <c:pt idx="1958">
                  <c:v>0.90600000000000003</c:v>
                </c:pt>
                <c:pt idx="1959">
                  <c:v>0.58899999999999997</c:v>
                </c:pt>
                <c:pt idx="1960">
                  <c:v>0.70599999999999996</c:v>
                </c:pt>
                <c:pt idx="1961">
                  <c:v>0.51900000000000002</c:v>
                </c:pt>
                <c:pt idx="1962">
                  <c:v>0.84</c:v>
                </c:pt>
                <c:pt idx="1963">
                  <c:v>0.84499999999999997</c:v>
                </c:pt>
                <c:pt idx="1964">
                  <c:v>0.75</c:v>
                </c:pt>
                <c:pt idx="1965">
                  <c:v>0.95599999999999996</c:v>
                </c:pt>
                <c:pt idx="1966">
                  <c:v>0.70399999999999996</c:v>
                </c:pt>
                <c:pt idx="1967">
                  <c:v>0.58699999999999997</c:v>
                </c:pt>
                <c:pt idx="1968">
                  <c:v>0.98399999999999999</c:v>
                </c:pt>
                <c:pt idx="1969">
                  <c:v>0.55900000000000005</c:v>
                </c:pt>
                <c:pt idx="1970">
                  <c:v>0.97799999999999998</c:v>
                </c:pt>
                <c:pt idx="1971">
                  <c:v>0.81499999999999995</c:v>
                </c:pt>
                <c:pt idx="1972">
                  <c:v>0.97</c:v>
                </c:pt>
                <c:pt idx="1973">
                  <c:v>0.873</c:v>
                </c:pt>
                <c:pt idx="1974">
                  <c:v>0.622</c:v>
                </c:pt>
                <c:pt idx="1975">
                  <c:v>0.86399999999999999</c:v>
                </c:pt>
                <c:pt idx="1976">
                  <c:v>0.93200000000000005</c:v>
                </c:pt>
                <c:pt idx="1977">
                  <c:v>0.92800000000000005</c:v>
                </c:pt>
                <c:pt idx="1978">
                  <c:v>0.74099999999999999</c:v>
                </c:pt>
                <c:pt idx="1979">
                  <c:v>0.93700000000000006</c:v>
                </c:pt>
                <c:pt idx="1980">
                  <c:v>0.95899999999999996</c:v>
                </c:pt>
                <c:pt idx="1981">
                  <c:v>0.19900000000000001</c:v>
                </c:pt>
                <c:pt idx="1982">
                  <c:v>0.83699999999999997</c:v>
                </c:pt>
                <c:pt idx="1983">
                  <c:v>0.878</c:v>
                </c:pt>
                <c:pt idx="1984">
                  <c:v>0.71699999999999997</c:v>
                </c:pt>
                <c:pt idx="1985">
                  <c:v>0.94899999999999995</c:v>
                </c:pt>
                <c:pt idx="1986">
                  <c:v>0.71399999999999997</c:v>
                </c:pt>
                <c:pt idx="1987">
                  <c:v>0.94299999999999995</c:v>
                </c:pt>
                <c:pt idx="1988">
                  <c:v>0.92900000000000005</c:v>
                </c:pt>
                <c:pt idx="1989">
                  <c:v>0.68700000000000006</c:v>
                </c:pt>
                <c:pt idx="1990">
                  <c:v>0.34100000000000003</c:v>
                </c:pt>
                <c:pt idx="1991">
                  <c:v>0.82699999999999996</c:v>
                </c:pt>
                <c:pt idx="1992">
                  <c:v>0.85099999999999998</c:v>
                </c:pt>
                <c:pt idx="1993">
                  <c:v>0.94</c:v>
                </c:pt>
                <c:pt idx="1994">
                  <c:v>0.56999999999999995</c:v>
                </c:pt>
                <c:pt idx="1995">
                  <c:v>0.69</c:v>
                </c:pt>
                <c:pt idx="1996">
                  <c:v>0.65</c:v>
                </c:pt>
                <c:pt idx="1997">
                  <c:v>0.61899999999999999</c:v>
                </c:pt>
                <c:pt idx="1998">
                  <c:v>0.93700000000000006</c:v>
                </c:pt>
                <c:pt idx="1999">
                  <c:v>0.82699999999999996</c:v>
                </c:pt>
                <c:pt idx="2000">
                  <c:v>0.69699999999999995</c:v>
                </c:pt>
                <c:pt idx="2001">
                  <c:v>0.95399999999999996</c:v>
                </c:pt>
                <c:pt idx="2002">
                  <c:v>0.83099999999999996</c:v>
                </c:pt>
                <c:pt idx="2003">
                  <c:v>0.25800000000000001</c:v>
                </c:pt>
                <c:pt idx="2004">
                  <c:v>0.51800000000000002</c:v>
                </c:pt>
                <c:pt idx="2005">
                  <c:v>0.64</c:v>
                </c:pt>
                <c:pt idx="2006">
                  <c:v>0.82799999999999996</c:v>
                </c:pt>
                <c:pt idx="2007">
                  <c:v>1.2999999999999999E-2</c:v>
                </c:pt>
                <c:pt idx="2008">
                  <c:v>0.19400000000000001</c:v>
                </c:pt>
                <c:pt idx="2009">
                  <c:v>0.376</c:v>
                </c:pt>
                <c:pt idx="2010">
                  <c:v>0.47399999999999998</c:v>
                </c:pt>
                <c:pt idx="2011">
                  <c:v>0.53100000000000003</c:v>
                </c:pt>
                <c:pt idx="2012">
                  <c:v>0.54900000000000004</c:v>
                </c:pt>
                <c:pt idx="2013">
                  <c:v>0.66400000000000003</c:v>
                </c:pt>
                <c:pt idx="2014">
                  <c:v>0.70099999999999996</c:v>
                </c:pt>
                <c:pt idx="2015">
                  <c:v>0.72199999999999998</c:v>
                </c:pt>
                <c:pt idx="2016">
                  <c:v>0.81599999999999995</c:v>
                </c:pt>
                <c:pt idx="2017">
                  <c:v>0.83</c:v>
                </c:pt>
                <c:pt idx="2018">
                  <c:v>0.873</c:v>
                </c:pt>
                <c:pt idx="2019">
                  <c:v>0.34</c:v>
                </c:pt>
                <c:pt idx="2020">
                  <c:v>0.92300000000000004</c:v>
                </c:pt>
                <c:pt idx="2021">
                  <c:v>0.93200000000000005</c:v>
                </c:pt>
                <c:pt idx="2022">
                  <c:v>0.85699999999999998</c:v>
                </c:pt>
                <c:pt idx="2023">
                  <c:v>0.54700000000000004</c:v>
                </c:pt>
                <c:pt idx="2024">
                  <c:v>0.58599999999999997</c:v>
                </c:pt>
                <c:pt idx="2025">
                  <c:v>0.623</c:v>
                </c:pt>
                <c:pt idx="2026">
                  <c:v>0.64600000000000002</c:v>
                </c:pt>
                <c:pt idx="2027">
                  <c:v>0.93</c:v>
                </c:pt>
                <c:pt idx="2028">
                  <c:v>0.92900000000000005</c:v>
                </c:pt>
                <c:pt idx="2029">
                  <c:v>0.78200000000000003</c:v>
                </c:pt>
                <c:pt idx="2030">
                  <c:v>0.70799999999999996</c:v>
                </c:pt>
                <c:pt idx="2031">
                  <c:v>0.52700000000000002</c:v>
                </c:pt>
                <c:pt idx="2032">
                  <c:v>0.79500000000000004</c:v>
                </c:pt>
                <c:pt idx="2033">
                  <c:v>0.93500000000000005</c:v>
                </c:pt>
                <c:pt idx="2034">
                  <c:v>0.65500000000000003</c:v>
                </c:pt>
                <c:pt idx="2035">
                  <c:v>0.998</c:v>
                </c:pt>
                <c:pt idx="2036">
                  <c:v>0.94599999999999995</c:v>
                </c:pt>
                <c:pt idx="2037">
                  <c:v>0.95</c:v>
                </c:pt>
                <c:pt idx="2038">
                  <c:v>0.90500000000000003</c:v>
                </c:pt>
                <c:pt idx="2039">
                  <c:v>0.84099999999999997</c:v>
                </c:pt>
                <c:pt idx="2040">
                  <c:v>0.57599999999999996</c:v>
                </c:pt>
                <c:pt idx="2041">
                  <c:v>0.52500000000000002</c:v>
                </c:pt>
                <c:pt idx="2042">
                  <c:v>0.88</c:v>
                </c:pt>
                <c:pt idx="2043">
                  <c:v>0.63600000000000001</c:v>
                </c:pt>
                <c:pt idx="2044">
                  <c:v>0.59199999999999997</c:v>
                </c:pt>
                <c:pt idx="2045">
                  <c:v>0.56999999999999995</c:v>
                </c:pt>
                <c:pt idx="2046">
                  <c:v>0.68799999999999994</c:v>
                </c:pt>
                <c:pt idx="2047">
                  <c:v>0.52600000000000002</c:v>
                </c:pt>
                <c:pt idx="2048">
                  <c:v>0.79300000000000004</c:v>
                </c:pt>
                <c:pt idx="2049">
                  <c:v>0.84799999999999998</c:v>
                </c:pt>
                <c:pt idx="2050">
                  <c:v>0.81799999999999995</c:v>
                </c:pt>
                <c:pt idx="2051">
                  <c:v>0.80600000000000005</c:v>
                </c:pt>
                <c:pt idx="2052">
                  <c:v>0.88900000000000001</c:v>
                </c:pt>
                <c:pt idx="2053">
                  <c:v>0.436</c:v>
                </c:pt>
                <c:pt idx="2054">
                  <c:v>0.55900000000000005</c:v>
                </c:pt>
                <c:pt idx="2055">
                  <c:v>1</c:v>
                </c:pt>
                <c:pt idx="2056">
                  <c:v>0.70299999999999996</c:v>
                </c:pt>
                <c:pt idx="2057">
                  <c:v>0.94</c:v>
                </c:pt>
                <c:pt idx="2058">
                  <c:v>0.89500000000000002</c:v>
                </c:pt>
                <c:pt idx="2059">
                  <c:v>0.746</c:v>
                </c:pt>
                <c:pt idx="2060">
                  <c:v>0.36299999999999999</c:v>
                </c:pt>
                <c:pt idx="2061">
                  <c:v>0.94199999999999995</c:v>
                </c:pt>
                <c:pt idx="2062">
                  <c:v>0.93500000000000005</c:v>
                </c:pt>
                <c:pt idx="2063">
                  <c:v>0.83599999999999997</c:v>
                </c:pt>
                <c:pt idx="2064">
                  <c:v>0.92500000000000004</c:v>
                </c:pt>
                <c:pt idx="2065">
                  <c:v>0.60299999999999998</c:v>
                </c:pt>
                <c:pt idx="2066">
                  <c:v>0.68200000000000005</c:v>
                </c:pt>
                <c:pt idx="2067">
                  <c:v>0.67300000000000004</c:v>
                </c:pt>
                <c:pt idx="2068">
                  <c:v>0.747</c:v>
                </c:pt>
                <c:pt idx="2069">
                  <c:v>0.73499999999999999</c:v>
                </c:pt>
                <c:pt idx="2070">
                  <c:v>0.90600000000000003</c:v>
                </c:pt>
                <c:pt idx="2071">
                  <c:v>0.85199999999999998</c:v>
                </c:pt>
                <c:pt idx="2072">
                  <c:v>0.25900000000000001</c:v>
                </c:pt>
                <c:pt idx="2073">
                  <c:v>0.79300000000000004</c:v>
                </c:pt>
                <c:pt idx="2074">
                  <c:v>0.86</c:v>
                </c:pt>
                <c:pt idx="2075">
                  <c:v>0.83899999999999997</c:v>
                </c:pt>
                <c:pt idx="2076">
                  <c:v>0.75700000000000001</c:v>
                </c:pt>
                <c:pt idx="2077">
                  <c:v>0.68</c:v>
                </c:pt>
                <c:pt idx="2078">
                  <c:v>0.71299999999999997</c:v>
                </c:pt>
                <c:pt idx="2079">
                  <c:v>5.0999999999999997E-2</c:v>
                </c:pt>
                <c:pt idx="2080">
                  <c:v>0.48</c:v>
                </c:pt>
                <c:pt idx="2081">
                  <c:v>0.57299999999999995</c:v>
                </c:pt>
                <c:pt idx="2082">
                  <c:v>0.52200000000000002</c:v>
                </c:pt>
                <c:pt idx="2083">
                  <c:v>0.55900000000000005</c:v>
                </c:pt>
                <c:pt idx="2084">
                  <c:v>0.9</c:v>
                </c:pt>
                <c:pt idx="2085">
                  <c:v>0.85199999999999998</c:v>
                </c:pt>
                <c:pt idx="2086">
                  <c:v>0.65400000000000003</c:v>
                </c:pt>
                <c:pt idx="2087">
                  <c:v>0.8</c:v>
                </c:pt>
                <c:pt idx="2088">
                  <c:v>0.99</c:v>
                </c:pt>
                <c:pt idx="2089">
                  <c:v>0.877</c:v>
                </c:pt>
                <c:pt idx="2090">
                  <c:v>0.57999999999999996</c:v>
                </c:pt>
                <c:pt idx="2091">
                  <c:v>0.64800000000000002</c:v>
                </c:pt>
                <c:pt idx="2092">
                  <c:v>0.91700000000000004</c:v>
                </c:pt>
                <c:pt idx="2093">
                  <c:v>0.88200000000000001</c:v>
                </c:pt>
                <c:pt idx="2094">
                  <c:v>0.85799999999999998</c:v>
                </c:pt>
                <c:pt idx="2095">
                  <c:v>0.81399999999999995</c:v>
                </c:pt>
                <c:pt idx="2096">
                  <c:v>0.39900000000000002</c:v>
                </c:pt>
                <c:pt idx="2097">
                  <c:v>0.58399999999999996</c:v>
                </c:pt>
                <c:pt idx="2098">
                  <c:v>0.56699999999999995</c:v>
                </c:pt>
                <c:pt idx="2099">
                  <c:v>0.27100000000000002</c:v>
                </c:pt>
                <c:pt idx="2100">
                  <c:v>0.872</c:v>
                </c:pt>
                <c:pt idx="2101">
                  <c:v>0.66800000000000004</c:v>
                </c:pt>
                <c:pt idx="2102">
                  <c:v>0.56999999999999995</c:v>
                </c:pt>
                <c:pt idx="2103">
                  <c:v>3.5999999999999997E-2</c:v>
                </c:pt>
                <c:pt idx="2104">
                  <c:v>0.16700000000000001</c:v>
                </c:pt>
                <c:pt idx="2105">
                  <c:v>0.93799999999999994</c:v>
                </c:pt>
                <c:pt idx="2106">
                  <c:v>1</c:v>
                </c:pt>
                <c:pt idx="2107">
                  <c:v>0.73199999999999998</c:v>
                </c:pt>
                <c:pt idx="2108">
                  <c:v>0.499</c:v>
                </c:pt>
                <c:pt idx="2109">
                  <c:v>0.72599999999999998</c:v>
                </c:pt>
                <c:pt idx="2110">
                  <c:v>0.94199999999999995</c:v>
                </c:pt>
                <c:pt idx="2111">
                  <c:v>0.76400000000000001</c:v>
                </c:pt>
                <c:pt idx="2112">
                  <c:v>0.78400000000000003</c:v>
                </c:pt>
                <c:pt idx="2113">
                  <c:v>0.85299999999999998</c:v>
                </c:pt>
                <c:pt idx="2114">
                  <c:v>0.80200000000000005</c:v>
                </c:pt>
                <c:pt idx="2115">
                  <c:v>0.42</c:v>
                </c:pt>
                <c:pt idx="2116">
                  <c:v>0.78800000000000003</c:v>
                </c:pt>
                <c:pt idx="2117">
                  <c:v>0.82299999999999995</c:v>
                </c:pt>
                <c:pt idx="2118">
                  <c:v>0.68100000000000005</c:v>
                </c:pt>
                <c:pt idx="2119">
                  <c:v>0.34899999999999998</c:v>
                </c:pt>
                <c:pt idx="2120">
                  <c:v>0.91300000000000003</c:v>
                </c:pt>
                <c:pt idx="2121">
                  <c:v>0.98099999999999998</c:v>
                </c:pt>
                <c:pt idx="2122">
                  <c:v>0.96599999999999997</c:v>
                </c:pt>
                <c:pt idx="2123">
                  <c:v>0.84099999999999997</c:v>
                </c:pt>
                <c:pt idx="2124">
                  <c:v>0.90100000000000002</c:v>
                </c:pt>
                <c:pt idx="2125">
                  <c:v>0.60699999999999998</c:v>
                </c:pt>
                <c:pt idx="2126">
                  <c:v>0.85199999999999998</c:v>
                </c:pt>
                <c:pt idx="2127">
                  <c:v>0.89</c:v>
                </c:pt>
                <c:pt idx="2128">
                  <c:v>0.84199999999999997</c:v>
                </c:pt>
                <c:pt idx="2129">
                  <c:v>0.72099999999999997</c:v>
                </c:pt>
                <c:pt idx="2130">
                  <c:v>0.81200000000000006</c:v>
                </c:pt>
                <c:pt idx="2131">
                  <c:v>0.65300000000000002</c:v>
                </c:pt>
                <c:pt idx="2132">
                  <c:v>0.81499999999999995</c:v>
                </c:pt>
                <c:pt idx="2133">
                  <c:v>0.46600000000000003</c:v>
                </c:pt>
                <c:pt idx="2134">
                  <c:v>0.95499999999999996</c:v>
                </c:pt>
                <c:pt idx="2135">
                  <c:v>0.59899999999999998</c:v>
                </c:pt>
                <c:pt idx="2136">
                  <c:v>0.69399999999999995</c:v>
                </c:pt>
                <c:pt idx="2137">
                  <c:v>0.54300000000000004</c:v>
                </c:pt>
                <c:pt idx="2138">
                  <c:v>0.97299999999999998</c:v>
                </c:pt>
                <c:pt idx="2139">
                  <c:v>0.89800000000000002</c:v>
                </c:pt>
                <c:pt idx="2140">
                  <c:v>0.185</c:v>
                </c:pt>
                <c:pt idx="2141">
                  <c:v>0.92600000000000005</c:v>
                </c:pt>
                <c:pt idx="2142">
                  <c:v>1</c:v>
                </c:pt>
                <c:pt idx="2143">
                  <c:v>0.80900000000000005</c:v>
                </c:pt>
                <c:pt idx="2144">
                  <c:v>0.66800000000000004</c:v>
                </c:pt>
                <c:pt idx="2145">
                  <c:v>0.57699999999999996</c:v>
                </c:pt>
                <c:pt idx="2146">
                  <c:v>0.14599999999999999</c:v>
                </c:pt>
                <c:pt idx="2147">
                  <c:v>0.65800000000000003</c:v>
                </c:pt>
                <c:pt idx="2148">
                  <c:v>0.75900000000000001</c:v>
                </c:pt>
                <c:pt idx="2149">
                  <c:v>0.57899999999999996</c:v>
                </c:pt>
                <c:pt idx="2150">
                  <c:v>0.69899999999999995</c:v>
                </c:pt>
                <c:pt idx="2151">
                  <c:v>0.433</c:v>
                </c:pt>
                <c:pt idx="2152">
                  <c:v>0.35699999999999998</c:v>
                </c:pt>
                <c:pt idx="2153">
                  <c:v>0.57599999999999996</c:v>
                </c:pt>
                <c:pt idx="2154">
                  <c:v>0.73199999999999998</c:v>
                </c:pt>
                <c:pt idx="2155">
                  <c:v>0.73199999999999998</c:v>
                </c:pt>
                <c:pt idx="2156">
                  <c:v>0.624</c:v>
                </c:pt>
                <c:pt idx="2157">
                  <c:v>0.40500000000000003</c:v>
                </c:pt>
                <c:pt idx="2158">
                  <c:v>0.69</c:v>
                </c:pt>
                <c:pt idx="2159">
                  <c:v>0.41899999999999998</c:v>
                </c:pt>
                <c:pt idx="2160">
                  <c:v>0.88400000000000001</c:v>
                </c:pt>
                <c:pt idx="2161">
                  <c:v>0.44800000000000001</c:v>
                </c:pt>
                <c:pt idx="2162">
                  <c:v>0.81200000000000006</c:v>
                </c:pt>
                <c:pt idx="2163">
                  <c:v>0.97399999999999998</c:v>
                </c:pt>
                <c:pt idx="2164">
                  <c:v>0.73199999999999998</c:v>
                </c:pt>
                <c:pt idx="2165">
                  <c:v>0.54400000000000004</c:v>
                </c:pt>
                <c:pt idx="2166">
                  <c:v>0.74</c:v>
                </c:pt>
                <c:pt idx="2167">
                  <c:v>0.94699999999999995</c:v>
                </c:pt>
                <c:pt idx="2168">
                  <c:v>0.77300000000000002</c:v>
                </c:pt>
                <c:pt idx="2169">
                  <c:v>0.74399999999999999</c:v>
                </c:pt>
                <c:pt idx="2170">
                  <c:v>0.94899999999999995</c:v>
                </c:pt>
                <c:pt idx="2171">
                  <c:v>3.2000000000000001E-2</c:v>
                </c:pt>
                <c:pt idx="2172">
                  <c:v>0.59099999999999997</c:v>
                </c:pt>
                <c:pt idx="2173">
                  <c:v>0.67</c:v>
                </c:pt>
                <c:pt idx="2174">
                  <c:v>0.69</c:v>
                </c:pt>
                <c:pt idx="2175">
                  <c:v>0.83299999999999996</c:v>
                </c:pt>
                <c:pt idx="2176">
                  <c:v>0.83399999999999996</c:v>
                </c:pt>
                <c:pt idx="2177">
                  <c:v>0.81799999999999995</c:v>
                </c:pt>
                <c:pt idx="2178">
                  <c:v>0.89</c:v>
                </c:pt>
                <c:pt idx="2179">
                  <c:v>0.71799999999999997</c:v>
                </c:pt>
                <c:pt idx="2180">
                  <c:v>0.96599999999999997</c:v>
                </c:pt>
                <c:pt idx="2181">
                  <c:v>0.92</c:v>
                </c:pt>
                <c:pt idx="2182">
                  <c:v>0.91</c:v>
                </c:pt>
                <c:pt idx="2183">
                  <c:v>0.439</c:v>
                </c:pt>
                <c:pt idx="2184">
                  <c:v>0.86699999999999999</c:v>
                </c:pt>
                <c:pt idx="2185">
                  <c:v>0.996</c:v>
                </c:pt>
                <c:pt idx="2186">
                  <c:v>0.72499999999999998</c:v>
                </c:pt>
                <c:pt idx="2187">
                  <c:v>0.86099999999999999</c:v>
                </c:pt>
                <c:pt idx="2188">
                  <c:v>0.79300000000000004</c:v>
                </c:pt>
                <c:pt idx="2189">
                  <c:v>0.75600000000000001</c:v>
                </c:pt>
                <c:pt idx="2190">
                  <c:v>0.77300000000000002</c:v>
                </c:pt>
                <c:pt idx="2191">
                  <c:v>0.49399999999999999</c:v>
                </c:pt>
                <c:pt idx="2192">
                  <c:v>7.6999999999999999E-2</c:v>
                </c:pt>
                <c:pt idx="2193">
                  <c:v>0.93300000000000005</c:v>
                </c:pt>
                <c:pt idx="2194">
                  <c:v>0.89800000000000002</c:v>
                </c:pt>
                <c:pt idx="2195">
                  <c:v>0.70799999999999996</c:v>
                </c:pt>
                <c:pt idx="2196">
                  <c:v>0.46899999999999997</c:v>
                </c:pt>
                <c:pt idx="2197">
                  <c:v>0.64100000000000001</c:v>
                </c:pt>
                <c:pt idx="2198">
                  <c:v>0.84499999999999997</c:v>
                </c:pt>
                <c:pt idx="2199">
                  <c:v>0.873</c:v>
                </c:pt>
                <c:pt idx="2200">
                  <c:v>0.68200000000000005</c:v>
                </c:pt>
                <c:pt idx="2201">
                  <c:v>0.33700000000000002</c:v>
                </c:pt>
                <c:pt idx="2202">
                  <c:v>0.69699999999999995</c:v>
                </c:pt>
                <c:pt idx="2203">
                  <c:v>0.86099999999999999</c:v>
                </c:pt>
                <c:pt idx="2204">
                  <c:v>0.93100000000000005</c:v>
                </c:pt>
                <c:pt idx="2205">
                  <c:v>0.74099999999999999</c:v>
                </c:pt>
                <c:pt idx="2206">
                  <c:v>0.78600000000000003</c:v>
                </c:pt>
                <c:pt idx="2207">
                  <c:v>0.58099999999999996</c:v>
                </c:pt>
                <c:pt idx="2208">
                  <c:v>0.84699999999999998</c:v>
                </c:pt>
                <c:pt idx="2209">
                  <c:v>0.81499999999999995</c:v>
                </c:pt>
                <c:pt idx="2210">
                  <c:v>0.879</c:v>
                </c:pt>
                <c:pt idx="2211">
                  <c:v>0.71499999999999997</c:v>
                </c:pt>
                <c:pt idx="2212">
                  <c:v>0.77</c:v>
                </c:pt>
                <c:pt idx="2213">
                  <c:v>0.36</c:v>
                </c:pt>
                <c:pt idx="2214">
                  <c:v>0.55800000000000005</c:v>
                </c:pt>
                <c:pt idx="2215">
                  <c:v>0.82899999999999996</c:v>
                </c:pt>
                <c:pt idx="2216">
                  <c:v>0.83099999999999996</c:v>
                </c:pt>
                <c:pt idx="2217">
                  <c:v>0.77200000000000002</c:v>
                </c:pt>
                <c:pt idx="2218">
                  <c:v>0.80200000000000005</c:v>
                </c:pt>
                <c:pt idx="2219">
                  <c:v>0.93100000000000005</c:v>
                </c:pt>
                <c:pt idx="2220">
                  <c:v>0.36099999999999999</c:v>
                </c:pt>
                <c:pt idx="2221">
                  <c:v>0.28599999999999998</c:v>
                </c:pt>
                <c:pt idx="2222">
                  <c:v>0.77500000000000002</c:v>
                </c:pt>
                <c:pt idx="2223">
                  <c:v>0.63600000000000001</c:v>
                </c:pt>
                <c:pt idx="2224">
                  <c:v>0.47</c:v>
                </c:pt>
                <c:pt idx="2225">
                  <c:v>0.77100000000000002</c:v>
                </c:pt>
                <c:pt idx="2226">
                  <c:v>0.876</c:v>
                </c:pt>
                <c:pt idx="2227">
                  <c:v>0.77500000000000002</c:v>
                </c:pt>
                <c:pt idx="2228">
                  <c:v>0.95799999999999996</c:v>
                </c:pt>
                <c:pt idx="2229">
                  <c:v>0.115</c:v>
                </c:pt>
                <c:pt idx="2230">
                  <c:v>0.26400000000000001</c:v>
                </c:pt>
                <c:pt idx="2231">
                  <c:v>0.89900000000000002</c:v>
                </c:pt>
                <c:pt idx="2232">
                  <c:v>0.85499999999999998</c:v>
                </c:pt>
                <c:pt idx="2233">
                  <c:v>0.89900000000000002</c:v>
                </c:pt>
                <c:pt idx="2234">
                  <c:v>0.78800000000000003</c:v>
                </c:pt>
                <c:pt idx="2235">
                  <c:v>0.755</c:v>
                </c:pt>
                <c:pt idx="2236">
                  <c:v>0.78200000000000003</c:v>
                </c:pt>
                <c:pt idx="2237">
                  <c:v>0.86699999999999999</c:v>
                </c:pt>
                <c:pt idx="2238">
                  <c:v>0.72499999999999998</c:v>
                </c:pt>
                <c:pt idx="2239">
                  <c:v>0.79</c:v>
                </c:pt>
                <c:pt idx="2240">
                  <c:v>0.76700000000000002</c:v>
                </c:pt>
                <c:pt idx="2241">
                  <c:v>0.77</c:v>
                </c:pt>
                <c:pt idx="2242">
                  <c:v>0.95799999999999996</c:v>
                </c:pt>
                <c:pt idx="2243">
                  <c:v>0.80600000000000005</c:v>
                </c:pt>
                <c:pt idx="2244">
                  <c:v>0.46700000000000003</c:v>
                </c:pt>
                <c:pt idx="2245">
                  <c:v>0.68</c:v>
                </c:pt>
                <c:pt idx="2246">
                  <c:v>0.85099999999999998</c:v>
                </c:pt>
                <c:pt idx="2247">
                  <c:v>0.9</c:v>
                </c:pt>
                <c:pt idx="2248">
                  <c:v>0.54700000000000004</c:v>
                </c:pt>
                <c:pt idx="2249">
                  <c:v>0.81499999999999995</c:v>
                </c:pt>
                <c:pt idx="2250">
                  <c:v>0.89100000000000001</c:v>
                </c:pt>
                <c:pt idx="2251">
                  <c:v>0.109</c:v>
                </c:pt>
                <c:pt idx="2252">
                  <c:v>0.59799999999999998</c:v>
                </c:pt>
                <c:pt idx="2253">
                  <c:v>0.999</c:v>
                </c:pt>
                <c:pt idx="2254">
                  <c:v>0.443</c:v>
                </c:pt>
                <c:pt idx="2255">
                  <c:v>0.91200000000000003</c:v>
                </c:pt>
                <c:pt idx="2256">
                  <c:v>0.88600000000000001</c:v>
                </c:pt>
                <c:pt idx="2257">
                  <c:v>0.81100000000000005</c:v>
                </c:pt>
                <c:pt idx="2258">
                  <c:v>0.56599999999999995</c:v>
                </c:pt>
                <c:pt idx="2259">
                  <c:v>0.73299999999999998</c:v>
                </c:pt>
                <c:pt idx="2260">
                  <c:v>0.72799999999999998</c:v>
                </c:pt>
                <c:pt idx="2261">
                  <c:v>0.74099999999999999</c:v>
                </c:pt>
                <c:pt idx="2262">
                  <c:v>0.47799999999999998</c:v>
                </c:pt>
                <c:pt idx="2263">
                  <c:v>0.48799999999999999</c:v>
                </c:pt>
                <c:pt idx="2264">
                  <c:v>0.81399999999999995</c:v>
                </c:pt>
                <c:pt idx="2265">
                  <c:v>0.46899999999999997</c:v>
                </c:pt>
                <c:pt idx="2266">
                  <c:v>0.89900000000000002</c:v>
                </c:pt>
                <c:pt idx="2267">
                  <c:v>0.877</c:v>
                </c:pt>
                <c:pt idx="2268">
                  <c:v>0.69299999999999995</c:v>
                </c:pt>
                <c:pt idx="2269">
                  <c:v>0.67800000000000005</c:v>
                </c:pt>
                <c:pt idx="2270">
                  <c:v>0.62</c:v>
                </c:pt>
                <c:pt idx="2271">
                  <c:v>0.69599999999999995</c:v>
                </c:pt>
                <c:pt idx="2272">
                  <c:v>0.88</c:v>
                </c:pt>
                <c:pt idx="2273">
                  <c:v>0.63</c:v>
                </c:pt>
                <c:pt idx="2274">
                  <c:v>0.79400000000000004</c:v>
                </c:pt>
                <c:pt idx="2275">
                  <c:v>0.85699999999999998</c:v>
                </c:pt>
                <c:pt idx="2276">
                  <c:v>0.75</c:v>
                </c:pt>
                <c:pt idx="2277">
                  <c:v>0.88100000000000001</c:v>
                </c:pt>
                <c:pt idx="2278">
                  <c:v>0.89</c:v>
                </c:pt>
                <c:pt idx="2279">
                  <c:v>0.64100000000000001</c:v>
                </c:pt>
                <c:pt idx="2280">
                  <c:v>0.71699999999999997</c:v>
                </c:pt>
                <c:pt idx="2281">
                  <c:v>0.86299999999999999</c:v>
                </c:pt>
                <c:pt idx="2282">
                  <c:v>0.88600000000000001</c:v>
                </c:pt>
                <c:pt idx="2283">
                  <c:v>0.84899999999999998</c:v>
                </c:pt>
                <c:pt idx="2284">
                  <c:v>0.55500000000000005</c:v>
                </c:pt>
                <c:pt idx="2285">
                  <c:v>0.56999999999999995</c:v>
                </c:pt>
                <c:pt idx="2286">
                  <c:v>0.97399999999999998</c:v>
                </c:pt>
                <c:pt idx="2287">
                  <c:v>0.371</c:v>
                </c:pt>
                <c:pt idx="2288">
                  <c:v>0.80900000000000005</c:v>
                </c:pt>
                <c:pt idx="2289">
                  <c:v>0.93300000000000005</c:v>
                </c:pt>
                <c:pt idx="2290">
                  <c:v>0.93100000000000005</c:v>
                </c:pt>
                <c:pt idx="2291">
                  <c:v>0.17499999999999999</c:v>
                </c:pt>
                <c:pt idx="2292">
                  <c:v>0.83399999999999996</c:v>
                </c:pt>
                <c:pt idx="2293">
                  <c:v>0.81399999999999995</c:v>
                </c:pt>
                <c:pt idx="2294">
                  <c:v>0.83</c:v>
                </c:pt>
                <c:pt idx="2295">
                  <c:v>0.51800000000000002</c:v>
                </c:pt>
                <c:pt idx="2296">
                  <c:v>0.92400000000000004</c:v>
                </c:pt>
                <c:pt idx="2297">
                  <c:v>0.61799999999999999</c:v>
                </c:pt>
                <c:pt idx="2298">
                  <c:v>0.68799999999999994</c:v>
                </c:pt>
                <c:pt idx="2299">
                  <c:v>0.39300000000000002</c:v>
                </c:pt>
                <c:pt idx="2300">
                  <c:v>0.56200000000000006</c:v>
                </c:pt>
                <c:pt idx="2301">
                  <c:v>0.89300000000000002</c:v>
                </c:pt>
                <c:pt idx="2302">
                  <c:v>0.91300000000000003</c:v>
                </c:pt>
                <c:pt idx="2303">
                  <c:v>0.245</c:v>
                </c:pt>
                <c:pt idx="2304">
                  <c:v>0.86099999999999999</c:v>
                </c:pt>
                <c:pt idx="2305">
                  <c:v>0.45800000000000002</c:v>
                </c:pt>
                <c:pt idx="2306">
                  <c:v>0.80600000000000005</c:v>
                </c:pt>
                <c:pt idx="2307">
                  <c:v>0.88700000000000001</c:v>
                </c:pt>
                <c:pt idx="2308">
                  <c:v>6.7000000000000004E-2</c:v>
                </c:pt>
                <c:pt idx="2309">
                  <c:v>0.46899999999999997</c:v>
                </c:pt>
                <c:pt idx="2310">
                  <c:v>0.58599999999999997</c:v>
                </c:pt>
                <c:pt idx="2311">
                  <c:v>0.58699999999999997</c:v>
                </c:pt>
                <c:pt idx="2312">
                  <c:v>0.82699999999999996</c:v>
                </c:pt>
                <c:pt idx="2313">
                  <c:v>0.95499999999999996</c:v>
                </c:pt>
                <c:pt idx="2314">
                  <c:v>0.55200000000000005</c:v>
                </c:pt>
                <c:pt idx="2315">
                  <c:v>0.99399999999999999</c:v>
                </c:pt>
                <c:pt idx="2316">
                  <c:v>0.65</c:v>
                </c:pt>
                <c:pt idx="2317">
                  <c:v>0.752</c:v>
                </c:pt>
                <c:pt idx="2318">
                  <c:v>0.77400000000000002</c:v>
                </c:pt>
                <c:pt idx="2319">
                  <c:v>0.94799999999999995</c:v>
                </c:pt>
                <c:pt idx="2320">
                  <c:v>0.88800000000000001</c:v>
                </c:pt>
                <c:pt idx="2321">
                  <c:v>0.42199999999999999</c:v>
                </c:pt>
                <c:pt idx="2322">
                  <c:v>0.82499999999999996</c:v>
                </c:pt>
                <c:pt idx="2323">
                  <c:v>0.35099999999999998</c:v>
                </c:pt>
                <c:pt idx="2324">
                  <c:v>0.91100000000000003</c:v>
                </c:pt>
                <c:pt idx="2325">
                  <c:v>0.29199999999999998</c:v>
                </c:pt>
                <c:pt idx="2326">
                  <c:v>0.92</c:v>
                </c:pt>
                <c:pt idx="2327">
                  <c:v>0.85299999999999998</c:v>
                </c:pt>
                <c:pt idx="2328">
                  <c:v>0.59799999999999998</c:v>
                </c:pt>
                <c:pt idx="2329">
                  <c:v>0.76500000000000001</c:v>
                </c:pt>
                <c:pt idx="2330">
                  <c:v>0.57599999999999996</c:v>
                </c:pt>
                <c:pt idx="2331">
                  <c:v>0.94299999999999995</c:v>
                </c:pt>
                <c:pt idx="2332">
                  <c:v>0.83499999999999996</c:v>
                </c:pt>
                <c:pt idx="2333">
                  <c:v>0.86399999999999999</c:v>
                </c:pt>
                <c:pt idx="2334">
                  <c:v>0.45600000000000002</c:v>
                </c:pt>
                <c:pt idx="2335">
                  <c:v>0.92700000000000005</c:v>
                </c:pt>
                <c:pt idx="2336">
                  <c:v>0.64100000000000001</c:v>
                </c:pt>
                <c:pt idx="2337">
                  <c:v>0.86399999999999999</c:v>
                </c:pt>
                <c:pt idx="2338">
                  <c:v>0.42799999999999999</c:v>
                </c:pt>
                <c:pt idx="2339">
                  <c:v>0.92800000000000005</c:v>
                </c:pt>
                <c:pt idx="2340">
                  <c:v>0.92900000000000005</c:v>
                </c:pt>
                <c:pt idx="2341">
                  <c:v>0.90900000000000003</c:v>
                </c:pt>
                <c:pt idx="2342">
                  <c:v>0.66900000000000004</c:v>
                </c:pt>
                <c:pt idx="2343">
                  <c:v>0.41599999999999998</c:v>
                </c:pt>
                <c:pt idx="2344">
                  <c:v>0.33500000000000002</c:v>
                </c:pt>
                <c:pt idx="2345">
                  <c:v>0.70299999999999996</c:v>
                </c:pt>
                <c:pt idx="2346">
                  <c:v>0.624</c:v>
                </c:pt>
                <c:pt idx="2347">
                  <c:v>0.67700000000000005</c:v>
                </c:pt>
                <c:pt idx="2348">
                  <c:v>0.47899999999999998</c:v>
                </c:pt>
                <c:pt idx="2349">
                  <c:v>0.71099999999999997</c:v>
                </c:pt>
                <c:pt idx="2350">
                  <c:v>0.51</c:v>
                </c:pt>
                <c:pt idx="2351">
                  <c:v>0.97899999999999998</c:v>
                </c:pt>
                <c:pt idx="2352">
                  <c:v>0.93300000000000005</c:v>
                </c:pt>
                <c:pt idx="2353">
                  <c:v>0.96099999999999997</c:v>
                </c:pt>
                <c:pt idx="2354">
                  <c:v>0.73899999999999999</c:v>
                </c:pt>
                <c:pt idx="2355">
                  <c:v>0.93899999999999995</c:v>
                </c:pt>
                <c:pt idx="2356">
                  <c:v>0.504</c:v>
                </c:pt>
                <c:pt idx="2357">
                  <c:v>0.627</c:v>
                </c:pt>
                <c:pt idx="2358">
                  <c:v>0.84799999999999998</c:v>
                </c:pt>
                <c:pt idx="2359">
                  <c:v>0.80700000000000005</c:v>
                </c:pt>
                <c:pt idx="2360">
                  <c:v>0.38900000000000001</c:v>
                </c:pt>
                <c:pt idx="2361">
                  <c:v>0.24399999999999999</c:v>
                </c:pt>
                <c:pt idx="2362">
                  <c:v>0.80200000000000005</c:v>
                </c:pt>
                <c:pt idx="2363">
                  <c:v>0.71699999999999997</c:v>
                </c:pt>
                <c:pt idx="2364">
                  <c:v>0.77600000000000002</c:v>
                </c:pt>
                <c:pt idx="2365">
                  <c:v>0.56799999999999995</c:v>
                </c:pt>
                <c:pt idx="2366">
                  <c:v>0.85</c:v>
                </c:pt>
                <c:pt idx="2367">
                  <c:v>0.73699999999999999</c:v>
                </c:pt>
                <c:pt idx="2368">
                  <c:v>0.82899999999999996</c:v>
                </c:pt>
                <c:pt idx="2369">
                  <c:v>0.41399999999999998</c:v>
                </c:pt>
                <c:pt idx="2370">
                  <c:v>0.70799999999999996</c:v>
                </c:pt>
                <c:pt idx="2371">
                  <c:v>0.83699999999999997</c:v>
                </c:pt>
                <c:pt idx="2372">
                  <c:v>0.80600000000000005</c:v>
                </c:pt>
                <c:pt idx="2373">
                  <c:v>0.65700000000000003</c:v>
                </c:pt>
                <c:pt idx="2374">
                  <c:v>0.93100000000000005</c:v>
                </c:pt>
                <c:pt idx="2375">
                  <c:v>0.75700000000000001</c:v>
                </c:pt>
                <c:pt idx="2376">
                  <c:v>0.55100000000000005</c:v>
                </c:pt>
                <c:pt idx="2377">
                  <c:v>0.51500000000000001</c:v>
                </c:pt>
                <c:pt idx="2378">
                  <c:v>0.184</c:v>
                </c:pt>
                <c:pt idx="2379">
                  <c:v>0.81799999999999995</c:v>
                </c:pt>
                <c:pt idx="2380">
                  <c:v>0.623</c:v>
                </c:pt>
                <c:pt idx="2381">
                  <c:v>0.95499999999999996</c:v>
                </c:pt>
                <c:pt idx="2382">
                  <c:v>0.624</c:v>
                </c:pt>
                <c:pt idx="2383">
                  <c:v>0.84699999999999998</c:v>
                </c:pt>
                <c:pt idx="2384">
                  <c:v>0.52300000000000002</c:v>
                </c:pt>
                <c:pt idx="2385">
                  <c:v>0.72399999999999998</c:v>
                </c:pt>
                <c:pt idx="2386">
                  <c:v>0.70399999999999996</c:v>
                </c:pt>
                <c:pt idx="2387">
                  <c:v>0.92500000000000004</c:v>
                </c:pt>
                <c:pt idx="2388">
                  <c:v>0.56399999999999995</c:v>
                </c:pt>
                <c:pt idx="2389">
                  <c:v>0.25900000000000001</c:v>
                </c:pt>
                <c:pt idx="2390">
                  <c:v>0.66</c:v>
                </c:pt>
                <c:pt idx="2391">
                  <c:v>0.84599999999999997</c:v>
                </c:pt>
                <c:pt idx="2392">
                  <c:v>0.78900000000000003</c:v>
                </c:pt>
                <c:pt idx="2393">
                  <c:v>0.73899999999999999</c:v>
                </c:pt>
                <c:pt idx="2394">
                  <c:v>0.54100000000000004</c:v>
                </c:pt>
                <c:pt idx="2395">
                  <c:v>0.747</c:v>
                </c:pt>
                <c:pt idx="2396">
                  <c:v>0.80700000000000005</c:v>
                </c:pt>
                <c:pt idx="2397">
                  <c:v>0.97399999999999998</c:v>
                </c:pt>
                <c:pt idx="2398">
                  <c:v>0.61499999999999999</c:v>
                </c:pt>
                <c:pt idx="2399">
                  <c:v>0.91900000000000004</c:v>
                </c:pt>
                <c:pt idx="2400">
                  <c:v>0.79900000000000004</c:v>
                </c:pt>
                <c:pt idx="2401">
                  <c:v>0.56399999999999995</c:v>
                </c:pt>
                <c:pt idx="2402">
                  <c:v>0.84499999999999997</c:v>
                </c:pt>
                <c:pt idx="2403">
                  <c:v>0.70799999999999996</c:v>
                </c:pt>
                <c:pt idx="2404">
                  <c:v>0.72799999999999998</c:v>
                </c:pt>
                <c:pt idx="2405">
                  <c:v>0.247</c:v>
                </c:pt>
                <c:pt idx="2406">
                  <c:v>0.35299999999999998</c:v>
                </c:pt>
                <c:pt idx="2407">
                  <c:v>0.36599999999999999</c:v>
                </c:pt>
                <c:pt idx="2408">
                  <c:v>0.29899999999999999</c:v>
                </c:pt>
                <c:pt idx="2409">
                  <c:v>0.66700000000000004</c:v>
                </c:pt>
                <c:pt idx="2410">
                  <c:v>0.94699999999999995</c:v>
                </c:pt>
                <c:pt idx="2411">
                  <c:v>0.91100000000000003</c:v>
                </c:pt>
                <c:pt idx="2412">
                  <c:v>0.746</c:v>
                </c:pt>
                <c:pt idx="2413">
                  <c:v>0.39</c:v>
                </c:pt>
                <c:pt idx="2414">
                  <c:v>0.93100000000000005</c:v>
                </c:pt>
                <c:pt idx="2415">
                  <c:v>0.90700000000000003</c:v>
                </c:pt>
                <c:pt idx="2416">
                  <c:v>0.86</c:v>
                </c:pt>
                <c:pt idx="2417">
                  <c:v>0.78900000000000003</c:v>
                </c:pt>
                <c:pt idx="2418">
                  <c:v>0.96499999999999997</c:v>
                </c:pt>
                <c:pt idx="2419">
                  <c:v>0.70499999999999996</c:v>
                </c:pt>
                <c:pt idx="2420">
                  <c:v>0.94199999999999995</c:v>
                </c:pt>
                <c:pt idx="2421">
                  <c:v>0.91800000000000004</c:v>
                </c:pt>
                <c:pt idx="2422">
                  <c:v>0.69499999999999995</c:v>
                </c:pt>
                <c:pt idx="2423">
                  <c:v>0.72299999999999998</c:v>
                </c:pt>
                <c:pt idx="2424">
                  <c:v>0.33900000000000002</c:v>
                </c:pt>
                <c:pt idx="2425">
                  <c:v>0.96499999999999997</c:v>
                </c:pt>
                <c:pt idx="2426">
                  <c:v>0.97299999999999998</c:v>
                </c:pt>
                <c:pt idx="2427">
                  <c:v>0.79700000000000004</c:v>
                </c:pt>
                <c:pt idx="2428">
                  <c:v>0.748</c:v>
                </c:pt>
                <c:pt idx="2429">
                  <c:v>0.94599999999999995</c:v>
                </c:pt>
                <c:pt idx="2430">
                  <c:v>0.36</c:v>
                </c:pt>
                <c:pt idx="2431">
                  <c:v>0.45900000000000002</c:v>
                </c:pt>
                <c:pt idx="2432">
                  <c:v>0.47299999999999998</c:v>
                </c:pt>
                <c:pt idx="2433">
                  <c:v>0.56299999999999994</c:v>
                </c:pt>
                <c:pt idx="2434">
                  <c:v>0.63300000000000001</c:v>
                </c:pt>
                <c:pt idx="2435">
                  <c:v>0.67700000000000005</c:v>
                </c:pt>
                <c:pt idx="2436">
                  <c:v>0.754</c:v>
                </c:pt>
                <c:pt idx="2437">
                  <c:v>0.56699999999999995</c:v>
                </c:pt>
                <c:pt idx="2438">
                  <c:v>0.106</c:v>
                </c:pt>
                <c:pt idx="2439">
                  <c:v>0.55300000000000005</c:v>
                </c:pt>
                <c:pt idx="2440">
                  <c:v>0.57199999999999995</c:v>
                </c:pt>
                <c:pt idx="2441">
                  <c:v>0.66300000000000003</c:v>
                </c:pt>
                <c:pt idx="2442">
                  <c:v>0.22600000000000001</c:v>
                </c:pt>
                <c:pt idx="2443">
                  <c:v>0.58299999999999996</c:v>
                </c:pt>
                <c:pt idx="2444">
                  <c:v>0.44</c:v>
                </c:pt>
                <c:pt idx="2445">
                  <c:v>0.45300000000000001</c:v>
                </c:pt>
                <c:pt idx="2446">
                  <c:v>0.82499999999999996</c:v>
                </c:pt>
                <c:pt idx="2447">
                  <c:v>0.77900000000000003</c:v>
                </c:pt>
                <c:pt idx="2448">
                  <c:v>0.503</c:v>
                </c:pt>
                <c:pt idx="2449">
                  <c:v>0.72199999999999998</c:v>
                </c:pt>
                <c:pt idx="2450">
                  <c:v>0.44400000000000001</c:v>
                </c:pt>
                <c:pt idx="2451">
                  <c:v>0.40500000000000003</c:v>
                </c:pt>
                <c:pt idx="2452">
                  <c:v>0.90100000000000002</c:v>
                </c:pt>
                <c:pt idx="2453">
                  <c:v>0.875</c:v>
                </c:pt>
                <c:pt idx="2454">
                  <c:v>0.79500000000000004</c:v>
                </c:pt>
                <c:pt idx="2455">
                  <c:v>6.6000000000000003E-2</c:v>
                </c:pt>
                <c:pt idx="2456">
                  <c:v>0.77300000000000002</c:v>
                </c:pt>
                <c:pt idx="2457">
                  <c:v>0.55700000000000005</c:v>
                </c:pt>
                <c:pt idx="2458">
                  <c:v>0.73099999999999998</c:v>
                </c:pt>
                <c:pt idx="2459">
                  <c:v>0.55500000000000005</c:v>
                </c:pt>
                <c:pt idx="2460">
                  <c:v>0.64800000000000002</c:v>
                </c:pt>
                <c:pt idx="2461">
                  <c:v>0.78100000000000003</c:v>
                </c:pt>
                <c:pt idx="2462">
                  <c:v>0.45500000000000002</c:v>
                </c:pt>
                <c:pt idx="2463">
                  <c:v>0.89600000000000002</c:v>
                </c:pt>
                <c:pt idx="2464">
                  <c:v>0.34599999999999997</c:v>
                </c:pt>
                <c:pt idx="2465">
                  <c:v>0.83199999999999996</c:v>
                </c:pt>
                <c:pt idx="2466">
                  <c:v>0.26100000000000001</c:v>
                </c:pt>
                <c:pt idx="2467">
                  <c:v>0.36899999999999999</c:v>
                </c:pt>
                <c:pt idx="2468">
                  <c:v>0.48</c:v>
                </c:pt>
                <c:pt idx="2469">
                  <c:v>0.81599999999999995</c:v>
                </c:pt>
                <c:pt idx="2470">
                  <c:v>0.79</c:v>
                </c:pt>
                <c:pt idx="2471">
                  <c:v>0.78</c:v>
                </c:pt>
                <c:pt idx="2472">
                  <c:v>0.52800000000000002</c:v>
                </c:pt>
                <c:pt idx="2473">
                  <c:v>0.44400000000000001</c:v>
                </c:pt>
                <c:pt idx="2474">
                  <c:v>0.52900000000000003</c:v>
                </c:pt>
                <c:pt idx="2475">
                  <c:v>0.92800000000000005</c:v>
                </c:pt>
                <c:pt idx="2476">
                  <c:v>0.70799999999999996</c:v>
                </c:pt>
                <c:pt idx="2477">
                  <c:v>0.82399999999999995</c:v>
                </c:pt>
                <c:pt idx="2478">
                  <c:v>0.92400000000000004</c:v>
                </c:pt>
                <c:pt idx="2479">
                  <c:v>0.94399999999999995</c:v>
                </c:pt>
                <c:pt idx="2480">
                  <c:v>0.69</c:v>
                </c:pt>
                <c:pt idx="2481">
                  <c:v>0.52200000000000002</c:v>
                </c:pt>
                <c:pt idx="2482">
                  <c:v>0.54800000000000004</c:v>
                </c:pt>
                <c:pt idx="2483">
                  <c:v>0.69899999999999995</c:v>
                </c:pt>
                <c:pt idx="2484">
                  <c:v>0.70599999999999996</c:v>
                </c:pt>
                <c:pt idx="2485">
                  <c:v>0.94299999999999995</c:v>
                </c:pt>
                <c:pt idx="2486">
                  <c:v>0.92500000000000004</c:v>
                </c:pt>
                <c:pt idx="2487">
                  <c:v>0.52</c:v>
                </c:pt>
                <c:pt idx="2488">
                  <c:v>0.88</c:v>
                </c:pt>
                <c:pt idx="2489">
                  <c:v>0.72199999999999998</c:v>
                </c:pt>
                <c:pt idx="2490">
                  <c:v>0.56299999999999994</c:v>
                </c:pt>
                <c:pt idx="2491">
                  <c:v>0.59799999999999998</c:v>
                </c:pt>
                <c:pt idx="2492">
                  <c:v>0.63300000000000001</c:v>
                </c:pt>
                <c:pt idx="2493">
                  <c:v>0.85099999999999998</c:v>
                </c:pt>
                <c:pt idx="2494">
                  <c:v>0.95599999999999996</c:v>
                </c:pt>
                <c:pt idx="2495">
                  <c:v>0.67300000000000004</c:v>
                </c:pt>
                <c:pt idx="2496">
                  <c:v>0.61499999999999999</c:v>
                </c:pt>
                <c:pt idx="2497">
                  <c:v>0.60899999999999999</c:v>
                </c:pt>
                <c:pt idx="2498">
                  <c:v>0.753</c:v>
                </c:pt>
                <c:pt idx="2499">
                  <c:v>0.76</c:v>
                </c:pt>
                <c:pt idx="2500">
                  <c:v>0.82599999999999996</c:v>
                </c:pt>
                <c:pt idx="2501">
                  <c:v>0.751</c:v>
                </c:pt>
                <c:pt idx="2502">
                  <c:v>0.754</c:v>
                </c:pt>
                <c:pt idx="2503">
                  <c:v>0.21299999999999999</c:v>
                </c:pt>
                <c:pt idx="2504">
                  <c:v>0.309</c:v>
                </c:pt>
                <c:pt idx="2505">
                  <c:v>0.32</c:v>
                </c:pt>
                <c:pt idx="2506">
                  <c:v>0.35799999999999998</c:v>
                </c:pt>
                <c:pt idx="2507">
                  <c:v>0.42</c:v>
                </c:pt>
                <c:pt idx="2508">
                  <c:v>0.434</c:v>
                </c:pt>
                <c:pt idx="2509">
                  <c:v>0.56000000000000005</c:v>
                </c:pt>
                <c:pt idx="2510">
                  <c:v>0.628</c:v>
                </c:pt>
                <c:pt idx="2511">
                  <c:v>0.81</c:v>
                </c:pt>
                <c:pt idx="2512">
                  <c:v>0.83299999999999996</c:v>
                </c:pt>
                <c:pt idx="2513">
                  <c:v>0.95699999999999996</c:v>
                </c:pt>
                <c:pt idx="2514">
                  <c:v>0.74</c:v>
                </c:pt>
                <c:pt idx="2515">
                  <c:v>0.72</c:v>
                </c:pt>
                <c:pt idx="2516">
                  <c:v>0.65400000000000003</c:v>
                </c:pt>
                <c:pt idx="2517">
                  <c:v>0.77400000000000002</c:v>
                </c:pt>
                <c:pt idx="2518">
                  <c:v>0.71099999999999997</c:v>
                </c:pt>
                <c:pt idx="2519">
                  <c:v>0.77300000000000002</c:v>
                </c:pt>
                <c:pt idx="2520">
                  <c:v>0.91200000000000003</c:v>
                </c:pt>
                <c:pt idx="2521">
                  <c:v>0.90800000000000003</c:v>
                </c:pt>
                <c:pt idx="2522">
                  <c:v>0.38900000000000001</c:v>
                </c:pt>
                <c:pt idx="2523">
                  <c:v>0.48699999999999999</c:v>
                </c:pt>
                <c:pt idx="2524">
                  <c:v>0.26300000000000001</c:v>
                </c:pt>
                <c:pt idx="2525">
                  <c:v>0.85699999999999998</c:v>
                </c:pt>
                <c:pt idx="2526">
                  <c:v>0.95699999999999996</c:v>
                </c:pt>
                <c:pt idx="2527">
                  <c:v>0.76900000000000002</c:v>
                </c:pt>
                <c:pt idx="2528">
                  <c:v>0.56999999999999995</c:v>
                </c:pt>
                <c:pt idx="2529">
                  <c:v>0.96499999999999997</c:v>
                </c:pt>
                <c:pt idx="2530">
                  <c:v>0.86699999999999999</c:v>
                </c:pt>
                <c:pt idx="2531">
                  <c:v>0.60199999999999998</c:v>
                </c:pt>
                <c:pt idx="2532">
                  <c:v>0.60499999999999998</c:v>
                </c:pt>
                <c:pt idx="2533">
                  <c:v>0.874</c:v>
                </c:pt>
                <c:pt idx="2534">
                  <c:v>0.63400000000000001</c:v>
                </c:pt>
                <c:pt idx="2535">
                  <c:v>0.57399999999999995</c:v>
                </c:pt>
                <c:pt idx="2536">
                  <c:v>0.93100000000000005</c:v>
                </c:pt>
                <c:pt idx="2537">
                  <c:v>0.92300000000000004</c:v>
                </c:pt>
                <c:pt idx="2538">
                  <c:v>0.65600000000000003</c:v>
                </c:pt>
                <c:pt idx="2539">
                  <c:v>0.79200000000000004</c:v>
                </c:pt>
                <c:pt idx="2540">
                  <c:v>0.71</c:v>
                </c:pt>
                <c:pt idx="2541">
                  <c:v>0.85299999999999998</c:v>
                </c:pt>
                <c:pt idx="2542">
                  <c:v>0.65700000000000003</c:v>
                </c:pt>
                <c:pt idx="2543">
                  <c:v>0.96699999999999997</c:v>
                </c:pt>
                <c:pt idx="2544">
                  <c:v>0.76800000000000002</c:v>
                </c:pt>
                <c:pt idx="2545">
                  <c:v>0.60699999999999998</c:v>
                </c:pt>
                <c:pt idx="2546">
                  <c:v>0.433</c:v>
                </c:pt>
                <c:pt idx="2547">
                  <c:v>0.54</c:v>
                </c:pt>
                <c:pt idx="2548">
                  <c:v>0.67400000000000004</c:v>
                </c:pt>
                <c:pt idx="2549">
                  <c:v>0.98199999999999998</c:v>
                </c:pt>
                <c:pt idx="2550">
                  <c:v>0.83199999999999996</c:v>
                </c:pt>
                <c:pt idx="2551">
                  <c:v>0.745</c:v>
                </c:pt>
                <c:pt idx="2552">
                  <c:v>0.84299999999999997</c:v>
                </c:pt>
                <c:pt idx="2553">
                  <c:v>0.58899999999999997</c:v>
                </c:pt>
                <c:pt idx="2554">
                  <c:v>0.90200000000000002</c:v>
                </c:pt>
                <c:pt idx="2555">
                  <c:v>0.86499999999999999</c:v>
                </c:pt>
                <c:pt idx="2556">
                  <c:v>0.72299999999999998</c:v>
                </c:pt>
                <c:pt idx="2557">
                  <c:v>0.42299999999999999</c:v>
                </c:pt>
                <c:pt idx="2558">
                  <c:v>0.54700000000000004</c:v>
                </c:pt>
                <c:pt idx="2559">
                  <c:v>1</c:v>
                </c:pt>
                <c:pt idx="2560">
                  <c:v>0.70099999999999996</c:v>
                </c:pt>
                <c:pt idx="2561">
                  <c:v>0.89500000000000002</c:v>
                </c:pt>
                <c:pt idx="2562">
                  <c:v>0.72599999999999998</c:v>
                </c:pt>
                <c:pt idx="2563">
                  <c:v>0.77900000000000003</c:v>
                </c:pt>
                <c:pt idx="2564">
                  <c:v>0.68100000000000005</c:v>
                </c:pt>
                <c:pt idx="2565">
                  <c:v>0.91700000000000004</c:v>
                </c:pt>
                <c:pt idx="2566">
                  <c:v>8.1000000000000003E-2</c:v>
                </c:pt>
                <c:pt idx="2567">
                  <c:v>1</c:v>
                </c:pt>
                <c:pt idx="2568">
                  <c:v>0.95899999999999996</c:v>
                </c:pt>
                <c:pt idx="2569">
                  <c:v>0.83</c:v>
                </c:pt>
                <c:pt idx="2570">
                  <c:v>0.92</c:v>
                </c:pt>
                <c:pt idx="2571">
                  <c:v>0.44700000000000001</c:v>
                </c:pt>
                <c:pt idx="2572">
                  <c:v>0.88800000000000001</c:v>
                </c:pt>
                <c:pt idx="2573">
                  <c:v>0.44900000000000001</c:v>
                </c:pt>
                <c:pt idx="2574">
                  <c:v>0.56299999999999994</c:v>
                </c:pt>
                <c:pt idx="2575">
                  <c:v>0.83</c:v>
                </c:pt>
                <c:pt idx="2576">
                  <c:v>0.52100000000000002</c:v>
                </c:pt>
                <c:pt idx="2577">
                  <c:v>0.78900000000000003</c:v>
                </c:pt>
                <c:pt idx="2578">
                  <c:v>0.51100000000000001</c:v>
                </c:pt>
                <c:pt idx="2579">
                  <c:v>0.64200000000000002</c:v>
                </c:pt>
                <c:pt idx="2580">
                  <c:v>0.68300000000000005</c:v>
                </c:pt>
                <c:pt idx="2581">
                  <c:v>0.79400000000000004</c:v>
                </c:pt>
                <c:pt idx="2582">
                  <c:v>0.88300000000000001</c:v>
                </c:pt>
                <c:pt idx="2583">
                  <c:v>0.223</c:v>
                </c:pt>
                <c:pt idx="2584">
                  <c:v>0.65500000000000003</c:v>
                </c:pt>
                <c:pt idx="2585">
                  <c:v>0.78</c:v>
                </c:pt>
                <c:pt idx="2586">
                  <c:v>0.94599999999999995</c:v>
                </c:pt>
                <c:pt idx="2587">
                  <c:v>0.72399999999999998</c:v>
                </c:pt>
                <c:pt idx="2588">
                  <c:v>0.64900000000000002</c:v>
                </c:pt>
                <c:pt idx="2589">
                  <c:v>0.64900000000000002</c:v>
                </c:pt>
                <c:pt idx="2590">
                  <c:v>0.90900000000000003</c:v>
                </c:pt>
                <c:pt idx="2591">
                  <c:v>0.78500000000000003</c:v>
                </c:pt>
                <c:pt idx="2592">
                  <c:v>0.93799999999999994</c:v>
                </c:pt>
                <c:pt idx="2593">
                  <c:v>0.56299999999999994</c:v>
                </c:pt>
                <c:pt idx="2594">
                  <c:v>0.78900000000000003</c:v>
                </c:pt>
                <c:pt idx="2595">
                  <c:v>0.97599999999999998</c:v>
                </c:pt>
                <c:pt idx="2596">
                  <c:v>0.76200000000000001</c:v>
                </c:pt>
                <c:pt idx="2597">
                  <c:v>0.88200000000000001</c:v>
                </c:pt>
                <c:pt idx="2598">
                  <c:v>0.38500000000000001</c:v>
                </c:pt>
                <c:pt idx="2599">
                  <c:v>0.77100000000000002</c:v>
                </c:pt>
                <c:pt idx="2600">
                  <c:v>0.82899999999999996</c:v>
                </c:pt>
                <c:pt idx="2601">
                  <c:v>0.873</c:v>
                </c:pt>
                <c:pt idx="2602">
                  <c:v>0.76700000000000002</c:v>
                </c:pt>
                <c:pt idx="2603">
                  <c:v>0.95099999999999996</c:v>
                </c:pt>
                <c:pt idx="2604">
                  <c:v>0.9</c:v>
                </c:pt>
                <c:pt idx="2605">
                  <c:v>0.63600000000000001</c:v>
                </c:pt>
                <c:pt idx="2606">
                  <c:v>0.68899999999999995</c:v>
                </c:pt>
                <c:pt idx="2607">
                  <c:v>0.85399999999999998</c:v>
                </c:pt>
                <c:pt idx="2608">
                  <c:v>0.70099999999999996</c:v>
                </c:pt>
                <c:pt idx="2609">
                  <c:v>0.68</c:v>
                </c:pt>
                <c:pt idx="2610">
                  <c:v>0.70599999999999996</c:v>
                </c:pt>
                <c:pt idx="2611">
                  <c:v>0.60299999999999998</c:v>
                </c:pt>
                <c:pt idx="2612">
                  <c:v>0.57899999999999996</c:v>
                </c:pt>
                <c:pt idx="2613">
                  <c:v>0.29399999999999998</c:v>
                </c:pt>
                <c:pt idx="2614">
                  <c:v>0.86799999999999999</c:v>
                </c:pt>
                <c:pt idx="2615">
                  <c:v>0.94399999999999995</c:v>
                </c:pt>
                <c:pt idx="2616">
                  <c:v>0.80500000000000005</c:v>
                </c:pt>
                <c:pt idx="2617">
                  <c:v>0.91700000000000004</c:v>
                </c:pt>
                <c:pt idx="2618">
                  <c:v>0.94199999999999995</c:v>
                </c:pt>
                <c:pt idx="2619">
                  <c:v>0.65400000000000003</c:v>
                </c:pt>
                <c:pt idx="2620">
                  <c:v>0.66300000000000003</c:v>
                </c:pt>
                <c:pt idx="2621">
                  <c:v>0.33200000000000002</c:v>
                </c:pt>
                <c:pt idx="2622">
                  <c:v>0.85399999999999998</c:v>
                </c:pt>
                <c:pt idx="2623">
                  <c:v>0.84</c:v>
                </c:pt>
                <c:pt idx="2624">
                  <c:v>0.92600000000000005</c:v>
                </c:pt>
                <c:pt idx="2625">
                  <c:v>0.873</c:v>
                </c:pt>
                <c:pt idx="2626">
                  <c:v>0.48799999999999999</c:v>
                </c:pt>
                <c:pt idx="2627">
                  <c:v>0.629</c:v>
                </c:pt>
                <c:pt idx="2628">
                  <c:v>0.83499999999999996</c:v>
                </c:pt>
                <c:pt idx="2629">
                  <c:v>0.77200000000000002</c:v>
                </c:pt>
                <c:pt idx="2630">
                  <c:v>0.88</c:v>
                </c:pt>
                <c:pt idx="2631">
                  <c:v>0.90200000000000002</c:v>
                </c:pt>
                <c:pt idx="2632">
                  <c:v>0.70599999999999996</c:v>
                </c:pt>
                <c:pt idx="2633">
                  <c:v>0.83299999999999996</c:v>
                </c:pt>
                <c:pt idx="2634">
                  <c:v>0.68600000000000005</c:v>
                </c:pt>
                <c:pt idx="2635">
                  <c:v>0.58699999999999997</c:v>
                </c:pt>
                <c:pt idx="2636">
                  <c:v>0.64600000000000002</c:v>
                </c:pt>
                <c:pt idx="2637">
                  <c:v>0.93400000000000005</c:v>
                </c:pt>
                <c:pt idx="2638">
                  <c:v>0.66200000000000003</c:v>
                </c:pt>
                <c:pt idx="2639">
                  <c:v>0.91300000000000003</c:v>
                </c:pt>
                <c:pt idx="2640">
                  <c:v>0.81599999999999995</c:v>
                </c:pt>
                <c:pt idx="2641">
                  <c:v>0.623</c:v>
                </c:pt>
                <c:pt idx="2642">
                  <c:v>0.499</c:v>
                </c:pt>
                <c:pt idx="2643">
                  <c:v>0.39400000000000002</c:v>
                </c:pt>
                <c:pt idx="2644">
                  <c:v>2.5000000000000001E-2</c:v>
                </c:pt>
                <c:pt idx="2645">
                  <c:v>0.49099999999999999</c:v>
                </c:pt>
                <c:pt idx="2646">
                  <c:v>0.51100000000000001</c:v>
                </c:pt>
                <c:pt idx="2647">
                  <c:v>0.77600000000000002</c:v>
                </c:pt>
                <c:pt idx="2648">
                  <c:v>0.94299999999999995</c:v>
                </c:pt>
                <c:pt idx="2649">
                  <c:v>0.98399999999999999</c:v>
                </c:pt>
                <c:pt idx="2650">
                  <c:v>0.52700000000000002</c:v>
                </c:pt>
                <c:pt idx="2651">
                  <c:v>0.72</c:v>
                </c:pt>
                <c:pt idx="2652">
                  <c:v>0.74199999999999999</c:v>
                </c:pt>
                <c:pt idx="2653">
                  <c:v>0.59199999999999997</c:v>
                </c:pt>
                <c:pt idx="2654">
                  <c:v>0.86399999999999999</c:v>
                </c:pt>
                <c:pt idx="2655">
                  <c:v>0.97499999999999998</c:v>
                </c:pt>
                <c:pt idx="2656">
                  <c:v>0.34699999999999998</c:v>
                </c:pt>
                <c:pt idx="2657">
                  <c:v>0.95199999999999996</c:v>
                </c:pt>
                <c:pt idx="2658">
                  <c:v>0.53800000000000003</c:v>
                </c:pt>
                <c:pt idx="2659">
                  <c:v>0.81699999999999995</c:v>
                </c:pt>
                <c:pt idx="2660">
                  <c:v>1</c:v>
                </c:pt>
                <c:pt idx="2661">
                  <c:v>0.85299999999999998</c:v>
                </c:pt>
                <c:pt idx="2662">
                  <c:v>0.26900000000000002</c:v>
                </c:pt>
                <c:pt idx="2663">
                  <c:v>0.71699999999999997</c:v>
                </c:pt>
                <c:pt idx="2664">
                  <c:v>0.61599999999999999</c:v>
                </c:pt>
                <c:pt idx="2665">
                  <c:v>0.54100000000000004</c:v>
                </c:pt>
                <c:pt idx="2666">
                  <c:v>0.64200000000000002</c:v>
                </c:pt>
                <c:pt idx="2667">
                  <c:v>0.875</c:v>
                </c:pt>
                <c:pt idx="2668">
                  <c:v>0.53300000000000003</c:v>
                </c:pt>
                <c:pt idx="2669">
                  <c:v>0.84</c:v>
                </c:pt>
                <c:pt idx="2670">
                  <c:v>0.8</c:v>
                </c:pt>
                <c:pt idx="2671">
                  <c:v>0.83599999999999997</c:v>
                </c:pt>
                <c:pt idx="2672">
                  <c:v>0.98099999999999998</c:v>
                </c:pt>
                <c:pt idx="2673">
                  <c:v>0.71199999999999997</c:v>
                </c:pt>
                <c:pt idx="2674">
                  <c:v>0.95299999999999996</c:v>
                </c:pt>
                <c:pt idx="2675">
                  <c:v>0.70299999999999996</c:v>
                </c:pt>
                <c:pt idx="2676">
                  <c:v>0.36499999999999999</c:v>
                </c:pt>
                <c:pt idx="2677">
                  <c:v>0.126</c:v>
                </c:pt>
                <c:pt idx="2678">
                  <c:v>1</c:v>
                </c:pt>
                <c:pt idx="2679">
                  <c:v>0.93100000000000005</c:v>
                </c:pt>
                <c:pt idx="2680">
                  <c:v>0.78200000000000003</c:v>
                </c:pt>
                <c:pt idx="2681">
                  <c:v>0.95299999999999996</c:v>
                </c:pt>
                <c:pt idx="2682">
                  <c:v>6.8000000000000005E-2</c:v>
                </c:pt>
                <c:pt idx="2683">
                  <c:v>0.63800000000000001</c:v>
                </c:pt>
                <c:pt idx="2684">
                  <c:v>0.69299999999999995</c:v>
                </c:pt>
                <c:pt idx="2685">
                  <c:v>0.88400000000000001</c:v>
                </c:pt>
                <c:pt idx="2686">
                  <c:v>0.84699999999999998</c:v>
                </c:pt>
                <c:pt idx="2687">
                  <c:v>0.80400000000000005</c:v>
                </c:pt>
                <c:pt idx="2688">
                  <c:v>0.70299999999999996</c:v>
                </c:pt>
                <c:pt idx="2689">
                  <c:v>0.248</c:v>
                </c:pt>
                <c:pt idx="2690">
                  <c:v>0.98099999999999998</c:v>
                </c:pt>
                <c:pt idx="2691">
                  <c:v>0.59799999999999998</c:v>
                </c:pt>
                <c:pt idx="2692">
                  <c:v>0.56100000000000005</c:v>
                </c:pt>
                <c:pt idx="2693">
                  <c:v>0.81399999999999995</c:v>
                </c:pt>
                <c:pt idx="2694">
                  <c:v>0.80600000000000005</c:v>
                </c:pt>
                <c:pt idx="2695">
                  <c:v>0.86699999999999999</c:v>
                </c:pt>
                <c:pt idx="2696">
                  <c:v>0.78200000000000003</c:v>
                </c:pt>
                <c:pt idx="2697">
                  <c:v>0.502</c:v>
                </c:pt>
                <c:pt idx="2698">
                  <c:v>0.83899999999999997</c:v>
                </c:pt>
                <c:pt idx="2699">
                  <c:v>0.9</c:v>
                </c:pt>
                <c:pt idx="2700">
                  <c:v>0.98099999999999998</c:v>
                </c:pt>
                <c:pt idx="2701">
                  <c:v>0.93400000000000005</c:v>
                </c:pt>
                <c:pt idx="2702">
                  <c:v>0.63600000000000001</c:v>
                </c:pt>
                <c:pt idx="2703">
                  <c:v>0.52300000000000002</c:v>
                </c:pt>
                <c:pt idx="2704">
                  <c:v>0.83099999999999996</c:v>
                </c:pt>
                <c:pt idx="2705">
                  <c:v>0.98599999999999999</c:v>
                </c:pt>
                <c:pt idx="2706">
                  <c:v>0.67</c:v>
                </c:pt>
                <c:pt idx="2707">
                  <c:v>0.14399999999999999</c:v>
                </c:pt>
                <c:pt idx="2708">
                  <c:v>0.61</c:v>
                </c:pt>
                <c:pt idx="2709">
                  <c:v>0.89</c:v>
                </c:pt>
                <c:pt idx="2710">
                  <c:v>0.83299999999999996</c:v>
                </c:pt>
                <c:pt idx="2711">
                  <c:v>0.89600000000000002</c:v>
                </c:pt>
                <c:pt idx="2712">
                  <c:v>0.9</c:v>
                </c:pt>
                <c:pt idx="2713">
                  <c:v>0.78400000000000003</c:v>
                </c:pt>
                <c:pt idx="2714">
                  <c:v>0.71599999999999997</c:v>
                </c:pt>
                <c:pt idx="2715">
                  <c:v>0.64800000000000002</c:v>
                </c:pt>
                <c:pt idx="2716">
                  <c:v>0.89500000000000002</c:v>
                </c:pt>
                <c:pt idx="2717">
                  <c:v>0.40200000000000002</c:v>
                </c:pt>
                <c:pt idx="2718">
                  <c:v>0.82899999999999996</c:v>
                </c:pt>
                <c:pt idx="2719">
                  <c:v>0.84299999999999997</c:v>
                </c:pt>
                <c:pt idx="2720">
                  <c:v>0.45100000000000001</c:v>
                </c:pt>
                <c:pt idx="2721">
                  <c:v>0.56799999999999995</c:v>
                </c:pt>
                <c:pt idx="2722">
                  <c:v>0.495</c:v>
                </c:pt>
                <c:pt idx="2723">
                  <c:v>0.69899999999999995</c:v>
                </c:pt>
                <c:pt idx="2724">
                  <c:v>0.47099999999999997</c:v>
                </c:pt>
                <c:pt idx="2725">
                  <c:v>0.69299999999999995</c:v>
                </c:pt>
                <c:pt idx="2726">
                  <c:v>0.97299999999999998</c:v>
                </c:pt>
                <c:pt idx="2727">
                  <c:v>0.83699999999999997</c:v>
                </c:pt>
                <c:pt idx="2728">
                  <c:v>0.19800000000000001</c:v>
                </c:pt>
                <c:pt idx="2729">
                  <c:v>0.75900000000000001</c:v>
                </c:pt>
                <c:pt idx="2730">
                  <c:v>0.94599999999999995</c:v>
                </c:pt>
                <c:pt idx="2731">
                  <c:v>0.75800000000000001</c:v>
                </c:pt>
                <c:pt idx="2732">
                  <c:v>0.92500000000000004</c:v>
                </c:pt>
                <c:pt idx="2733">
                  <c:v>0.52100000000000002</c:v>
                </c:pt>
                <c:pt idx="2734">
                  <c:v>0.83</c:v>
                </c:pt>
                <c:pt idx="2735">
                  <c:v>0.64600000000000002</c:v>
                </c:pt>
                <c:pt idx="2736">
                  <c:v>0.57299999999999995</c:v>
                </c:pt>
                <c:pt idx="2737">
                  <c:v>0.83599999999999997</c:v>
                </c:pt>
                <c:pt idx="2738">
                  <c:v>0.64700000000000002</c:v>
                </c:pt>
                <c:pt idx="2739">
                  <c:v>0.501</c:v>
                </c:pt>
                <c:pt idx="2740">
                  <c:v>0.39400000000000002</c:v>
                </c:pt>
                <c:pt idx="2741">
                  <c:v>0.9</c:v>
                </c:pt>
                <c:pt idx="2742">
                  <c:v>0.69</c:v>
                </c:pt>
                <c:pt idx="2743">
                  <c:v>0.35899999999999999</c:v>
                </c:pt>
                <c:pt idx="2744">
                  <c:v>0.39700000000000002</c:v>
                </c:pt>
                <c:pt idx="2745">
                  <c:v>0.41899999999999998</c:v>
                </c:pt>
                <c:pt idx="2746">
                  <c:v>0.44900000000000001</c:v>
                </c:pt>
                <c:pt idx="2747">
                  <c:v>0.502</c:v>
                </c:pt>
                <c:pt idx="2748">
                  <c:v>0.58399999999999996</c:v>
                </c:pt>
                <c:pt idx="2749">
                  <c:v>0.66800000000000004</c:v>
                </c:pt>
                <c:pt idx="2750">
                  <c:v>0.77200000000000002</c:v>
                </c:pt>
                <c:pt idx="2751">
                  <c:v>0.88400000000000001</c:v>
                </c:pt>
                <c:pt idx="2752">
                  <c:v>0.94499999999999995</c:v>
                </c:pt>
                <c:pt idx="2753">
                  <c:v>0.95299999999999996</c:v>
                </c:pt>
                <c:pt idx="2754">
                  <c:v>0.54700000000000004</c:v>
                </c:pt>
                <c:pt idx="2755">
                  <c:v>0.77</c:v>
                </c:pt>
                <c:pt idx="2756">
                  <c:v>0.90700000000000003</c:v>
                </c:pt>
                <c:pt idx="2757">
                  <c:v>0.73399999999999999</c:v>
                </c:pt>
                <c:pt idx="2758">
                  <c:v>0.54800000000000004</c:v>
                </c:pt>
                <c:pt idx="2759">
                  <c:v>0.51300000000000001</c:v>
                </c:pt>
                <c:pt idx="2760">
                  <c:v>0.48299999999999998</c:v>
                </c:pt>
                <c:pt idx="2761">
                  <c:v>0.60699999999999998</c:v>
                </c:pt>
                <c:pt idx="2762">
                  <c:v>0.81499999999999995</c:v>
                </c:pt>
                <c:pt idx="2763">
                  <c:v>0.88500000000000001</c:v>
                </c:pt>
                <c:pt idx="2764">
                  <c:v>0.83099999999999996</c:v>
                </c:pt>
                <c:pt idx="2765">
                  <c:v>0.999</c:v>
                </c:pt>
                <c:pt idx="2766">
                  <c:v>0.65300000000000002</c:v>
                </c:pt>
                <c:pt idx="2767">
                  <c:v>0.57999999999999996</c:v>
                </c:pt>
                <c:pt idx="2768">
                  <c:v>0.55700000000000005</c:v>
                </c:pt>
                <c:pt idx="2769">
                  <c:v>0.82499999999999996</c:v>
                </c:pt>
                <c:pt idx="2770">
                  <c:v>0.55600000000000005</c:v>
                </c:pt>
                <c:pt idx="2771">
                  <c:v>0.81699999999999995</c:v>
                </c:pt>
                <c:pt idx="2772">
                  <c:v>0.84099999999999997</c:v>
                </c:pt>
                <c:pt idx="2773">
                  <c:v>0.59199999999999997</c:v>
                </c:pt>
                <c:pt idx="2774">
                  <c:v>0.63100000000000001</c:v>
                </c:pt>
                <c:pt idx="2775">
                  <c:v>0.71899999999999997</c:v>
                </c:pt>
                <c:pt idx="2776">
                  <c:v>0.57599999999999996</c:v>
                </c:pt>
                <c:pt idx="2777">
                  <c:v>0.66300000000000003</c:v>
                </c:pt>
                <c:pt idx="2778">
                  <c:v>0.91800000000000004</c:v>
                </c:pt>
                <c:pt idx="2779">
                  <c:v>0.67300000000000004</c:v>
                </c:pt>
                <c:pt idx="2780">
                  <c:v>0.84099999999999997</c:v>
                </c:pt>
                <c:pt idx="2781">
                  <c:v>0.80700000000000005</c:v>
                </c:pt>
                <c:pt idx="2782">
                  <c:v>0.504</c:v>
                </c:pt>
                <c:pt idx="2783">
                  <c:v>0.77600000000000002</c:v>
                </c:pt>
                <c:pt idx="2784">
                  <c:v>0.877</c:v>
                </c:pt>
                <c:pt idx="2785">
                  <c:v>0.88800000000000001</c:v>
                </c:pt>
                <c:pt idx="2786">
                  <c:v>0.71499999999999997</c:v>
                </c:pt>
                <c:pt idx="2787">
                  <c:v>0.77800000000000002</c:v>
                </c:pt>
                <c:pt idx="2788">
                  <c:v>0.33600000000000002</c:v>
                </c:pt>
                <c:pt idx="2789">
                  <c:v>0.68300000000000005</c:v>
                </c:pt>
                <c:pt idx="2790">
                  <c:v>0.85499999999999998</c:v>
                </c:pt>
                <c:pt idx="2791">
                  <c:v>0.83299999999999996</c:v>
                </c:pt>
                <c:pt idx="2792">
                  <c:v>0.88</c:v>
                </c:pt>
                <c:pt idx="2793">
                  <c:v>0.70599999999999996</c:v>
                </c:pt>
                <c:pt idx="2794">
                  <c:v>0.60599999999999998</c:v>
                </c:pt>
                <c:pt idx="2795">
                  <c:v>0.91200000000000003</c:v>
                </c:pt>
                <c:pt idx="2796">
                  <c:v>0.495</c:v>
                </c:pt>
                <c:pt idx="2797">
                  <c:v>0.86</c:v>
                </c:pt>
                <c:pt idx="2798">
                  <c:v>0.67300000000000004</c:v>
                </c:pt>
                <c:pt idx="2799">
                  <c:v>0.47899999999999998</c:v>
                </c:pt>
                <c:pt idx="2800">
                  <c:v>0.95299999999999996</c:v>
                </c:pt>
                <c:pt idx="2801">
                  <c:v>0.69799999999999995</c:v>
                </c:pt>
                <c:pt idx="2802">
                  <c:v>0.878</c:v>
                </c:pt>
                <c:pt idx="2803">
                  <c:v>0.74399999999999999</c:v>
                </c:pt>
                <c:pt idx="2804">
                  <c:v>0.50700000000000001</c:v>
                </c:pt>
                <c:pt idx="2805">
                  <c:v>0.216</c:v>
                </c:pt>
                <c:pt idx="2806">
                  <c:v>0.46200000000000002</c:v>
                </c:pt>
                <c:pt idx="2807">
                  <c:v>0.65400000000000003</c:v>
                </c:pt>
                <c:pt idx="2808">
                  <c:v>0.90400000000000003</c:v>
                </c:pt>
                <c:pt idx="2809">
                  <c:v>0.86199999999999999</c:v>
                </c:pt>
                <c:pt idx="2810">
                  <c:v>0.88500000000000001</c:v>
                </c:pt>
                <c:pt idx="2811">
                  <c:v>0.94499999999999995</c:v>
                </c:pt>
                <c:pt idx="2812">
                  <c:v>0.64</c:v>
                </c:pt>
                <c:pt idx="2813">
                  <c:v>0.85599999999999998</c:v>
                </c:pt>
                <c:pt idx="2814">
                  <c:v>0.50700000000000001</c:v>
                </c:pt>
                <c:pt idx="2815">
                  <c:v>0.96499999999999997</c:v>
                </c:pt>
                <c:pt idx="2816">
                  <c:v>0.58499999999999996</c:v>
                </c:pt>
                <c:pt idx="2817">
                  <c:v>0.94399999999999995</c:v>
                </c:pt>
                <c:pt idx="2818">
                  <c:v>0.86399999999999999</c:v>
                </c:pt>
                <c:pt idx="2819">
                  <c:v>0.55400000000000005</c:v>
                </c:pt>
                <c:pt idx="2820">
                  <c:v>0.71899999999999997</c:v>
                </c:pt>
                <c:pt idx="2821">
                  <c:v>0.50600000000000001</c:v>
                </c:pt>
                <c:pt idx="2822">
                  <c:v>0.83099999999999996</c:v>
                </c:pt>
                <c:pt idx="2823">
                  <c:v>0.56499999999999995</c:v>
                </c:pt>
                <c:pt idx="2824">
                  <c:v>0.78900000000000003</c:v>
                </c:pt>
                <c:pt idx="2825">
                  <c:v>0.63500000000000001</c:v>
                </c:pt>
                <c:pt idx="2826">
                  <c:v>0.64</c:v>
                </c:pt>
                <c:pt idx="2827">
                  <c:v>0.39900000000000002</c:v>
                </c:pt>
                <c:pt idx="2828">
                  <c:v>0.82699999999999996</c:v>
                </c:pt>
                <c:pt idx="2829">
                  <c:v>0.89100000000000001</c:v>
                </c:pt>
                <c:pt idx="2830">
                  <c:v>0.12</c:v>
                </c:pt>
                <c:pt idx="2831">
                  <c:v>0.20300000000000001</c:v>
                </c:pt>
                <c:pt idx="2832">
                  <c:v>0.36599999999999999</c:v>
                </c:pt>
                <c:pt idx="2833">
                  <c:v>0.97099999999999997</c:v>
                </c:pt>
                <c:pt idx="2834">
                  <c:v>0.59399999999999997</c:v>
                </c:pt>
                <c:pt idx="2835">
                  <c:v>0.85899999999999999</c:v>
                </c:pt>
                <c:pt idx="2836">
                  <c:v>0.92</c:v>
                </c:pt>
                <c:pt idx="2837">
                  <c:v>0.76900000000000002</c:v>
                </c:pt>
                <c:pt idx="2838">
                  <c:v>0.68799999999999994</c:v>
                </c:pt>
                <c:pt idx="2839">
                  <c:v>0.84499999999999997</c:v>
                </c:pt>
                <c:pt idx="2840">
                  <c:v>0.32800000000000001</c:v>
                </c:pt>
                <c:pt idx="2841">
                  <c:v>0.42899999999999999</c:v>
                </c:pt>
                <c:pt idx="2842">
                  <c:v>0.91800000000000004</c:v>
                </c:pt>
                <c:pt idx="2843">
                  <c:v>0.80500000000000005</c:v>
                </c:pt>
                <c:pt idx="2844">
                  <c:v>0.50600000000000001</c:v>
                </c:pt>
                <c:pt idx="2845">
                  <c:v>0.45900000000000002</c:v>
                </c:pt>
                <c:pt idx="2846">
                  <c:v>0.153</c:v>
                </c:pt>
                <c:pt idx="2847">
                  <c:v>0.71</c:v>
                </c:pt>
                <c:pt idx="2848">
                  <c:v>0.53500000000000003</c:v>
                </c:pt>
                <c:pt idx="2849">
                  <c:v>0.52300000000000002</c:v>
                </c:pt>
                <c:pt idx="2850">
                  <c:v>0.873</c:v>
                </c:pt>
                <c:pt idx="2851">
                  <c:v>0.60599999999999998</c:v>
                </c:pt>
                <c:pt idx="2852">
                  <c:v>0.99399999999999999</c:v>
                </c:pt>
                <c:pt idx="2853">
                  <c:v>0.93700000000000006</c:v>
                </c:pt>
                <c:pt idx="2854">
                  <c:v>0.9</c:v>
                </c:pt>
                <c:pt idx="2855">
                  <c:v>0.53300000000000003</c:v>
                </c:pt>
                <c:pt idx="2856">
                  <c:v>0.71499999999999997</c:v>
                </c:pt>
                <c:pt idx="2857">
                  <c:v>0.79900000000000004</c:v>
                </c:pt>
                <c:pt idx="2858">
                  <c:v>0.749</c:v>
                </c:pt>
                <c:pt idx="2859">
                  <c:v>0.628</c:v>
                </c:pt>
                <c:pt idx="2860">
                  <c:v>0.61399999999999999</c:v>
                </c:pt>
                <c:pt idx="2861">
                  <c:v>0.55200000000000005</c:v>
                </c:pt>
                <c:pt idx="2862">
                  <c:v>0.754</c:v>
                </c:pt>
                <c:pt idx="2863">
                  <c:v>0.497</c:v>
                </c:pt>
                <c:pt idx="2864">
                  <c:v>0.52400000000000002</c:v>
                </c:pt>
                <c:pt idx="2865">
                  <c:v>0.54700000000000004</c:v>
                </c:pt>
                <c:pt idx="2866">
                  <c:v>0.81399999999999995</c:v>
                </c:pt>
                <c:pt idx="2867">
                  <c:v>0.89</c:v>
                </c:pt>
                <c:pt idx="2868">
                  <c:v>0.9</c:v>
                </c:pt>
                <c:pt idx="2869">
                  <c:v>0.50600000000000001</c:v>
                </c:pt>
                <c:pt idx="2870">
                  <c:v>0.25700000000000001</c:v>
                </c:pt>
                <c:pt idx="2871">
                  <c:v>0.35499999999999998</c:v>
                </c:pt>
                <c:pt idx="2872">
                  <c:v>0.48399999999999999</c:v>
                </c:pt>
                <c:pt idx="2873">
                  <c:v>0.86899999999999999</c:v>
                </c:pt>
                <c:pt idx="2874">
                  <c:v>0.71599999999999997</c:v>
                </c:pt>
                <c:pt idx="2875">
                  <c:v>0.996</c:v>
                </c:pt>
                <c:pt idx="2876">
                  <c:v>0.63200000000000001</c:v>
                </c:pt>
                <c:pt idx="2877">
                  <c:v>0.84499999999999997</c:v>
                </c:pt>
                <c:pt idx="2878">
                  <c:v>0.35099999999999998</c:v>
                </c:pt>
                <c:pt idx="2879">
                  <c:v>0.49</c:v>
                </c:pt>
                <c:pt idx="2880">
                  <c:v>0.58299999999999996</c:v>
                </c:pt>
                <c:pt idx="2881">
                  <c:v>0.55600000000000005</c:v>
                </c:pt>
                <c:pt idx="2882">
                  <c:v>0.85399999999999998</c:v>
                </c:pt>
                <c:pt idx="2883">
                  <c:v>0.96099999999999997</c:v>
                </c:pt>
                <c:pt idx="2884">
                  <c:v>0.97299999999999998</c:v>
                </c:pt>
                <c:pt idx="2885">
                  <c:v>0.63500000000000001</c:v>
                </c:pt>
                <c:pt idx="2886">
                  <c:v>0.91600000000000004</c:v>
                </c:pt>
                <c:pt idx="2887">
                  <c:v>0.64900000000000002</c:v>
                </c:pt>
                <c:pt idx="2888">
                  <c:v>0.96199999999999997</c:v>
                </c:pt>
                <c:pt idx="2889">
                  <c:v>0.86799999999999999</c:v>
                </c:pt>
                <c:pt idx="2890">
                  <c:v>0.68799999999999994</c:v>
                </c:pt>
                <c:pt idx="2891">
                  <c:v>5.3999999999999999E-2</c:v>
                </c:pt>
                <c:pt idx="2892">
                  <c:v>0.77600000000000002</c:v>
                </c:pt>
                <c:pt idx="2893">
                  <c:v>0.47099999999999997</c:v>
                </c:pt>
                <c:pt idx="2894">
                  <c:v>0.61299999999999999</c:v>
                </c:pt>
                <c:pt idx="2895">
                  <c:v>0.64100000000000001</c:v>
                </c:pt>
                <c:pt idx="2896">
                  <c:v>0.92700000000000005</c:v>
                </c:pt>
                <c:pt idx="2897">
                  <c:v>0.66600000000000004</c:v>
                </c:pt>
                <c:pt idx="2898">
                  <c:v>8.3000000000000004E-2</c:v>
                </c:pt>
                <c:pt idx="2899">
                  <c:v>0.66</c:v>
                </c:pt>
                <c:pt idx="2900">
                  <c:v>0.95199999999999996</c:v>
                </c:pt>
                <c:pt idx="2901">
                  <c:v>0.65600000000000003</c:v>
                </c:pt>
                <c:pt idx="2902">
                  <c:v>0.80600000000000005</c:v>
                </c:pt>
                <c:pt idx="2903">
                  <c:v>0.91400000000000003</c:v>
                </c:pt>
                <c:pt idx="2904">
                  <c:v>0.35699999999999998</c:v>
                </c:pt>
                <c:pt idx="2905">
                  <c:v>0.20899999999999999</c:v>
                </c:pt>
                <c:pt idx="2906">
                  <c:v>0.71199999999999997</c:v>
                </c:pt>
                <c:pt idx="2907">
                  <c:v>0.50700000000000001</c:v>
                </c:pt>
                <c:pt idx="2908">
                  <c:v>0.65600000000000003</c:v>
                </c:pt>
                <c:pt idx="2909">
                  <c:v>0.72399999999999998</c:v>
                </c:pt>
                <c:pt idx="2910">
                  <c:v>0.45800000000000002</c:v>
                </c:pt>
                <c:pt idx="2911">
                  <c:v>0.93500000000000005</c:v>
                </c:pt>
                <c:pt idx="2912">
                  <c:v>0.58099999999999996</c:v>
                </c:pt>
                <c:pt idx="2913">
                  <c:v>0.438</c:v>
                </c:pt>
                <c:pt idx="2914">
                  <c:v>0.90800000000000003</c:v>
                </c:pt>
                <c:pt idx="2915">
                  <c:v>0.57499999999999996</c:v>
                </c:pt>
                <c:pt idx="2916">
                  <c:v>0.89600000000000002</c:v>
                </c:pt>
                <c:pt idx="2917">
                  <c:v>0.28299999999999997</c:v>
                </c:pt>
                <c:pt idx="2918">
                  <c:v>0.65600000000000003</c:v>
                </c:pt>
                <c:pt idx="2919">
                  <c:v>0.73799999999999999</c:v>
                </c:pt>
                <c:pt idx="2920">
                  <c:v>0.89100000000000001</c:v>
                </c:pt>
                <c:pt idx="2921">
                  <c:v>0.96399999999999997</c:v>
                </c:pt>
                <c:pt idx="2922">
                  <c:v>0.60699999999999998</c:v>
                </c:pt>
                <c:pt idx="2923">
                  <c:v>0.32800000000000001</c:v>
                </c:pt>
                <c:pt idx="2924">
                  <c:v>0.498</c:v>
                </c:pt>
                <c:pt idx="2925">
                  <c:v>0.94199999999999995</c:v>
                </c:pt>
                <c:pt idx="2926">
                  <c:v>0.29699999999999999</c:v>
                </c:pt>
                <c:pt idx="2927">
                  <c:v>0.42</c:v>
                </c:pt>
                <c:pt idx="2928">
                  <c:v>0.47499999999999998</c:v>
                </c:pt>
                <c:pt idx="2929">
                  <c:v>0.52500000000000002</c:v>
                </c:pt>
                <c:pt idx="2930">
                  <c:v>0.97</c:v>
                </c:pt>
                <c:pt idx="2931">
                  <c:v>0.78300000000000003</c:v>
                </c:pt>
                <c:pt idx="2932">
                  <c:v>0.82899999999999996</c:v>
                </c:pt>
                <c:pt idx="2933">
                  <c:v>0.73599999999999999</c:v>
                </c:pt>
                <c:pt idx="2934">
                  <c:v>0.55800000000000005</c:v>
                </c:pt>
                <c:pt idx="2935">
                  <c:v>0.84499999999999997</c:v>
                </c:pt>
                <c:pt idx="2936">
                  <c:v>0.92300000000000004</c:v>
                </c:pt>
                <c:pt idx="2937">
                  <c:v>0.64</c:v>
                </c:pt>
                <c:pt idx="2938">
                  <c:v>0.28399999999999997</c:v>
                </c:pt>
                <c:pt idx="2939">
                  <c:v>0.91300000000000003</c:v>
                </c:pt>
                <c:pt idx="2940">
                  <c:v>0.18</c:v>
                </c:pt>
                <c:pt idx="2941">
                  <c:v>0.72899999999999998</c:v>
                </c:pt>
                <c:pt idx="2942">
                  <c:v>0.41099999999999998</c:v>
                </c:pt>
                <c:pt idx="2943">
                  <c:v>0.20399999999999999</c:v>
                </c:pt>
                <c:pt idx="2944">
                  <c:v>0.89600000000000002</c:v>
                </c:pt>
                <c:pt idx="2945">
                  <c:v>0.51400000000000001</c:v>
                </c:pt>
                <c:pt idx="2946">
                  <c:v>0.69899999999999995</c:v>
                </c:pt>
                <c:pt idx="2947">
                  <c:v>0.63500000000000001</c:v>
                </c:pt>
                <c:pt idx="2948">
                  <c:v>0.42599999999999999</c:v>
                </c:pt>
                <c:pt idx="2949">
                  <c:v>0.83199999999999996</c:v>
                </c:pt>
                <c:pt idx="2950">
                  <c:v>0.42599999999999999</c:v>
                </c:pt>
                <c:pt idx="2951">
                  <c:v>0.85599999999999998</c:v>
                </c:pt>
                <c:pt idx="2952">
                  <c:v>0.371</c:v>
                </c:pt>
                <c:pt idx="2953">
                  <c:v>0.495</c:v>
                </c:pt>
                <c:pt idx="2954">
                  <c:v>7.6999999999999999E-2</c:v>
                </c:pt>
                <c:pt idx="2955">
                  <c:v>0.80900000000000005</c:v>
                </c:pt>
                <c:pt idx="2956">
                  <c:v>0.42399999999999999</c:v>
                </c:pt>
                <c:pt idx="2957">
                  <c:v>0.97499999999999998</c:v>
                </c:pt>
                <c:pt idx="2958">
                  <c:v>0.97399999999999998</c:v>
                </c:pt>
                <c:pt idx="2959">
                  <c:v>0.314</c:v>
                </c:pt>
                <c:pt idx="2960">
                  <c:v>0.88900000000000001</c:v>
                </c:pt>
                <c:pt idx="2961">
                  <c:v>0.47399999999999998</c:v>
                </c:pt>
                <c:pt idx="2962">
                  <c:v>0.66400000000000003</c:v>
                </c:pt>
                <c:pt idx="2963">
                  <c:v>0.52300000000000002</c:v>
                </c:pt>
                <c:pt idx="2964">
                  <c:v>0.873</c:v>
                </c:pt>
                <c:pt idx="2965">
                  <c:v>0.312</c:v>
                </c:pt>
                <c:pt idx="2966">
                  <c:v>0.65300000000000002</c:v>
                </c:pt>
                <c:pt idx="2967">
                  <c:v>0.60399999999999998</c:v>
                </c:pt>
                <c:pt idx="2968">
                  <c:v>0.66400000000000003</c:v>
                </c:pt>
                <c:pt idx="2969">
                  <c:v>0.98699999999999999</c:v>
                </c:pt>
                <c:pt idx="2970">
                  <c:v>0.65400000000000003</c:v>
                </c:pt>
                <c:pt idx="2971">
                  <c:v>0.68300000000000005</c:v>
                </c:pt>
                <c:pt idx="2972">
                  <c:v>0.89400000000000002</c:v>
                </c:pt>
                <c:pt idx="2973">
                  <c:v>0.752</c:v>
                </c:pt>
                <c:pt idx="2974">
                  <c:v>0.66300000000000003</c:v>
                </c:pt>
                <c:pt idx="2975">
                  <c:v>0.34300000000000003</c:v>
                </c:pt>
                <c:pt idx="2976">
                  <c:v>0.497</c:v>
                </c:pt>
                <c:pt idx="2977">
                  <c:v>0.55900000000000005</c:v>
                </c:pt>
                <c:pt idx="2978">
                  <c:v>0.96499999999999997</c:v>
                </c:pt>
                <c:pt idx="2979">
                  <c:v>0.77300000000000002</c:v>
                </c:pt>
                <c:pt idx="2980">
                  <c:v>1</c:v>
                </c:pt>
                <c:pt idx="2981">
                  <c:v>0.94199999999999995</c:v>
                </c:pt>
                <c:pt idx="2982">
                  <c:v>0.629</c:v>
                </c:pt>
                <c:pt idx="2983">
                  <c:v>0.58799999999999997</c:v>
                </c:pt>
                <c:pt idx="2984">
                  <c:v>0.45700000000000002</c:v>
                </c:pt>
                <c:pt idx="2985">
                  <c:v>0.44600000000000001</c:v>
                </c:pt>
                <c:pt idx="2986">
                  <c:v>0.56200000000000006</c:v>
                </c:pt>
                <c:pt idx="2987">
                  <c:v>0.68500000000000005</c:v>
                </c:pt>
                <c:pt idx="2988">
                  <c:v>0.83899999999999997</c:v>
                </c:pt>
                <c:pt idx="2989">
                  <c:v>0.95</c:v>
                </c:pt>
                <c:pt idx="2990">
                  <c:v>0.86799999999999999</c:v>
                </c:pt>
                <c:pt idx="2991">
                  <c:v>0.54</c:v>
                </c:pt>
                <c:pt idx="2992">
                  <c:v>0.96299999999999997</c:v>
                </c:pt>
                <c:pt idx="2993">
                  <c:v>0.46800000000000003</c:v>
                </c:pt>
                <c:pt idx="2994">
                  <c:v>0.89600000000000002</c:v>
                </c:pt>
                <c:pt idx="2995">
                  <c:v>0.105</c:v>
                </c:pt>
                <c:pt idx="2996">
                  <c:v>0.93100000000000005</c:v>
                </c:pt>
                <c:pt idx="2997">
                  <c:v>0.60599999999999998</c:v>
                </c:pt>
                <c:pt idx="2998">
                  <c:v>0.58799999999999997</c:v>
                </c:pt>
                <c:pt idx="2999">
                  <c:v>0.30399999999999999</c:v>
                </c:pt>
                <c:pt idx="3000">
                  <c:v>0.85299999999999998</c:v>
                </c:pt>
                <c:pt idx="3001">
                  <c:v>0.92800000000000005</c:v>
                </c:pt>
                <c:pt idx="3002">
                  <c:v>0.83599999999999997</c:v>
                </c:pt>
                <c:pt idx="3003">
                  <c:v>0.40100000000000002</c:v>
                </c:pt>
                <c:pt idx="3004">
                  <c:v>0.72</c:v>
                </c:pt>
                <c:pt idx="3005">
                  <c:v>0.58599999999999997</c:v>
                </c:pt>
                <c:pt idx="3006">
                  <c:v>0.35899999999999999</c:v>
                </c:pt>
                <c:pt idx="3007">
                  <c:v>0.66100000000000003</c:v>
                </c:pt>
                <c:pt idx="3008">
                  <c:v>0.89600000000000002</c:v>
                </c:pt>
                <c:pt idx="3009">
                  <c:v>0.55400000000000005</c:v>
                </c:pt>
                <c:pt idx="3010">
                  <c:v>0.73499999999999999</c:v>
                </c:pt>
                <c:pt idx="3011">
                  <c:v>0.85899999999999999</c:v>
                </c:pt>
                <c:pt idx="3012">
                  <c:v>0.57199999999999995</c:v>
                </c:pt>
                <c:pt idx="3013">
                  <c:v>0.438</c:v>
                </c:pt>
                <c:pt idx="3014">
                  <c:v>0.85699999999999998</c:v>
                </c:pt>
                <c:pt idx="3015">
                  <c:v>0.71599999999999997</c:v>
                </c:pt>
                <c:pt idx="3016">
                  <c:v>0.42399999999999999</c:v>
                </c:pt>
                <c:pt idx="3017">
                  <c:v>0.53400000000000003</c:v>
                </c:pt>
                <c:pt idx="3018">
                  <c:v>0.57799999999999996</c:v>
                </c:pt>
                <c:pt idx="3019">
                  <c:v>0.92</c:v>
                </c:pt>
                <c:pt idx="3020">
                  <c:v>0.879</c:v>
                </c:pt>
                <c:pt idx="3021">
                  <c:v>0.96099999999999997</c:v>
                </c:pt>
                <c:pt idx="3022">
                  <c:v>0.629</c:v>
                </c:pt>
                <c:pt idx="3023">
                  <c:v>0.45800000000000002</c:v>
                </c:pt>
                <c:pt idx="3024">
                  <c:v>0.61099999999999999</c:v>
                </c:pt>
                <c:pt idx="3025">
                  <c:v>0.67600000000000005</c:v>
                </c:pt>
                <c:pt idx="3026">
                  <c:v>0.98699999999999999</c:v>
                </c:pt>
                <c:pt idx="3027">
                  <c:v>0.68100000000000005</c:v>
                </c:pt>
                <c:pt idx="3028">
                  <c:v>0.879</c:v>
                </c:pt>
                <c:pt idx="3029">
                  <c:v>0.84599999999999997</c:v>
                </c:pt>
                <c:pt idx="3030">
                  <c:v>0.58599999999999997</c:v>
                </c:pt>
                <c:pt idx="3031">
                  <c:v>0.61199999999999999</c:v>
                </c:pt>
                <c:pt idx="3032">
                  <c:v>0.68600000000000005</c:v>
                </c:pt>
                <c:pt idx="3033">
                  <c:v>0.435</c:v>
                </c:pt>
                <c:pt idx="3034">
                  <c:v>0.53500000000000003</c:v>
                </c:pt>
                <c:pt idx="3035">
                  <c:v>0.217</c:v>
                </c:pt>
                <c:pt idx="3036">
                  <c:v>0.40600000000000003</c:v>
                </c:pt>
                <c:pt idx="3037">
                  <c:v>0.89600000000000002</c:v>
                </c:pt>
                <c:pt idx="3038">
                  <c:v>0.79800000000000004</c:v>
                </c:pt>
                <c:pt idx="3039">
                  <c:v>0.97099999999999997</c:v>
                </c:pt>
                <c:pt idx="3040">
                  <c:v>0.48899999999999999</c:v>
                </c:pt>
                <c:pt idx="3041">
                  <c:v>0.496</c:v>
                </c:pt>
                <c:pt idx="3042">
                  <c:v>0.63400000000000001</c:v>
                </c:pt>
                <c:pt idx="3043">
                  <c:v>0.34300000000000003</c:v>
                </c:pt>
                <c:pt idx="3044">
                  <c:v>0.46100000000000002</c:v>
                </c:pt>
                <c:pt idx="3045">
                  <c:v>0.72299999999999998</c:v>
                </c:pt>
                <c:pt idx="3046">
                  <c:v>0.97899999999999998</c:v>
                </c:pt>
                <c:pt idx="3047">
                  <c:v>0.374</c:v>
                </c:pt>
                <c:pt idx="3048">
                  <c:v>0.315</c:v>
                </c:pt>
                <c:pt idx="3049">
                  <c:v>0.61799999999999999</c:v>
                </c:pt>
                <c:pt idx="3050">
                  <c:v>0.98</c:v>
                </c:pt>
                <c:pt idx="3051">
                  <c:v>9.7000000000000003E-2</c:v>
                </c:pt>
                <c:pt idx="3052">
                  <c:v>0.90700000000000003</c:v>
                </c:pt>
                <c:pt idx="3053">
                  <c:v>0.79500000000000004</c:v>
                </c:pt>
                <c:pt idx="3054">
                  <c:v>0.88</c:v>
                </c:pt>
                <c:pt idx="3055">
                  <c:v>0.85699999999999998</c:v>
                </c:pt>
                <c:pt idx="3056">
                  <c:v>0.879</c:v>
                </c:pt>
                <c:pt idx="3057">
                  <c:v>0.19</c:v>
                </c:pt>
                <c:pt idx="3058">
                  <c:v>0.80800000000000005</c:v>
                </c:pt>
                <c:pt idx="3059">
                  <c:v>0.96199999999999997</c:v>
                </c:pt>
                <c:pt idx="3060">
                  <c:v>0.71</c:v>
                </c:pt>
                <c:pt idx="3061">
                  <c:v>0.64200000000000002</c:v>
                </c:pt>
                <c:pt idx="3062">
                  <c:v>0.871</c:v>
                </c:pt>
                <c:pt idx="3063">
                  <c:v>0.92200000000000004</c:v>
                </c:pt>
                <c:pt idx="3064">
                  <c:v>0.85799999999999998</c:v>
                </c:pt>
                <c:pt idx="3065">
                  <c:v>0.72499999999999998</c:v>
                </c:pt>
                <c:pt idx="3066">
                  <c:v>0.378</c:v>
                </c:pt>
                <c:pt idx="3067">
                  <c:v>0.42799999999999999</c:v>
                </c:pt>
                <c:pt idx="3068">
                  <c:v>0.86099999999999999</c:v>
                </c:pt>
                <c:pt idx="3069">
                  <c:v>0.92200000000000004</c:v>
                </c:pt>
                <c:pt idx="3070">
                  <c:v>0.70299999999999996</c:v>
                </c:pt>
                <c:pt idx="3071">
                  <c:v>0.70399999999999996</c:v>
                </c:pt>
                <c:pt idx="3072">
                  <c:v>0.84</c:v>
                </c:pt>
                <c:pt idx="3073">
                  <c:v>0.70199999999999996</c:v>
                </c:pt>
                <c:pt idx="3074">
                  <c:v>0.64200000000000002</c:v>
                </c:pt>
                <c:pt idx="3075">
                  <c:v>0.872</c:v>
                </c:pt>
                <c:pt idx="3076">
                  <c:v>0.66600000000000004</c:v>
                </c:pt>
                <c:pt idx="3077">
                  <c:v>0.54300000000000004</c:v>
                </c:pt>
                <c:pt idx="3078">
                  <c:v>0.86899999999999999</c:v>
                </c:pt>
                <c:pt idx="3079">
                  <c:v>0.34899999999999998</c:v>
                </c:pt>
                <c:pt idx="3080">
                  <c:v>0.55000000000000004</c:v>
                </c:pt>
                <c:pt idx="3081">
                  <c:v>0.50900000000000001</c:v>
                </c:pt>
                <c:pt idx="3082">
                  <c:v>0.59</c:v>
                </c:pt>
                <c:pt idx="3083">
                  <c:v>0.65100000000000002</c:v>
                </c:pt>
                <c:pt idx="3084">
                  <c:v>0.72699999999999998</c:v>
                </c:pt>
                <c:pt idx="3085">
                  <c:v>0.91300000000000003</c:v>
                </c:pt>
                <c:pt idx="3086">
                  <c:v>0.72399999999999998</c:v>
                </c:pt>
                <c:pt idx="3087">
                  <c:v>0.45700000000000002</c:v>
                </c:pt>
                <c:pt idx="3088">
                  <c:v>0.76800000000000002</c:v>
                </c:pt>
                <c:pt idx="3089">
                  <c:v>0.186</c:v>
                </c:pt>
                <c:pt idx="3090">
                  <c:v>0.88300000000000001</c:v>
                </c:pt>
                <c:pt idx="3091">
                  <c:v>0.63</c:v>
                </c:pt>
                <c:pt idx="3092">
                  <c:v>0.60799999999999998</c:v>
                </c:pt>
                <c:pt idx="3093">
                  <c:v>0.67800000000000005</c:v>
                </c:pt>
                <c:pt idx="3094">
                  <c:v>0.61899999999999999</c:v>
                </c:pt>
                <c:pt idx="3095">
                  <c:v>0.77600000000000002</c:v>
                </c:pt>
                <c:pt idx="3096">
                  <c:v>0.83299999999999996</c:v>
                </c:pt>
                <c:pt idx="3097">
                  <c:v>0.39900000000000002</c:v>
                </c:pt>
                <c:pt idx="3098">
                  <c:v>0.90300000000000002</c:v>
                </c:pt>
                <c:pt idx="3099">
                  <c:v>0.91300000000000003</c:v>
                </c:pt>
                <c:pt idx="3100">
                  <c:v>0.40300000000000002</c:v>
                </c:pt>
                <c:pt idx="3101">
                  <c:v>0.307</c:v>
                </c:pt>
                <c:pt idx="3102">
                  <c:v>0.70299999999999996</c:v>
                </c:pt>
                <c:pt idx="3103">
                  <c:v>0.71399999999999997</c:v>
                </c:pt>
                <c:pt idx="3104">
                  <c:v>0.53300000000000003</c:v>
                </c:pt>
                <c:pt idx="3105">
                  <c:v>0.71299999999999997</c:v>
                </c:pt>
                <c:pt idx="3106">
                  <c:v>0.14599999999999999</c:v>
                </c:pt>
                <c:pt idx="3107">
                  <c:v>0.55400000000000005</c:v>
                </c:pt>
                <c:pt idx="3108">
                  <c:v>0.77</c:v>
                </c:pt>
                <c:pt idx="3109">
                  <c:v>0.86799999999999999</c:v>
                </c:pt>
                <c:pt idx="3110">
                  <c:v>0.56399999999999995</c:v>
                </c:pt>
                <c:pt idx="3111">
                  <c:v>0.76</c:v>
                </c:pt>
                <c:pt idx="3112">
                  <c:v>0.94699999999999995</c:v>
                </c:pt>
                <c:pt idx="3113">
                  <c:v>0.78900000000000003</c:v>
                </c:pt>
                <c:pt idx="3114">
                  <c:v>0.79500000000000004</c:v>
                </c:pt>
                <c:pt idx="3115">
                  <c:v>0.82599999999999996</c:v>
                </c:pt>
                <c:pt idx="3116">
                  <c:v>0.81399999999999995</c:v>
                </c:pt>
                <c:pt idx="3117">
                  <c:v>0.83899999999999997</c:v>
                </c:pt>
                <c:pt idx="3118">
                  <c:v>0.54800000000000004</c:v>
                </c:pt>
                <c:pt idx="3119">
                  <c:v>0.46700000000000003</c:v>
                </c:pt>
                <c:pt idx="3120">
                  <c:v>0.54500000000000004</c:v>
                </c:pt>
                <c:pt idx="3121">
                  <c:v>0.114</c:v>
                </c:pt>
                <c:pt idx="3122">
                  <c:v>0.23599999999999999</c:v>
                </c:pt>
                <c:pt idx="3123">
                  <c:v>0.46899999999999997</c:v>
                </c:pt>
                <c:pt idx="3124">
                  <c:v>0.81399999999999995</c:v>
                </c:pt>
                <c:pt idx="3125">
                  <c:v>0.499</c:v>
                </c:pt>
                <c:pt idx="3126">
                  <c:v>0.152</c:v>
                </c:pt>
                <c:pt idx="3127">
                  <c:v>0.81699999999999995</c:v>
                </c:pt>
                <c:pt idx="3128">
                  <c:v>0.78200000000000003</c:v>
                </c:pt>
                <c:pt idx="3129">
                  <c:v>0.60899999999999999</c:v>
                </c:pt>
                <c:pt idx="3130">
                  <c:v>0.72699999999999998</c:v>
                </c:pt>
                <c:pt idx="3131">
                  <c:v>0.32300000000000001</c:v>
                </c:pt>
                <c:pt idx="3132">
                  <c:v>0.36099999999999999</c:v>
                </c:pt>
                <c:pt idx="3133">
                  <c:v>0.65</c:v>
                </c:pt>
                <c:pt idx="3134">
                  <c:v>0.69</c:v>
                </c:pt>
                <c:pt idx="3135">
                  <c:v>0.88800000000000001</c:v>
                </c:pt>
                <c:pt idx="3136">
                  <c:v>0.54</c:v>
                </c:pt>
                <c:pt idx="3137">
                  <c:v>0.28000000000000003</c:v>
                </c:pt>
                <c:pt idx="3138">
                  <c:v>0.62</c:v>
                </c:pt>
                <c:pt idx="3139">
                  <c:v>0.79900000000000004</c:v>
                </c:pt>
                <c:pt idx="3140">
                  <c:v>0.71</c:v>
                </c:pt>
                <c:pt idx="3141">
                  <c:v>0.69</c:v>
                </c:pt>
                <c:pt idx="3142">
                  <c:v>0.64400000000000002</c:v>
                </c:pt>
                <c:pt idx="3143">
                  <c:v>0.47099999999999997</c:v>
                </c:pt>
                <c:pt idx="3144">
                  <c:v>0.48899999999999999</c:v>
                </c:pt>
                <c:pt idx="3145">
                  <c:v>0.53100000000000003</c:v>
                </c:pt>
                <c:pt idx="3146">
                  <c:v>0.89900000000000002</c:v>
                </c:pt>
                <c:pt idx="3147">
                  <c:v>0.85899999999999999</c:v>
                </c:pt>
                <c:pt idx="3148">
                  <c:v>0.72599999999999998</c:v>
                </c:pt>
                <c:pt idx="3149">
                  <c:v>0.67400000000000004</c:v>
                </c:pt>
                <c:pt idx="3150">
                  <c:v>0.52900000000000003</c:v>
                </c:pt>
                <c:pt idx="3151">
                  <c:v>0.61099999999999999</c:v>
                </c:pt>
                <c:pt idx="3152">
                  <c:v>0.55400000000000005</c:v>
                </c:pt>
                <c:pt idx="3153">
                  <c:v>0.94899999999999995</c:v>
                </c:pt>
                <c:pt idx="3154">
                  <c:v>0.23300000000000001</c:v>
                </c:pt>
                <c:pt idx="3155">
                  <c:v>0.97699999999999998</c:v>
                </c:pt>
                <c:pt idx="3156">
                  <c:v>0.96299999999999997</c:v>
                </c:pt>
                <c:pt idx="3157">
                  <c:v>0.57699999999999996</c:v>
                </c:pt>
                <c:pt idx="3158">
                  <c:v>0.65100000000000002</c:v>
                </c:pt>
                <c:pt idx="3159">
                  <c:v>0.91600000000000004</c:v>
                </c:pt>
                <c:pt idx="3160">
                  <c:v>0.95</c:v>
                </c:pt>
                <c:pt idx="3161">
                  <c:v>0.37</c:v>
                </c:pt>
                <c:pt idx="3162">
                  <c:v>0.75</c:v>
                </c:pt>
                <c:pt idx="3163">
                  <c:v>0.84499999999999997</c:v>
                </c:pt>
                <c:pt idx="3164">
                  <c:v>0.85199999999999998</c:v>
                </c:pt>
                <c:pt idx="3165">
                  <c:v>0.38500000000000001</c:v>
                </c:pt>
                <c:pt idx="3166">
                  <c:v>0.97199999999999998</c:v>
                </c:pt>
                <c:pt idx="3167">
                  <c:v>0.56100000000000005</c:v>
                </c:pt>
                <c:pt idx="3168">
                  <c:v>0.82399999999999995</c:v>
                </c:pt>
                <c:pt idx="3169">
                  <c:v>0.752</c:v>
                </c:pt>
                <c:pt idx="3170">
                  <c:v>0.90500000000000003</c:v>
                </c:pt>
                <c:pt idx="3171">
                  <c:v>0.86099999999999999</c:v>
                </c:pt>
                <c:pt idx="3172">
                  <c:v>0.629</c:v>
                </c:pt>
                <c:pt idx="3173">
                  <c:v>0.92800000000000005</c:v>
                </c:pt>
                <c:pt idx="3174">
                  <c:v>0.623</c:v>
                </c:pt>
                <c:pt idx="3175">
                  <c:v>0.76900000000000002</c:v>
                </c:pt>
                <c:pt idx="3176">
                  <c:v>0.439</c:v>
                </c:pt>
                <c:pt idx="3177">
                  <c:v>0.15</c:v>
                </c:pt>
                <c:pt idx="3178">
                  <c:v>0.38500000000000001</c:v>
                </c:pt>
                <c:pt idx="3179">
                  <c:v>0.83</c:v>
                </c:pt>
                <c:pt idx="3180">
                  <c:v>0.93</c:v>
                </c:pt>
                <c:pt idx="3181">
                  <c:v>0.38600000000000001</c:v>
                </c:pt>
                <c:pt idx="3182">
                  <c:v>0.64400000000000002</c:v>
                </c:pt>
                <c:pt idx="3183">
                  <c:v>0.78600000000000003</c:v>
                </c:pt>
                <c:pt idx="3184">
                  <c:v>0.23599999999999999</c:v>
                </c:pt>
                <c:pt idx="3185">
                  <c:v>0.88600000000000001</c:v>
                </c:pt>
                <c:pt idx="3186">
                  <c:v>0.36799999999999999</c:v>
                </c:pt>
                <c:pt idx="3187">
                  <c:v>0.67500000000000004</c:v>
                </c:pt>
                <c:pt idx="3188">
                  <c:v>0.43</c:v>
                </c:pt>
                <c:pt idx="3189">
                  <c:v>0.95499999999999996</c:v>
                </c:pt>
                <c:pt idx="3190">
                  <c:v>0.85299999999999998</c:v>
                </c:pt>
                <c:pt idx="3191">
                  <c:v>0.45800000000000002</c:v>
                </c:pt>
                <c:pt idx="3192">
                  <c:v>0.58499999999999996</c:v>
                </c:pt>
                <c:pt idx="3193">
                  <c:v>0.61</c:v>
                </c:pt>
                <c:pt idx="3194">
                  <c:v>0.54100000000000004</c:v>
                </c:pt>
                <c:pt idx="3195">
                  <c:v>0.76900000000000002</c:v>
                </c:pt>
                <c:pt idx="3196">
                  <c:v>0.84099999999999997</c:v>
                </c:pt>
                <c:pt idx="3197">
                  <c:v>0.78600000000000003</c:v>
                </c:pt>
                <c:pt idx="3198">
                  <c:v>0.69099999999999995</c:v>
                </c:pt>
                <c:pt idx="3199">
                  <c:v>0.83099999999999996</c:v>
                </c:pt>
                <c:pt idx="3200">
                  <c:v>0.85299999999999998</c:v>
                </c:pt>
                <c:pt idx="3201">
                  <c:v>0.80800000000000005</c:v>
                </c:pt>
                <c:pt idx="3202">
                  <c:v>0.94699999999999995</c:v>
                </c:pt>
                <c:pt idx="3203">
                  <c:v>0.88</c:v>
                </c:pt>
                <c:pt idx="3204">
                  <c:v>0.97899999999999998</c:v>
                </c:pt>
                <c:pt idx="3205">
                  <c:v>0.77300000000000002</c:v>
                </c:pt>
                <c:pt idx="3206">
                  <c:v>0.58599999999999997</c:v>
                </c:pt>
                <c:pt idx="3207">
                  <c:v>0.70299999999999996</c:v>
                </c:pt>
                <c:pt idx="3208">
                  <c:v>0.72499999999999998</c:v>
                </c:pt>
                <c:pt idx="3209">
                  <c:v>0.90600000000000003</c:v>
                </c:pt>
                <c:pt idx="3210">
                  <c:v>0.70199999999999996</c:v>
                </c:pt>
                <c:pt idx="3211">
                  <c:v>0.48</c:v>
                </c:pt>
                <c:pt idx="3212">
                  <c:v>0.51900000000000002</c:v>
                </c:pt>
                <c:pt idx="3213">
                  <c:v>0.83599999999999997</c:v>
                </c:pt>
                <c:pt idx="3214">
                  <c:v>0.80300000000000005</c:v>
                </c:pt>
                <c:pt idx="3215">
                  <c:v>0.40200000000000002</c:v>
                </c:pt>
                <c:pt idx="3216">
                  <c:v>0.94399999999999995</c:v>
                </c:pt>
                <c:pt idx="3217">
                  <c:v>0.45800000000000002</c:v>
                </c:pt>
                <c:pt idx="3218">
                  <c:v>0.89100000000000001</c:v>
                </c:pt>
                <c:pt idx="3219">
                  <c:v>0.92200000000000004</c:v>
                </c:pt>
                <c:pt idx="3220">
                  <c:v>0.77200000000000002</c:v>
                </c:pt>
                <c:pt idx="3221">
                  <c:v>0.76800000000000002</c:v>
                </c:pt>
                <c:pt idx="3222">
                  <c:v>0.68</c:v>
                </c:pt>
                <c:pt idx="3223">
                  <c:v>0.55200000000000005</c:v>
                </c:pt>
                <c:pt idx="3224">
                  <c:v>0.86199999999999999</c:v>
                </c:pt>
                <c:pt idx="3225">
                  <c:v>0.58699999999999997</c:v>
                </c:pt>
                <c:pt idx="3226">
                  <c:v>0.34599999999999997</c:v>
                </c:pt>
                <c:pt idx="3227">
                  <c:v>0.64900000000000002</c:v>
                </c:pt>
                <c:pt idx="3228">
                  <c:v>0.71399999999999997</c:v>
                </c:pt>
                <c:pt idx="3229">
                  <c:v>0.69199999999999995</c:v>
                </c:pt>
                <c:pt idx="3230">
                  <c:v>0.33400000000000002</c:v>
                </c:pt>
                <c:pt idx="3231">
                  <c:v>0.79900000000000004</c:v>
                </c:pt>
                <c:pt idx="3232">
                  <c:v>0.47699999999999998</c:v>
                </c:pt>
                <c:pt idx="3233">
                  <c:v>0.878</c:v>
                </c:pt>
                <c:pt idx="3234">
                  <c:v>0.93</c:v>
                </c:pt>
                <c:pt idx="3235">
                  <c:v>0.89</c:v>
                </c:pt>
                <c:pt idx="3236">
                  <c:v>0.496</c:v>
                </c:pt>
                <c:pt idx="3237">
                  <c:v>0.67</c:v>
                </c:pt>
                <c:pt idx="3238">
                  <c:v>5.1999999999999998E-2</c:v>
                </c:pt>
                <c:pt idx="3239">
                  <c:v>0.36199999999999999</c:v>
                </c:pt>
                <c:pt idx="3240">
                  <c:v>0.59299999999999997</c:v>
                </c:pt>
                <c:pt idx="3241">
                  <c:v>0.82899999999999996</c:v>
                </c:pt>
                <c:pt idx="3242">
                  <c:v>0.59499999999999997</c:v>
                </c:pt>
                <c:pt idx="3243">
                  <c:v>0.627</c:v>
                </c:pt>
                <c:pt idx="3244">
                  <c:v>0.96899999999999997</c:v>
                </c:pt>
                <c:pt idx="3245">
                  <c:v>6.4000000000000001E-2</c:v>
                </c:pt>
                <c:pt idx="3246">
                  <c:v>0.755</c:v>
                </c:pt>
                <c:pt idx="3247">
                  <c:v>0.90900000000000003</c:v>
                </c:pt>
                <c:pt idx="3248">
                  <c:v>0.88</c:v>
                </c:pt>
                <c:pt idx="3249">
                  <c:v>0.69599999999999995</c:v>
                </c:pt>
                <c:pt idx="3250">
                  <c:v>0.45700000000000002</c:v>
                </c:pt>
                <c:pt idx="3251">
                  <c:v>0.51500000000000001</c:v>
                </c:pt>
                <c:pt idx="3252">
                  <c:v>0.52100000000000002</c:v>
                </c:pt>
                <c:pt idx="3253">
                  <c:v>0.67500000000000004</c:v>
                </c:pt>
                <c:pt idx="3254">
                  <c:v>0.83899999999999997</c:v>
                </c:pt>
                <c:pt idx="3255">
                  <c:v>0.91100000000000003</c:v>
                </c:pt>
                <c:pt idx="3256">
                  <c:v>0.79800000000000004</c:v>
                </c:pt>
                <c:pt idx="3257">
                  <c:v>0.39900000000000002</c:v>
                </c:pt>
                <c:pt idx="3258">
                  <c:v>0.80400000000000005</c:v>
                </c:pt>
                <c:pt idx="3259">
                  <c:v>0.60499999999999998</c:v>
                </c:pt>
                <c:pt idx="3260">
                  <c:v>0.50600000000000001</c:v>
                </c:pt>
                <c:pt idx="3261">
                  <c:v>0.88</c:v>
                </c:pt>
                <c:pt idx="3262">
                  <c:v>0.39</c:v>
                </c:pt>
                <c:pt idx="3263">
                  <c:v>0.93400000000000005</c:v>
                </c:pt>
                <c:pt idx="3264">
                  <c:v>0.91200000000000003</c:v>
                </c:pt>
                <c:pt idx="3265">
                  <c:v>0.96099999999999997</c:v>
                </c:pt>
                <c:pt idx="3266">
                  <c:v>0.59599999999999997</c:v>
                </c:pt>
                <c:pt idx="3267">
                  <c:v>0.75800000000000001</c:v>
                </c:pt>
                <c:pt idx="3268">
                  <c:v>0.52900000000000003</c:v>
                </c:pt>
                <c:pt idx="3269">
                  <c:v>0.83699999999999997</c:v>
                </c:pt>
                <c:pt idx="3270">
                  <c:v>0.70299999999999996</c:v>
                </c:pt>
                <c:pt idx="3271">
                  <c:v>0.879</c:v>
                </c:pt>
                <c:pt idx="3272">
                  <c:v>0.69399999999999995</c:v>
                </c:pt>
                <c:pt idx="3273">
                  <c:v>0.46400000000000002</c:v>
                </c:pt>
                <c:pt idx="3274">
                  <c:v>0.73199999999999998</c:v>
                </c:pt>
                <c:pt idx="3275">
                  <c:v>0.371</c:v>
                </c:pt>
                <c:pt idx="3276">
                  <c:v>0.373</c:v>
                </c:pt>
                <c:pt idx="3277">
                  <c:v>0.755</c:v>
                </c:pt>
                <c:pt idx="3278">
                  <c:v>0.68700000000000006</c:v>
                </c:pt>
                <c:pt idx="3279">
                  <c:v>0.84499999999999997</c:v>
                </c:pt>
                <c:pt idx="3280">
                  <c:v>0.34799999999999998</c:v>
                </c:pt>
                <c:pt idx="3281">
                  <c:v>0.81299999999999994</c:v>
                </c:pt>
                <c:pt idx="3282">
                  <c:v>0.66300000000000003</c:v>
                </c:pt>
                <c:pt idx="3283">
                  <c:v>0.58599999999999997</c:v>
                </c:pt>
                <c:pt idx="3284">
                  <c:v>0.56999999999999995</c:v>
                </c:pt>
                <c:pt idx="3285">
                  <c:v>0.85099999999999998</c:v>
                </c:pt>
                <c:pt idx="3286">
                  <c:v>0.67500000000000004</c:v>
                </c:pt>
                <c:pt idx="3287">
                  <c:v>0.76900000000000002</c:v>
                </c:pt>
                <c:pt idx="3288">
                  <c:v>0.58499999999999996</c:v>
                </c:pt>
                <c:pt idx="3289">
                  <c:v>0.46400000000000002</c:v>
                </c:pt>
                <c:pt idx="3290">
                  <c:v>0.84599999999999997</c:v>
                </c:pt>
                <c:pt idx="3291">
                  <c:v>0.41</c:v>
                </c:pt>
                <c:pt idx="3292">
                  <c:v>0.85499999999999998</c:v>
                </c:pt>
                <c:pt idx="3293">
                  <c:v>0.91100000000000003</c:v>
                </c:pt>
                <c:pt idx="3294">
                  <c:v>0.41899999999999998</c:v>
                </c:pt>
                <c:pt idx="3295">
                  <c:v>0.92500000000000004</c:v>
                </c:pt>
                <c:pt idx="3296">
                  <c:v>0.85199999999999998</c:v>
                </c:pt>
                <c:pt idx="3297">
                  <c:v>0.59599999999999997</c:v>
                </c:pt>
                <c:pt idx="3298">
                  <c:v>0.57699999999999996</c:v>
                </c:pt>
                <c:pt idx="3299">
                  <c:v>0.70199999999999996</c:v>
                </c:pt>
                <c:pt idx="3300">
                  <c:v>0.63100000000000001</c:v>
                </c:pt>
                <c:pt idx="3301">
                  <c:v>7.3999999999999996E-2</c:v>
                </c:pt>
                <c:pt idx="3302">
                  <c:v>0.42599999999999999</c:v>
                </c:pt>
                <c:pt idx="3303">
                  <c:v>0.75600000000000001</c:v>
                </c:pt>
                <c:pt idx="3304">
                  <c:v>0.80300000000000005</c:v>
                </c:pt>
                <c:pt idx="3305">
                  <c:v>0.33800000000000002</c:v>
                </c:pt>
                <c:pt idx="3306">
                  <c:v>0.82699999999999996</c:v>
                </c:pt>
                <c:pt idx="3307">
                  <c:v>0.77100000000000002</c:v>
                </c:pt>
                <c:pt idx="3308">
                  <c:v>0.76500000000000001</c:v>
                </c:pt>
                <c:pt idx="3309">
                  <c:v>0.66500000000000004</c:v>
                </c:pt>
                <c:pt idx="3310">
                  <c:v>0.60199999999999998</c:v>
                </c:pt>
                <c:pt idx="3311">
                  <c:v>0.95299999999999996</c:v>
                </c:pt>
                <c:pt idx="3312">
                  <c:v>0.45700000000000002</c:v>
                </c:pt>
                <c:pt idx="3313">
                  <c:v>0.91300000000000003</c:v>
                </c:pt>
                <c:pt idx="3314">
                  <c:v>0.78500000000000003</c:v>
                </c:pt>
                <c:pt idx="3315">
                  <c:v>0.74199999999999999</c:v>
                </c:pt>
                <c:pt idx="3316">
                  <c:v>0.83799999999999997</c:v>
                </c:pt>
                <c:pt idx="3317">
                  <c:v>0.91700000000000004</c:v>
                </c:pt>
                <c:pt idx="3318">
                  <c:v>0.73699999999999999</c:v>
                </c:pt>
                <c:pt idx="3319">
                  <c:v>0.96899999999999997</c:v>
                </c:pt>
                <c:pt idx="3320">
                  <c:v>0.89400000000000002</c:v>
                </c:pt>
                <c:pt idx="3321">
                  <c:v>0.86299999999999999</c:v>
                </c:pt>
                <c:pt idx="3322">
                  <c:v>0.76200000000000001</c:v>
                </c:pt>
                <c:pt idx="3323">
                  <c:v>0.91300000000000003</c:v>
                </c:pt>
                <c:pt idx="3324">
                  <c:v>0.85399999999999998</c:v>
                </c:pt>
                <c:pt idx="3325">
                  <c:v>0.90600000000000003</c:v>
                </c:pt>
                <c:pt idx="3326">
                  <c:v>0.66900000000000004</c:v>
                </c:pt>
                <c:pt idx="3327">
                  <c:v>0.70699999999999996</c:v>
                </c:pt>
                <c:pt idx="3328">
                  <c:v>0.67400000000000004</c:v>
                </c:pt>
                <c:pt idx="3329">
                  <c:v>0.49099999999999999</c:v>
                </c:pt>
                <c:pt idx="3330">
                  <c:v>0.82799999999999996</c:v>
                </c:pt>
                <c:pt idx="3331">
                  <c:v>0.82899999999999996</c:v>
                </c:pt>
                <c:pt idx="3332">
                  <c:v>0.51300000000000001</c:v>
                </c:pt>
                <c:pt idx="3333">
                  <c:v>0.71199999999999997</c:v>
                </c:pt>
                <c:pt idx="3334">
                  <c:v>0.57399999999999995</c:v>
                </c:pt>
                <c:pt idx="3335">
                  <c:v>0.75900000000000001</c:v>
                </c:pt>
                <c:pt idx="3336">
                  <c:v>0.88400000000000001</c:v>
                </c:pt>
                <c:pt idx="3337">
                  <c:v>0.41199999999999998</c:v>
                </c:pt>
                <c:pt idx="3338">
                  <c:v>0.57299999999999995</c:v>
                </c:pt>
                <c:pt idx="3339">
                  <c:v>0.74299999999999999</c:v>
                </c:pt>
                <c:pt idx="3340">
                  <c:v>0.46899999999999997</c:v>
                </c:pt>
                <c:pt idx="3341">
                  <c:v>0.80300000000000005</c:v>
                </c:pt>
                <c:pt idx="3342">
                  <c:v>0.90100000000000002</c:v>
                </c:pt>
                <c:pt idx="3343">
                  <c:v>0.91200000000000003</c:v>
                </c:pt>
                <c:pt idx="3344">
                  <c:v>0.65300000000000002</c:v>
                </c:pt>
                <c:pt idx="3345">
                  <c:v>0.49299999999999999</c:v>
                </c:pt>
                <c:pt idx="3346">
                  <c:v>0.64200000000000002</c:v>
                </c:pt>
                <c:pt idx="3347">
                  <c:v>0.876</c:v>
                </c:pt>
                <c:pt idx="3348">
                  <c:v>0.59399999999999997</c:v>
                </c:pt>
                <c:pt idx="3349">
                  <c:v>0.63100000000000001</c:v>
                </c:pt>
                <c:pt idx="3350">
                  <c:v>0.41399999999999998</c:v>
                </c:pt>
                <c:pt idx="3351">
                  <c:v>0.57199999999999995</c:v>
                </c:pt>
                <c:pt idx="3352">
                  <c:v>0.42699999999999999</c:v>
                </c:pt>
                <c:pt idx="3353">
                  <c:v>0.747</c:v>
                </c:pt>
                <c:pt idx="3354">
                  <c:v>0.93</c:v>
                </c:pt>
                <c:pt idx="3355">
                  <c:v>0.79200000000000004</c:v>
                </c:pt>
                <c:pt idx="3356">
                  <c:v>0.82499999999999996</c:v>
                </c:pt>
                <c:pt idx="3357">
                  <c:v>0.64800000000000002</c:v>
                </c:pt>
                <c:pt idx="3358">
                  <c:v>0.32700000000000001</c:v>
                </c:pt>
                <c:pt idx="3359">
                  <c:v>0.48299999999999998</c:v>
                </c:pt>
                <c:pt idx="3360">
                  <c:v>0.11</c:v>
                </c:pt>
                <c:pt idx="3361">
                  <c:v>0.49199999999999999</c:v>
                </c:pt>
                <c:pt idx="3362">
                  <c:v>0.61499999999999999</c:v>
                </c:pt>
                <c:pt idx="3363">
                  <c:v>0.36799999999999999</c:v>
                </c:pt>
                <c:pt idx="3364">
                  <c:v>0.98</c:v>
                </c:pt>
                <c:pt idx="3365">
                  <c:v>1</c:v>
                </c:pt>
                <c:pt idx="3366">
                  <c:v>0.84099999999999997</c:v>
                </c:pt>
                <c:pt idx="3367">
                  <c:v>0.32200000000000001</c:v>
                </c:pt>
                <c:pt idx="3368">
                  <c:v>0.92300000000000004</c:v>
                </c:pt>
                <c:pt idx="3369">
                  <c:v>0.74099999999999999</c:v>
                </c:pt>
                <c:pt idx="3370">
                  <c:v>0.59099999999999997</c:v>
                </c:pt>
                <c:pt idx="3371">
                  <c:v>0.74</c:v>
                </c:pt>
                <c:pt idx="3372">
                  <c:v>0.442</c:v>
                </c:pt>
                <c:pt idx="3373">
                  <c:v>0.69099999999999995</c:v>
                </c:pt>
                <c:pt idx="3374">
                  <c:v>0.122</c:v>
                </c:pt>
                <c:pt idx="3375">
                  <c:v>0.84299999999999997</c:v>
                </c:pt>
                <c:pt idx="3376">
                  <c:v>0.40200000000000002</c:v>
                </c:pt>
                <c:pt idx="3377">
                  <c:v>0.57799999999999996</c:v>
                </c:pt>
                <c:pt idx="3378">
                  <c:v>0.65900000000000003</c:v>
                </c:pt>
                <c:pt idx="3379">
                  <c:v>0.76400000000000001</c:v>
                </c:pt>
                <c:pt idx="3380">
                  <c:v>0.16500000000000001</c:v>
                </c:pt>
                <c:pt idx="3381">
                  <c:v>0.79900000000000004</c:v>
                </c:pt>
                <c:pt idx="3382">
                  <c:v>0.85799999999999998</c:v>
                </c:pt>
                <c:pt idx="3383">
                  <c:v>0.98099999999999998</c:v>
                </c:pt>
                <c:pt idx="3384">
                  <c:v>0.35099999999999998</c:v>
                </c:pt>
                <c:pt idx="3385">
                  <c:v>0.434</c:v>
                </c:pt>
                <c:pt idx="3386">
                  <c:v>0.90400000000000003</c:v>
                </c:pt>
                <c:pt idx="3387">
                  <c:v>0.69799999999999995</c:v>
                </c:pt>
                <c:pt idx="3388">
                  <c:v>0.63400000000000001</c:v>
                </c:pt>
                <c:pt idx="3389">
                  <c:v>0.72499999999999998</c:v>
                </c:pt>
                <c:pt idx="3390">
                  <c:v>0.63300000000000001</c:v>
                </c:pt>
                <c:pt idx="3391">
                  <c:v>0.73399999999999999</c:v>
                </c:pt>
                <c:pt idx="3392">
                  <c:v>0.34200000000000003</c:v>
                </c:pt>
                <c:pt idx="3393">
                  <c:v>0.51700000000000002</c:v>
                </c:pt>
                <c:pt idx="3394">
                  <c:v>0.89500000000000002</c:v>
                </c:pt>
                <c:pt idx="3395">
                  <c:v>0.52</c:v>
                </c:pt>
                <c:pt idx="3396">
                  <c:v>0.41699999999999998</c:v>
                </c:pt>
                <c:pt idx="3397">
                  <c:v>0.84899999999999998</c:v>
                </c:pt>
                <c:pt idx="3398">
                  <c:v>0.77900000000000003</c:v>
                </c:pt>
                <c:pt idx="3399">
                  <c:v>0.92400000000000004</c:v>
                </c:pt>
                <c:pt idx="3400">
                  <c:v>0.628</c:v>
                </c:pt>
                <c:pt idx="3401">
                  <c:v>0.86</c:v>
                </c:pt>
                <c:pt idx="3402">
                  <c:v>0.86599999999999999</c:v>
                </c:pt>
                <c:pt idx="3403">
                  <c:v>0.90400000000000003</c:v>
                </c:pt>
                <c:pt idx="3404">
                  <c:v>0.52500000000000002</c:v>
                </c:pt>
                <c:pt idx="3405">
                  <c:v>0.73099999999999998</c:v>
                </c:pt>
                <c:pt idx="3406">
                  <c:v>0.91</c:v>
                </c:pt>
                <c:pt idx="3407">
                  <c:v>0.88700000000000001</c:v>
                </c:pt>
                <c:pt idx="3408">
                  <c:v>0.70599999999999996</c:v>
                </c:pt>
                <c:pt idx="3409">
                  <c:v>0.92</c:v>
                </c:pt>
                <c:pt idx="3410">
                  <c:v>0.69199999999999995</c:v>
                </c:pt>
                <c:pt idx="3411">
                  <c:v>0.53500000000000003</c:v>
                </c:pt>
                <c:pt idx="3412">
                  <c:v>0.91</c:v>
                </c:pt>
                <c:pt idx="3413">
                  <c:v>0.67700000000000005</c:v>
                </c:pt>
                <c:pt idx="3414">
                  <c:v>0.88500000000000001</c:v>
                </c:pt>
                <c:pt idx="3415">
                  <c:v>0.54200000000000004</c:v>
                </c:pt>
                <c:pt idx="3416">
                  <c:v>0.42699999999999999</c:v>
                </c:pt>
                <c:pt idx="3417">
                  <c:v>0.85099999999999998</c:v>
                </c:pt>
                <c:pt idx="3418">
                  <c:v>0.28100000000000003</c:v>
                </c:pt>
                <c:pt idx="3419">
                  <c:v>0.32200000000000001</c:v>
                </c:pt>
                <c:pt idx="3420">
                  <c:v>0.32600000000000001</c:v>
                </c:pt>
                <c:pt idx="3421">
                  <c:v>0.36399999999999999</c:v>
                </c:pt>
                <c:pt idx="3422">
                  <c:v>0.371</c:v>
                </c:pt>
                <c:pt idx="3423">
                  <c:v>0.38200000000000001</c:v>
                </c:pt>
                <c:pt idx="3424">
                  <c:v>0.40100000000000002</c:v>
                </c:pt>
                <c:pt idx="3425">
                  <c:v>0.41</c:v>
                </c:pt>
                <c:pt idx="3426">
                  <c:v>0.41699999999999998</c:v>
                </c:pt>
                <c:pt idx="3427">
                  <c:v>0.42199999999999999</c:v>
                </c:pt>
                <c:pt idx="3428">
                  <c:v>0.433</c:v>
                </c:pt>
                <c:pt idx="3429">
                  <c:v>0.47499999999999998</c:v>
                </c:pt>
                <c:pt idx="3430">
                  <c:v>0.53100000000000003</c:v>
                </c:pt>
                <c:pt idx="3431">
                  <c:v>0.54700000000000004</c:v>
                </c:pt>
                <c:pt idx="3432">
                  <c:v>0.56200000000000006</c:v>
                </c:pt>
                <c:pt idx="3433">
                  <c:v>0.623</c:v>
                </c:pt>
                <c:pt idx="3434">
                  <c:v>0.66100000000000003</c:v>
                </c:pt>
                <c:pt idx="3435">
                  <c:v>0.66400000000000003</c:v>
                </c:pt>
                <c:pt idx="3436">
                  <c:v>0.70299999999999996</c:v>
                </c:pt>
                <c:pt idx="3437">
                  <c:v>0.70599999999999996</c:v>
                </c:pt>
                <c:pt idx="3438">
                  <c:v>0.73599999999999999</c:v>
                </c:pt>
                <c:pt idx="3439">
                  <c:v>0.77</c:v>
                </c:pt>
                <c:pt idx="3440">
                  <c:v>0.81299999999999994</c:v>
                </c:pt>
                <c:pt idx="3441">
                  <c:v>0.83299999999999996</c:v>
                </c:pt>
                <c:pt idx="3442">
                  <c:v>0.86799999999999999</c:v>
                </c:pt>
                <c:pt idx="3443">
                  <c:v>0.874</c:v>
                </c:pt>
                <c:pt idx="3444">
                  <c:v>0.89200000000000002</c:v>
                </c:pt>
                <c:pt idx="3445">
                  <c:v>0.93500000000000005</c:v>
                </c:pt>
                <c:pt idx="3446">
                  <c:v>0.91</c:v>
                </c:pt>
                <c:pt idx="3447">
                  <c:v>0.52300000000000002</c:v>
                </c:pt>
                <c:pt idx="3448">
                  <c:v>0.88</c:v>
                </c:pt>
                <c:pt idx="3449">
                  <c:v>0.68200000000000005</c:v>
                </c:pt>
                <c:pt idx="3450">
                  <c:v>0.52500000000000002</c:v>
                </c:pt>
                <c:pt idx="3451">
                  <c:v>0.54500000000000004</c:v>
                </c:pt>
                <c:pt idx="3452">
                  <c:v>0.52900000000000003</c:v>
                </c:pt>
                <c:pt idx="3453">
                  <c:v>0.77400000000000002</c:v>
                </c:pt>
                <c:pt idx="3454">
                  <c:v>0.70599999999999996</c:v>
                </c:pt>
                <c:pt idx="3455">
                  <c:v>0.68300000000000005</c:v>
                </c:pt>
                <c:pt idx="3456">
                  <c:v>0.75</c:v>
                </c:pt>
                <c:pt idx="3457">
                  <c:v>0.60599999999999998</c:v>
                </c:pt>
                <c:pt idx="3458">
                  <c:v>0.752</c:v>
                </c:pt>
                <c:pt idx="3459">
                  <c:v>0.77300000000000002</c:v>
                </c:pt>
                <c:pt idx="3460">
                  <c:v>0.97599999999999998</c:v>
                </c:pt>
                <c:pt idx="3461">
                  <c:v>0.82899999999999996</c:v>
                </c:pt>
                <c:pt idx="3462">
                  <c:v>0.88800000000000001</c:v>
                </c:pt>
                <c:pt idx="3463">
                  <c:v>0.48899999999999999</c:v>
                </c:pt>
                <c:pt idx="3464">
                  <c:v>0.89400000000000002</c:v>
                </c:pt>
                <c:pt idx="3465">
                  <c:v>0.505</c:v>
                </c:pt>
                <c:pt idx="3466">
                  <c:v>0.65800000000000003</c:v>
                </c:pt>
                <c:pt idx="3467">
                  <c:v>0.78900000000000003</c:v>
                </c:pt>
                <c:pt idx="3468">
                  <c:v>0.89800000000000002</c:v>
                </c:pt>
                <c:pt idx="3469">
                  <c:v>0.89100000000000001</c:v>
                </c:pt>
                <c:pt idx="3470">
                  <c:v>0.73899999999999999</c:v>
                </c:pt>
                <c:pt idx="3471">
                  <c:v>0.79600000000000004</c:v>
                </c:pt>
                <c:pt idx="3472">
                  <c:v>0.94099999999999995</c:v>
                </c:pt>
                <c:pt idx="3473">
                  <c:v>0.64500000000000002</c:v>
                </c:pt>
                <c:pt idx="3474">
                  <c:v>0.67200000000000004</c:v>
                </c:pt>
                <c:pt idx="3475">
                  <c:v>0.96199999999999997</c:v>
                </c:pt>
                <c:pt idx="3476">
                  <c:v>7.6999999999999999E-2</c:v>
                </c:pt>
                <c:pt idx="3477">
                  <c:v>0.53</c:v>
                </c:pt>
                <c:pt idx="3478">
                  <c:v>0.877</c:v>
                </c:pt>
                <c:pt idx="3479">
                  <c:v>0.86199999999999999</c:v>
                </c:pt>
                <c:pt idx="3480">
                  <c:v>0.96699999999999997</c:v>
                </c:pt>
                <c:pt idx="3481">
                  <c:v>0.27500000000000002</c:v>
                </c:pt>
                <c:pt idx="3482">
                  <c:v>0.94799999999999995</c:v>
                </c:pt>
                <c:pt idx="3483">
                  <c:v>0.81399999999999995</c:v>
                </c:pt>
                <c:pt idx="3484">
                  <c:v>0.88600000000000001</c:v>
                </c:pt>
                <c:pt idx="3485">
                  <c:v>0.43099999999999999</c:v>
                </c:pt>
                <c:pt idx="3486">
                  <c:v>0.94799999999999995</c:v>
                </c:pt>
                <c:pt idx="3487">
                  <c:v>0.83199999999999996</c:v>
                </c:pt>
                <c:pt idx="3488">
                  <c:v>0.91200000000000003</c:v>
                </c:pt>
                <c:pt idx="3489">
                  <c:v>0.41899999999999998</c:v>
                </c:pt>
                <c:pt idx="3490">
                  <c:v>0.46700000000000003</c:v>
                </c:pt>
                <c:pt idx="3491">
                  <c:v>0.38600000000000001</c:v>
                </c:pt>
                <c:pt idx="3492">
                  <c:v>0.39300000000000002</c:v>
                </c:pt>
                <c:pt idx="3493">
                  <c:v>0.50600000000000001</c:v>
                </c:pt>
                <c:pt idx="3494">
                  <c:v>0.91900000000000004</c:v>
                </c:pt>
                <c:pt idx="3495">
                  <c:v>0.88100000000000001</c:v>
                </c:pt>
                <c:pt idx="3496">
                  <c:v>0.48499999999999999</c:v>
                </c:pt>
                <c:pt idx="3497">
                  <c:v>0.68400000000000005</c:v>
                </c:pt>
                <c:pt idx="3498">
                  <c:v>0.50900000000000001</c:v>
                </c:pt>
                <c:pt idx="3499">
                  <c:v>0.98299999999999998</c:v>
                </c:pt>
                <c:pt idx="3500">
                  <c:v>0.96399999999999997</c:v>
                </c:pt>
                <c:pt idx="3501">
                  <c:v>0.89900000000000002</c:v>
                </c:pt>
                <c:pt idx="3502">
                  <c:v>0.81100000000000005</c:v>
                </c:pt>
                <c:pt idx="3503">
                  <c:v>0.49099999999999999</c:v>
                </c:pt>
                <c:pt idx="3504">
                  <c:v>0.59599999999999997</c:v>
                </c:pt>
                <c:pt idx="3505">
                  <c:v>0.77200000000000002</c:v>
                </c:pt>
                <c:pt idx="3506">
                  <c:v>0.69399999999999995</c:v>
                </c:pt>
                <c:pt idx="3507">
                  <c:v>0.74399999999999999</c:v>
                </c:pt>
                <c:pt idx="3508">
                  <c:v>9.2999999999999999E-2</c:v>
                </c:pt>
                <c:pt idx="3509">
                  <c:v>0.42</c:v>
                </c:pt>
                <c:pt idx="3510">
                  <c:v>0.82399999999999995</c:v>
                </c:pt>
                <c:pt idx="3511">
                  <c:v>0.81299999999999994</c:v>
                </c:pt>
                <c:pt idx="3512">
                  <c:v>0.997</c:v>
                </c:pt>
                <c:pt idx="3513">
                  <c:v>0.63400000000000001</c:v>
                </c:pt>
                <c:pt idx="3514">
                  <c:v>0.89400000000000002</c:v>
                </c:pt>
                <c:pt idx="3515">
                  <c:v>0.72899999999999998</c:v>
                </c:pt>
                <c:pt idx="3516">
                  <c:v>0.49399999999999999</c:v>
                </c:pt>
                <c:pt idx="3517">
                  <c:v>0.93300000000000005</c:v>
                </c:pt>
                <c:pt idx="3518">
                  <c:v>0.85499999999999998</c:v>
                </c:pt>
                <c:pt idx="3519">
                  <c:v>0.53900000000000003</c:v>
                </c:pt>
                <c:pt idx="3520">
                  <c:v>0.91900000000000004</c:v>
                </c:pt>
                <c:pt idx="3521">
                  <c:v>0.76500000000000001</c:v>
                </c:pt>
                <c:pt idx="3522">
                  <c:v>0.90600000000000003</c:v>
                </c:pt>
                <c:pt idx="3523">
                  <c:v>0.92200000000000004</c:v>
                </c:pt>
                <c:pt idx="3524">
                  <c:v>0.92100000000000004</c:v>
                </c:pt>
                <c:pt idx="3525">
                  <c:v>0.39100000000000001</c:v>
                </c:pt>
                <c:pt idx="3526">
                  <c:v>0.55300000000000005</c:v>
                </c:pt>
                <c:pt idx="3527">
                  <c:v>0.68799999999999994</c:v>
                </c:pt>
                <c:pt idx="3528">
                  <c:v>0.379</c:v>
                </c:pt>
                <c:pt idx="3529">
                  <c:v>0.65700000000000003</c:v>
                </c:pt>
                <c:pt idx="3530">
                  <c:v>0.64200000000000002</c:v>
                </c:pt>
                <c:pt idx="3531">
                  <c:v>0.188</c:v>
                </c:pt>
                <c:pt idx="3532">
                  <c:v>0.86699999999999999</c:v>
                </c:pt>
                <c:pt idx="3533">
                  <c:v>0.64100000000000001</c:v>
                </c:pt>
                <c:pt idx="3534">
                  <c:v>0.87</c:v>
                </c:pt>
                <c:pt idx="3535">
                  <c:v>0.51100000000000001</c:v>
                </c:pt>
                <c:pt idx="3536">
                  <c:v>0.78800000000000003</c:v>
                </c:pt>
                <c:pt idx="3537">
                  <c:v>0.90300000000000002</c:v>
                </c:pt>
                <c:pt idx="3538">
                  <c:v>0.121</c:v>
                </c:pt>
                <c:pt idx="3539">
                  <c:v>0.65700000000000003</c:v>
                </c:pt>
                <c:pt idx="3540">
                  <c:v>0.83899999999999997</c:v>
                </c:pt>
                <c:pt idx="3541">
                  <c:v>0.66100000000000003</c:v>
                </c:pt>
                <c:pt idx="3542">
                  <c:v>0.83</c:v>
                </c:pt>
                <c:pt idx="3543">
                  <c:v>0.41</c:v>
                </c:pt>
                <c:pt idx="3544">
                  <c:v>0.51</c:v>
                </c:pt>
                <c:pt idx="3545">
                  <c:v>0.47399999999999998</c:v>
                </c:pt>
                <c:pt idx="3546">
                  <c:v>0.63900000000000001</c:v>
                </c:pt>
                <c:pt idx="3547">
                  <c:v>0.57399999999999995</c:v>
                </c:pt>
                <c:pt idx="3548">
                  <c:v>0.72099999999999997</c:v>
                </c:pt>
                <c:pt idx="3549">
                  <c:v>0.624</c:v>
                </c:pt>
                <c:pt idx="3550">
                  <c:v>0.82199999999999995</c:v>
                </c:pt>
                <c:pt idx="3551">
                  <c:v>0.55200000000000005</c:v>
                </c:pt>
                <c:pt idx="3552">
                  <c:v>0.85299999999999998</c:v>
                </c:pt>
                <c:pt idx="3553">
                  <c:v>0.247</c:v>
                </c:pt>
                <c:pt idx="3554">
                  <c:v>0.88200000000000001</c:v>
                </c:pt>
                <c:pt idx="3555">
                  <c:v>0.82099999999999995</c:v>
                </c:pt>
                <c:pt idx="3556">
                  <c:v>0.376</c:v>
                </c:pt>
                <c:pt idx="3557">
                  <c:v>0.95099999999999996</c:v>
                </c:pt>
                <c:pt idx="3558">
                  <c:v>0.95399999999999996</c:v>
                </c:pt>
                <c:pt idx="3559">
                  <c:v>0.318</c:v>
                </c:pt>
                <c:pt idx="3560">
                  <c:v>0.80300000000000005</c:v>
                </c:pt>
                <c:pt idx="3561">
                  <c:v>0.78900000000000003</c:v>
                </c:pt>
                <c:pt idx="3562">
                  <c:v>0.45200000000000001</c:v>
                </c:pt>
                <c:pt idx="3563">
                  <c:v>0.70399999999999996</c:v>
                </c:pt>
                <c:pt idx="3564">
                  <c:v>0.73599999999999999</c:v>
                </c:pt>
                <c:pt idx="3565">
                  <c:v>0.79900000000000004</c:v>
                </c:pt>
                <c:pt idx="3566">
                  <c:v>0.95199999999999996</c:v>
                </c:pt>
                <c:pt idx="3567">
                  <c:v>0.88700000000000001</c:v>
                </c:pt>
                <c:pt idx="3568">
                  <c:v>0.52900000000000003</c:v>
                </c:pt>
                <c:pt idx="3569">
                  <c:v>0.46400000000000002</c:v>
                </c:pt>
                <c:pt idx="3570">
                  <c:v>0.40899999999999997</c:v>
                </c:pt>
                <c:pt idx="3571">
                  <c:v>0.56999999999999995</c:v>
                </c:pt>
                <c:pt idx="3572">
                  <c:v>0.96899999999999997</c:v>
                </c:pt>
                <c:pt idx="3573">
                  <c:v>0.70499999999999996</c:v>
                </c:pt>
                <c:pt idx="3574">
                  <c:v>0.39</c:v>
                </c:pt>
                <c:pt idx="3575">
                  <c:v>0.60599999999999998</c:v>
                </c:pt>
                <c:pt idx="3576">
                  <c:v>0.73199999999999998</c:v>
                </c:pt>
                <c:pt idx="3577">
                  <c:v>0.93799999999999994</c:v>
                </c:pt>
                <c:pt idx="3578">
                  <c:v>0.55500000000000005</c:v>
                </c:pt>
                <c:pt idx="3579">
                  <c:v>0.91200000000000003</c:v>
                </c:pt>
                <c:pt idx="3580">
                  <c:v>0.45200000000000001</c:v>
                </c:pt>
                <c:pt idx="3581">
                  <c:v>0.83899999999999997</c:v>
                </c:pt>
                <c:pt idx="3582">
                  <c:v>0.68100000000000005</c:v>
                </c:pt>
                <c:pt idx="3583">
                  <c:v>0.73899999999999999</c:v>
                </c:pt>
                <c:pt idx="3584">
                  <c:v>0.76100000000000001</c:v>
                </c:pt>
                <c:pt idx="3585">
                  <c:v>0.876</c:v>
                </c:pt>
                <c:pt idx="3586">
                  <c:v>0.76300000000000001</c:v>
                </c:pt>
                <c:pt idx="3587">
                  <c:v>0.49199999999999999</c:v>
                </c:pt>
                <c:pt idx="3588">
                  <c:v>0.77</c:v>
                </c:pt>
                <c:pt idx="3589">
                  <c:v>0.94099999999999995</c:v>
                </c:pt>
                <c:pt idx="3590">
                  <c:v>0.51500000000000001</c:v>
                </c:pt>
                <c:pt idx="3591">
                  <c:v>0.93400000000000005</c:v>
                </c:pt>
                <c:pt idx="3592">
                  <c:v>0.218</c:v>
                </c:pt>
                <c:pt idx="3593">
                  <c:v>0.69</c:v>
                </c:pt>
                <c:pt idx="3594">
                  <c:v>0.35199999999999998</c:v>
                </c:pt>
                <c:pt idx="3595">
                  <c:v>0.91300000000000003</c:v>
                </c:pt>
                <c:pt idx="3596">
                  <c:v>0.80400000000000005</c:v>
                </c:pt>
                <c:pt idx="3597">
                  <c:v>0.47899999999999998</c:v>
                </c:pt>
                <c:pt idx="3598">
                  <c:v>0.11</c:v>
                </c:pt>
                <c:pt idx="3599">
                  <c:v>0.5</c:v>
                </c:pt>
                <c:pt idx="3600">
                  <c:v>0.371</c:v>
                </c:pt>
                <c:pt idx="3601">
                  <c:v>0.72</c:v>
                </c:pt>
                <c:pt idx="3602">
                  <c:v>0.41899999999999998</c:v>
                </c:pt>
                <c:pt idx="3603">
                  <c:v>0.12</c:v>
                </c:pt>
                <c:pt idx="3604">
                  <c:v>0.23599999999999999</c:v>
                </c:pt>
                <c:pt idx="3605">
                  <c:v>0.94599999999999995</c:v>
                </c:pt>
                <c:pt idx="3606">
                  <c:v>0.93</c:v>
                </c:pt>
                <c:pt idx="3607">
                  <c:v>0.88100000000000001</c:v>
                </c:pt>
                <c:pt idx="3608">
                  <c:v>0.68</c:v>
                </c:pt>
                <c:pt idx="3609">
                  <c:v>0.32700000000000001</c:v>
                </c:pt>
                <c:pt idx="3610">
                  <c:v>0.65500000000000003</c:v>
                </c:pt>
                <c:pt idx="3611">
                  <c:v>0.57699999999999996</c:v>
                </c:pt>
                <c:pt idx="3612">
                  <c:v>0.81100000000000005</c:v>
                </c:pt>
                <c:pt idx="3613">
                  <c:v>5.7000000000000002E-2</c:v>
                </c:pt>
                <c:pt idx="3614">
                  <c:v>0.13800000000000001</c:v>
                </c:pt>
                <c:pt idx="3615">
                  <c:v>0.91600000000000004</c:v>
                </c:pt>
                <c:pt idx="3616">
                  <c:v>0.59399999999999997</c:v>
                </c:pt>
                <c:pt idx="3617">
                  <c:v>0.61699999999999999</c:v>
                </c:pt>
                <c:pt idx="3618">
                  <c:v>0.76600000000000001</c:v>
                </c:pt>
                <c:pt idx="3619">
                  <c:v>0.38400000000000001</c:v>
                </c:pt>
                <c:pt idx="3620">
                  <c:v>0.68500000000000005</c:v>
                </c:pt>
                <c:pt idx="3621">
                  <c:v>0.71</c:v>
                </c:pt>
                <c:pt idx="3622">
                  <c:v>0.88600000000000001</c:v>
                </c:pt>
                <c:pt idx="3623">
                  <c:v>0.72199999999999998</c:v>
                </c:pt>
                <c:pt idx="3624">
                  <c:v>0.72</c:v>
                </c:pt>
                <c:pt idx="3625">
                  <c:v>0.64300000000000002</c:v>
                </c:pt>
                <c:pt idx="3626">
                  <c:v>0.72099999999999997</c:v>
                </c:pt>
                <c:pt idx="3627">
                  <c:v>2.1999999999999999E-2</c:v>
                </c:pt>
                <c:pt idx="3628">
                  <c:v>3.5000000000000003E-2</c:v>
                </c:pt>
                <c:pt idx="3629">
                  <c:v>4.9000000000000002E-2</c:v>
                </c:pt>
                <c:pt idx="3630">
                  <c:v>0.76500000000000001</c:v>
                </c:pt>
                <c:pt idx="3631">
                  <c:v>0.61599999999999999</c:v>
                </c:pt>
                <c:pt idx="3632">
                  <c:v>0.51500000000000001</c:v>
                </c:pt>
                <c:pt idx="3633">
                  <c:v>0.76900000000000002</c:v>
                </c:pt>
                <c:pt idx="3634">
                  <c:v>0.75800000000000001</c:v>
                </c:pt>
                <c:pt idx="3635">
                  <c:v>0.76700000000000002</c:v>
                </c:pt>
                <c:pt idx="3636">
                  <c:v>0.34599999999999997</c:v>
                </c:pt>
                <c:pt idx="3637">
                  <c:v>0.73499999999999999</c:v>
                </c:pt>
                <c:pt idx="3638">
                  <c:v>0.497</c:v>
                </c:pt>
                <c:pt idx="3639">
                  <c:v>0.93100000000000005</c:v>
                </c:pt>
                <c:pt idx="3640">
                  <c:v>0.94599999999999995</c:v>
                </c:pt>
                <c:pt idx="3641">
                  <c:v>0.26200000000000001</c:v>
                </c:pt>
                <c:pt idx="3642">
                  <c:v>0.314</c:v>
                </c:pt>
                <c:pt idx="3643">
                  <c:v>0.63600000000000001</c:v>
                </c:pt>
                <c:pt idx="3644">
                  <c:v>0.62</c:v>
                </c:pt>
                <c:pt idx="3645">
                  <c:v>0.91800000000000004</c:v>
                </c:pt>
                <c:pt idx="3646">
                  <c:v>0.38</c:v>
                </c:pt>
                <c:pt idx="3647">
                  <c:v>0.54600000000000004</c:v>
                </c:pt>
                <c:pt idx="3648">
                  <c:v>0.67700000000000005</c:v>
                </c:pt>
                <c:pt idx="3649">
                  <c:v>0.374</c:v>
                </c:pt>
                <c:pt idx="3650">
                  <c:v>0.48599999999999999</c:v>
                </c:pt>
                <c:pt idx="3651">
                  <c:v>0.93700000000000006</c:v>
                </c:pt>
                <c:pt idx="3652">
                  <c:v>0.45700000000000002</c:v>
                </c:pt>
                <c:pt idx="3653">
                  <c:v>0.32300000000000001</c:v>
                </c:pt>
                <c:pt idx="3654">
                  <c:v>0.39600000000000002</c:v>
                </c:pt>
                <c:pt idx="3655">
                  <c:v>0.73099999999999998</c:v>
                </c:pt>
                <c:pt idx="3656">
                  <c:v>0.91600000000000004</c:v>
                </c:pt>
                <c:pt idx="3657">
                  <c:v>0.72399999999999998</c:v>
                </c:pt>
                <c:pt idx="3658">
                  <c:v>0.89400000000000002</c:v>
                </c:pt>
                <c:pt idx="3659">
                  <c:v>0.56999999999999995</c:v>
                </c:pt>
                <c:pt idx="3660">
                  <c:v>0.97099999999999997</c:v>
                </c:pt>
                <c:pt idx="3661">
                  <c:v>0.13700000000000001</c:v>
                </c:pt>
                <c:pt idx="3662">
                  <c:v>0.77800000000000002</c:v>
                </c:pt>
                <c:pt idx="3663">
                  <c:v>0.78400000000000003</c:v>
                </c:pt>
                <c:pt idx="3664">
                  <c:v>0.51400000000000001</c:v>
                </c:pt>
                <c:pt idx="3665">
                  <c:v>0.49</c:v>
                </c:pt>
                <c:pt idx="3666">
                  <c:v>0.186</c:v>
                </c:pt>
                <c:pt idx="3667">
                  <c:v>0.46500000000000002</c:v>
                </c:pt>
                <c:pt idx="3668">
                  <c:v>0.374</c:v>
                </c:pt>
                <c:pt idx="3669">
                  <c:v>0.498</c:v>
                </c:pt>
                <c:pt idx="3670">
                  <c:v>0.70699999999999996</c:v>
                </c:pt>
                <c:pt idx="3671">
                  <c:v>0.95599999999999996</c:v>
                </c:pt>
                <c:pt idx="3672">
                  <c:v>0.50700000000000001</c:v>
                </c:pt>
                <c:pt idx="3673">
                  <c:v>0.71899999999999997</c:v>
                </c:pt>
                <c:pt idx="3674">
                  <c:v>0.622</c:v>
                </c:pt>
                <c:pt idx="3675">
                  <c:v>0.76400000000000001</c:v>
                </c:pt>
                <c:pt idx="3676">
                  <c:v>0.66400000000000003</c:v>
                </c:pt>
                <c:pt idx="3677">
                  <c:v>0.32800000000000001</c:v>
                </c:pt>
                <c:pt idx="3678">
                  <c:v>0.71799999999999997</c:v>
                </c:pt>
                <c:pt idx="3679">
                  <c:v>0.752</c:v>
                </c:pt>
                <c:pt idx="3680">
                  <c:v>0.70499999999999996</c:v>
                </c:pt>
                <c:pt idx="3681">
                  <c:v>0.27500000000000002</c:v>
                </c:pt>
                <c:pt idx="3682">
                  <c:v>0.53700000000000003</c:v>
                </c:pt>
                <c:pt idx="3683">
                  <c:v>0.13700000000000001</c:v>
                </c:pt>
                <c:pt idx="3684">
                  <c:v>0.76900000000000002</c:v>
                </c:pt>
                <c:pt idx="3685">
                  <c:v>0.35699999999999998</c:v>
                </c:pt>
                <c:pt idx="3686">
                  <c:v>0.65900000000000003</c:v>
                </c:pt>
                <c:pt idx="3687">
                  <c:v>0.89400000000000002</c:v>
                </c:pt>
                <c:pt idx="3688">
                  <c:v>0.73</c:v>
                </c:pt>
                <c:pt idx="3689">
                  <c:v>0.29599999999999999</c:v>
                </c:pt>
                <c:pt idx="3690">
                  <c:v>0.51600000000000001</c:v>
                </c:pt>
                <c:pt idx="3691">
                  <c:v>0.878</c:v>
                </c:pt>
                <c:pt idx="3692">
                  <c:v>0.76300000000000001</c:v>
                </c:pt>
                <c:pt idx="3693">
                  <c:v>0.49399999999999999</c:v>
                </c:pt>
                <c:pt idx="3694">
                  <c:v>0.45300000000000001</c:v>
                </c:pt>
                <c:pt idx="3695">
                  <c:v>0.90400000000000003</c:v>
                </c:pt>
                <c:pt idx="3696">
                  <c:v>0.95099999999999996</c:v>
                </c:pt>
                <c:pt idx="3697">
                  <c:v>0.80800000000000005</c:v>
                </c:pt>
                <c:pt idx="3698">
                  <c:v>0.81899999999999995</c:v>
                </c:pt>
                <c:pt idx="3699">
                  <c:v>0.83499999999999996</c:v>
                </c:pt>
                <c:pt idx="3700">
                  <c:v>0.59699999999999998</c:v>
                </c:pt>
                <c:pt idx="3701">
                  <c:v>0.98499999999999999</c:v>
                </c:pt>
                <c:pt idx="3702">
                  <c:v>0.65600000000000003</c:v>
                </c:pt>
                <c:pt idx="3703">
                  <c:v>0.84399999999999997</c:v>
                </c:pt>
                <c:pt idx="3704">
                  <c:v>0.25</c:v>
                </c:pt>
                <c:pt idx="3705">
                  <c:v>0.68200000000000005</c:v>
                </c:pt>
                <c:pt idx="3706">
                  <c:v>0.22500000000000001</c:v>
                </c:pt>
                <c:pt idx="3707">
                  <c:v>0.91</c:v>
                </c:pt>
                <c:pt idx="3708">
                  <c:v>0.53700000000000003</c:v>
                </c:pt>
                <c:pt idx="3709">
                  <c:v>0.14299999999999999</c:v>
                </c:pt>
                <c:pt idx="3710">
                  <c:v>0.48699999999999999</c:v>
                </c:pt>
                <c:pt idx="3711">
                  <c:v>0.92300000000000004</c:v>
                </c:pt>
                <c:pt idx="3712">
                  <c:v>0.189</c:v>
                </c:pt>
                <c:pt idx="3713">
                  <c:v>0.51200000000000001</c:v>
                </c:pt>
                <c:pt idx="3714">
                  <c:v>0.23400000000000001</c:v>
                </c:pt>
                <c:pt idx="3715">
                  <c:v>0.877</c:v>
                </c:pt>
                <c:pt idx="3716">
                  <c:v>0.56100000000000005</c:v>
                </c:pt>
                <c:pt idx="3717">
                  <c:v>0.61</c:v>
                </c:pt>
                <c:pt idx="3718">
                  <c:v>0.98899999999999999</c:v>
                </c:pt>
                <c:pt idx="3719">
                  <c:v>0.85299999999999998</c:v>
                </c:pt>
                <c:pt idx="3720">
                  <c:v>0.50800000000000001</c:v>
                </c:pt>
                <c:pt idx="3721">
                  <c:v>0.182</c:v>
                </c:pt>
                <c:pt idx="3722">
                  <c:v>0.217</c:v>
                </c:pt>
                <c:pt idx="3723">
                  <c:v>0.69899999999999995</c:v>
                </c:pt>
                <c:pt idx="3724">
                  <c:v>0.222</c:v>
                </c:pt>
                <c:pt idx="3725">
                  <c:v>0.64200000000000002</c:v>
                </c:pt>
                <c:pt idx="3726">
                  <c:v>0.27900000000000003</c:v>
                </c:pt>
                <c:pt idx="3727">
                  <c:v>0.80200000000000005</c:v>
                </c:pt>
                <c:pt idx="3728">
                  <c:v>0.93899999999999995</c:v>
                </c:pt>
                <c:pt idx="3729">
                  <c:v>0.46200000000000002</c:v>
                </c:pt>
                <c:pt idx="3730">
                  <c:v>0.433</c:v>
                </c:pt>
                <c:pt idx="3731">
                  <c:v>0.94099999999999995</c:v>
                </c:pt>
                <c:pt idx="3732">
                  <c:v>0.83799999999999997</c:v>
                </c:pt>
                <c:pt idx="3733">
                  <c:v>0.79600000000000004</c:v>
                </c:pt>
                <c:pt idx="3734">
                  <c:v>0.59099999999999997</c:v>
                </c:pt>
                <c:pt idx="3735">
                  <c:v>0.45500000000000002</c:v>
                </c:pt>
                <c:pt idx="3736">
                  <c:v>0.61199999999999999</c:v>
                </c:pt>
                <c:pt idx="3737">
                  <c:v>0.54100000000000004</c:v>
                </c:pt>
                <c:pt idx="3738">
                  <c:v>0.48399999999999999</c:v>
                </c:pt>
                <c:pt idx="3739">
                  <c:v>0.53500000000000003</c:v>
                </c:pt>
                <c:pt idx="3740">
                  <c:v>0.67500000000000004</c:v>
                </c:pt>
                <c:pt idx="3741">
                  <c:v>0.76100000000000001</c:v>
                </c:pt>
                <c:pt idx="3742">
                  <c:v>0.95799999999999996</c:v>
                </c:pt>
                <c:pt idx="3743">
                  <c:v>0.82099999999999995</c:v>
                </c:pt>
                <c:pt idx="3744">
                  <c:v>0.434</c:v>
                </c:pt>
                <c:pt idx="3745">
                  <c:v>0.96399999999999997</c:v>
                </c:pt>
                <c:pt idx="3746">
                  <c:v>0.27100000000000002</c:v>
                </c:pt>
                <c:pt idx="3747">
                  <c:v>0.32900000000000001</c:v>
                </c:pt>
                <c:pt idx="3748">
                  <c:v>0.70899999999999996</c:v>
                </c:pt>
                <c:pt idx="3749">
                  <c:v>0.871</c:v>
                </c:pt>
                <c:pt idx="3750">
                  <c:v>0.79200000000000004</c:v>
                </c:pt>
                <c:pt idx="3751">
                  <c:v>0.56499999999999995</c:v>
                </c:pt>
                <c:pt idx="3752">
                  <c:v>0.88800000000000001</c:v>
                </c:pt>
                <c:pt idx="3753">
                  <c:v>0.36199999999999999</c:v>
                </c:pt>
                <c:pt idx="3754">
                  <c:v>0.49199999999999999</c:v>
                </c:pt>
                <c:pt idx="3755">
                  <c:v>0.73799999999999999</c:v>
                </c:pt>
                <c:pt idx="3756">
                  <c:v>0.503</c:v>
                </c:pt>
                <c:pt idx="3757">
                  <c:v>5.6000000000000001E-2</c:v>
                </c:pt>
                <c:pt idx="3758">
                  <c:v>0.35099999999999998</c:v>
                </c:pt>
                <c:pt idx="3759">
                  <c:v>0.49199999999999999</c:v>
                </c:pt>
                <c:pt idx="3760">
                  <c:v>0.65200000000000002</c:v>
                </c:pt>
                <c:pt idx="3761">
                  <c:v>0.64200000000000002</c:v>
                </c:pt>
                <c:pt idx="3762">
                  <c:v>0.36099999999999999</c:v>
                </c:pt>
                <c:pt idx="3763">
                  <c:v>0.38800000000000001</c:v>
                </c:pt>
                <c:pt idx="3764">
                  <c:v>0.52900000000000003</c:v>
                </c:pt>
                <c:pt idx="3765">
                  <c:v>0.80100000000000005</c:v>
                </c:pt>
                <c:pt idx="3766">
                  <c:v>0.85</c:v>
                </c:pt>
                <c:pt idx="3767">
                  <c:v>0.89400000000000002</c:v>
                </c:pt>
                <c:pt idx="3768">
                  <c:v>0.59299999999999997</c:v>
                </c:pt>
                <c:pt idx="3769">
                  <c:v>0.95399999999999996</c:v>
                </c:pt>
                <c:pt idx="3770">
                  <c:v>0.48899999999999999</c:v>
                </c:pt>
                <c:pt idx="3771">
                  <c:v>0.46800000000000003</c:v>
                </c:pt>
                <c:pt idx="3772">
                  <c:v>0.57499999999999996</c:v>
                </c:pt>
                <c:pt idx="3773">
                  <c:v>0.435</c:v>
                </c:pt>
                <c:pt idx="3774">
                  <c:v>0.79300000000000004</c:v>
                </c:pt>
                <c:pt idx="3775">
                  <c:v>0.68899999999999995</c:v>
                </c:pt>
                <c:pt idx="3776">
                  <c:v>0.48299999999999998</c:v>
                </c:pt>
                <c:pt idx="3777">
                  <c:v>0.71499999999999997</c:v>
                </c:pt>
                <c:pt idx="3778">
                  <c:v>0.64900000000000002</c:v>
                </c:pt>
                <c:pt idx="3779">
                  <c:v>0.70899999999999996</c:v>
                </c:pt>
                <c:pt idx="3780">
                  <c:v>0.92200000000000004</c:v>
                </c:pt>
                <c:pt idx="3781">
                  <c:v>0.35599999999999998</c:v>
                </c:pt>
                <c:pt idx="3782">
                  <c:v>0.66300000000000003</c:v>
                </c:pt>
                <c:pt idx="3783">
                  <c:v>0.91300000000000003</c:v>
                </c:pt>
                <c:pt idx="3784">
                  <c:v>0.55000000000000004</c:v>
                </c:pt>
                <c:pt idx="3785">
                  <c:v>0.51300000000000001</c:v>
                </c:pt>
                <c:pt idx="3786">
                  <c:v>0.192</c:v>
                </c:pt>
                <c:pt idx="3787">
                  <c:v>0.61299999999999999</c:v>
                </c:pt>
                <c:pt idx="3788">
                  <c:v>0.82399999999999995</c:v>
                </c:pt>
                <c:pt idx="3789">
                  <c:v>0.93500000000000005</c:v>
                </c:pt>
                <c:pt idx="3790">
                  <c:v>0.80300000000000005</c:v>
                </c:pt>
                <c:pt idx="3791">
                  <c:v>0.56399999999999995</c:v>
                </c:pt>
                <c:pt idx="3792">
                  <c:v>0.91600000000000004</c:v>
                </c:pt>
                <c:pt idx="3793">
                  <c:v>0.997</c:v>
                </c:pt>
                <c:pt idx="3794">
                  <c:v>0.36399999999999999</c:v>
                </c:pt>
                <c:pt idx="3795">
                  <c:v>0.65800000000000003</c:v>
                </c:pt>
                <c:pt idx="3796">
                  <c:v>0.502</c:v>
                </c:pt>
                <c:pt idx="3797">
                  <c:v>0.65400000000000003</c:v>
                </c:pt>
                <c:pt idx="3798">
                  <c:v>0.74299999999999999</c:v>
                </c:pt>
                <c:pt idx="3799">
                  <c:v>0.441</c:v>
                </c:pt>
                <c:pt idx="3800">
                  <c:v>0.60299999999999998</c:v>
                </c:pt>
                <c:pt idx="3801">
                  <c:v>0.95299999999999996</c:v>
                </c:pt>
                <c:pt idx="3802">
                  <c:v>0.624</c:v>
                </c:pt>
                <c:pt idx="3803">
                  <c:v>0.55400000000000005</c:v>
                </c:pt>
                <c:pt idx="3804">
                  <c:v>0.88900000000000001</c:v>
                </c:pt>
                <c:pt idx="3805">
                  <c:v>0.53600000000000003</c:v>
                </c:pt>
                <c:pt idx="3806">
                  <c:v>0.63100000000000001</c:v>
                </c:pt>
                <c:pt idx="3807">
                  <c:v>0.79500000000000004</c:v>
                </c:pt>
                <c:pt idx="3808">
                  <c:v>0.77100000000000002</c:v>
                </c:pt>
                <c:pt idx="3809">
                  <c:v>0.54300000000000004</c:v>
                </c:pt>
                <c:pt idx="3810">
                  <c:v>0.47699999999999998</c:v>
                </c:pt>
                <c:pt idx="3811">
                  <c:v>0.98199999999999998</c:v>
                </c:pt>
                <c:pt idx="3812">
                  <c:v>0.73299999999999998</c:v>
                </c:pt>
                <c:pt idx="3813">
                  <c:v>0.44500000000000001</c:v>
                </c:pt>
                <c:pt idx="3814">
                  <c:v>0.46200000000000002</c:v>
                </c:pt>
                <c:pt idx="3815">
                  <c:v>0.81</c:v>
                </c:pt>
                <c:pt idx="3816">
                  <c:v>0.35299999999999998</c:v>
                </c:pt>
                <c:pt idx="3817">
                  <c:v>0.74199999999999999</c:v>
                </c:pt>
                <c:pt idx="3818">
                  <c:v>0.60399999999999998</c:v>
                </c:pt>
                <c:pt idx="3819">
                  <c:v>0.95099999999999996</c:v>
                </c:pt>
                <c:pt idx="3820">
                  <c:v>0.52100000000000002</c:v>
                </c:pt>
                <c:pt idx="3821">
                  <c:v>0.66400000000000003</c:v>
                </c:pt>
                <c:pt idx="3822">
                  <c:v>0.47599999999999998</c:v>
                </c:pt>
                <c:pt idx="3823">
                  <c:v>0.72599999999999998</c:v>
                </c:pt>
                <c:pt idx="3824">
                  <c:v>0.88800000000000001</c:v>
                </c:pt>
                <c:pt idx="3825">
                  <c:v>0.68200000000000005</c:v>
                </c:pt>
                <c:pt idx="3826">
                  <c:v>0.87</c:v>
                </c:pt>
                <c:pt idx="3827">
                  <c:v>0.63700000000000001</c:v>
                </c:pt>
                <c:pt idx="3828">
                  <c:v>0.68500000000000005</c:v>
                </c:pt>
                <c:pt idx="3829">
                  <c:v>0.42199999999999999</c:v>
                </c:pt>
                <c:pt idx="3830">
                  <c:v>0.503</c:v>
                </c:pt>
                <c:pt idx="3831">
                  <c:v>0.64800000000000002</c:v>
                </c:pt>
                <c:pt idx="3832">
                  <c:v>0.622</c:v>
                </c:pt>
                <c:pt idx="3833">
                  <c:v>1.7000000000000001E-2</c:v>
                </c:pt>
                <c:pt idx="3834">
                  <c:v>0.47</c:v>
                </c:pt>
                <c:pt idx="3835">
                  <c:v>0.66600000000000004</c:v>
                </c:pt>
                <c:pt idx="3836">
                  <c:v>0.23899999999999999</c:v>
                </c:pt>
                <c:pt idx="3837">
                  <c:v>0.90600000000000003</c:v>
                </c:pt>
                <c:pt idx="3838">
                  <c:v>0.48699999999999999</c:v>
                </c:pt>
                <c:pt idx="3839">
                  <c:v>0.94499999999999995</c:v>
                </c:pt>
                <c:pt idx="3840">
                  <c:v>0.53900000000000003</c:v>
                </c:pt>
                <c:pt idx="3841">
                  <c:v>0.68400000000000005</c:v>
                </c:pt>
                <c:pt idx="3842">
                  <c:v>0.63300000000000001</c:v>
                </c:pt>
                <c:pt idx="3843">
                  <c:v>0.20100000000000001</c:v>
                </c:pt>
                <c:pt idx="3844">
                  <c:v>0.68899999999999995</c:v>
                </c:pt>
                <c:pt idx="3845">
                  <c:v>0.55400000000000005</c:v>
                </c:pt>
                <c:pt idx="3846">
                  <c:v>0.86</c:v>
                </c:pt>
                <c:pt idx="3847">
                  <c:v>0.46500000000000002</c:v>
                </c:pt>
                <c:pt idx="3848">
                  <c:v>0.96299999999999997</c:v>
                </c:pt>
                <c:pt idx="3849">
                  <c:v>0.90300000000000002</c:v>
                </c:pt>
                <c:pt idx="3850">
                  <c:v>0.84199999999999997</c:v>
                </c:pt>
                <c:pt idx="3851">
                  <c:v>0.58899999999999997</c:v>
                </c:pt>
                <c:pt idx="3852">
                  <c:v>0.26600000000000001</c:v>
                </c:pt>
                <c:pt idx="3853">
                  <c:v>1</c:v>
                </c:pt>
                <c:pt idx="3854">
                  <c:v>0.56200000000000006</c:v>
                </c:pt>
                <c:pt idx="3855">
                  <c:v>0.97099999999999997</c:v>
                </c:pt>
                <c:pt idx="3856">
                  <c:v>0.51300000000000001</c:v>
                </c:pt>
                <c:pt idx="3857">
                  <c:v>0.69399999999999995</c:v>
                </c:pt>
                <c:pt idx="3858">
                  <c:v>0.68</c:v>
                </c:pt>
                <c:pt idx="3859">
                  <c:v>0.68100000000000005</c:v>
                </c:pt>
                <c:pt idx="3860">
                  <c:v>0.86599999999999999</c:v>
                </c:pt>
                <c:pt idx="3861">
                  <c:v>0.58299999999999996</c:v>
                </c:pt>
                <c:pt idx="3862">
                  <c:v>0.40699999999999997</c:v>
                </c:pt>
                <c:pt idx="3863">
                  <c:v>0.52200000000000002</c:v>
                </c:pt>
                <c:pt idx="3864">
                  <c:v>0.53200000000000003</c:v>
                </c:pt>
                <c:pt idx="3865">
                  <c:v>6.6000000000000003E-2</c:v>
                </c:pt>
                <c:pt idx="3866">
                  <c:v>0.47499999999999998</c:v>
                </c:pt>
                <c:pt idx="3867">
                  <c:v>0.49299999999999999</c:v>
                </c:pt>
                <c:pt idx="3868">
                  <c:v>0.52200000000000002</c:v>
                </c:pt>
                <c:pt idx="3869">
                  <c:v>0.626</c:v>
                </c:pt>
                <c:pt idx="3870">
                  <c:v>0.755</c:v>
                </c:pt>
                <c:pt idx="3871">
                  <c:v>0.96699999999999997</c:v>
                </c:pt>
                <c:pt idx="3872">
                  <c:v>0.51</c:v>
                </c:pt>
                <c:pt idx="3873">
                  <c:v>0.61099999999999999</c:v>
                </c:pt>
                <c:pt idx="3874">
                  <c:v>0.81499999999999995</c:v>
                </c:pt>
                <c:pt idx="3875">
                  <c:v>0.65100000000000002</c:v>
                </c:pt>
                <c:pt idx="3876">
                  <c:v>0.72</c:v>
                </c:pt>
                <c:pt idx="3877">
                  <c:v>0.79300000000000004</c:v>
                </c:pt>
                <c:pt idx="3878">
                  <c:v>0.71199999999999997</c:v>
                </c:pt>
                <c:pt idx="3879">
                  <c:v>0.13100000000000001</c:v>
                </c:pt>
                <c:pt idx="3880">
                  <c:v>0.79300000000000004</c:v>
                </c:pt>
                <c:pt idx="3881">
                  <c:v>0.67200000000000004</c:v>
                </c:pt>
                <c:pt idx="3882">
                  <c:v>0.88900000000000001</c:v>
                </c:pt>
                <c:pt idx="3883">
                  <c:v>0.67500000000000004</c:v>
                </c:pt>
                <c:pt idx="3884">
                  <c:v>0.67900000000000005</c:v>
                </c:pt>
                <c:pt idx="3885">
                  <c:v>0.23400000000000001</c:v>
                </c:pt>
                <c:pt idx="3886">
                  <c:v>0.96499999999999997</c:v>
                </c:pt>
                <c:pt idx="3887">
                  <c:v>0.19600000000000001</c:v>
                </c:pt>
                <c:pt idx="3888">
                  <c:v>0.32900000000000001</c:v>
                </c:pt>
                <c:pt idx="3889">
                  <c:v>0.85099999999999998</c:v>
                </c:pt>
                <c:pt idx="3890">
                  <c:v>0.93300000000000005</c:v>
                </c:pt>
                <c:pt idx="3891">
                  <c:v>0.23699999999999999</c:v>
                </c:pt>
                <c:pt idx="3892">
                  <c:v>0.81200000000000006</c:v>
                </c:pt>
                <c:pt idx="3893">
                  <c:v>0.45100000000000001</c:v>
                </c:pt>
                <c:pt idx="3894">
                  <c:v>0.88</c:v>
                </c:pt>
                <c:pt idx="3895">
                  <c:v>0.59599999999999997</c:v>
                </c:pt>
                <c:pt idx="3896">
                  <c:v>0.35099999999999998</c:v>
                </c:pt>
                <c:pt idx="3897">
                  <c:v>0.52600000000000002</c:v>
                </c:pt>
                <c:pt idx="3898">
                  <c:v>0.45100000000000001</c:v>
                </c:pt>
                <c:pt idx="3899">
                  <c:v>0.70199999999999996</c:v>
                </c:pt>
                <c:pt idx="3900">
                  <c:v>0.72099999999999997</c:v>
                </c:pt>
                <c:pt idx="3901">
                  <c:v>0.77300000000000002</c:v>
                </c:pt>
                <c:pt idx="3902">
                  <c:v>0.72499999999999998</c:v>
                </c:pt>
                <c:pt idx="3903">
                  <c:v>0.70099999999999996</c:v>
                </c:pt>
                <c:pt idx="3904">
                  <c:v>0.75900000000000001</c:v>
                </c:pt>
                <c:pt idx="3905">
                  <c:v>0.68600000000000005</c:v>
                </c:pt>
                <c:pt idx="3906">
                  <c:v>0.876</c:v>
                </c:pt>
                <c:pt idx="3907">
                  <c:v>5.6000000000000001E-2</c:v>
                </c:pt>
                <c:pt idx="3908">
                  <c:v>0.152</c:v>
                </c:pt>
                <c:pt idx="3909">
                  <c:v>0.42</c:v>
                </c:pt>
                <c:pt idx="3910">
                  <c:v>0.56999999999999995</c:v>
                </c:pt>
                <c:pt idx="3911">
                  <c:v>0.57899999999999996</c:v>
                </c:pt>
                <c:pt idx="3912">
                  <c:v>0.62</c:v>
                </c:pt>
                <c:pt idx="3913">
                  <c:v>0.72799999999999998</c:v>
                </c:pt>
                <c:pt idx="3914">
                  <c:v>0.85799999999999998</c:v>
                </c:pt>
                <c:pt idx="3915">
                  <c:v>0.82499999999999996</c:v>
                </c:pt>
                <c:pt idx="3916">
                  <c:v>0.51200000000000001</c:v>
                </c:pt>
                <c:pt idx="3917">
                  <c:v>0.26300000000000001</c:v>
                </c:pt>
                <c:pt idx="3918">
                  <c:v>0.55500000000000005</c:v>
                </c:pt>
                <c:pt idx="3919">
                  <c:v>0.51900000000000002</c:v>
                </c:pt>
                <c:pt idx="3920">
                  <c:v>0.70699999999999996</c:v>
                </c:pt>
                <c:pt idx="3921">
                  <c:v>0.93899999999999995</c:v>
                </c:pt>
                <c:pt idx="3922">
                  <c:v>0.75600000000000001</c:v>
                </c:pt>
                <c:pt idx="3923">
                  <c:v>0.26400000000000001</c:v>
                </c:pt>
                <c:pt idx="3924">
                  <c:v>0.60799999999999998</c:v>
                </c:pt>
                <c:pt idx="3925">
                  <c:v>0.46700000000000003</c:v>
                </c:pt>
                <c:pt idx="3926">
                  <c:v>0.68500000000000005</c:v>
                </c:pt>
                <c:pt idx="3927">
                  <c:v>0.69799999999999995</c:v>
                </c:pt>
                <c:pt idx="3928">
                  <c:v>0.97099999999999997</c:v>
                </c:pt>
                <c:pt idx="3929">
                  <c:v>0.26100000000000001</c:v>
                </c:pt>
                <c:pt idx="3930">
                  <c:v>0.80800000000000005</c:v>
                </c:pt>
                <c:pt idx="3931">
                  <c:v>0.28499999999999998</c:v>
                </c:pt>
                <c:pt idx="3932">
                  <c:v>0.69399999999999995</c:v>
                </c:pt>
                <c:pt idx="3933">
                  <c:v>0.68799999999999994</c:v>
                </c:pt>
                <c:pt idx="3934">
                  <c:v>0.38700000000000001</c:v>
                </c:pt>
                <c:pt idx="3935">
                  <c:v>0.314</c:v>
                </c:pt>
                <c:pt idx="3936">
                  <c:v>0.84099999999999997</c:v>
                </c:pt>
                <c:pt idx="3937">
                  <c:v>0.874</c:v>
                </c:pt>
                <c:pt idx="3938">
                  <c:v>0.98199999999999998</c:v>
                </c:pt>
                <c:pt idx="3939">
                  <c:v>0.51900000000000002</c:v>
                </c:pt>
                <c:pt idx="3940">
                  <c:v>0.72</c:v>
                </c:pt>
                <c:pt idx="3941">
                  <c:v>0.89400000000000002</c:v>
                </c:pt>
                <c:pt idx="3942">
                  <c:v>0.27700000000000002</c:v>
                </c:pt>
                <c:pt idx="3943">
                  <c:v>0.49299999999999999</c:v>
                </c:pt>
                <c:pt idx="3944">
                  <c:v>0.91100000000000003</c:v>
                </c:pt>
                <c:pt idx="3945">
                  <c:v>0.54300000000000004</c:v>
                </c:pt>
                <c:pt idx="3946">
                  <c:v>0.754</c:v>
                </c:pt>
                <c:pt idx="3947">
                  <c:v>0.32700000000000001</c:v>
                </c:pt>
                <c:pt idx="3948">
                  <c:v>0.52200000000000002</c:v>
                </c:pt>
                <c:pt idx="3949">
                  <c:v>0.82099999999999995</c:v>
                </c:pt>
                <c:pt idx="3950">
                  <c:v>0.497</c:v>
                </c:pt>
                <c:pt idx="3951">
                  <c:v>0.77500000000000002</c:v>
                </c:pt>
                <c:pt idx="3952">
                  <c:v>0.69799999999999995</c:v>
                </c:pt>
                <c:pt idx="3953">
                  <c:v>0.78200000000000003</c:v>
                </c:pt>
                <c:pt idx="3954">
                  <c:v>0.84299999999999997</c:v>
                </c:pt>
                <c:pt idx="3955">
                  <c:v>0.438</c:v>
                </c:pt>
                <c:pt idx="3956">
                  <c:v>0.61399999999999999</c:v>
                </c:pt>
                <c:pt idx="3957">
                  <c:v>0.81899999999999995</c:v>
                </c:pt>
                <c:pt idx="3958">
                  <c:v>0.85899999999999999</c:v>
                </c:pt>
                <c:pt idx="3959">
                  <c:v>0.82299999999999995</c:v>
                </c:pt>
                <c:pt idx="3960">
                  <c:v>0.79300000000000004</c:v>
                </c:pt>
                <c:pt idx="3961">
                  <c:v>0.89200000000000002</c:v>
                </c:pt>
                <c:pt idx="3962">
                  <c:v>0.89300000000000002</c:v>
                </c:pt>
                <c:pt idx="3963">
                  <c:v>0.87</c:v>
                </c:pt>
                <c:pt idx="3964">
                  <c:v>0.39500000000000002</c:v>
                </c:pt>
                <c:pt idx="3965">
                  <c:v>0.63600000000000001</c:v>
                </c:pt>
                <c:pt idx="3966">
                  <c:v>0.72799999999999998</c:v>
                </c:pt>
                <c:pt idx="3967">
                  <c:v>0.61899999999999999</c:v>
                </c:pt>
                <c:pt idx="3968">
                  <c:v>0.44700000000000001</c:v>
                </c:pt>
                <c:pt idx="3969">
                  <c:v>0.83799999999999997</c:v>
                </c:pt>
                <c:pt idx="3970">
                  <c:v>0.88700000000000001</c:v>
                </c:pt>
                <c:pt idx="3971">
                  <c:v>0.90700000000000003</c:v>
                </c:pt>
                <c:pt idx="3972">
                  <c:v>0.97699999999999998</c:v>
                </c:pt>
                <c:pt idx="3973">
                  <c:v>0.51200000000000001</c:v>
                </c:pt>
                <c:pt idx="3974">
                  <c:v>0.34499999999999997</c:v>
                </c:pt>
                <c:pt idx="3975">
                  <c:v>0.81399999999999995</c:v>
                </c:pt>
                <c:pt idx="3976">
                  <c:v>0.97</c:v>
                </c:pt>
                <c:pt idx="3977">
                  <c:v>0.435</c:v>
                </c:pt>
                <c:pt idx="3978">
                  <c:v>0.53600000000000003</c:v>
                </c:pt>
                <c:pt idx="3979">
                  <c:v>0.78</c:v>
                </c:pt>
                <c:pt idx="3980">
                  <c:v>0.57699999999999996</c:v>
                </c:pt>
                <c:pt idx="3981">
                  <c:v>0.43099999999999999</c:v>
                </c:pt>
                <c:pt idx="3982">
                  <c:v>0.27200000000000002</c:v>
                </c:pt>
                <c:pt idx="3983">
                  <c:v>0.88700000000000001</c:v>
                </c:pt>
                <c:pt idx="3984">
                  <c:v>0.51300000000000001</c:v>
                </c:pt>
                <c:pt idx="3985">
                  <c:v>0.76</c:v>
                </c:pt>
                <c:pt idx="3986">
                  <c:v>0.752</c:v>
                </c:pt>
                <c:pt idx="3987">
                  <c:v>0.995</c:v>
                </c:pt>
                <c:pt idx="3988">
                  <c:v>0.53800000000000003</c:v>
                </c:pt>
                <c:pt idx="3989">
                  <c:v>0.91500000000000004</c:v>
                </c:pt>
                <c:pt idx="3990">
                  <c:v>0.76</c:v>
                </c:pt>
                <c:pt idx="3991">
                  <c:v>0.23300000000000001</c:v>
                </c:pt>
                <c:pt idx="3992">
                  <c:v>0.94399999999999995</c:v>
                </c:pt>
                <c:pt idx="3993">
                  <c:v>0.77900000000000003</c:v>
                </c:pt>
                <c:pt idx="3994">
                  <c:v>0.78</c:v>
                </c:pt>
                <c:pt idx="3995">
                  <c:v>0.82099999999999995</c:v>
                </c:pt>
                <c:pt idx="3996">
                  <c:v>0.373</c:v>
                </c:pt>
                <c:pt idx="3997">
                  <c:v>0.874</c:v>
                </c:pt>
                <c:pt idx="3998">
                  <c:v>0.87</c:v>
                </c:pt>
                <c:pt idx="3999">
                  <c:v>0.748</c:v>
                </c:pt>
                <c:pt idx="4000">
                  <c:v>0.44900000000000001</c:v>
                </c:pt>
                <c:pt idx="4001">
                  <c:v>0.77400000000000002</c:v>
                </c:pt>
                <c:pt idx="4002">
                  <c:v>0.627</c:v>
                </c:pt>
                <c:pt idx="4003">
                  <c:v>0.93100000000000005</c:v>
                </c:pt>
                <c:pt idx="4004">
                  <c:v>0.67400000000000004</c:v>
                </c:pt>
                <c:pt idx="4005">
                  <c:v>0.52200000000000002</c:v>
                </c:pt>
                <c:pt idx="4006">
                  <c:v>8.1000000000000003E-2</c:v>
                </c:pt>
                <c:pt idx="4007">
                  <c:v>0.73899999999999999</c:v>
                </c:pt>
                <c:pt idx="4008">
                  <c:v>0.871</c:v>
                </c:pt>
                <c:pt idx="4009">
                  <c:v>0.54</c:v>
                </c:pt>
                <c:pt idx="4010">
                  <c:v>0.76600000000000001</c:v>
                </c:pt>
                <c:pt idx="4011">
                  <c:v>0.65900000000000003</c:v>
                </c:pt>
                <c:pt idx="4012">
                  <c:v>0.96299999999999997</c:v>
                </c:pt>
                <c:pt idx="4013">
                  <c:v>0.32900000000000001</c:v>
                </c:pt>
                <c:pt idx="4014">
                  <c:v>0.55900000000000005</c:v>
                </c:pt>
                <c:pt idx="4015">
                  <c:v>0.85899999999999999</c:v>
                </c:pt>
                <c:pt idx="4016">
                  <c:v>0.96499999999999997</c:v>
                </c:pt>
                <c:pt idx="4017">
                  <c:v>0.53400000000000003</c:v>
                </c:pt>
                <c:pt idx="4018">
                  <c:v>0.91400000000000003</c:v>
                </c:pt>
                <c:pt idx="4019">
                  <c:v>0.35799999999999998</c:v>
                </c:pt>
                <c:pt idx="4020">
                  <c:v>0.76100000000000001</c:v>
                </c:pt>
                <c:pt idx="4021">
                  <c:v>0.8</c:v>
                </c:pt>
                <c:pt idx="4022">
                  <c:v>0.23100000000000001</c:v>
                </c:pt>
                <c:pt idx="4023">
                  <c:v>0.53</c:v>
                </c:pt>
                <c:pt idx="4024">
                  <c:v>0.55700000000000005</c:v>
                </c:pt>
                <c:pt idx="4025">
                  <c:v>0.48699999999999999</c:v>
                </c:pt>
                <c:pt idx="4026">
                  <c:v>0.56599999999999995</c:v>
                </c:pt>
                <c:pt idx="4027">
                  <c:v>0.82799999999999996</c:v>
                </c:pt>
                <c:pt idx="4028">
                  <c:v>0.93700000000000006</c:v>
                </c:pt>
                <c:pt idx="4029">
                  <c:v>0.30499999999999999</c:v>
                </c:pt>
                <c:pt idx="4030">
                  <c:v>0.127</c:v>
                </c:pt>
                <c:pt idx="4031">
                  <c:v>0.64</c:v>
                </c:pt>
                <c:pt idx="4032">
                  <c:v>0.69899999999999995</c:v>
                </c:pt>
                <c:pt idx="4033">
                  <c:v>1</c:v>
                </c:pt>
                <c:pt idx="4034">
                  <c:v>0.34899999999999998</c:v>
                </c:pt>
                <c:pt idx="4035">
                  <c:v>0.33800000000000002</c:v>
                </c:pt>
                <c:pt idx="4036">
                  <c:v>0.125</c:v>
                </c:pt>
                <c:pt idx="4037">
                  <c:v>0.70599999999999996</c:v>
                </c:pt>
                <c:pt idx="4038">
                  <c:v>0.80100000000000005</c:v>
                </c:pt>
                <c:pt idx="4039">
                  <c:v>0.83</c:v>
                </c:pt>
                <c:pt idx="4040">
                  <c:v>0.876</c:v>
                </c:pt>
                <c:pt idx="4041">
                  <c:v>0.65200000000000002</c:v>
                </c:pt>
                <c:pt idx="4042">
                  <c:v>0.157</c:v>
                </c:pt>
                <c:pt idx="4043">
                  <c:v>0.36499999999999999</c:v>
                </c:pt>
                <c:pt idx="4044">
                  <c:v>0.57599999999999996</c:v>
                </c:pt>
                <c:pt idx="4045">
                  <c:v>0.28999999999999998</c:v>
                </c:pt>
                <c:pt idx="4046">
                  <c:v>0.51500000000000001</c:v>
                </c:pt>
                <c:pt idx="4047">
                  <c:v>0.85</c:v>
                </c:pt>
                <c:pt idx="4048">
                  <c:v>0.76600000000000001</c:v>
                </c:pt>
                <c:pt idx="4049">
                  <c:v>0.91</c:v>
                </c:pt>
                <c:pt idx="4050">
                  <c:v>0.98799999999999999</c:v>
                </c:pt>
                <c:pt idx="4051">
                  <c:v>0.96699999999999997</c:v>
                </c:pt>
                <c:pt idx="4052">
                  <c:v>0.29799999999999999</c:v>
                </c:pt>
                <c:pt idx="4053">
                  <c:v>0.442</c:v>
                </c:pt>
                <c:pt idx="4054">
                  <c:v>0.85499999999999998</c:v>
                </c:pt>
                <c:pt idx="4055">
                  <c:v>0.80700000000000005</c:v>
                </c:pt>
                <c:pt idx="4056">
                  <c:v>0.435</c:v>
                </c:pt>
                <c:pt idx="4057">
                  <c:v>0.192</c:v>
                </c:pt>
                <c:pt idx="4058">
                  <c:v>0.54500000000000004</c:v>
                </c:pt>
                <c:pt idx="4059">
                  <c:v>0.82</c:v>
                </c:pt>
                <c:pt idx="4060">
                  <c:v>0.69399999999999995</c:v>
                </c:pt>
                <c:pt idx="4061">
                  <c:v>0.33</c:v>
                </c:pt>
                <c:pt idx="4062">
                  <c:v>0.24399999999999999</c:v>
                </c:pt>
                <c:pt idx="4063">
                  <c:v>0.5</c:v>
                </c:pt>
                <c:pt idx="4064">
                  <c:v>0.57899999999999996</c:v>
                </c:pt>
                <c:pt idx="4065">
                  <c:v>0.59699999999999998</c:v>
                </c:pt>
                <c:pt idx="4066">
                  <c:v>0.65200000000000002</c:v>
                </c:pt>
                <c:pt idx="4067">
                  <c:v>0.94299999999999995</c:v>
                </c:pt>
                <c:pt idx="4068">
                  <c:v>0.97599999999999998</c:v>
                </c:pt>
                <c:pt idx="4069">
                  <c:v>0.93600000000000005</c:v>
                </c:pt>
                <c:pt idx="4070">
                  <c:v>0.84799999999999998</c:v>
                </c:pt>
                <c:pt idx="4071">
                  <c:v>0.55100000000000005</c:v>
                </c:pt>
                <c:pt idx="4072">
                  <c:v>0.64300000000000002</c:v>
                </c:pt>
                <c:pt idx="4073">
                  <c:v>0.28000000000000003</c:v>
                </c:pt>
                <c:pt idx="4074">
                  <c:v>0.51600000000000001</c:v>
                </c:pt>
                <c:pt idx="4075">
                  <c:v>0.58099999999999996</c:v>
                </c:pt>
                <c:pt idx="4076">
                  <c:v>0.82099999999999995</c:v>
                </c:pt>
                <c:pt idx="4077">
                  <c:v>0.88900000000000001</c:v>
                </c:pt>
                <c:pt idx="4078">
                  <c:v>0.94099999999999995</c:v>
                </c:pt>
                <c:pt idx="4079">
                  <c:v>0.60199999999999998</c:v>
                </c:pt>
                <c:pt idx="4080">
                  <c:v>0.96699999999999997</c:v>
                </c:pt>
                <c:pt idx="4081">
                  <c:v>0.16600000000000001</c:v>
                </c:pt>
                <c:pt idx="4082">
                  <c:v>0.67800000000000005</c:v>
                </c:pt>
                <c:pt idx="4083">
                  <c:v>0.95599999999999996</c:v>
                </c:pt>
                <c:pt idx="4084">
                  <c:v>0.36499999999999999</c:v>
                </c:pt>
                <c:pt idx="4085">
                  <c:v>0.628</c:v>
                </c:pt>
                <c:pt idx="4086">
                  <c:v>0.95</c:v>
                </c:pt>
                <c:pt idx="4087">
                  <c:v>0.73399999999999999</c:v>
                </c:pt>
                <c:pt idx="4088">
                  <c:v>0.89400000000000002</c:v>
                </c:pt>
                <c:pt idx="4089">
                  <c:v>0.74299999999999999</c:v>
                </c:pt>
                <c:pt idx="4090">
                  <c:v>0.59399999999999997</c:v>
                </c:pt>
                <c:pt idx="4091">
                  <c:v>0.503</c:v>
                </c:pt>
                <c:pt idx="4092">
                  <c:v>0.56999999999999995</c:v>
                </c:pt>
                <c:pt idx="4093">
                  <c:v>0.92600000000000005</c:v>
                </c:pt>
                <c:pt idx="4094">
                  <c:v>0.52200000000000002</c:v>
                </c:pt>
                <c:pt idx="4095">
                  <c:v>0.90500000000000003</c:v>
                </c:pt>
                <c:pt idx="4096">
                  <c:v>0.86199999999999999</c:v>
                </c:pt>
                <c:pt idx="4097">
                  <c:v>0.82</c:v>
                </c:pt>
                <c:pt idx="4098">
                  <c:v>0.54900000000000004</c:v>
                </c:pt>
                <c:pt idx="4099">
                  <c:v>0.55800000000000005</c:v>
                </c:pt>
                <c:pt idx="4100">
                  <c:v>7.0999999999999994E-2</c:v>
                </c:pt>
                <c:pt idx="4101">
                  <c:v>0.23400000000000001</c:v>
                </c:pt>
                <c:pt idx="4102">
                  <c:v>0.88500000000000001</c:v>
                </c:pt>
                <c:pt idx="4103">
                  <c:v>0.70599999999999996</c:v>
                </c:pt>
                <c:pt idx="4104">
                  <c:v>0.89500000000000002</c:v>
                </c:pt>
                <c:pt idx="4105">
                  <c:v>0.20399999999999999</c:v>
                </c:pt>
                <c:pt idx="4106">
                  <c:v>0.93899999999999995</c:v>
                </c:pt>
                <c:pt idx="4107">
                  <c:v>0.68600000000000005</c:v>
                </c:pt>
                <c:pt idx="4108">
                  <c:v>0.55900000000000005</c:v>
                </c:pt>
                <c:pt idx="4109">
                  <c:v>0.93300000000000005</c:v>
                </c:pt>
                <c:pt idx="4110">
                  <c:v>0.60799999999999998</c:v>
                </c:pt>
                <c:pt idx="4111">
                  <c:v>0.106</c:v>
                </c:pt>
                <c:pt idx="4112">
                  <c:v>0.311</c:v>
                </c:pt>
                <c:pt idx="4113">
                  <c:v>0.31900000000000001</c:v>
                </c:pt>
                <c:pt idx="4114">
                  <c:v>0.38200000000000001</c:v>
                </c:pt>
                <c:pt idx="4115">
                  <c:v>0.94099999999999995</c:v>
                </c:pt>
                <c:pt idx="4116">
                  <c:v>0.66700000000000004</c:v>
                </c:pt>
                <c:pt idx="4117">
                  <c:v>0.43099999999999999</c:v>
                </c:pt>
                <c:pt idx="4118">
                  <c:v>0.56200000000000006</c:v>
                </c:pt>
                <c:pt idx="4119">
                  <c:v>0.67300000000000004</c:v>
                </c:pt>
                <c:pt idx="4120">
                  <c:v>0.625</c:v>
                </c:pt>
                <c:pt idx="4121">
                  <c:v>0.66400000000000003</c:v>
                </c:pt>
                <c:pt idx="4122">
                  <c:v>0.92800000000000005</c:v>
                </c:pt>
                <c:pt idx="4123">
                  <c:v>0.83</c:v>
                </c:pt>
                <c:pt idx="4124">
                  <c:v>0.95899999999999996</c:v>
                </c:pt>
                <c:pt idx="4125">
                  <c:v>0.22500000000000001</c:v>
                </c:pt>
                <c:pt idx="4126">
                  <c:v>0.49199999999999999</c:v>
                </c:pt>
                <c:pt idx="4127">
                  <c:v>0.5</c:v>
                </c:pt>
                <c:pt idx="4128">
                  <c:v>0.74</c:v>
                </c:pt>
                <c:pt idx="4129">
                  <c:v>0.63800000000000001</c:v>
                </c:pt>
                <c:pt idx="4130">
                  <c:v>0.496</c:v>
                </c:pt>
                <c:pt idx="4131">
                  <c:v>0.81399999999999995</c:v>
                </c:pt>
                <c:pt idx="4132">
                  <c:v>0.70799999999999996</c:v>
                </c:pt>
                <c:pt idx="4133">
                  <c:v>0.89400000000000002</c:v>
                </c:pt>
                <c:pt idx="4134">
                  <c:v>0.69199999999999995</c:v>
                </c:pt>
                <c:pt idx="4135">
                  <c:v>0.60099999999999998</c:v>
                </c:pt>
                <c:pt idx="4136">
                  <c:v>0.60699999999999998</c:v>
                </c:pt>
                <c:pt idx="4137">
                  <c:v>0.54600000000000004</c:v>
                </c:pt>
                <c:pt idx="4138">
                  <c:v>0.70099999999999996</c:v>
                </c:pt>
                <c:pt idx="4139">
                  <c:v>0.49</c:v>
                </c:pt>
                <c:pt idx="4140">
                  <c:v>0.33700000000000002</c:v>
                </c:pt>
                <c:pt idx="4141">
                  <c:v>0.49399999999999999</c:v>
                </c:pt>
                <c:pt idx="4142">
                  <c:v>0.29799999999999999</c:v>
                </c:pt>
                <c:pt idx="4143">
                  <c:v>0.91500000000000004</c:v>
                </c:pt>
                <c:pt idx="4144">
                  <c:v>0.20699999999999999</c:v>
                </c:pt>
                <c:pt idx="4145">
                  <c:v>0.28000000000000003</c:v>
                </c:pt>
                <c:pt idx="4146">
                  <c:v>0.63900000000000001</c:v>
                </c:pt>
                <c:pt idx="4147">
                  <c:v>0.88900000000000001</c:v>
                </c:pt>
                <c:pt idx="4148">
                  <c:v>0.88400000000000001</c:v>
                </c:pt>
                <c:pt idx="4149">
                  <c:v>0.76900000000000002</c:v>
                </c:pt>
                <c:pt idx="4150">
                  <c:v>0.91100000000000003</c:v>
                </c:pt>
                <c:pt idx="4151">
                  <c:v>0.62</c:v>
                </c:pt>
                <c:pt idx="4152">
                  <c:v>0.88200000000000001</c:v>
                </c:pt>
                <c:pt idx="4153">
                  <c:v>0.61099999999999999</c:v>
                </c:pt>
                <c:pt idx="4154">
                  <c:v>0.19</c:v>
                </c:pt>
                <c:pt idx="4155">
                  <c:v>0.97699999999999998</c:v>
                </c:pt>
                <c:pt idx="4156">
                  <c:v>0.39</c:v>
                </c:pt>
                <c:pt idx="4157">
                  <c:v>0.435</c:v>
                </c:pt>
                <c:pt idx="4158">
                  <c:v>0.5</c:v>
                </c:pt>
                <c:pt idx="4159">
                  <c:v>0.73099999999999998</c:v>
                </c:pt>
                <c:pt idx="4160">
                  <c:v>0.14599999999999999</c:v>
                </c:pt>
                <c:pt idx="4161">
                  <c:v>0.23</c:v>
                </c:pt>
                <c:pt idx="4162">
                  <c:v>0.96899999999999997</c:v>
                </c:pt>
                <c:pt idx="4163">
                  <c:v>0.25</c:v>
                </c:pt>
                <c:pt idx="4164">
                  <c:v>0.90500000000000003</c:v>
                </c:pt>
                <c:pt idx="4165">
                  <c:v>0.67</c:v>
                </c:pt>
                <c:pt idx="4166">
                  <c:v>0.45400000000000001</c:v>
                </c:pt>
                <c:pt idx="4167">
                  <c:v>1</c:v>
                </c:pt>
                <c:pt idx="4168">
                  <c:v>0.56000000000000005</c:v>
                </c:pt>
                <c:pt idx="4169">
                  <c:v>0.61799999999999999</c:v>
                </c:pt>
                <c:pt idx="4170">
                  <c:v>0.59499999999999997</c:v>
                </c:pt>
                <c:pt idx="4171">
                  <c:v>0.83499999999999996</c:v>
                </c:pt>
                <c:pt idx="4172">
                  <c:v>0.372</c:v>
                </c:pt>
                <c:pt idx="4173">
                  <c:v>0.74199999999999999</c:v>
                </c:pt>
                <c:pt idx="4174">
                  <c:v>0.26800000000000002</c:v>
                </c:pt>
                <c:pt idx="4175">
                  <c:v>0.52500000000000002</c:v>
                </c:pt>
                <c:pt idx="4176">
                  <c:v>0.623</c:v>
                </c:pt>
                <c:pt idx="4177">
                  <c:v>0.84499999999999997</c:v>
                </c:pt>
                <c:pt idx="4178">
                  <c:v>0.70899999999999996</c:v>
                </c:pt>
                <c:pt idx="4179">
                  <c:v>0.497</c:v>
                </c:pt>
                <c:pt idx="4180">
                  <c:v>0.92600000000000005</c:v>
                </c:pt>
                <c:pt idx="4181">
                  <c:v>0.48599999999999999</c:v>
                </c:pt>
                <c:pt idx="4182">
                  <c:v>0.66</c:v>
                </c:pt>
                <c:pt idx="4183">
                  <c:v>0.7</c:v>
                </c:pt>
                <c:pt idx="4184">
                  <c:v>0.25</c:v>
                </c:pt>
                <c:pt idx="4185">
                  <c:v>0.73799999999999999</c:v>
                </c:pt>
                <c:pt idx="4186">
                  <c:v>0.42399999999999999</c:v>
                </c:pt>
                <c:pt idx="4187">
                  <c:v>0.57699999999999996</c:v>
                </c:pt>
                <c:pt idx="4188">
                  <c:v>0.47699999999999998</c:v>
                </c:pt>
                <c:pt idx="4189">
                  <c:v>0.81399999999999995</c:v>
                </c:pt>
                <c:pt idx="4190">
                  <c:v>0.97</c:v>
                </c:pt>
                <c:pt idx="4191">
                  <c:v>0.94</c:v>
                </c:pt>
                <c:pt idx="4192">
                  <c:v>0.14599999999999999</c:v>
                </c:pt>
                <c:pt idx="4193">
                  <c:v>0.58699999999999997</c:v>
                </c:pt>
                <c:pt idx="4194">
                  <c:v>0.42299999999999999</c:v>
                </c:pt>
                <c:pt idx="4195">
                  <c:v>0.52300000000000002</c:v>
                </c:pt>
                <c:pt idx="4196">
                  <c:v>0.88</c:v>
                </c:pt>
                <c:pt idx="4197">
                  <c:v>0.66500000000000004</c:v>
                </c:pt>
                <c:pt idx="4198">
                  <c:v>0.69599999999999995</c:v>
                </c:pt>
                <c:pt idx="4199">
                  <c:v>0.435</c:v>
                </c:pt>
                <c:pt idx="4200">
                  <c:v>0.52500000000000002</c:v>
                </c:pt>
                <c:pt idx="4201">
                  <c:v>0.35599999999999998</c:v>
                </c:pt>
                <c:pt idx="4202">
                  <c:v>0.58099999999999996</c:v>
                </c:pt>
                <c:pt idx="4203">
                  <c:v>0.39200000000000002</c:v>
                </c:pt>
                <c:pt idx="4204">
                  <c:v>0.80800000000000005</c:v>
                </c:pt>
                <c:pt idx="4205">
                  <c:v>0.60599999999999998</c:v>
                </c:pt>
                <c:pt idx="4206">
                  <c:v>0.89300000000000002</c:v>
                </c:pt>
                <c:pt idx="4207">
                  <c:v>0.54800000000000004</c:v>
                </c:pt>
                <c:pt idx="4208">
                  <c:v>0.65600000000000003</c:v>
                </c:pt>
                <c:pt idx="4209">
                  <c:v>0.47699999999999998</c:v>
                </c:pt>
                <c:pt idx="4210">
                  <c:v>0.79900000000000004</c:v>
                </c:pt>
                <c:pt idx="4211">
                  <c:v>0.45400000000000001</c:v>
                </c:pt>
                <c:pt idx="4212">
                  <c:v>0.85899999999999999</c:v>
                </c:pt>
                <c:pt idx="4213">
                  <c:v>0.66</c:v>
                </c:pt>
                <c:pt idx="4214">
                  <c:v>0.82899999999999996</c:v>
                </c:pt>
                <c:pt idx="4215">
                  <c:v>0.66400000000000003</c:v>
                </c:pt>
                <c:pt idx="4216">
                  <c:v>0.46300000000000002</c:v>
                </c:pt>
                <c:pt idx="4217">
                  <c:v>0.82399999999999995</c:v>
                </c:pt>
                <c:pt idx="4218">
                  <c:v>0.36899999999999999</c:v>
                </c:pt>
                <c:pt idx="4219">
                  <c:v>0.86299999999999999</c:v>
                </c:pt>
                <c:pt idx="4220">
                  <c:v>0.503</c:v>
                </c:pt>
                <c:pt idx="4221">
                  <c:v>0.76200000000000001</c:v>
                </c:pt>
                <c:pt idx="4222">
                  <c:v>0.4</c:v>
                </c:pt>
                <c:pt idx="4223">
                  <c:v>0.26700000000000002</c:v>
                </c:pt>
                <c:pt idx="4224">
                  <c:v>0.89800000000000002</c:v>
                </c:pt>
                <c:pt idx="4225">
                  <c:v>0.85</c:v>
                </c:pt>
                <c:pt idx="4226">
                  <c:v>0.90900000000000003</c:v>
                </c:pt>
                <c:pt idx="4227">
                  <c:v>0.79800000000000004</c:v>
                </c:pt>
                <c:pt idx="4228">
                  <c:v>0.97699999999999998</c:v>
                </c:pt>
                <c:pt idx="4229">
                  <c:v>0.93600000000000005</c:v>
                </c:pt>
                <c:pt idx="4230">
                  <c:v>0.60099999999999998</c:v>
                </c:pt>
                <c:pt idx="4231">
                  <c:v>0.93100000000000005</c:v>
                </c:pt>
                <c:pt idx="4232">
                  <c:v>0.59299999999999997</c:v>
                </c:pt>
                <c:pt idx="4233">
                  <c:v>0.78100000000000003</c:v>
                </c:pt>
                <c:pt idx="4234">
                  <c:v>0.56000000000000005</c:v>
                </c:pt>
                <c:pt idx="4235">
                  <c:v>0.64</c:v>
                </c:pt>
                <c:pt idx="4236">
                  <c:v>0.55000000000000004</c:v>
                </c:pt>
                <c:pt idx="4237">
                  <c:v>0.96799999999999997</c:v>
                </c:pt>
                <c:pt idx="4238">
                  <c:v>0.69699999999999995</c:v>
                </c:pt>
                <c:pt idx="4239">
                  <c:v>0.92700000000000005</c:v>
                </c:pt>
                <c:pt idx="4240">
                  <c:v>0.45800000000000002</c:v>
                </c:pt>
                <c:pt idx="4241">
                  <c:v>0.88100000000000001</c:v>
                </c:pt>
                <c:pt idx="4242">
                  <c:v>0.85499999999999998</c:v>
                </c:pt>
                <c:pt idx="4243">
                  <c:v>0.72899999999999998</c:v>
                </c:pt>
                <c:pt idx="4244">
                  <c:v>0.95799999999999996</c:v>
                </c:pt>
                <c:pt idx="4245">
                  <c:v>0.35899999999999999</c:v>
                </c:pt>
                <c:pt idx="4246">
                  <c:v>0.45500000000000002</c:v>
                </c:pt>
                <c:pt idx="4247">
                  <c:v>0.161</c:v>
                </c:pt>
                <c:pt idx="4248">
                  <c:v>0.16600000000000001</c:v>
                </c:pt>
                <c:pt idx="4249">
                  <c:v>0.433</c:v>
                </c:pt>
                <c:pt idx="4250">
                  <c:v>0.58699999999999997</c:v>
                </c:pt>
                <c:pt idx="4251">
                  <c:v>0.67700000000000005</c:v>
                </c:pt>
                <c:pt idx="4252">
                  <c:v>0.73899999999999999</c:v>
                </c:pt>
                <c:pt idx="4253">
                  <c:v>0.745</c:v>
                </c:pt>
                <c:pt idx="4254">
                  <c:v>0.89900000000000002</c:v>
                </c:pt>
                <c:pt idx="4255">
                  <c:v>0.47799999999999998</c:v>
                </c:pt>
                <c:pt idx="4256">
                  <c:v>0.47399999999999998</c:v>
                </c:pt>
                <c:pt idx="4257">
                  <c:v>0.64900000000000002</c:v>
                </c:pt>
                <c:pt idx="4258">
                  <c:v>0.89100000000000001</c:v>
                </c:pt>
                <c:pt idx="4259">
                  <c:v>0.67700000000000005</c:v>
                </c:pt>
                <c:pt idx="4260">
                  <c:v>0.59199999999999997</c:v>
                </c:pt>
                <c:pt idx="4261">
                  <c:v>0.67400000000000004</c:v>
                </c:pt>
                <c:pt idx="4262">
                  <c:v>0.92</c:v>
                </c:pt>
                <c:pt idx="4263">
                  <c:v>0.746</c:v>
                </c:pt>
                <c:pt idx="4264">
                  <c:v>0.25</c:v>
                </c:pt>
                <c:pt idx="4265">
                  <c:v>0.60599999999999998</c:v>
                </c:pt>
                <c:pt idx="4266">
                  <c:v>0.69599999999999995</c:v>
                </c:pt>
                <c:pt idx="4267">
                  <c:v>0.95899999999999996</c:v>
                </c:pt>
                <c:pt idx="4268">
                  <c:v>0.42899999999999999</c:v>
                </c:pt>
                <c:pt idx="4269">
                  <c:v>0.78300000000000003</c:v>
                </c:pt>
                <c:pt idx="4270">
                  <c:v>0.44500000000000001</c:v>
                </c:pt>
                <c:pt idx="4271">
                  <c:v>0.51700000000000002</c:v>
                </c:pt>
                <c:pt idx="4272">
                  <c:v>0.35599999999999998</c:v>
                </c:pt>
                <c:pt idx="4273">
                  <c:v>0.66700000000000004</c:v>
                </c:pt>
                <c:pt idx="4274">
                  <c:v>0.96599999999999997</c:v>
                </c:pt>
                <c:pt idx="4275">
                  <c:v>0.86799999999999999</c:v>
                </c:pt>
                <c:pt idx="4276">
                  <c:v>0.91300000000000003</c:v>
                </c:pt>
                <c:pt idx="4277">
                  <c:v>0.50900000000000001</c:v>
                </c:pt>
                <c:pt idx="4278">
                  <c:v>0.79100000000000004</c:v>
                </c:pt>
                <c:pt idx="4279">
                  <c:v>0.57899999999999996</c:v>
                </c:pt>
                <c:pt idx="4280">
                  <c:v>0.39200000000000002</c:v>
                </c:pt>
                <c:pt idx="4281">
                  <c:v>0.51200000000000001</c:v>
                </c:pt>
                <c:pt idx="4282">
                  <c:v>0.32600000000000001</c:v>
                </c:pt>
                <c:pt idx="4283">
                  <c:v>0.495</c:v>
                </c:pt>
                <c:pt idx="4284">
                  <c:v>0.746</c:v>
                </c:pt>
                <c:pt idx="4285">
                  <c:v>0.69499999999999995</c:v>
                </c:pt>
                <c:pt idx="4286">
                  <c:v>8.8999999999999996E-2</c:v>
                </c:pt>
                <c:pt idx="4287">
                  <c:v>0.32300000000000001</c:v>
                </c:pt>
                <c:pt idx="4288">
                  <c:v>0.36699999999999999</c:v>
                </c:pt>
                <c:pt idx="4289">
                  <c:v>0.82299999999999995</c:v>
                </c:pt>
                <c:pt idx="4290">
                  <c:v>0.80900000000000005</c:v>
                </c:pt>
                <c:pt idx="4291">
                  <c:v>0.97599999999999998</c:v>
                </c:pt>
                <c:pt idx="4292">
                  <c:v>0.41</c:v>
                </c:pt>
                <c:pt idx="4293">
                  <c:v>0.84299999999999997</c:v>
                </c:pt>
                <c:pt idx="4294">
                  <c:v>0.65</c:v>
                </c:pt>
                <c:pt idx="4295">
                  <c:v>0.246</c:v>
                </c:pt>
                <c:pt idx="4296">
                  <c:v>0.25800000000000001</c:v>
                </c:pt>
                <c:pt idx="4297">
                  <c:v>0.42599999999999999</c:v>
                </c:pt>
                <c:pt idx="4298">
                  <c:v>0.65500000000000003</c:v>
                </c:pt>
                <c:pt idx="4299">
                  <c:v>0.109</c:v>
                </c:pt>
                <c:pt idx="4300">
                  <c:v>0.48899999999999999</c:v>
                </c:pt>
                <c:pt idx="4301">
                  <c:v>0.69899999999999995</c:v>
                </c:pt>
                <c:pt idx="4302">
                  <c:v>0.56799999999999995</c:v>
                </c:pt>
                <c:pt idx="4303">
                  <c:v>0.307</c:v>
                </c:pt>
                <c:pt idx="4304">
                  <c:v>0.64400000000000002</c:v>
                </c:pt>
                <c:pt idx="4305">
                  <c:v>0.93100000000000005</c:v>
                </c:pt>
                <c:pt idx="4306">
                  <c:v>0.81799999999999995</c:v>
                </c:pt>
                <c:pt idx="4307">
                  <c:v>0.60099999999999998</c:v>
                </c:pt>
                <c:pt idx="4308">
                  <c:v>0.23100000000000001</c:v>
                </c:pt>
                <c:pt idx="4309">
                  <c:v>0.71899999999999997</c:v>
                </c:pt>
                <c:pt idx="4310">
                  <c:v>0.68100000000000005</c:v>
                </c:pt>
                <c:pt idx="4311">
                  <c:v>0.76200000000000001</c:v>
                </c:pt>
                <c:pt idx="4312">
                  <c:v>0.80700000000000005</c:v>
                </c:pt>
                <c:pt idx="4313">
                  <c:v>0.56799999999999995</c:v>
                </c:pt>
                <c:pt idx="4314">
                  <c:v>0.752</c:v>
                </c:pt>
                <c:pt idx="4315">
                  <c:v>0.52500000000000002</c:v>
                </c:pt>
                <c:pt idx="4316">
                  <c:v>0.71</c:v>
                </c:pt>
                <c:pt idx="4317">
                  <c:v>0.72799999999999998</c:v>
                </c:pt>
                <c:pt idx="4318">
                  <c:v>0.42299999999999999</c:v>
                </c:pt>
                <c:pt idx="4319">
                  <c:v>0.90500000000000003</c:v>
                </c:pt>
                <c:pt idx="4320">
                  <c:v>0.52700000000000002</c:v>
                </c:pt>
                <c:pt idx="4321">
                  <c:v>9.1999999999999998E-2</c:v>
                </c:pt>
                <c:pt idx="4322">
                  <c:v>0.58899999999999997</c:v>
                </c:pt>
                <c:pt idx="4323">
                  <c:v>0.93600000000000005</c:v>
                </c:pt>
                <c:pt idx="4324">
                  <c:v>0.61499999999999999</c:v>
                </c:pt>
                <c:pt idx="4325">
                  <c:v>0.32200000000000001</c:v>
                </c:pt>
                <c:pt idx="4326">
                  <c:v>0.73</c:v>
                </c:pt>
                <c:pt idx="4327">
                  <c:v>6.0999999999999999E-2</c:v>
                </c:pt>
                <c:pt idx="4328">
                  <c:v>0.35</c:v>
                </c:pt>
                <c:pt idx="4329">
                  <c:v>0.71299999999999997</c:v>
                </c:pt>
                <c:pt idx="4330">
                  <c:v>0.64800000000000002</c:v>
                </c:pt>
                <c:pt idx="4331">
                  <c:v>0.58399999999999996</c:v>
                </c:pt>
                <c:pt idx="4332">
                  <c:v>0.69799999999999995</c:v>
                </c:pt>
                <c:pt idx="4333">
                  <c:v>0.90800000000000003</c:v>
                </c:pt>
                <c:pt idx="4334">
                  <c:v>0.22800000000000001</c:v>
                </c:pt>
                <c:pt idx="4335">
                  <c:v>0.97699999999999998</c:v>
                </c:pt>
                <c:pt idx="4336">
                  <c:v>0.96599999999999997</c:v>
                </c:pt>
                <c:pt idx="4337">
                  <c:v>0.75900000000000001</c:v>
                </c:pt>
                <c:pt idx="4338">
                  <c:v>0.86799999999999999</c:v>
                </c:pt>
                <c:pt idx="4339">
                  <c:v>0.73099999999999998</c:v>
                </c:pt>
                <c:pt idx="4340">
                  <c:v>0.42</c:v>
                </c:pt>
                <c:pt idx="4341">
                  <c:v>0.43</c:v>
                </c:pt>
                <c:pt idx="4342">
                  <c:v>0.432</c:v>
                </c:pt>
                <c:pt idx="4343">
                  <c:v>0.63400000000000001</c:v>
                </c:pt>
                <c:pt idx="4344">
                  <c:v>0.53300000000000003</c:v>
                </c:pt>
                <c:pt idx="4345">
                  <c:v>0.34599999999999997</c:v>
                </c:pt>
                <c:pt idx="4346">
                  <c:v>0.51900000000000002</c:v>
                </c:pt>
                <c:pt idx="4347">
                  <c:v>0.375</c:v>
                </c:pt>
                <c:pt idx="4348">
                  <c:v>0.76</c:v>
                </c:pt>
                <c:pt idx="4349">
                  <c:v>0.44800000000000001</c:v>
                </c:pt>
                <c:pt idx="4350">
                  <c:v>0.90900000000000003</c:v>
                </c:pt>
                <c:pt idx="4351">
                  <c:v>0.503</c:v>
                </c:pt>
                <c:pt idx="4352">
                  <c:v>0.40100000000000002</c:v>
                </c:pt>
                <c:pt idx="4353">
                  <c:v>0.41499999999999998</c:v>
                </c:pt>
                <c:pt idx="4354">
                  <c:v>0.53300000000000003</c:v>
                </c:pt>
                <c:pt idx="4355">
                  <c:v>1</c:v>
                </c:pt>
                <c:pt idx="4356">
                  <c:v>0.50900000000000001</c:v>
                </c:pt>
                <c:pt idx="4357">
                  <c:v>0.64</c:v>
                </c:pt>
                <c:pt idx="4358">
                  <c:v>0.67400000000000004</c:v>
                </c:pt>
                <c:pt idx="4359">
                  <c:v>0.871</c:v>
                </c:pt>
                <c:pt idx="4360">
                  <c:v>0.36</c:v>
                </c:pt>
                <c:pt idx="4361">
                  <c:v>0.24399999999999999</c:v>
                </c:pt>
                <c:pt idx="4362">
                  <c:v>0.54400000000000004</c:v>
                </c:pt>
                <c:pt idx="4363">
                  <c:v>0.49</c:v>
                </c:pt>
                <c:pt idx="4364">
                  <c:v>0.57399999999999995</c:v>
                </c:pt>
                <c:pt idx="4365">
                  <c:v>0.42499999999999999</c:v>
                </c:pt>
                <c:pt idx="4366">
                  <c:v>0.61099999999999999</c:v>
                </c:pt>
                <c:pt idx="4367">
                  <c:v>0.76500000000000001</c:v>
                </c:pt>
                <c:pt idx="4368">
                  <c:v>0.94</c:v>
                </c:pt>
                <c:pt idx="4369">
                  <c:v>0.44900000000000001</c:v>
                </c:pt>
                <c:pt idx="4370">
                  <c:v>0.48099999999999998</c:v>
                </c:pt>
                <c:pt idx="4371">
                  <c:v>0.161</c:v>
                </c:pt>
                <c:pt idx="4372">
                  <c:v>0.65100000000000002</c:v>
                </c:pt>
                <c:pt idx="4373">
                  <c:v>0.94299999999999995</c:v>
                </c:pt>
                <c:pt idx="4374">
                  <c:v>0.11799999999999999</c:v>
                </c:pt>
                <c:pt idx="4375">
                  <c:v>0.45400000000000001</c:v>
                </c:pt>
                <c:pt idx="4376">
                  <c:v>0.872</c:v>
                </c:pt>
                <c:pt idx="4377">
                  <c:v>0.90800000000000003</c:v>
                </c:pt>
                <c:pt idx="4378">
                  <c:v>5.0999999999999997E-2</c:v>
                </c:pt>
                <c:pt idx="4379">
                  <c:v>0.191</c:v>
                </c:pt>
                <c:pt idx="4380">
                  <c:v>0.26700000000000002</c:v>
                </c:pt>
                <c:pt idx="4381">
                  <c:v>0.51</c:v>
                </c:pt>
                <c:pt idx="4382">
                  <c:v>0.57399999999999995</c:v>
                </c:pt>
                <c:pt idx="4383">
                  <c:v>0.47399999999999998</c:v>
                </c:pt>
                <c:pt idx="4384">
                  <c:v>0.61899999999999999</c:v>
                </c:pt>
                <c:pt idx="4385">
                  <c:v>0.42899999999999999</c:v>
                </c:pt>
                <c:pt idx="4386">
                  <c:v>0.64500000000000002</c:v>
                </c:pt>
                <c:pt idx="4387">
                  <c:v>0.52600000000000002</c:v>
                </c:pt>
                <c:pt idx="4388">
                  <c:v>0.77900000000000003</c:v>
                </c:pt>
                <c:pt idx="4389">
                  <c:v>0.82</c:v>
                </c:pt>
                <c:pt idx="4390">
                  <c:v>0.57399999999999995</c:v>
                </c:pt>
                <c:pt idx="4391">
                  <c:v>0.73099999999999998</c:v>
                </c:pt>
                <c:pt idx="4392">
                  <c:v>0.85099999999999998</c:v>
                </c:pt>
                <c:pt idx="4393">
                  <c:v>0.52700000000000002</c:v>
                </c:pt>
                <c:pt idx="4394">
                  <c:v>0.375</c:v>
                </c:pt>
                <c:pt idx="4395">
                  <c:v>0.495</c:v>
                </c:pt>
                <c:pt idx="4396">
                  <c:v>0.56399999999999995</c:v>
                </c:pt>
                <c:pt idx="4397">
                  <c:v>0.26100000000000001</c:v>
                </c:pt>
                <c:pt idx="4398">
                  <c:v>0.29499999999999998</c:v>
                </c:pt>
                <c:pt idx="4399">
                  <c:v>0.42299999999999999</c:v>
                </c:pt>
                <c:pt idx="4400">
                  <c:v>0.54400000000000004</c:v>
                </c:pt>
                <c:pt idx="4401">
                  <c:v>0.16900000000000001</c:v>
                </c:pt>
                <c:pt idx="4402">
                  <c:v>0.65800000000000003</c:v>
                </c:pt>
                <c:pt idx="4403">
                  <c:v>0.47899999999999998</c:v>
                </c:pt>
                <c:pt idx="4404">
                  <c:v>1</c:v>
                </c:pt>
                <c:pt idx="4405">
                  <c:v>0.40799999999999997</c:v>
                </c:pt>
                <c:pt idx="4406">
                  <c:v>0.79500000000000004</c:v>
                </c:pt>
                <c:pt idx="4407">
                  <c:v>0.13300000000000001</c:v>
                </c:pt>
                <c:pt idx="4408">
                  <c:v>0.47299999999999998</c:v>
                </c:pt>
                <c:pt idx="4409">
                  <c:v>0.60599999999999998</c:v>
                </c:pt>
                <c:pt idx="4410">
                  <c:v>0.86099999999999999</c:v>
                </c:pt>
                <c:pt idx="4411">
                  <c:v>0.53100000000000003</c:v>
                </c:pt>
                <c:pt idx="4412">
                  <c:v>0.39300000000000002</c:v>
                </c:pt>
                <c:pt idx="4413">
                  <c:v>0.80300000000000005</c:v>
                </c:pt>
                <c:pt idx="4414">
                  <c:v>0.995</c:v>
                </c:pt>
                <c:pt idx="4415">
                  <c:v>0.39600000000000002</c:v>
                </c:pt>
                <c:pt idx="4416">
                  <c:v>0.47699999999999998</c:v>
                </c:pt>
                <c:pt idx="4417">
                  <c:v>0.91400000000000003</c:v>
                </c:pt>
                <c:pt idx="4418">
                  <c:v>0.41099999999999998</c:v>
                </c:pt>
                <c:pt idx="4419">
                  <c:v>0.46100000000000002</c:v>
                </c:pt>
                <c:pt idx="4420">
                  <c:v>0.623</c:v>
                </c:pt>
                <c:pt idx="4421">
                  <c:v>0.753</c:v>
                </c:pt>
                <c:pt idx="4422">
                  <c:v>0.97499999999999998</c:v>
                </c:pt>
                <c:pt idx="4423">
                  <c:v>0.58299999999999996</c:v>
                </c:pt>
                <c:pt idx="4424">
                  <c:v>0.82599999999999996</c:v>
                </c:pt>
                <c:pt idx="4425">
                  <c:v>0.52300000000000002</c:v>
                </c:pt>
                <c:pt idx="4426">
                  <c:v>0.441</c:v>
                </c:pt>
                <c:pt idx="4427">
                  <c:v>0.78200000000000003</c:v>
                </c:pt>
                <c:pt idx="4428">
                  <c:v>0.58199999999999996</c:v>
                </c:pt>
                <c:pt idx="4429">
                  <c:v>0.24299999999999999</c:v>
                </c:pt>
                <c:pt idx="4430">
                  <c:v>0.36199999999999999</c:v>
                </c:pt>
                <c:pt idx="4431">
                  <c:v>0.67800000000000005</c:v>
                </c:pt>
                <c:pt idx="4432">
                  <c:v>0.68200000000000005</c:v>
                </c:pt>
                <c:pt idx="4433">
                  <c:v>0.68899999999999995</c:v>
                </c:pt>
                <c:pt idx="4434">
                  <c:v>0.34899999999999998</c:v>
                </c:pt>
                <c:pt idx="4435">
                  <c:v>0.66500000000000004</c:v>
                </c:pt>
                <c:pt idx="4436">
                  <c:v>0.27400000000000002</c:v>
                </c:pt>
                <c:pt idx="4437">
                  <c:v>0.86599999999999999</c:v>
                </c:pt>
                <c:pt idx="4438">
                  <c:v>0.44700000000000001</c:v>
                </c:pt>
                <c:pt idx="4439">
                  <c:v>0.72499999999999998</c:v>
                </c:pt>
                <c:pt idx="4440">
                  <c:v>0.90700000000000003</c:v>
                </c:pt>
                <c:pt idx="4441">
                  <c:v>0.81200000000000006</c:v>
                </c:pt>
                <c:pt idx="4442">
                  <c:v>0.82399999999999995</c:v>
                </c:pt>
                <c:pt idx="4443">
                  <c:v>0.78</c:v>
                </c:pt>
                <c:pt idx="4444">
                  <c:v>0.88800000000000001</c:v>
                </c:pt>
                <c:pt idx="4445">
                  <c:v>0.98</c:v>
                </c:pt>
                <c:pt idx="4446">
                  <c:v>0.41799999999999998</c:v>
                </c:pt>
                <c:pt idx="4447">
                  <c:v>0.72899999999999998</c:v>
                </c:pt>
                <c:pt idx="4448">
                  <c:v>0.41699999999999998</c:v>
                </c:pt>
                <c:pt idx="4449">
                  <c:v>0.82399999999999995</c:v>
                </c:pt>
                <c:pt idx="4450">
                  <c:v>0.39</c:v>
                </c:pt>
                <c:pt idx="4451">
                  <c:v>0.53700000000000003</c:v>
                </c:pt>
                <c:pt idx="4452">
                  <c:v>0.94599999999999995</c:v>
                </c:pt>
                <c:pt idx="4453">
                  <c:v>0.88200000000000001</c:v>
                </c:pt>
                <c:pt idx="4454">
                  <c:v>0.311</c:v>
                </c:pt>
                <c:pt idx="4455">
                  <c:v>0.60899999999999999</c:v>
                </c:pt>
                <c:pt idx="4456">
                  <c:v>0.82099999999999995</c:v>
                </c:pt>
                <c:pt idx="4457">
                  <c:v>0.84199999999999997</c:v>
                </c:pt>
                <c:pt idx="4458">
                  <c:v>0.503</c:v>
                </c:pt>
                <c:pt idx="4459">
                  <c:v>0.80700000000000005</c:v>
                </c:pt>
                <c:pt idx="4460">
                  <c:v>0.36499999999999999</c:v>
                </c:pt>
                <c:pt idx="4461">
                  <c:v>7.2999999999999995E-2</c:v>
                </c:pt>
                <c:pt idx="4462">
                  <c:v>0.5</c:v>
                </c:pt>
                <c:pt idx="4463">
                  <c:v>0.89900000000000002</c:v>
                </c:pt>
                <c:pt idx="4464">
                  <c:v>0.76100000000000001</c:v>
                </c:pt>
                <c:pt idx="4465">
                  <c:v>0.85499999999999998</c:v>
                </c:pt>
                <c:pt idx="4466">
                  <c:v>0.16800000000000001</c:v>
                </c:pt>
                <c:pt idx="4467">
                  <c:v>0.61299999999999999</c:v>
                </c:pt>
                <c:pt idx="4468">
                  <c:v>0.36299999999999999</c:v>
                </c:pt>
                <c:pt idx="4469">
                  <c:v>0.92800000000000005</c:v>
                </c:pt>
                <c:pt idx="4470">
                  <c:v>0.45200000000000001</c:v>
                </c:pt>
                <c:pt idx="4471">
                  <c:v>0.86</c:v>
                </c:pt>
                <c:pt idx="4472">
                  <c:v>0.46700000000000003</c:v>
                </c:pt>
                <c:pt idx="4473">
                  <c:v>0.90100000000000002</c:v>
                </c:pt>
                <c:pt idx="4474">
                  <c:v>0.97399999999999998</c:v>
                </c:pt>
                <c:pt idx="4475">
                  <c:v>0.66500000000000004</c:v>
                </c:pt>
                <c:pt idx="4476">
                  <c:v>0.83</c:v>
                </c:pt>
                <c:pt idx="4477">
                  <c:v>0.57599999999999996</c:v>
                </c:pt>
                <c:pt idx="4478">
                  <c:v>0.55800000000000005</c:v>
                </c:pt>
                <c:pt idx="4479">
                  <c:v>0.86099999999999999</c:v>
                </c:pt>
                <c:pt idx="4480">
                  <c:v>0.78100000000000003</c:v>
                </c:pt>
                <c:pt idx="4481">
                  <c:v>0.94199999999999995</c:v>
                </c:pt>
                <c:pt idx="4482">
                  <c:v>0.65200000000000002</c:v>
                </c:pt>
                <c:pt idx="4483">
                  <c:v>0.58399999999999996</c:v>
                </c:pt>
                <c:pt idx="4484">
                  <c:v>0.24299999999999999</c:v>
                </c:pt>
                <c:pt idx="4485">
                  <c:v>0.46</c:v>
                </c:pt>
                <c:pt idx="4486">
                  <c:v>0.72399999999999998</c:v>
                </c:pt>
                <c:pt idx="4487">
                  <c:v>0.90200000000000002</c:v>
                </c:pt>
                <c:pt idx="4488">
                  <c:v>0.95099999999999996</c:v>
                </c:pt>
                <c:pt idx="4489">
                  <c:v>0.40699999999999997</c:v>
                </c:pt>
                <c:pt idx="4490">
                  <c:v>0.91900000000000004</c:v>
                </c:pt>
                <c:pt idx="4491">
                  <c:v>0.318</c:v>
                </c:pt>
                <c:pt idx="4492">
                  <c:v>0.22</c:v>
                </c:pt>
                <c:pt idx="4493">
                  <c:v>0.57299999999999995</c:v>
                </c:pt>
                <c:pt idx="4494">
                  <c:v>0.12</c:v>
                </c:pt>
                <c:pt idx="4495">
                  <c:v>0.31900000000000001</c:v>
                </c:pt>
                <c:pt idx="4496">
                  <c:v>0.42699999999999999</c:v>
                </c:pt>
                <c:pt idx="4497">
                  <c:v>0.58799999999999997</c:v>
                </c:pt>
                <c:pt idx="4498">
                  <c:v>0.85499999999999998</c:v>
                </c:pt>
                <c:pt idx="4499">
                  <c:v>0.46899999999999997</c:v>
                </c:pt>
                <c:pt idx="4500">
                  <c:v>0.91300000000000003</c:v>
                </c:pt>
                <c:pt idx="4501">
                  <c:v>0.41399999999999998</c:v>
                </c:pt>
                <c:pt idx="4502">
                  <c:v>0.91900000000000004</c:v>
                </c:pt>
                <c:pt idx="4503">
                  <c:v>0.63100000000000001</c:v>
                </c:pt>
                <c:pt idx="4504">
                  <c:v>0.32700000000000001</c:v>
                </c:pt>
                <c:pt idx="4505">
                  <c:v>0.379</c:v>
                </c:pt>
                <c:pt idx="4506">
                  <c:v>0.95699999999999996</c:v>
                </c:pt>
                <c:pt idx="4507">
                  <c:v>0.45</c:v>
                </c:pt>
                <c:pt idx="4508">
                  <c:v>0.57099999999999995</c:v>
                </c:pt>
                <c:pt idx="4509">
                  <c:v>0.434</c:v>
                </c:pt>
                <c:pt idx="4510">
                  <c:v>0.59299999999999997</c:v>
                </c:pt>
                <c:pt idx="4511">
                  <c:v>0.23100000000000001</c:v>
                </c:pt>
                <c:pt idx="4512">
                  <c:v>6.9000000000000006E-2</c:v>
                </c:pt>
                <c:pt idx="4513">
                  <c:v>0.50700000000000001</c:v>
                </c:pt>
                <c:pt idx="4514">
                  <c:v>0.65900000000000003</c:v>
                </c:pt>
                <c:pt idx="4515">
                  <c:v>0.52</c:v>
                </c:pt>
                <c:pt idx="4516">
                  <c:v>0.52900000000000003</c:v>
                </c:pt>
                <c:pt idx="4517">
                  <c:v>0.26700000000000002</c:v>
                </c:pt>
                <c:pt idx="4518">
                  <c:v>0.67500000000000004</c:v>
                </c:pt>
                <c:pt idx="4519">
                  <c:v>0.59599999999999997</c:v>
                </c:pt>
                <c:pt idx="4520">
                  <c:v>0.94</c:v>
                </c:pt>
                <c:pt idx="4521">
                  <c:v>0.68300000000000005</c:v>
                </c:pt>
                <c:pt idx="4522">
                  <c:v>0.79500000000000004</c:v>
                </c:pt>
                <c:pt idx="4523">
                  <c:v>0.626</c:v>
                </c:pt>
                <c:pt idx="4524">
                  <c:v>0.312</c:v>
                </c:pt>
                <c:pt idx="4525">
                  <c:v>0.92300000000000004</c:v>
                </c:pt>
                <c:pt idx="4526">
                  <c:v>0.48</c:v>
                </c:pt>
                <c:pt idx="4527">
                  <c:v>0.70099999999999996</c:v>
                </c:pt>
                <c:pt idx="4528">
                  <c:v>0.53900000000000003</c:v>
                </c:pt>
                <c:pt idx="4529">
                  <c:v>0.79600000000000004</c:v>
                </c:pt>
                <c:pt idx="4530">
                  <c:v>0.30199999999999999</c:v>
                </c:pt>
                <c:pt idx="4531">
                  <c:v>0.51700000000000002</c:v>
                </c:pt>
                <c:pt idx="4532">
                  <c:v>0.71599999999999997</c:v>
                </c:pt>
                <c:pt idx="4533">
                  <c:v>0.78</c:v>
                </c:pt>
                <c:pt idx="4534">
                  <c:v>0.96399999999999997</c:v>
                </c:pt>
                <c:pt idx="4535">
                  <c:v>0.45500000000000002</c:v>
                </c:pt>
                <c:pt idx="4536">
                  <c:v>0.59299999999999997</c:v>
                </c:pt>
                <c:pt idx="4537">
                  <c:v>0.76200000000000001</c:v>
                </c:pt>
                <c:pt idx="4538">
                  <c:v>0.51900000000000002</c:v>
                </c:pt>
                <c:pt idx="4539">
                  <c:v>0.68300000000000005</c:v>
                </c:pt>
                <c:pt idx="4540">
                  <c:v>0.80300000000000005</c:v>
                </c:pt>
                <c:pt idx="4541">
                  <c:v>0.84499999999999997</c:v>
                </c:pt>
                <c:pt idx="4542">
                  <c:v>0.91800000000000004</c:v>
                </c:pt>
                <c:pt idx="4543">
                  <c:v>0.82399999999999995</c:v>
                </c:pt>
                <c:pt idx="4544">
                  <c:v>0.30199999999999999</c:v>
                </c:pt>
                <c:pt idx="4545">
                  <c:v>0.64100000000000001</c:v>
                </c:pt>
                <c:pt idx="4546">
                  <c:v>0.46899999999999997</c:v>
                </c:pt>
                <c:pt idx="4547">
                  <c:v>0.89900000000000002</c:v>
                </c:pt>
                <c:pt idx="4548">
                  <c:v>0.66800000000000004</c:v>
                </c:pt>
                <c:pt idx="4549">
                  <c:v>0.4</c:v>
                </c:pt>
                <c:pt idx="4550">
                  <c:v>0.73499999999999999</c:v>
                </c:pt>
                <c:pt idx="4551">
                  <c:v>0.55900000000000005</c:v>
                </c:pt>
                <c:pt idx="4552">
                  <c:v>0.998</c:v>
                </c:pt>
                <c:pt idx="4553">
                  <c:v>0.98399999999999999</c:v>
                </c:pt>
                <c:pt idx="4554">
                  <c:v>0.436</c:v>
                </c:pt>
                <c:pt idx="4555">
                  <c:v>0.76</c:v>
                </c:pt>
                <c:pt idx="4556">
                  <c:v>0.54500000000000004</c:v>
                </c:pt>
                <c:pt idx="4557">
                  <c:v>0.69799999999999995</c:v>
                </c:pt>
                <c:pt idx="4558">
                  <c:v>0.437</c:v>
                </c:pt>
                <c:pt idx="4559">
                  <c:v>0.41299999999999998</c:v>
                </c:pt>
                <c:pt idx="4560">
                  <c:v>0.35199999999999998</c:v>
                </c:pt>
                <c:pt idx="4561">
                  <c:v>0.77500000000000002</c:v>
                </c:pt>
                <c:pt idx="4562">
                  <c:v>0.41599999999999998</c:v>
                </c:pt>
                <c:pt idx="4563">
                  <c:v>0.47</c:v>
                </c:pt>
                <c:pt idx="4564">
                  <c:v>0.34300000000000003</c:v>
                </c:pt>
                <c:pt idx="4565">
                  <c:v>0.40899999999999997</c:v>
                </c:pt>
                <c:pt idx="4566">
                  <c:v>0.80400000000000005</c:v>
                </c:pt>
                <c:pt idx="4567">
                  <c:v>0.66800000000000004</c:v>
                </c:pt>
                <c:pt idx="4568">
                  <c:v>0.63900000000000001</c:v>
                </c:pt>
                <c:pt idx="4569">
                  <c:v>0.85899999999999999</c:v>
                </c:pt>
                <c:pt idx="4570">
                  <c:v>0.249</c:v>
                </c:pt>
                <c:pt idx="4571">
                  <c:v>0.47899999999999998</c:v>
                </c:pt>
                <c:pt idx="4572">
                  <c:v>0.74299999999999999</c:v>
                </c:pt>
                <c:pt idx="4573">
                  <c:v>0.74399999999999999</c:v>
                </c:pt>
                <c:pt idx="4574">
                  <c:v>0.96</c:v>
                </c:pt>
                <c:pt idx="4575">
                  <c:v>0.14899999999999999</c:v>
                </c:pt>
                <c:pt idx="4576">
                  <c:v>0.93100000000000005</c:v>
                </c:pt>
                <c:pt idx="4577">
                  <c:v>0.52800000000000002</c:v>
                </c:pt>
                <c:pt idx="4578">
                  <c:v>0.60799999999999998</c:v>
                </c:pt>
                <c:pt idx="4579">
                  <c:v>0.36199999999999999</c:v>
                </c:pt>
                <c:pt idx="4580">
                  <c:v>0.71399999999999997</c:v>
                </c:pt>
                <c:pt idx="4581">
                  <c:v>0.76400000000000001</c:v>
                </c:pt>
                <c:pt idx="4582">
                  <c:v>0.34499999999999997</c:v>
                </c:pt>
                <c:pt idx="4583">
                  <c:v>0.42899999999999999</c:v>
                </c:pt>
                <c:pt idx="4584">
                  <c:v>0.91</c:v>
                </c:pt>
                <c:pt idx="4585">
                  <c:v>0.70099999999999996</c:v>
                </c:pt>
                <c:pt idx="4586">
                  <c:v>0.879</c:v>
                </c:pt>
                <c:pt idx="4587">
                  <c:v>0.499</c:v>
                </c:pt>
                <c:pt idx="4588">
                  <c:v>5.0999999999999997E-2</c:v>
                </c:pt>
                <c:pt idx="4589">
                  <c:v>0.191</c:v>
                </c:pt>
                <c:pt idx="4590">
                  <c:v>0.28599999999999998</c:v>
                </c:pt>
                <c:pt idx="4591">
                  <c:v>0.375</c:v>
                </c:pt>
                <c:pt idx="4592">
                  <c:v>0.443</c:v>
                </c:pt>
                <c:pt idx="4593">
                  <c:v>0.48799999999999999</c:v>
                </c:pt>
                <c:pt idx="4594">
                  <c:v>0.48799999999999999</c:v>
                </c:pt>
                <c:pt idx="4595">
                  <c:v>0.52600000000000002</c:v>
                </c:pt>
                <c:pt idx="4596">
                  <c:v>0.52900000000000003</c:v>
                </c:pt>
                <c:pt idx="4597">
                  <c:v>0.55600000000000005</c:v>
                </c:pt>
                <c:pt idx="4598">
                  <c:v>0.65600000000000003</c:v>
                </c:pt>
                <c:pt idx="4599">
                  <c:v>0.66</c:v>
                </c:pt>
                <c:pt idx="4600">
                  <c:v>0.93400000000000005</c:v>
                </c:pt>
                <c:pt idx="4601">
                  <c:v>0.95199999999999996</c:v>
                </c:pt>
                <c:pt idx="4602">
                  <c:v>0.752</c:v>
                </c:pt>
                <c:pt idx="4603">
                  <c:v>0.91900000000000004</c:v>
                </c:pt>
                <c:pt idx="4604">
                  <c:v>0.91100000000000003</c:v>
                </c:pt>
                <c:pt idx="4605">
                  <c:v>0.84699999999999998</c:v>
                </c:pt>
                <c:pt idx="4606">
                  <c:v>0.751</c:v>
                </c:pt>
                <c:pt idx="4607">
                  <c:v>0.65700000000000003</c:v>
                </c:pt>
                <c:pt idx="4608">
                  <c:v>0.56200000000000006</c:v>
                </c:pt>
                <c:pt idx="4609">
                  <c:v>0.66400000000000003</c:v>
                </c:pt>
                <c:pt idx="4610">
                  <c:v>0.25700000000000001</c:v>
                </c:pt>
                <c:pt idx="4611">
                  <c:v>0.88300000000000001</c:v>
                </c:pt>
                <c:pt idx="4612">
                  <c:v>0.89600000000000002</c:v>
                </c:pt>
                <c:pt idx="4613">
                  <c:v>0.82699999999999996</c:v>
                </c:pt>
                <c:pt idx="4614">
                  <c:v>0.54300000000000004</c:v>
                </c:pt>
                <c:pt idx="4615">
                  <c:v>0.61</c:v>
                </c:pt>
                <c:pt idx="4616">
                  <c:v>0.67400000000000004</c:v>
                </c:pt>
                <c:pt idx="4617">
                  <c:v>0.38900000000000001</c:v>
                </c:pt>
                <c:pt idx="4618">
                  <c:v>0.748</c:v>
                </c:pt>
                <c:pt idx="4619">
                  <c:v>0.89600000000000002</c:v>
                </c:pt>
                <c:pt idx="4620">
                  <c:v>0.498</c:v>
                </c:pt>
                <c:pt idx="4621">
                  <c:v>0.49199999999999999</c:v>
                </c:pt>
                <c:pt idx="4622">
                  <c:v>0.28599999999999998</c:v>
                </c:pt>
                <c:pt idx="4623">
                  <c:v>0.91700000000000004</c:v>
                </c:pt>
                <c:pt idx="4624">
                  <c:v>0.87</c:v>
                </c:pt>
                <c:pt idx="4625">
                  <c:v>0.53400000000000003</c:v>
                </c:pt>
                <c:pt idx="4626">
                  <c:v>0.23300000000000001</c:v>
                </c:pt>
                <c:pt idx="4627">
                  <c:v>0.7</c:v>
                </c:pt>
                <c:pt idx="4628">
                  <c:v>0.87</c:v>
                </c:pt>
                <c:pt idx="4629">
                  <c:v>0.66500000000000004</c:v>
                </c:pt>
                <c:pt idx="4630">
                  <c:v>0.42499999999999999</c:v>
                </c:pt>
                <c:pt idx="4631">
                  <c:v>0.84099999999999997</c:v>
                </c:pt>
                <c:pt idx="4632">
                  <c:v>0.65600000000000003</c:v>
                </c:pt>
                <c:pt idx="4633">
                  <c:v>0.76900000000000002</c:v>
                </c:pt>
                <c:pt idx="4634">
                  <c:v>0.57099999999999995</c:v>
                </c:pt>
                <c:pt idx="4635">
                  <c:v>0.626</c:v>
                </c:pt>
                <c:pt idx="4636">
                  <c:v>0.78400000000000003</c:v>
                </c:pt>
                <c:pt idx="4637">
                  <c:v>0.441</c:v>
                </c:pt>
                <c:pt idx="4638">
                  <c:v>0.70099999999999996</c:v>
                </c:pt>
                <c:pt idx="4639">
                  <c:v>0.7</c:v>
                </c:pt>
                <c:pt idx="4640">
                  <c:v>0.41299999999999998</c:v>
                </c:pt>
                <c:pt idx="4641">
                  <c:v>0.749</c:v>
                </c:pt>
                <c:pt idx="4642">
                  <c:v>0.85699999999999998</c:v>
                </c:pt>
                <c:pt idx="4643">
                  <c:v>0.88800000000000001</c:v>
                </c:pt>
                <c:pt idx="4644">
                  <c:v>0.96599999999999997</c:v>
                </c:pt>
                <c:pt idx="4645">
                  <c:v>0.42099999999999999</c:v>
                </c:pt>
                <c:pt idx="4646">
                  <c:v>0.92900000000000005</c:v>
                </c:pt>
                <c:pt idx="4647">
                  <c:v>0.57699999999999996</c:v>
                </c:pt>
                <c:pt idx="4648">
                  <c:v>0.36399999999999999</c:v>
                </c:pt>
                <c:pt idx="4649">
                  <c:v>0.7</c:v>
                </c:pt>
                <c:pt idx="4650">
                  <c:v>0.85199999999999998</c:v>
                </c:pt>
                <c:pt idx="4651">
                  <c:v>0.35</c:v>
                </c:pt>
                <c:pt idx="4652">
                  <c:v>0.81100000000000005</c:v>
                </c:pt>
                <c:pt idx="4653">
                  <c:v>0.94299999999999995</c:v>
                </c:pt>
                <c:pt idx="4654">
                  <c:v>0.35</c:v>
                </c:pt>
                <c:pt idx="4655">
                  <c:v>0.75900000000000001</c:v>
                </c:pt>
                <c:pt idx="4656">
                  <c:v>0.70799999999999996</c:v>
                </c:pt>
                <c:pt idx="4657">
                  <c:v>0.57799999999999996</c:v>
                </c:pt>
                <c:pt idx="4658">
                  <c:v>0.73799999999999999</c:v>
                </c:pt>
                <c:pt idx="4659">
                  <c:v>0.88700000000000001</c:v>
                </c:pt>
                <c:pt idx="4660">
                  <c:v>0.79500000000000004</c:v>
                </c:pt>
                <c:pt idx="4661">
                  <c:v>0.52200000000000002</c:v>
                </c:pt>
                <c:pt idx="4662">
                  <c:v>6.8000000000000005E-2</c:v>
                </c:pt>
                <c:pt idx="4663">
                  <c:v>0.85299999999999998</c:v>
                </c:pt>
                <c:pt idx="4664">
                  <c:v>0.308</c:v>
                </c:pt>
                <c:pt idx="4665">
                  <c:v>0.95299999999999996</c:v>
                </c:pt>
                <c:pt idx="4666">
                  <c:v>0.84599999999999997</c:v>
                </c:pt>
                <c:pt idx="4667">
                  <c:v>0.83699999999999997</c:v>
                </c:pt>
                <c:pt idx="4668">
                  <c:v>0.83699999999999997</c:v>
                </c:pt>
                <c:pt idx="4669">
                  <c:v>0.29299999999999998</c:v>
                </c:pt>
                <c:pt idx="4670">
                  <c:v>0.88900000000000001</c:v>
                </c:pt>
                <c:pt idx="4671">
                  <c:v>0.57299999999999995</c:v>
                </c:pt>
                <c:pt idx="4672">
                  <c:v>0.49199999999999999</c:v>
                </c:pt>
                <c:pt idx="4673">
                  <c:v>0.60699999999999998</c:v>
                </c:pt>
                <c:pt idx="4674">
                  <c:v>0.68</c:v>
                </c:pt>
                <c:pt idx="4675">
                  <c:v>0.90500000000000003</c:v>
                </c:pt>
                <c:pt idx="4676">
                  <c:v>0.45100000000000001</c:v>
                </c:pt>
                <c:pt idx="4677">
                  <c:v>0.47299999999999998</c:v>
                </c:pt>
                <c:pt idx="4678">
                  <c:v>0.186</c:v>
                </c:pt>
                <c:pt idx="4679">
                  <c:v>0.20200000000000001</c:v>
                </c:pt>
                <c:pt idx="4680">
                  <c:v>0.76900000000000002</c:v>
                </c:pt>
                <c:pt idx="4681">
                  <c:v>0.19600000000000001</c:v>
                </c:pt>
                <c:pt idx="4682">
                  <c:v>0.308</c:v>
                </c:pt>
                <c:pt idx="4683">
                  <c:v>0.51600000000000001</c:v>
                </c:pt>
                <c:pt idx="4684">
                  <c:v>0.78900000000000003</c:v>
                </c:pt>
                <c:pt idx="4685">
                  <c:v>0.78100000000000003</c:v>
                </c:pt>
                <c:pt idx="4686">
                  <c:v>0.67400000000000004</c:v>
                </c:pt>
                <c:pt idx="4687">
                  <c:v>0.74199999999999999</c:v>
                </c:pt>
                <c:pt idx="4688">
                  <c:v>0.42699999999999999</c:v>
                </c:pt>
                <c:pt idx="4689">
                  <c:v>0.67</c:v>
                </c:pt>
                <c:pt idx="4690">
                  <c:v>0.70199999999999996</c:v>
                </c:pt>
                <c:pt idx="4691">
                  <c:v>0.65500000000000003</c:v>
                </c:pt>
                <c:pt idx="4692">
                  <c:v>0.65100000000000002</c:v>
                </c:pt>
                <c:pt idx="4693">
                  <c:v>0.25700000000000001</c:v>
                </c:pt>
                <c:pt idx="4694">
                  <c:v>0.27700000000000002</c:v>
                </c:pt>
                <c:pt idx="4695">
                  <c:v>0.52900000000000003</c:v>
                </c:pt>
                <c:pt idx="4696">
                  <c:v>0.47899999999999998</c:v>
                </c:pt>
                <c:pt idx="4697">
                  <c:v>0.35299999999999998</c:v>
                </c:pt>
                <c:pt idx="4698">
                  <c:v>0.378</c:v>
                </c:pt>
                <c:pt idx="4699">
                  <c:v>0.97799999999999998</c:v>
                </c:pt>
                <c:pt idx="4700">
                  <c:v>0.85599999999999998</c:v>
                </c:pt>
                <c:pt idx="4701">
                  <c:v>0.876</c:v>
                </c:pt>
                <c:pt idx="4702">
                  <c:v>0.67100000000000004</c:v>
                </c:pt>
                <c:pt idx="4703">
                  <c:v>0.97199999999999998</c:v>
                </c:pt>
                <c:pt idx="4704">
                  <c:v>0.622</c:v>
                </c:pt>
                <c:pt idx="4705">
                  <c:v>0.52200000000000002</c:v>
                </c:pt>
                <c:pt idx="4706">
                  <c:v>0.82699999999999996</c:v>
                </c:pt>
                <c:pt idx="4707">
                  <c:v>0.34</c:v>
                </c:pt>
                <c:pt idx="4708">
                  <c:v>0.35699999999999998</c:v>
                </c:pt>
                <c:pt idx="4709">
                  <c:v>0.625</c:v>
                </c:pt>
                <c:pt idx="4710">
                  <c:v>0.433</c:v>
                </c:pt>
                <c:pt idx="4711">
                  <c:v>0.47499999999999998</c:v>
                </c:pt>
                <c:pt idx="4712">
                  <c:v>0.80900000000000005</c:v>
                </c:pt>
                <c:pt idx="4713">
                  <c:v>0.14899999999999999</c:v>
                </c:pt>
                <c:pt idx="4714">
                  <c:v>0.42899999999999999</c:v>
                </c:pt>
                <c:pt idx="4715">
                  <c:v>0.47399999999999998</c:v>
                </c:pt>
                <c:pt idx="4716">
                  <c:v>0.79500000000000004</c:v>
                </c:pt>
                <c:pt idx="4717">
                  <c:v>0.86499999999999999</c:v>
                </c:pt>
                <c:pt idx="4718">
                  <c:v>0.67200000000000004</c:v>
                </c:pt>
                <c:pt idx="4719">
                  <c:v>7.6999999999999999E-2</c:v>
                </c:pt>
                <c:pt idx="4720">
                  <c:v>0.22700000000000001</c:v>
                </c:pt>
                <c:pt idx="4721">
                  <c:v>0.85799999999999998</c:v>
                </c:pt>
                <c:pt idx="4722">
                  <c:v>0.93300000000000005</c:v>
                </c:pt>
                <c:pt idx="4723">
                  <c:v>0.26700000000000002</c:v>
                </c:pt>
                <c:pt idx="4724">
                  <c:v>0.89300000000000002</c:v>
                </c:pt>
                <c:pt idx="4725">
                  <c:v>0.307</c:v>
                </c:pt>
                <c:pt idx="4726">
                  <c:v>0.48699999999999999</c:v>
                </c:pt>
                <c:pt idx="4727">
                  <c:v>0.69</c:v>
                </c:pt>
                <c:pt idx="4728">
                  <c:v>0.154</c:v>
                </c:pt>
                <c:pt idx="4729">
                  <c:v>0.41299999999999998</c:v>
                </c:pt>
                <c:pt idx="4730">
                  <c:v>0.89700000000000002</c:v>
                </c:pt>
                <c:pt idx="4731">
                  <c:v>0.182</c:v>
                </c:pt>
                <c:pt idx="4732">
                  <c:v>0.69099999999999995</c:v>
                </c:pt>
                <c:pt idx="4733">
                  <c:v>0.46800000000000003</c:v>
                </c:pt>
                <c:pt idx="4734">
                  <c:v>0.77800000000000002</c:v>
                </c:pt>
                <c:pt idx="4735">
                  <c:v>0.97599999999999998</c:v>
                </c:pt>
                <c:pt idx="4736">
                  <c:v>0.94</c:v>
                </c:pt>
                <c:pt idx="4737">
                  <c:v>0.67100000000000004</c:v>
                </c:pt>
                <c:pt idx="4738">
                  <c:v>0.71399999999999997</c:v>
                </c:pt>
                <c:pt idx="4739">
                  <c:v>0.53500000000000003</c:v>
                </c:pt>
                <c:pt idx="4740">
                  <c:v>0.93400000000000005</c:v>
                </c:pt>
                <c:pt idx="4741">
                  <c:v>1</c:v>
                </c:pt>
                <c:pt idx="4742">
                  <c:v>0.57299999999999995</c:v>
                </c:pt>
                <c:pt idx="4743">
                  <c:v>0.75900000000000001</c:v>
                </c:pt>
                <c:pt idx="4744">
                  <c:v>0.749</c:v>
                </c:pt>
                <c:pt idx="4745">
                  <c:v>0.30499999999999999</c:v>
                </c:pt>
                <c:pt idx="4746">
                  <c:v>0.81100000000000005</c:v>
                </c:pt>
                <c:pt idx="4747">
                  <c:v>0.60299999999999998</c:v>
                </c:pt>
                <c:pt idx="4748">
                  <c:v>0.309</c:v>
                </c:pt>
                <c:pt idx="4749">
                  <c:v>0.52400000000000002</c:v>
                </c:pt>
                <c:pt idx="4750">
                  <c:v>0.69399999999999995</c:v>
                </c:pt>
                <c:pt idx="4751">
                  <c:v>0.66800000000000004</c:v>
                </c:pt>
                <c:pt idx="4752">
                  <c:v>0.82199999999999995</c:v>
                </c:pt>
                <c:pt idx="4753">
                  <c:v>0.76100000000000001</c:v>
                </c:pt>
                <c:pt idx="4754">
                  <c:v>0.83699999999999997</c:v>
                </c:pt>
                <c:pt idx="4755">
                  <c:v>0.97499999999999998</c:v>
                </c:pt>
                <c:pt idx="4756">
                  <c:v>0.73099999999999998</c:v>
                </c:pt>
                <c:pt idx="4757">
                  <c:v>0.69499999999999995</c:v>
                </c:pt>
                <c:pt idx="4758">
                  <c:v>0.7</c:v>
                </c:pt>
                <c:pt idx="4759">
                  <c:v>0.65200000000000002</c:v>
                </c:pt>
                <c:pt idx="4760">
                  <c:v>0.30299999999999999</c:v>
                </c:pt>
                <c:pt idx="4761">
                  <c:v>0.70399999999999996</c:v>
                </c:pt>
                <c:pt idx="4762">
                  <c:v>0.61</c:v>
                </c:pt>
                <c:pt idx="4763">
                  <c:v>0.70399999999999996</c:v>
                </c:pt>
                <c:pt idx="4764">
                  <c:v>0.41399999999999998</c:v>
                </c:pt>
                <c:pt idx="4765">
                  <c:v>0.49299999999999999</c:v>
                </c:pt>
                <c:pt idx="4766">
                  <c:v>0.747</c:v>
                </c:pt>
                <c:pt idx="4767">
                  <c:v>0.90100000000000002</c:v>
                </c:pt>
                <c:pt idx="4768">
                  <c:v>0.45900000000000002</c:v>
                </c:pt>
                <c:pt idx="4769">
                  <c:v>0.59</c:v>
                </c:pt>
                <c:pt idx="4770">
                  <c:v>0.64200000000000002</c:v>
                </c:pt>
                <c:pt idx="4771">
                  <c:v>0.88300000000000001</c:v>
                </c:pt>
                <c:pt idx="4772">
                  <c:v>0.48499999999999999</c:v>
                </c:pt>
                <c:pt idx="4773">
                  <c:v>0.50800000000000001</c:v>
                </c:pt>
                <c:pt idx="4774">
                  <c:v>0.875</c:v>
                </c:pt>
                <c:pt idx="4775">
                  <c:v>0.94599999999999995</c:v>
                </c:pt>
                <c:pt idx="4776">
                  <c:v>9.8000000000000004E-2</c:v>
                </c:pt>
                <c:pt idx="4777">
                  <c:v>0.307</c:v>
                </c:pt>
                <c:pt idx="4778">
                  <c:v>0.39100000000000001</c:v>
                </c:pt>
                <c:pt idx="4779">
                  <c:v>0.6</c:v>
                </c:pt>
                <c:pt idx="4780">
                  <c:v>0.65900000000000003</c:v>
                </c:pt>
                <c:pt idx="4781">
                  <c:v>0.71899999999999997</c:v>
                </c:pt>
                <c:pt idx="4782">
                  <c:v>0.51300000000000001</c:v>
                </c:pt>
                <c:pt idx="4783">
                  <c:v>0.72399999999999998</c:v>
                </c:pt>
                <c:pt idx="4784">
                  <c:v>0.878</c:v>
                </c:pt>
                <c:pt idx="4785">
                  <c:v>0.70099999999999996</c:v>
                </c:pt>
                <c:pt idx="4786">
                  <c:v>0.16200000000000001</c:v>
                </c:pt>
                <c:pt idx="4787">
                  <c:v>0.59899999999999998</c:v>
                </c:pt>
                <c:pt idx="4788">
                  <c:v>0.86599999999999999</c:v>
                </c:pt>
                <c:pt idx="4789">
                  <c:v>0.48499999999999999</c:v>
                </c:pt>
                <c:pt idx="4790">
                  <c:v>0.46500000000000002</c:v>
                </c:pt>
                <c:pt idx="4791">
                  <c:v>0.45400000000000001</c:v>
                </c:pt>
                <c:pt idx="4792">
                  <c:v>0.60299999999999998</c:v>
                </c:pt>
                <c:pt idx="4793">
                  <c:v>0.67500000000000004</c:v>
                </c:pt>
                <c:pt idx="4794">
                  <c:v>0.27</c:v>
                </c:pt>
                <c:pt idx="4795">
                  <c:v>0.80600000000000005</c:v>
                </c:pt>
                <c:pt idx="4796">
                  <c:v>0.67500000000000004</c:v>
                </c:pt>
                <c:pt idx="4797">
                  <c:v>0.96299999999999997</c:v>
                </c:pt>
                <c:pt idx="4798">
                  <c:v>0.35899999999999999</c:v>
                </c:pt>
                <c:pt idx="4799">
                  <c:v>0.60699999999999998</c:v>
                </c:pt>
                <c:pt idx="4800">
                  <c:v>0.78200000000000003</c:v>
                </c:pt>
                <c:pt idx="4801">
                  <c:v>0.41299999999999998</c:v>
                </c:pt>
                <c:pt idx="4802">
                  <c:v>0.59099999999999997</c:v>
                </c:pt>
                <c:pt idx="4803">
                  <c:v>0.876</c:v>
                </c:pt>
                <c:pt idx="4804">
                  <c:v>0.65500000000000003</c:v>
                </c:pt>
                <c:pt idx="4805">
                  <c:v>0.224</c:v>
                </c:pt>
                <c:pt idx="4806">
                  <c:v>0.59099999999999997</c:v>
                </c:pt>
                <c:pt idx="4807">
                  <c:v>0.376</c:v>
                </c:pt>
                <c:pt idx="4808">
                  <c:v>0.46100000000000002</c:v>
                </c:pt>
                <c:pt idx="4809">
                  <c:v>0.48499999999999999</c:v>
                </c:pt>
                <c:pt idx="4810">
                  <c:v>0.45100000000000001</c:v>
                </c:pt>
                <c:pt idx="4811">
                  <c:v>0.63700000000000001</c:v>
                </c:pt>
                <c:pt idx="4812">
                  <c:v>0.39900000000000002</c:v>
                </c:pt>
                <c:pt idx="4813">
                  <c:v>0.48099999999999998</c:v>
                </c:pt>
                <c:pt idx="4814">
                  <c:v>0.52700000000000002</c:v>
                </c:pt>
                <c:pt idx="4815">
                  <c:v>0.63700000000000001</c:v>
                </c:pt>
                <c:pt idx="4816">
                  <c:v>0.55100000000000005</c:v>
                </c:pt>
                <c:pt idx="4817">
                  <c:v>0.85</c:v>
                </c:pt>
                <c:pt idx="4818">
                  <c:v>0.67400000000000004</c:v>
                </c:pt>
                <c:pt idx="4819">
                  <c:v>0.89500000000000002</c:v>
                </c:pt>
                <c:pt idx="4820">
                  <c:v>0.54500000000000004</c:v>
                </c:pt>
                <c:pt idx="4821">
                  <c:v>0.63</c:v>
                </c:pt>
                <c:pt idx="4822">
                  <c:v>0.48499999999999999</c:v>
                </c:pt>
                <c:pt idx="4823">
                  <c:v>0.151</c:v>
                </c:pt>
                <c:pt idx="4824">
                  <c:v>0.47</c:v>
                </c:pt>
                <c:pt idx="4825">
                  <c:v>0.69499999999999995</c:v>
                </c:pt>
                <c:pt idx="4826">
                  <c:v>0.78500000000000003</c:v>
                </c:pt>
                <c:pt idx="4827">
                  <c:v>0.35699999999999998</c:v>
                </c:pt>
                <c:pt idx="4828">
                  <c:v>0.40300000000000002</c:v>
                </c:pt>
                <c:pt idx="4829">
                  <c:v>0.76100000000000001</c:v>
                </c:pt>
                <c:pt idx="4830">
                  <c:v>0.79300000000000004</c:v>
                </c:pt>
                <c:pt idx="4831">
                  <c:v>0.52200000000000002</c:v>
                </c:pt>
                <c:pt idx="4832">
                  <c:v>0.41699999999999998</c:v>
                </c:pt>
                <c:pt idx="4833">
                  <c:v>0.94299999999999995</c:v>
                </c:pt>
                <c:pt idx="4834">
                  <c:v>0.57299999999999995</c:v>
                </c:pt>
                <c:pt idx="4835">
                  <c:v>0.37</c:v>
                </c:pt>
                <c:pt idx="4836">
                  <c:v>0.4</c:v>
                </c:pt>
                <c:pt idx="4837">
                  <c:v>0.48399999999999999</c:v>
                </c:pt>
                <c:pt idx="4838">
                  <c:v>0.56499999999999995</c:v>
                </c:pt>
                <c:pt idx="4839">
                  <c:v>0.755</c:v>
                </c:pt>
                <c:pt idx="4840">
                  <c:v>0.81699999999999995</c:v>
                </c:pt>
                <c:pt idx="4841">
                  <c:v>0.52300000000000002</c:v>
                </c:pt>
                <c:pt idx="4842">
                  <c:v>0.32100000000000001</c:v>
                </c:pt>
                <c:pt idx="4843">
                  <c:v>0.93500000000000005</c:v>
                </c:pt>
                <c:pt idx="4844">
                  <c:v>0.70399999999999996</c:v>
                </c:pt>
                <c:pt idx="4845">
                  <c:v>0.17799999999999999</c:v>
                </c:pt>
                <c:pt idx="4846">
                  <c:v>0.157</c:v>
                </c:pt>
                <c:pt idx="4847">
                  <c:v>0.439</c:v>
                </c:pt>
                <c:pt idx="4848">
                  <c:v>0.86799999999999999</c:v>
                </c:pt>
                <c:pt idx="4849">
                  <c:v>0.61</c:v>
                </c:pt>
                <c:pt idx="4850">
                  <c:v>0.45400000000000001</c:v>
                </c:pt>
                <c:pt idx="4851">
                  <c:v>0.374</c:v>
                </c:pt>
                <c:pt idx="4852">
                  <c:v>0.40699999999999997</c:v>
                </c:pt>
                <c:pt idx="4853">
                  <c:v>0.48399999999999999</c:v>
                </c:pt>
                <c:pt idx="4854">
                  <c:v>0.68799999999999994</c:v>
                </c:pt>
                <c:pt idx="4855">
                  <c:v>0.84799999999999998</c:v>
                </c:pt>
                <c:pt idx="4856">
                  <c:v>0.91300000000000003</c:v>
                </c:pt>
                <c:pt idx="4857">
                  <c:v>0.71699999999999997</c:v>
                </c:pt>
                <c:pt idx="4858">
                  <c:v>0.39500000000000002</c:v>
                </c:pt>
                <c:pt idx="4859">
                  <c:v>0.45800000000000002</c:v>
                </c:pt>
                <c:pt idx="4860">
                  <c:v>0.92700000000000005</c:v>
                </c:pt>
                <c:pt idx="4861">
                  <c:v>0.72299999999999998</c:v>
                </c:pt>
                <c:pt idx="4862">
                  <c:v>0.91100000000000003</c:v>
                </c:pt>
                <c:pt idx="4863">
                  <c:v>0.65300000000000002</c:v>
                </c:pt>
                <c:pt idx="4864">
                  <c:v>0.97299999999999998</c:v>
                </c:pt>
                <c:pt idx="4865">
                  <c:v>0.22800000000000001</c:v>
                </c:pt>
                <c:pt idx="4866">
                  <c:v>0.57499999999999996</c:v>
                </c:pt>
                <c:pt idx="4867">
                  <c:v>0.45500000000000002</c:v>
                </c:pt>
                <c:pt idx="4868">
                  <c:v>0.64100000000000001</c:v>
                </c:pt>
                <c:pt idx="4869">
                  <c:v>0.81100000000000005</c:v>
                </c:pt>
                <c:pt idx="4870">
                  <c:v>9.9000000000000005E-2</c:v>
                </c:pt>
                <c:pt idx="4871">
                  <c:v>0.53300000000000003</c:v>
                </c:pt>
                <c:pt idx="4872">
                  <c:v>0.85099999999999998</c:v>
                </c:pt>
                <c:pt idx="4873">
                  <c:v>0.55700000000000005</c:v>
                </c:pt>
                <c:pt idx="4874">
                  <c:v>0.65200000000000002</c:v>
                </c:pt>
                <c:pt idx="4875">
                  <c:v>0.11</c:v>
                </c:pt>
                <c:pt idx="4876">
                  <c:v>0.84599999999999997</c:v>
                </c:pt>
                <c:pt idx="4877">
                  <c:v>0.876</c:v>
                </c:pt>
                <c:pt idx="4878">
                  <c:v>0.92500000000000004</c:v>
                </c:pt>
                <c:pt idx="4879">
                  <c:v>0.63200000000000001</c:v>
                </c:pt>
                <c:pt idx="4880">
                  <c:v>0.53100000000000003</c:v>
                </c:pt>
                <c:pt idx="4881">
                  <c:v>0.91400000000000003</c:v>
                </c:pt>
                <c:pt idx="4882">
                  <c:v>0.48</c:v>
                </c:pt>
                <c:pt idx="4883">
                  <c:v>7.6999999999999999E-2</c:v>
                </c:pt>
                <c:pt idx="4884">
                  <c:v>0.114</c:v>
                </c:pt>
                <c:pt idx="4885">
                  <c:v>0.253</c:v>
                </c:pt>
                <c:pt idx="4886">
                  <c:v>0.83699999999999997</c:v>
                </c:pt>
                <c:pt idx="4887">
                  <c:v>0.85499999999999998</c:v>
                </c:pt>
                <c:pt idx="4888">
                  <c:v>0.17100000000000001</c:v>
                </c:pt>
                <c:pt idx="4889">
                  <c:v>0.191</c:v>
                </c:pt>
                <c:pt idx="4890">
                  <c:v>0.91600000000000004</c:v>
                </c:pt>
                <c:pt idx="4891">
                  <c:v>0.51</c:v>
                </c:pt>
                <c:pt idx="4892">
                  <c:v>0.69499999999999995</c:v>
                </c:pt>
                <c:pt idx="4893">
                  <c:v>0.69499999999999995</c:v>
                </c:pt>
                <c:pt idx="4894">
                  <c:v>0.67100000000000004</c:v>
                </c:pt>
                <c:pt idx="4895">
                  <c:v>0.68400000000000005</c:v>
                </c:pt>
                <c:pt idx="4896">
                  <c:v>0.161</c:v>
                </c:pt>
                <c:pt idx="4897">
                  <c:v>0.96199999999999997</c:v>
                </c:pt>
                <c:pt idx="4898">
                  <c:v>0.745</c:v>
                </c:pt>
                <c:pt idx="4899">
                  <c:v>0.443</c:v>
                </c:pt>
                <c:pt idx="4900">
                  <c:v>0.33300000000000002</c:v>
                </c:pt>
                <c:pt idx="4901">
                  <c:v>0.88600000000000001</c:v>
                </c:pt>
                <c:pt idx="4902">
                  <c:v>0.875</c:v>
                </c:pt>
                <c:pt idx="4903">
                  <c:v>0.90700000000000003</c:v>
                </c:pt>
                <c:pt idx="4904">
                  <c:v>0.70099999999999996</c:v>
                </c:pt>
                <c:pt idx="4905">
                  <c:v>0.11600000000000001</c:v>
                </c:pt>
                <c:pt idx="4906">
                  <c:v>0.11700000000000001</c:v>
                </c:pt>
                <c:pt idx="4907">
                  <c:v>0.34300000000000003</c:v>
                </c:pt>
                <c:pt idx="4908">
                  <c:v>0.59599999999999997</c:v>
                </c:pt>
                <c:pt idx="4909">
                  <c:v>0.66500000000000004</c:v>
                </c:pt>
                <c:pt idx="4910">
                  <c:v>0.79500000000000004</c:v>
                </c:pt>
                <c:pt idx="4911">
                  <c:v>0.89400000000000002</c:v>
                </c:pt>
                <c:pt idx="4912">
                  <c:v>0.94</c:v>
                </c:pt>
                <c:pt idx="4913">
                  <c:v>0.79100000000000004</c:v>
                </c:pt>
                <c:pt idx="4914">
                  <c:v>0.57299999999999995</c:v>
                </c:pt>
                <c:pt idx="4915">
                  <c:v>0.45700000000000002</c:v>
                </c:pt>
                <c:pt idx="4916">
                  <c:v>0.90900000000000003</c:v>
                </c:pt>
                <c:pt idx="4917">
                  <c:v>0.71299999999999997</c:v>
                </c:pt>
                <c:pt idx="4918">
                  <c:v>0.47799999999999998</c:v>
                </c:pt>
                <c:pt idx="4919">
                  <c:v>0.69299999999999995</c:v>
                </c:pt>
                <c:pt idx="4920">
                  <c:v>0.53300000000000003</c:v>
                </c:pt>
                <c:pt idx="4921">
                  <c:v>0.80400000000000005</c:v>
                </c:pt>
                <c:pt idx="4922">
                  <c:v>0.435</c:v>
                </c:pt>
                <c:pt idx="4923">
                  <c:v>0.45300000000000001</c:v>
                </c:pt>
                <c:pt idx="4924">
                  <c:v>0.46500000000000002</c:v>
                </c:pt>
                <c:pt idx="4925">
                  <c:v>0.11600000000000001</c:v>
                </c:pt>
                <c:pt idx="4926">
                  <c:v>0.86799999999999999</c:v>
                </c:pt>
                <c:pt idx="4927">
                  <c:v>0.36499999999999999</c:v>
                </c:pt>
                <c:pt idx="4928">
                  <c:v>0.877</c:v>
                </c:pt>
                <c:pt idx="4929">
                  <c:v>0.71799999999999997</c:v>
                </c:pt>
                <c:pt idx="4930">
                  <c:v>0.153</c:v>
                </c:pt>
                <c:pt idx="4931">
                  <c:v>0.40799999999999997</c:v>
                </c:pt>
                <c:pt idx="4932">
                  <c:v>0.86899999999999999</c:v>
                </c:pt>
                <c:pt idx="4933">
                  <c:v>0.435</c:v>
                </c:pt>
                <c:pt idx="4934">
                  <c:v>0.53</c:v>
                </c:pt>
                <c:pt idx="4935">
                  <c:v>0.72199999999999998</c:v>
                </c:pt>
                <c:pt idx="4936">
                  <c:v>0.217</c:v>
                </c:pt>
                <c:pt idx="4937">
                  <c:v>0.78300000000000003</c:v>
                </c:pt>
                <c:pt idx="4938">
                  <c:v>0.17299999999999999</c:v>
                </c:pt>
                <c:pt idx="4939">
                  <c:v>0.93</c:v>
                </c:pt>
                <c:pt idx="4940">
                  <c:v>0.54200000000000004</c:v>
                </c:pt>
                <c:pt idx="4941">
                  <c:v>0.46700000000000003</c:v>
                </c:pt>
                <c:pt idx="4942">
                  <c:v>0.20100000000000001</c:v>
                </c:pt>
                <c:pt idx="4943">
                  <c:v>0.84</c:v>
                </c:pt>
                <c:pt idx="4944">
                  <c:v>0.254</c:v>
                </c:pt>
                <c:pt idx="4945">
                  <c:v>0.70799999999999996</c:v>
                </c:pt>
                <c:pt idx="4946">
                  <c:v>0.41499999999999998</c:v>
                </c:pt>
                <c:pt idx="4947">
                  <c:v>0.437</c:v>
                </c:pt>
                <c:pt idx="4948">
                  <c:v>0.88900000000000001</c:v>
                </c:pt>
                <c:pt idx="4949">
                  <c:v>0.88500000000000001</c:v>
                </c:pt>
                <c:pt idx="4950">
                  <c:v>0.78900000000000003</c:v>
                </c:pt>
                <c:pt idx="4951">
                  <c:v>0.42</c:v>
                </c:pt>
                <c:pt idx="4952">
                  <c:v>0.53100000000000003</c:v>
                </c:pt>
                <c:pt idx="4953">
                  <c:v>0.75900000000000001</c:v>
                </c:pt>
                <c:pt idx="4954">
                  <c:v>0.59199999999999997</c:v>
                </c:pt>
                <c:pt idx="4955">
                  <c:v>0.79700000000000004</c:v>
                </c:pt>
                <c:pt idx="4956">
                  <c:v>0.86499999999999999</c:v>
                </c:pt>
                <c:pt idx="4957">
                  <c:v>0.67100000000000004</c:v>
                </c:pt>
                <c:pt idx="4958">
                  <c:v>0.91600000000000004</c:v>
                </c:pt>
                <c:pt idx="4959">
                  <c:v>0.60199999999999998</c:v>
                </c:pt>
                <c:pt idx="4960">
                  <c:v>0.80500000000000005</c:v>
                </c:pt>
                <c:pt idx="4961">
                  <c:v>0.88500000000000001</c:v>
                </c:pt>
                <c:pt idx="4962">
                  <c:v>0.80900000000000005</c:v>
                </c:pt>
                <c:pt idx="4963">
                  <c:v>0.53400000000000003</c:v>
                </c:pt>
                <c:pt idx="4964">
                  <c:v>0.85599999999999998</c:v>
                </c:pt>
                <c:pt idx="4965">
                  <c:v>0.44500000000000001</c:v>
                </c:pt>
                <c:pt idx="4966">
                  <c:v>0.42399999999999999</c:v>
                </c:pt>
                <c:pt idx="4967">
                  <c:v>0.56100000000000005</c:v>
                </c:pt>
                <c:pt idx="4968">
                  <c:v>0.34399999999999997</c:v>
                </c:pt>
                <c:pt idx="4969">
                  <c:v>0.71899999999999997</c:v>
                </c:pt>
                <c:pt idx="4970">
                  <c:v>0.94499999999999995</c:v>
                </c:pt>
                <c:pt idx="4971">
                  <c:v>0.94399999999999995</c:v>
                </c:pt>
                <c:pt idx="4972">
                  <c:v>0.22700000000000001</c:v>
                </c:pt>
                <c:pt idx="4973">
                  <c:v>0.39900000000000002</c:v>
                </c:pt>
                <c:pt idx="4974">
                  <c:v>0.20399999999999999</c:v>
                </c:pt>
                <c:pt idx="4975">
                  <c:v>0.81399999999999995</c:v>
                </c:pt>
                <c:pt idx="4976">
                  <c:v>0.83799999999999997</c:v>
                </c:pt>
                <c:pt idx="4977">
                  <c:v>0.19500000000000001</c:v>
                </c:pt>
                <c:pt idx="4978">
                  <c:v>0.90800000000000003</c:v>
                </c:pt>
                <c:pt idx="4979">
                  <c:v>0.93400000000000005</c:v>
                </c:pt>
                <c:pt idx="4980">
                  <c:v>0.88600000000000001</c:v>
                </c:pt>
                <c:pt idx="4981">
                  <c:v>0.81499999999999995</c:v>
                </c:pt>
                <c:pt idx="4982">
                  <c:v>0.53600000000000003</c:v>
                </c:pt>
                <c:pt idx="4983">
                  <c:v>0.40300000000000002</c:v>
                </c:pt>
                <c:pt idx="4984">
                  <c:v>6.0999999999999999E-2</c:v>
                </c:pt>
                <c:pt idx="4985">
                  <c:v>0.53400000000000003</c:v>
                </c:pt>
                <c:pt idx="4986">
                  <c:v>0.71399999999999997</c:v>
                </c:pt>
                <c:pt idx="4987">
                  <c:v>0.498</c:v>
                </c:pt>
                <c:pt idx="4988">
                  <c:v>0.33600000000000002</c:v>
                </c:pt>
                <c:pt idx="4989">
                  <c:v>0.83699999999999997</c:v>
                </c:pt>
                <c:pt idx="4990">
                  <c:v>0.92600000000000005</c:v>
                </c:pt>
                <c:pt idx="4991">
                  <c:v>0.77600000000000002</c:v>
                </c:pt>
                <c:pt idx="4992">
                  <c:v>0.379</c:v>
                </c:pt>
                <c:pt idx="4993">
                  <c:v>0.69599999999999995</c:v>
                </c:pt>
                <c:pt idx="4994">
                  <c:v>0.86599999999999999</c:v>
                </c:pt>
                <c:pt idx="4995">
                  <c:v>0.61499999999999999</c:v>
                </c:pt>
                <c:pt idx="4996">
                  <c:v>0.623</c:v>
                </c:pt>
                <c:pt idx="4997">
                  <c:v>0.64900000000000002</c:v>
                </c:pt>
                <c:pt idx="4998">
                  <c:v>0.54500000000000004</c:v>
                </c:pt>
                <c:pt idx="4999">
                  <c:v>0.32600000000000001</c:v>
                </c:pt>
                <c:pt idx="5000">
                  <c:v>0.32700000000000001</c:v>
                </c:pt>
                <c:pt idx="5001">
                  <c:v>0.93400000000000005</c:v>
                </c:pt>
                <c:pt idx="5002">
                  <c:v>0.94599999999999995</c:v>
                </c:pt>
                <c:pt idx="5003">
                  <c:v>0.26900000000000002</c:v>
                </c:pt>
                <c:pt idx="5004">
                  <c:v>0.29499999999999998</c:v>
                </c:pt>
                <c:pt idx="5005">
                  <c:v>0.56000000000000005</c:v>
                </c:pt>
                <c:pt idx="5006">
                  <c:v>0.126</c:v>
                </c:pt>
                <c:pt idx="5007">
                  <c:v>0.72199999999999998</c:v>
                </c:pt>
                <c:pt idx="5008">
                  <c:v>0.42099999999999999</c:v>
                </c:pt>
                <c:pt idx="5009">
                  <c:v>0.71599999999999997</c:v>
                </c:pt>
                <c:pt idx="5010">
                  <c:v>0.505</c:v>
                </c:pt>
                <c:pt idx="5011">
                  <c:v>0.71499999999999997</c:v>
                </c:pt>
                <c:pt idx="5012">
                  <c:v>0.48</c:v>
                </c:pt>
                <c:pt idx="5013">
                  <c:v>0.40200000000000002</c:v>
                </c:pt>
                <c:pt idx="5014">
                  <c:v>0.50700000000000001</c:v>
                </c:pt>
                <c:pt idx="5015">
                  <c:v>0.27700000000000002</c:v>
                </c:pt>
                <c:pt idx="5016">
                  <c:v>0.64200000000000002</c:v>
                </c:pt>
                <c:pt idx="5017">
                  <c:v>0.52900000000000003</c:v>
                </c:pt>
                <c:pt idx="5018">
                  <c:v>0.16800000000000001</c:v>
                </c:pt>
                <c:pt idx="5019">
                  <c:v>0.86899999999999999</c:v>
                </c:pt>
                <c:pt idx="5020">
                  <c:v>0.92300000000000004</c:v>
                </c:pt>
                <c:pt idx="5021">
                  <c:v>0.70899999999999996</c:v>
                </c:pt>
                <c:pt idx="5022">
                  <c:v>0.33500000000000002</c:v>
                </c:pt>
                <c:pt idx="5023">
                  <c:v>0.51100000000000001</c:v>
                </c:pt>
                <c:pt idx="5024">
                  <c:v>0.95299999999999996</c:v>
                </c:pt>
                <c:pt idx="5025">
                  <c:v>0.315</c:v>
                </c:pt>
                <c:pt idx="5026">
                  <c:v>0.72899999999999998</c:v>
                </c:pt>
                <c:pt idx="5027">
                  <c:v>0.92600000000000005</c:v>
                </c:pt>
                <c:pt idx="5028">
                  <c:v>0.92100000000000004</c:v>
                </c:pt>
                <c:pt idx="5029">
                  <c:v>0.88600000000000001</c:v>
                </c:pt>
                <c:pt idx="5030">
                  <c:v>0.36699999999999999</c:v>
                </c:pt>
                <c:pt idx="5031">
                  <c:v>0.45800000000000002</c:v>
                </c:pt>
                <c:pt idx="5032">
                  <c:v>0.89200000000000002</c:v>
                </c:pt>
                <c:pt idx="5033">
                  <c:v>0.40500000000000003</c:v>
                </c:pt>
                <c:pt idx="5034">
                  <c:v>0.86499999999999999</c:v>
                </c:pt>
                <c:pt idx="5035">
                  <c:v>0.39600000000000002</c:v>
                </c:pt>
                <c:pt idx="5036">
                  <c:v>0.71899999999999997</c:v>
                </c:pt>
                <c:pt idx="5037">
                  <c:v>0.86499999999999999</c:v>
                </c:pt>
                <c:pt idx="5038">
                  <c:v>0.93300000000000005</c:v>
                </c:pt>
                <c:pt idx="5039">
                  <c:v>0.79200000000000004</c:v>
                </c:pt>
                <c:pt idx="5040">
                  <c:v>0.34200000000000003</c:v>
                </c:pt>
                <c:pt idx="5041">
                  <c:v>0.52300000000000002</c:v>
                </c:pt>
                <c:pt idx="5042">
                  <c:v>0.31900000000000001</c:v>
                </c:pt>
                <c:pt idx="5043">
                  <c:v>0.504</c:v>
                </c:pt>
                <c:pt idx="5044">
                  <c:v>0.57199999999999995</c:v>
                </c:pt>
                <c:pt idx="5045">
                  <c:v>0.63900000000000001</c:v>
                </c:pt>
                <c:pt idx="5046">
                  <c:v>0.66900000000000004</c:v>
                </c:pt>
                <c:pt idx="5047">
                  <c:v>0.82499999999999996</c:v>
                </c:pt>
                <c:pt idx="5048">
                  <c:v>0.72299999999999998</c:v>
                </c:pt>
                <c:pt idx="5049">
                  <c:v>0.27</c:v>
                </c:pt>
                <c:pt idx="5050">
                  <c:v>0.74299999999999999</c:v>
                </c:pt>
                <c:pt idx="5051">
                  <c:v>0.629</c:v>
                </c:pt>
                <c:pt idx="5052">
                  <c:v>0.48499999999999999</c:v>
                </c:pt>
                <c:pt idx="5053">
                  <c:v>0.73199999999999998</c:v>
                </c:pt>
                <c:pt idx="5054">
                  <c:v>0.872</c:v>
                </c:pt>
                <c:pt idx="5055">
                  <c:v>0.49299999999999999</c:v>
                </c:pt>
                <c:pt idx="5056">
                  <c:v>0.877</c:v>
                </c:pt>
                <c:pt idx="5057">
                  <c:v>9.4E-2</c:v>
                </c:pt>
                <c:pt idx="5058">
                  <c:v>0.22</c:v>
                </c:pt>
                <c:pt idx="5059">
                  <c:v>0.92</c:v>
                </c:pt>
                <c:pt idx="5060">
                  <c:v>0.84799999999999998</c:v>
                </c:pt>
                <c:pt idx="5061">
                  <c:v>0.81100000000000005</c:v>
                </c:pt>
                <c:pt idx="5062">
                  <c:v>0.33</c:v>
                </c:pt>
                <c:pt idx="5063">
                  <c:v>0.56200000000000006</c:v>
                </c:pt>
                <c:pt idx="5064">
                  <c:v>0.57899999999999996</c:v>
                </c:pt>
                <c:pt idx="5065">
                  <c:v>0.46500000000000002</c:v>
                </c:pt>
                <c:pt idx="5066">
                  <c:v>0.315</c:v>
                </c:pt>
                <c:pt idx="5067">
                  <c:v>0.58499999999999996</c:v>
                </c:pt>
                <c:pt idx="5068">
                  <c:v>0.48399999999999999</c:v>
                </c:pt>
                <c:pt idx="5069">
                  <c:v>0.11600000000000001</c:v>
                </c:pt>
                <c:pt idx="5070">
                  <c:v>0.15</c:v>
                </c:pt>
                <c:pt idx="5071">
                  <c:v>0.63</c:v>
                </c:pt>
                <c:pt idx="5072">
                  <c:v>0.374</c:v>
                </c:pt>
                <c:pt idx="5073">
                  <c:v>7.0999999999999994E-2</c:v>
                </c:pt>
                <c:pt idx="5074">
                  <c:v>0.49</c:v>
                </c:pt>
                <c:pt idx="5075">
                  <c:v>0.84</c:v>
                </c:pt>
                <c:pt idx="5076">
                  <c:v>0.67900000000000005</c:v>
                </c:pt>
                <c:pt idx="5077">
                  <c:v>0.94</c:v>
                </c:pt>
                <c:pt idx="5078">
                  <c:v>0.63700000000000001</c:v>
                </c:pt>
                <c:pt idx="5079">
                  <c:v>0.53100000000000003</c:v>
                </c:pt>
                <c:pt idx="5080">
                  <c:v>0.38700000000000001</c:v>
                </c:pt>
                <c:pt idx="5081">
                  <c:v>0.48399999999999999</c:v>
                </c:pt>
                <c:pt idx="5082">
                  <c:v>0.433</c:v>
                </c:pt>
                <c:pt idx="5083">
                  <c:v>0.30199999999999999</c:v>
                </c:pt>
                <c:pt idx="5084">
                  <c:v>0.56999999999999995</c:v>
                </c:pt>
                <c:pt idx="5085">
                  <c:v>0.67600000000000005</c:v>
                </c:pt>
                <c:pt idx="5086">
                  <c:v>0.44600000000000001</c:v>
                </c:pt>
                <c:pt idx="5087">
                  <c:v>9.9000000000000005E-2</c:v>
                </c:pt>
                <c:pt idx="5088">
                  <c:v>0.504</c:v>
                </c:pt>
                <c:pt idx="5089">
                  <c:v>0.48799999999999999</c:v>
                </c:pt>
                <c:pt idx="5090">
                  <c:v>0.52200000000000002</c:v>
                </c:pt>
                <c:pt idx="5091">
                  <c:v>0.441</c:v>
                </c:pt>
                <c:pt idx="5092">
                  <c:v>0.86299999999999999</c:v>
                </c:pt>
                <c:pt idx="5093">
                  <c:v>0.42799999999999999</c:v>
                </c:pt>
                <c:pt idx="5094">
                  <c:v>0.34300000000000003</c:v>
                </c:pt>
                <c:pt idx="5095">
                  <c:v>0.90800000000000003</c:v>
                </c:pt>
                <c:pt idx="5096">
                  <c:v>0.64400000000000002</c:v>
                </c:pt>
                <c:pt idx="5097">
                  <c:v>0.49299999999999999</c:v>
                </c:pt>
                <c:pt idx="5098">
                  <c:v>0.29499999999999998</c:v>
                </c:pt>
                <c:pt idx="5099">
                  <c:v>0.45300000000000001</c:v>
                </c:pt>
                <c:pt idx="5100">
                  <c:v>0.217</c:v>
                </c:pt>
                <c:pt idx="5101">
                  <c:v>0.52200000000000002</c:v>
                </c:pt>
                <c:pt idx="5102">
                  <c:v>0.90500000000000003</c:v>
                </c:pt>
                <c:pt idx="5103">
                  <c:v>0.40100000000000002</c:v>
                </c:pt>
                <c:pt idx="5104">
                  <c:v>0.61299999999999999</c:v>
                </c:pt>
                <c:pt idx="5105">
                  <c:v>0.93500000000000005</c:v>
                </c:pt>
                <c:pt idx="5106">
                  <c:v>0.27900000000000003</c:v>
                </c:pt>
                <c:pt idx="5107">
                  <c:v>0.51400000000000001</c:v>
                </c:pt>
                <c:pt idx="5108">
                  <c:v>0.66700000000000004</c:v>
                </c:pt>
                <c:pt idx="5109">
                  <c:v>0.76500000000000001</c:v>
                </c:pt>
                <c:pt idx="5110">
                  <c:v>0.75900000000000001</c:v>
                </c:pt>
                <c:pt idx="5111">
                  <c:v>0.41099999999999998</c:v>
                </c:pt>
                <c:pt idx="5112">
                  <c:v>0.99199999999999999</c:v>
                </c:pt>
                <c:pt idx="5113">
                  <c:v>0.82199999999999995</c:v>
                </c:pt>
                <c:pt idx="5114">
                  <c:v>0.25700000000000001</c:v>
                </c:pt>
                <c:pt idx="5115">
                  <c:v>0.57899999999999996</c:v>
                </c:pt>
                <c:pt idx="5116">
                  <c:v>0.34699999999999998</c:v>
                </c:pt>
                <c:pt idx="5117">
                  <c:v>0.95799999999999996</c:v>
                </c:pt>
                <c:pt idx="5118">
                  <c:v>0.94399999999999995</c:v>
                </c:pt>
                <c:pt idx="5119">
                  <c:v>0.66500000000000004</c:v>
                </c:pt>
                <c:pt idx="5120">
                  <c:v>0.66300000000000003</c:v>
                </c:pt>
                <c:pt idx="5121">
                  <c:v>0.30499999999999999</c:v>
                </c:pt>
                <c:pt idx="5122">
                  <c:v>0.83799999999999997</c:v>
                </c:pt>
                <c:pt idx="5123">
                  <c:v>0.84599999999999997</c:v>
                </c:pt>
                <c:pt idx="5124">
                  <c:v>0.161</c:v>
                </c:pt>
                <c:pt idx="5125">
                  <c:v>0.38600000000000001</c:v>
                </c:pt>
                <c:pt idx="5126">
                  <c:v>0.72599999999999998</c:v>
                </c:pt>
                <c:pt idx="5127">
                  <c:v>0.314</c:v>
                </c:pt>
                <c:pt idx="5128">
                  <c:v>0.71199999999999997</c:v>
                </c:pt>
                <c:pt idx="5129">
                  <c:v>0.749</c:v>
                </c:pt>
                <c:pt idx="5130">
                  <c:v>0.79</c:v>
                </c:pt>
                <c:pt idx="5131">
                  <c:v>0.85599999999999998</c:v>
                </c:pt>
                <c:pt idx="5132">
                  <c:v>0.40699999999999997</c:v>
                </c:pt>
                <c:pt idx="5133">
                  <c:v>0.497</c:v>
                </c:pt>
                <c:pt idx="5134">
                  <c:v>0.54300000000000004</c:v>
                </c:pt>
                <c:pt idx="5135">
                  <c:v>0.64600000000000002</c:v>
                </c:pt>
                <c:pt idx="5136">
                  <c:v>0.72199999999999998</c:v>
                </c:pt>
                <c:pt idx="5137">
                  <c:v>0.627</c:v>
                </c:pt>
                <c:pt idx="5138">
                  <c:v>0.57299999999999995</c:v>
                </c:pt>
                <c:pt idx="5139">
                  <c:v>0.86199999999999999</c:v>
                </c:pt>
                <c:pt idx="5140">
                  <c:v>0.28100000000000003</c:v>
                </c:pt>
                <c:pt idx="5141">
                  <c:v>0.86199999999999999</c:v>
                </c:pt>
                <c:pt idx="5142">
                  <c:v>0.84199999999999997</c:v>
                </c:pt>
                <c:pt idx="5143">
                  <c:v>0.40600000000000003</c:v>
                </c:pt>
                <c:pt idx="5144">
                  <c:v>0.55100000000000005</c:v>
                </c:pt>
                <c:pt idx="5145">
                  <c:v>0.38300000000000001</c:v>
                </c:pt>
                <c:pt idx="5146">
                  <c:v>0.218</c:v>
                </c:pt>
                <c:pt idx="5147">
                  <c:v>0.432</c:v>
                </c:pt>
                <c:pt idx="5148">
                  <c:v>0.47899999999999998</c:v>
                </c:pt>
                <c:pt idx="5149">
                  <c:v>0.72199999999999998</c:v>
                </c:pt>
                <c:pt idx="5150">
                  <c:v>0.27100000000000002</c:v>
                </c:pt>
                <c:pt idx="5151">
                  <c:v>0.92600000000000005</c:v>
                </c:pt>
                <c:pt idx="5152">
                  <c:v>0.317</c:v>
                </c:pt>
                <c:pt idx="5153">
                  <c:v>0.97099999999999997</c:v>
                </c:pt>
                <c:pt idx="5154">
                  <c:v>0.64600000000000002</c:v>
                </c:pt>
                <c:pt idx="5155">
                  <c:v>0.45400000000000001</c:v>
                </c:pt>
                <c:pt idx="5156">
                  <c:v>0.90900000000000003</c:v>
                </c:pt>
                <c:pt idx="5157">
                  <c:v>0.65600000000000003</c:v>
                </c:pt>
                <c:pt idx="5158">
                  <c:v>0.58699999999999997</c:v>
                </c:pt>
                <c:pt idx="5159">
                  <c:v>0.60399999999999998</c:v>
                </c:pt>
                <c:pt idx="5160">
                  <c:v>0.51200000000000001</c:v>
                </c:pt>
                <c:pt idx="5161">
                  <c:v>0.61899999999999999</c:v>
                </c:pt>
                <c:pt idx="5162">
                  <c:v>0.39300000000000002</c:v>
                </c:pt>
                <c:pt idx="5163">
                  <c:v>0.84699999999999998</c:v>
                </c:pt>
                <c:pt idx="5164">
                  <c:v>0.83899999999999997</c:v>
                </c:pt>
                <c:pt idx="5165">
                  <c:v>0.69399999999999995</c:v>
                </c:pt>
                <c:pt idx="5166">
                  <c:v>0.79500000000000004</c:v>
                </c:pt>
                <c:pt idx="5167">
                  <c:v>0.10299999999999999</c:v>
                </c:pt>
                <c:pt idx="5168">
                  <c:v>0.60299999999999998</c:v>
                </c:pt>
                <c:pt idx="5169">
                  <c:v>0.68</c:v>
                </c:pt>
                <c:pt idx="5170">
                  <c:v>0.98699999999999999</c:v>
                </c:pt>
                <c:pt idx="5171">
                  <c:v>0.73299999999999998</c:v>
                </c:pt>
                <c:pt idx="5172">
                  <c:v>0.55000000000000004</c:v>
                </c:pt>
                <c:pt idx="5173">
                  <c:v>0.70799999999999996</c:v>
                </c:pt>
                <c:pt idx="5174">
                  <c:v>0.42899999999999999</c:v>
                </c:pt>
                <c:pt idx="5175">
                  <c:v>0.94199999999999995</c:v>
                </c:pt>
                <c:pt idx="5176">
                  <c:v>0.55300000000000005</c:v>
                </c:pt>
                <c:pt idx="5177">
                  <c:v>0.84</c:v>
                </c:pt>
                <c:pt idx="5178">
                  <c:v>0.34499999999999997</c:v>
                </c:pt>
                <c:pt idx="5179">
                  <c:v>0.42399999999999999</c:v>
                </c:pt>
                <c:pt idx="5180">
                  <c:v>0.72</c:v>
                </c:pt>
                <c:pt idx="5181">
                  <c:v>0.252</c:v>
                </c:pt>
                <c:pt idx="5182">
                  <c:v>0.92300000000000004</c:v>
                </c:pt>
                <c:pt idx="5183">
                  <c:v>0.63600000000000001</c:v>
                </c:pt>
                <c:pt idx="5184">
                  <c:v>0.64</c:v>
                </c:pt>
                <c:pt idx="5185">
                  <c:v>0.73799999999999999</c:v>
                </c:pt>
                <c:pt idx="5186">
                  <c:v>0.42399999999999999</c:v>
                </c:pt>
                <c:pt idx="5187">
                  <c:v>0.54800000000000004</c:v>
                </c:pt>
                <c:pt idx="5188">
                  <c:v>0.60499999999999998</c:v>
                </c:pt>
                <c:pt idx="5189">
                  <c:v>0.61799999999999999</c:v>
                </c:pt>
                <c:pt idx="5190">
                  <c:v>0.82399999999999995</c:v>
                </c:pt>
                <c:pt idx="5191">
                  <c:v>0.79300000000000004</c:v>
                </c:pt>
                <c:pt idx="5192">
                  <c:v>0.55600000000000005</c:v>
                </c:pt>
                <c:pt idx="5193">
                  <c:v>0.436</c:v>
                </c:pt>
                <c:pt idx="5194">
                  <c:v>0.60399999999999998</c:v>
                </c:pt>
                <c:pt idx="5195">
                  <c:v>0.56299999999999994</c:v>
                </c:pt>
                <c:pt idx="5196">
                  <c:v>0.79200000000000004</c:v>
                </c:pt>
                <c:pt idx="5197">
                  <c:v>0.36299999999999999</c:v>
                </c:pt>
                <c:pt idx="5198">
                  <c:v>0.90400000000000003</c:v>
                </c:pt>
                <c:pt idx="5199">
                  <c:v>0.254</c:v>
                </c:pt>
                <c:pt idx="5200">
                  <c:v>0.57999999999999996</c:v>
                </c:pt>
                <c:pt idx="5201">
                  <c:v>0.66400000000000003</c:v>
                </c:pt>
                <c:pt idx="5202">
                  <c:v>0.627</c:v>
                </c:pt>
                <c:pt idx="5203">
                  <c:v>0.38900000000000001</c:v>
                </c:pt>
                <c:pt idx="5204">
                  <c:v>0.66200000000000003</c:v>
                </c:pt>
                <c:pt idx="5205">
                  <c:v>0.53</c:v>
                </c:pt>
                <c:pt idx="5206">
                  <c:v>0.48599999999999999</c:v>
                </c:pt>
                <c:pt idx="5207">
                  <c:v>0.42199999999999999</c:v>
                </c:pt>
                <c:pt idx="5208">
                  <c:v>0.94</c:v>
                </c:pt>
                <c:pt idx="5209">
                  <c:v>0.56399999999999995</c:v>
                </c:pt>
                <c:pt idx="5210">
                  <c:v>0.85099999999999998</c:v>
                </c:pt>
                <c:pt idx="5211">
                  <c:v>0.255</c:v>
                </c:pt>
                <c:pt idx="5212">
                  <c:v>0.41499999999999998</c:v>
                </c:pt>
                <c:pt idx="5213">
                  <c:v>0.78100000000000003</c:v>
                </c:pt>
                <c:pt idx="5214">
                  <c:v>0.46700000000000003</c:v>
                </c:pt>
                <c:pt idx="5215">
                  <c:v>0.68300000000000005</c:v>
                </c:pt>
                <c:pt idx="5216">
                  <c:v>0.86399999999999999</c:v>
                </c:pt>
                <c:pt idx="5217">
                  <c:v>0.318</c:v>
                </c:pt>
                <c:pt idx="5218">
                  <c:v>0.32600000000000001</c:v>
                </c:pt>
                <c:pt idx="5219">
                  <c:v>8.8999999999999996E-2</c:v>
                </c:pt>
                <c:pt idx="5220">
                  <c:v>0.498</c:v>
                </c:pt>
                <c:pt idx="5221">
                  <c:v>0.58699999999999997</c:v>
                </c:pt>
                <c:pt idx="5222">
                  <c:v>0.52900000000000003</c:v>
                </c:pt>
                <c:pt idx="5223">
                  <c:v>0.21299999999999999</c:v>
                </c:pt>
                <c:pt idx="5224">
                  <c:v>0.53100000000000003</c:v>
                </c:pt>
                <c:pt idx="5225">
                  <c:v>0.68300000000000005</c:v>
                </c:pt>
                <c:pt idx="5226">
                  <c:v>0.59099999999999997</c:v>
                </c:pt>
                <c:pt idx="5227">
                  <c:v>0.90900000000000003</c:v>
                </c:pt>
                <c:pt idx="5228">
                  <c:v>0.247</c:v>
                </c:pt>
                <c:pt idx="5229">
                  <c:v>0.16500000000000001</c:v>
                </c:pt>
                <c:pt idx="5230">
                  <c:v>0.496</c:v>
                </c:pt>
                <c:pt idx="5231">
                  <c:v>0.91400000000000003</c:v>
                </c:pt>
                <c:pt idx="5232">
                  <c:v>0.92600000000000005</c:v>
                </c:pt>
                <c:pt idx="5233">
                  <c:v>5.2999999999999999E-2</c:v>
                </c:pt>
                <c:pt idx="5234">
                  <c:v>0.35499999999999998</c:v>
                </c:pt>
                <c:pt idx="5235">
                  <c:v>0.69299999999999995</c:v>
                </c:pt>
                <c:pt idx="5236">
                  <c:v>0.91100000000000003</c:v>
                </c:pt>
                <c:pt idx="5237">
                  <c:v>0.86099999999999999</c:v>
                </c:pt>
                <c:pt idx="5238">
                  <c:v>0.55500000000000005</c:v>
                </c:pt>
                <c:pt idx="5239">
                  <c:v>0.90900000000000003</c:v>
                </c:pt>
                <c:pt idx="5240">
                  <c:v>0.307</c:v>
                </c:pt>
                <c:pt idx="5241">
                  <c:v>0.42</c:v>
                </c:pt>
                <c:pt idx="5242">
                  <c:v>0.88400000000000001</c:v>
                </c:pt>
                <c:pt idx="5243">
                  <c:v>0.23100000000000001</c:v>
                </c:pt>
                <c:pt idx="5244">
                  <c:v>0.69299999999999995</c:v>
                </c:pt>
                <c:pt idx="5245">
                  <c:v>0.89500000000000002</c:v>
                </c:pt>
                <c:pt idx="5246">
                  <c:v>0.98899999999999999</c:v>
                </c:pt>
                <c:pt idx="5247">
                  <c:v>0.88900000000000001</c:v>
                </c:pt>
                <c:pt idx="5248">
                  <c:v>0.26700000000000002</c:v>
                </c:pt>
                <c:pt idx="5249">
                  <c:v>0.40100000000000002</c:v>
                </c:pt>
                <c:pt idx="5250">
                  <c:v>0.35799999999999998</c:v>
                </c:pt>
                <c:pt idx="5251">
                  <c:v>0.35199999999999998</c:v>
                </c:pt>
                <c:pt idx="5252">
                  <c:v>0.48099999999999998</c:v>
                </c:pt>
                <c:pt idx="5253">
                  <c:v>0.95099999999999996</c:v>
                </c:pt>
                <c:pt idx="5254">
                  <c:v>0.48</c:v>
                </c:pt>
                <c:pt idx="5255">
                  <c:v>0.24099999999999999</c:v>
                </c:pt>
                <c:pt idx="5256">
                  <c:v>0.66</c:v>
                </c:pt>
                <c:pt idx="5257">
                  <c:v>0.25700000000000001</c:v>
                </c:pt>
                <c:pt idx="5258">
                  <c:v>0.42099999999999999</c:v>
                </c:pt>
                <c:pt idx="5259">
                  <c:v>0.59699999999999998</c:v>
                </c:pt>
                <c:pt idx="5260">
                  <c:v>0.89800000000000002</c:v>
                </c:pt>
                <c:pt idx="5261">
                  <c:v>0.59599999999999997</c:v>
                </c:pt>
                <c:pt idx="5262">
                  <c:v>0.71</c:v>
                </c:pt>
                <c:pt idx="5263">
                  <c:v>0.76200000000000001</c:v>
                </c:pt>
                <c:pt idx="5264">
                  <c:v>0.82699999999999996</c:v>
                </c:pt>
                <c:pt idx="5265">
                  <c:v>0.47399999999999998</c:v>
                </c:pt>
                <c:pt idx="5266">
                  <c:v>0.52500000000000002</c:v>
                </c:pt>
                <c:pt idx="5267">
                  <c:v>0.90300000000000002</c:v>
                </c:pt>
                <c:pt idx="5268">
                  <c:v>0.22800000000000001</c:v>
                </c:pt>
                <c:pt idx="5269">
                  <c:v>0.46800000000000003</c:v>
                </c:pt>
                <c:pt idx="5270">
                  <c:v>0.59399999999999997</c:v>
                </c:pt>
                <c:pt idx="5271">
                  <c:v>0.39500000000000002</c:v>
                </c:pt>
                <c:pt idx="5272">
                  <c:v>0.68400000000000005</c:v>
                </c:pt>
                <c:pt idx="5273">
                  <c:v>0.83099999999999996</c:v>
                </c:pt>
                <c:pt idx="5274">
                  <c:v>0.28399999999999997</c:v>
                </c:pt>
                <c:pt idx="5275">
                  <c:v>0.50800000000000001</c:v>
                </c:pt>
                <c:pt idx="5276">
                  <c:v>0.59</c:v>
                </c:pt>
                <c:pt idx="5277">
                  <c:v>0.90900000000000003</c:v>
                </c:pt>
                <c:pt idx="5278">
                  <c:v>0.7</c:v>
                </c:pt>
                <c:pt idx="5279">
                  <c:v>0.375</c:v>
                </c:pt>
                <c:pt idx="5280">
                  <c:v>0.39900000000000002</c:v>
                </c:pt>
                <c:pt idx="5281">
                  <c:v>0.44800000000000001</c:v>
                </c:pt>
                <c:pt idx="5282">
                  <c:v>0.46800000000000003</c:v>
                </c:pt>
                <c:pt idx="5283">
                  <c:v>0.52300000000000002</c:v>
                </c:pt>
                <c:pt idx="5284">
                  <c:v>0.91900000000000004</c:v>
                </c:pt>
                <c:pt idx="5285">
                  <c:v>0.48099999999999998</c:v>
                </c:pt>
                <c:pt idx="5286">
                  <c:v>0.79600000000000004</c:v>
                </c:pt>
                <c:pt idx="5287">
                  <c:v>0.63100000000000001</c:v>
                </c:pt>
                <c:pt idx="5288">
                  <c:v>0.22600000000000001</c:v>
                </c:pt>
                <c:pt idx="5289">
                  <c:v>0.91100000000000003</c:v>
                </c:pt>
                <c:pt idx="5290">
                  <c:v>0.627</c:v>
                </c:pt>
                <c:pt idx="5291">
                  <c:v>0.27800000000000002</c:v>
                </c:pt>
                <c:pt idx="5292">
                  <c:v>0.55300000000000005</c:v>
                </c:pt>
                <c:pt idx="5293">
                  <c:v>0.75600000000000001</c:v>
                </c:pt>
                <c:pt idx="5294">
                  <c:v>0.63200000000000001</c:v>
                </c:pt>
                <c:pt idx="5295">
                  <c:v>0.90200000000000002</c:v>
                </c:pt>
                <c:pt idx="5296">
                  <c:v>0.53700000000000003</c:v>
                </c:pt>
                <c:pt idx="5297">
                  <c:v>0.123</c:v>
                </c:pt>
                <c:pt idx="5298">
                  <c:v>0.91500000000000004</c:v>
                </c:pt>
                <c:pt idx="5299">
                  <c:v>0.39400000000000002</c:v>
                </c:pt>
                <c:pt idx="5300">
                  <c:v>0.78</c:v>
                </c:pt>
                <c:pt idx="5301">
                  <c:v>0.69099999999999995</c:v>
                </c:pt>
                <c:pt idx="5302">
                  <c:v>0.54200000000000004</c:v>
                </c:pt>
                <c:pt idx="5303">
                  <c:v>0.623</c:v>
                </c:pt>
                <c:pt idx="5304">
                  <c:v>0.72399999999999998</c:v>
                </c:pt>
                <c:pt idx="5305">
                  <c:v>0.45600000000000002</c:v>
                </c:pt>
                <c:pt idx="5306">
                  <c:v>0.50700000000000001</c:v>
                </c:pt>
                <c:pt idx="5307">
                  <c:v>0.52</c:v>
                </c:pt>
                <c:pt idx="5308">
                  <c:v>0.81799999999999995</c:v>
                </c:pt>
                <c:pt idx="5309">
                  <c:v>0.47599999999999998</c:v>
                </c:pt>
                <c:pt idx="5310">
                  <c:v>0.73599999999999999</c:v>
                </c:pt>
                <c:pt idx="5311">
                  <c:v>0.78200000000000003</c:v>
                </c:pt>
                <c:pt idx="5312">
                  <c:v>0.55800000000000005</c:v>
                </c:pt>
                <c:pt idx="5313">
                  <c:v>0.32</c:v>
                </c:pt>
                <c:pt idx="5314">
                  <c:v>0.72199999999999998</c:v>
                </c:pt>
                <c:pt idx="5315">
                  <c:v>0.438</c:v>
                </c:pt>
                <c:pt idx="5316">
                  <c:v>0.88700000000000001</c:v>
                </c:pt>
                <c:pt idx="5317">
                  <c:v>0.53500000000000003</c:v>
                </c:pt>
                <c:pt idx="5318">
                  <c:v>0.1</c:v>
                </c:pt>
                <c:pt idx="5319">
                  <c:v>0.69799999999999995</c:v>
                </c:pt>
                <c:pt idx="5320">
                  <c:v>0.52200000000000002</c:v>
                </c:pt>
                <c:pt idx="5321">
                  <c:v>0.755</c:v>
                </c:pt>
                <c:pt idx="5322">
                  <c:v>0.877</c:v>
                </c:pt>
                <c:pt idx="5323">
                  <c:v>0.88</c:v>
                </c:pt>
                <c:pt idx="5324">
                  <c:v>0.93300000000000005</c:v>
                </c:pt>
                <c:pt idx="5325">
                  <c:v>0.113</c:v>
                </c:pt>
                <c:pt idx="5326">
                  <c:v>0.36299999999999999</c:v>
                </c:pt>
                <c:pt idx="5327">
                  <c:v>0.44500000000000001</c:v>
                </c:pt>
                <c:pt idx="5328">
                  <c:v>0.372</c:v>
                </c:pt>
                <c:pt idx="5329">
                  <c:v>0.90300000000000002</c:v>
                </c:pt>
                <c:pt idx="5330">
                  <c:v>0.27800000000000002</c:v>
                </c:pt>
                <c:pt idx="5331">
                  <c:v>0.20399999999999999</c:v>
                </c:pt>
                <c:pt idx="5332">
                  <c:v>0.91600000000000004</c:v>
                </c:pt>
                <c:pt idx="5333">
                  <c:v>0.56999999999999995</c:v>
                </c:pt>
                <c:pt idx="5334">
                  <c:v>5.5E-2</c:v>
                </c:pt>
                <c:pt idx="5335">
                  <c:v>0.13100000000000001</c:v>
                </c:pt>
                <c:pt idx="5336">
                  <c:v>0.38700000000000001</c:v>
                </c:pt>
                <c:pt idx="5337">
                  <c:v>0.49</c:v>
                </c:pt>
                <c:pt idx="5338">
                  <c:v>0.66600000000000004</c:v>
                </c:pt>
                <c:pt idx="5339">
                  <c:v>0.72</c:v>
                </c:pt>
                <c:pt idx="5340">
                  <c:v>0.67500000000000004</c:v>
                </c:pt>
                <c:pt idx="5341">
                  <c:v>0.36</c:v>
                </c:pt>
                <c:pt idx="5342">
                  <c:v>0.69399999999999995</c:v>
                </c:pt>
                <c:pt idx="5343">
                  <c:v>0.69799999999999995</c:v>
                </c:pt>
                <c:pt idx="5344">
                  <c:v>0.41799999999999998</c:v>
                </c:pt>
                <c:pt idx="5345">
                  <c:v>0.35199999999999998</c:v>
                </c:pt>
                <c:pt idx="5346">
                  <c:v>0.46100000000000002</c:v>
                </c:pt>
                <c:pt idx="5347">
                  <c:v>0.51400000000000001</c:v>
                </c:pt>
                <c:pt idx="5348">
                  <c:v>0.56499999999999995</c:v>
                </c:pt>
                <c:pt idx="5349">
                  <c:v>0.42</c:v>
                </c:pt>
                <c:pt idx="5350">
                  <c:v>0.73099999999999998</c:v>
                </c:pt>
                <c:pt idx="5351">
                  <c:v>0.64600000000000002</c:v>
                </c:pt>
                <c:pt idx="5352">
                  <c:v>1</c:v>
                </c:pt>
                <c:pt idx="5353">
                  <c:v>0.59899999999999998</c:v>
                </c:pt>
                <c:pt idx="5354">
                  <c:v>0.73299999999999998</c:v>
                </c:pt>
                <c:pt idx="5355">
                  <c:v>0.107</c:v>
                </c:pt>
                <c:pt idx="5356">
                  <c:v>0.45400000000000001</c:v>
                </c:pt>
                <c:pt idx="5357">
                  <c:v>0.89200000000000002</c:v>
                </c:pt>
                <c:pt idx="5358">
                  <c:v>8.5999999999999993E-2</c:v>
                </c:pt>
                <c:pt idx="5359">
                  <c:v>0.624</c:v>
                </c:pt>
                <c:pt idx="5360">
                  <c:v>0.624</c:v>
                </c:pt>
                <c:pt idx="5361">
                  <c:v>0.8</c:v>
                </c:pt>
                <c:pt idx="5362">
                  <c:v>0.30199999999999999</c:v>
                </c:pt>
                <c:pt idx="5363">
                  <c:v>0.153</c:v>
                </c:pt>
                <c:pt idx="5364">
                  <c:v>0.33100000000000002</c:v>
                </c:pt>
                <c:pt idx="5365">
                  <c:v>0.51200000000000001</c:v>
                </c:pt>
                <c:pt idx="5366">
                  <c:v>0.56100000000000005</c:v>
                </c:pt>
                <c:pt idx="5367">
                  <c:v>0.20300000000000001</c:v>
                </c:pt>
                <c:pt idx="5368">
                  <c:v>0.65300000000000002</c:v>
                </c:pt>
                <c:pt idx="5369">
                  <c:v>0.38800000000000001</c:v>
                </c:pt>
                <c:pt idx="5370">
                  <c:v>0.64500000000000002</c:v>
                </c:pt>
                <c:pt idx="5371">
                  <c:v>0.217</c:v>
                </c:pt>
                <c:pt idx="5372">
                  <c:v>0.39500000000000002</c:v>
                </c:pt>
                <c:pt idx="5373">
                  <c:v>0.52700000000000002</c:v>
                </c:pt>
                <c:pt idx="5374">
                  <c:v>0.746</c:v>
                </c:pt>
                <c:pt idx="5375">
                  <c:v>0.83499999999999996</c:v>
                </c:pt>
                <c:pt idx="5376">
                  <c:v>0.80900000000000005</c:v>
                </c:pt>
                <c:pt idx="5377">
                  <c:v>0.42</c:v>
                </c:pt>
                <c:pt idx="5378">
                  <c:v>0.442</c:v>
                </c:pt>
                <c:pt idx="5379">
                  <c:v>0.505</c:v>
                </c:pt>
                <c:pt idx="5380">
                  <c:v>0.43</c:v>
                </c:pt>
                <c:pt idx="5381">
                  <c:v>0.17499999999999999</c:v>
                </c:pt>
                <c:pt idx="5382">
                  <c:v>0.27</c:v>
                </c:pt>
                <c:pt idx="5383">
                  <c:v>0.69699999999999995</c:v>
                </c:pt>
                <c:pt idx="5384">
                  <c:v>0.48499999999999999</c:v>
                </c:pt>
                <c:pt idx="5385">
                  <c:v>0.76100000000000001</c:v>
                </c:pt>
                <c:pt idx="5386">
                  <c:v>0.22700000000000001</c:v>
                </c:pt>
                <c:pt idx="5387">
                  <c:v>0.36199999999999999</c:v>
                </c:pt>
                <c:pt idx="5388">
                  <c:v>0.77100000000000002</c:v>
                </c:pt>
                <c:pt idx="5389">
                  <c:v>0.505</c:v>
                </c:pt>
                <c:pt idx="5390">
                  <c:v>0.63700000000000001</c:v>
                </c:pt>
                <c:pt idx="5391">
                  <c:v>0.33300000000000002</c:v>
                </c:pt>
                <c:pt idx="5392">
                  <c:v>0.438</c:v>
                </c:pt>
                <c:pt idx="5393">
                  <c:v>0.53400000000000003</c:v>
                </c:pt>
                <c:pt idx="5394">
                  <c:v>0.69799999999999995</c:v>
                </c:pt>
                <c:pt idx="5395">
                  <c:v>0.109</c:v>
                </c:pt>
                <c:pt idx="5396">
                  <c:v>0.38100000000000001</c:v>
                </c:pt>
                <c:pt idx="5397">
                  <c:v>0.53</c:v>
                </c:pt>
                <c:pt idx="5398">
                  <c:v>0.57099999999999995</c:v>
                </c:pt>
                <c:pt idx="5399">
                  <c:v>0.19700000000000001</c:v>
                </c:pt>
                <c:pt idx="5400">
                  <c:v>0.32700000000000001</c:v>
                </c:pt>
                <c:pt idx="5401">
                  <c:v>0.55900000000000005</c:v>
                </c:pt>
                <c:pt idx="5402">
                  <c:v>0.68700000000000006</c:v>
                </c:pt>
                <c:pt idx="5403">
                  <c:v>0.61399999999999999</c:v>
                </c:pt>
                <c:pt idx="5404">
                  <c:v>0.41</c:v>
                </c:pt>
                <c:pt idx="5405">
                  <c:v>0.94599999999999995</c:v>
                </c:pt>
                <c:pt idx="5406">
                  <c:v>0.61699999999999999</c:v>
                </c:pt>
                <c:pt idx="5407">
                  <c:v>0.755</c:v>
                </c:pt>
                <c:pt idx="5408">
                  <c:v>0.36499999999999999</c:v>
                </c:pt>
                <c:pt idx="5409">
                  <c:v>0.63700000000000001</c:v>
                </c:pt>
                <c:pt idx="5410">
                  <c:v>0.47299999999999998</c:v>
                </c:pt>
                <c:pt idx="5411">
                  <c:v>0.67800000000000005</c:v>
                </c:pt>
                <c:pt idx="5412">
                  <c:v>0.58399999999999996</c:v>
                </c:pt>
                <c:pt idx="5413">
                  <c:v>0.75900000000000001</c:v>
                </c:pt>
                <c:pt idx="5414">
                  <c:v>0.89</c:v>
                </c:pt>
                <c:pt idx="5415">
                  <c:v>0.29899999999999999</c:v>
                </c:pt>
                <c:pt idx="5416">
                  <c:v>0.378</c:v>
                </c:pt>
                <c:pt idx="5417">
                  <c:v>0.46400000000000002</c:v>
                </c:pt>
                <c:pt idx="5418">
                  <c:v>0.63</c:v>
                </c:pt>
                <c:pt idx="5419">
                  <c:v>0.41</c:v>
                </c:pt>
                <c:pt idx="5420">
                  <c:v>0.50700000000000001</c:v>
                </c:pt>
                <c:pt idx="5421">
                  <c:v>0.96</c:v>
                </c:pt>
                <c:pt idx="5422">
                  <c:v>0.23300000000000001</c:v>
                </c:pt>
                <c:pt idx="5423">
                  <c:v>0.40600000000000003</c:v>
                </c:pt>
                <c:pt idx="5424">
                  <c:v>0.35099999999999998</c:v>
                </c:pt>
                <c:pt idx="5425">
                  <c:v>0.90500000000000003</c:v>
                </c:pt>
                <c:pt idx="5426">
                  <c:v>0.14299999999999999</c:v>
                </c:pt>
                <c:pt idx="5427">
                  <c:v>0.54</c:v>
                </c:pt>
                <c:pt idx="5428">
                  <c:v>0.442</c:v>
                </c:pt>
                <c:pt idx="5429">
                  <c:v>0.2</c:v>
                </c:pt>
                <c:pt idx="5430">
                  <c:v>0.46600000000000003</c:v>
                </c:pt>
                <c:pt idx="5431">
                  <c:v>0.95599999999999996</c:v>
                </c:pt>
                <c:pt idx="5432">
                  <c:v>0.499</c:v>
                </c:pt>
                <c:pt idx="5433">
                  <c:v>0.95099999999999996</c:v>
                </c:pt>
                <c:pt idx="5434">
                  <c:v>0.86099999999999999</c:v>
                </c:pt>
                <c:pt idx="5435">
                  <c:v>0.65100000000000002</c:v>
                </c:pt>
                <c:pt idx="5436">
                  <c:v>0.96</c:v>
                </c:pt>
                <c:pt idx="5437">
                  <c:v>0.38900000000000001</c:v>
                </c:pt>
                <c:pt idx="5438">
                  <c:v>0.29799999999999999</c:v>
                </c:pt>
                <c:pt idx="5439">
                  <c:v>0.755</c:v>
                </c:pt>
                <c:pt idx="5440">
                  <c:v>2.8000000000000001E-2</c:v>
                </c:pt>
                <c:pt idx="5441">
                  <c:v>0.03</c:v>
                </c:pt>
                <c:pt idx="5442">
                  <c:v>0.03</c:v>
                </c:pt>
                <c:pt idx="5443">
                  <c:v>4.8000000000000001E-2</c:v>
                </c:pt>
                <c:pt idx="5444">
                  <c:v>9.9000000000000005E-2</c:v>
                </c:pt>
                <c:pt idx="5445">
                  <c:v>0.182</c:v>
                </c:pt>
                <c:pt idx="5446">
                  <c:v>0.23499999999999999</c:v>
                </c:pt>
                <c:pt idx="5447">
                  <c:v>0.253</c:v>
                </c:pt>
                <c:pt idx="5448">
                  <c:v>0.27600000000000002</c:v>
                </c:pt>
                <c:pt idx="5449">
                  <c:v>0.30199999999999999</c:v>
                </c:pt>
                <c:pt idx="5450">
                  <c:v>0.31900000000000001</c:v>
                </c:pt>
                <c:pt idx="5451">
                  <c:v>0.33500000000000002</c:v>
                </c:pt>
                <c:pt idx="5452">
                  <c:v>0.39</c:v>
                </c:pt>
                <c:pt idx="5453">
                  <c:v>0.41299999999999998</c:v>
                </c:pt>
                <c:pt idx="5454">
                  <c:v>0.432</c:v>
                </c:pt>
                <c:pt idx="5455">
                  <c:v>0.438</c:v>
                </c:pt>
                <c:pt idx="5456">
                  <c:v>0.44800000000000001</c:v>
                </c:pt>
                <c:pt idx="5457">
                  <c:v>0.45600000000000002</c:v>
                </c:pt>
                <c:pt idx="5458">
                  <c:v>0.47399999999999998</c:v>
                </c:pt>
                <c:pt idx="5459">
                  <c:v>0.48</c:v>
                </c:pt>
                <c:pt idx="5460">
                  <c:v>0.61499999999999999</c:v>
                </c:pt>
                <c:pt idx="5461">
                  <c:v>0.64300000000000002</c:v>
                </c:pt>
                <c:pt idx="5462">
                  <c:v>0.66800000000000004</c:v>
                </c:pt>
                <c:pt idx="5463">
                  <c:v>0.77</c:v>
                </c:pt>
                <c:pt idx="5464">
                  <c:v>0.82</c:v>
                </c:pt>
                <c:pt idx="5465">
                  <c:v>0.79200000000000004</c:v>
                </c:pt>
                <c:pt idx="5466">
                  <c:v>0.67500000000000004</c:v>
                </c:pt>
                <c:pt idx="5467">
                  <c:v>0.254</c:v>
                </c:pt>
                <c:pt idx="5468">
                  <c:v>0.77200000000000002</c:v>
                </c:pt>
                <c:pt idx="5469">
                  <c:v>0.98899999999999999</c:v>
                </c:pt>
                <c:pt idx="5470">
                  <c:v>0.71399999999999997</c:v>
                </c:pt>
                <c:pt idx="5471">
                  <c:v>0.82</c:v>
                </c:pt>
                <c:pt idx="5472">
                  <c:v>0.92400000000000004</c:v>
                </c:pt>
                <c:pt idx="5473">
                  <c:v>0.60299999999999998</c:v>
                </c:pt>
                <c:pt idx="5474">
                  <c:v>0.75800000000000001</c:v>
                </c:pt>
                <c:pt idx="5475">
                  <c:v>0.497</c:v>
                </c:pt>
                <c:pt idx="5476">
                  <c:v>0.109</c:v>
                </c:pt>
                <c:pt idx="5477">
                  <c:v>0.35399999999999998</c:v>
                </c:pt>
                <c:pt idx="5478">
                  <c:v>0.64500000000000002</c:v>
                </c:pt>
                <c:pt idx="5479">
                  <c:v>0.81</c:v>
                </c:pt>
                <c:pt idx="5480">
                  <c:v>0.56299999999999994</c:v>
                </c:pt>
                <c:pt idx="5481">
                  <c:v>0.503</c:v>
                </c:pt>
                <c:pt idx="5482">
                  <c:v>0.68600000000000005</c:v>
                </c:pt>
                <c:pt idx="5483">
                  <c:v>0.53100000000000003</c:v>
                </c:pt>
                <c:pt idx="5484">
                  <c:v>0.90600000000000003</c:v>
                </c:pt>
                <c:pt idx="5485">
                  <c:v>0.33700000000000002</c:v>
                </c:pt>
                <c:pt idx="5486">
                  <c:v>0.72799999999999998</c:v>
                </c:pt>
                <c:pt idx="5487">
                  <c:v>0.54900000000000004</c:v>
                </c:pt>
                <c:pt idx="5488">
                  <c:v>1</c:v>
                </c:pt>
                <c:pt idx="5489">
                  <c:v>0.34699999999999998</c:v>
                </c:pt>
                <c:pt idx="5490">
                  <c:v>0.52600000000000002</c:v>
                </c:pt>
                <c:pt idx="5491">
                  <c:v>0.53700000000000003</c:v>
                </c:pt>
                <c:pt idx="5492">
                  <c:v>0.40799999999999997</c:v>
                </c:pt>
                <c:pt idx="5493">
                  <c:v>0.69599999999999995</c:v>
                </c:pt>
                <c:pt idx="5494">
                  <c:v>0.47299999999999998</c:v>
                </c:pt>
                <c:pt idx="5495">
                  <c:v>0.42</c:v>
                </c:pt>
                <c:pt idx="5496">
                  <c:v>0.42399999999999999</c:v>
                </c:pt>
                <c:pt idx="5497">
                  <c:v>0.752</c:v>
                </c:pt>
                <c:pt idx="5498">
                  <c:v>0.747</c:v>
                </c:pt>
                <c:pt idx="5499">
                  <c:v>0.93200000000000005</c:v>
                </c:pt>
                <c:pt idx="5500">
                  <c:v>0.436</c:v>
                </c:pt>
                <c:pt idx="5501">
                  <c:v>0.85299999999999998</c:v>
                </c:pt>
                <c:pt idx="5502">
                  <c:v>0.44800000000000001</c:v>
                </c:pt>
                <c:pt idx="5503">
                  <c:v>0.63100000000000001</c:v>
                </c:pt>
                <c:pt idx="5504">
                  <c:v>0.92600000000000005</c:v>
                </c:pt>
                <c:pt idx="5505">
                  <c:v>0.39900000000000002</c:v>
                </c:pt>
                <c:pt idx="5506">
                  <c:v>0.53700000000000003</c:v>
                </c:pt>
                <c:pt idx="5507">
                  <c:v>0.09</c:v>
                </c:pt>
                <c:pt idx="5508">
                  <c:v>0.877</c:v>
                </c:pt>
                <c:pt idx="5509">
                  <c:v>0.32700000000000001</c:v>
                </c:pt>
                <c:pt idx="5510">
                  <c:v>0.35499999999999998</c:v>
                </c:pt>
                <c:pt idx="5511">
                  <c:v>0.54500000000000004</c:v>
                </c:pt>
                <c:pt idx="5512">
                  <c:v>0.152</c:v>
                </c:pt>
                <c:pt idx="5513">
                  <c:v>0.17499999999999999</c:v>
                </c:pt>
                <c:pt idx="5514">
                  <c:v>0.47399999999999998</c:v>
                </c:pt>
                <c:pt idx="5515">
                  <c:v>0.69599999999999995</c:v>
                </c:pt>
                <c:pt idx="5516">
                  <c:v>0.745</c:v>
                </c:pt>
                <c:pt idx="5517">
                  <c:v>0.80300000000000005</c:v>
                </c:pt>
                <c:pt idx="5518">
                  <c:v>0.23400000000000001</c:v>
                </c:pt>
                <c:pt idx="5519">
                  <c:v>0.65500000000000003</c:v>
                </c:pt>
                <c:pt idx="5520">
                  <c:v>0.80500000000000005</c:v>
                </c:pt>
                <c:pt idx="5521">
                  <c:v>0.48199999999999998</c:v>
                </c:pt>
                <c:pt idx="5522">
                  <c:v>0.57999999999999996</c:v>
                </c:pt>
                <c:pt idx="5523">
                  <c:v>0.36499999999999999</c:v>
                </c:pt>
                <c:pt idx="5524">
                  <c:v>0.159</c:v>
                </c:pt>
                <c:pt idx="5525">
                  <c:v>0.59199999999999997</c:v>
                </c:pt>
                <c:pt idx="5526">
                  <c:v>0.36699999999999999</c:v>
                </c:pt>
                <c:pt idx="5527">
                  <c:v>0.56299999999999994</c:v>
                </c:pt>
                <c:pt idx="5528">
                  <c:v>0.91600000000000004</c:v>
                </c:pt>
                <c:pt idx="5529">
                  <c:v>0.52400000000000002</c:v>
                </c:pt>
                <c:pt idx="5530">
                  <c:v>0.33</c:v>
                </c:pt>
                <c:pt idx="5531">
                  <c:v>0.42499999999999999</c:v>
                </c:pt>
                <c:pt idx="5532">
                  <c:v>0.52800000000000002</c:v>
                </c:pt>
                <c:pt idx="5533">
                  <c:v>0.73199999999999998</c:v>
                </c:pt>
                <c:pt idx="5534">
                  <c:v>0.26300000000000001</c:v>
                </c:pt>
                <c:pt idx="5535">
                  <c:v>0.91100000000000003</c:v>
                </c:pt>
                <c:pt idx="5536">
                  <c:v>0.71199999999999997</c:v>
                </c:pt>
                <c:pt idx="5537">
                  <c:v>0.14299999999999999</c:v>
                </c:pt>
                <c:pt idx="5538">
                  <c:v>0.159</c:v>
                </c:pt>
                <c:pt idx="5539">
                  <c:v>0.29499999999999998</c:v>
                </c:pt>
                <c:pt idx="5540">
                  <c:v>0.438</c:v>
                </c:pt>
                <c:pt idx="5541">
                  <c:v>0.68300000000000005</c:v>
                </c:pt>
                <c:pt idx="5542">
                  <c:v>0.496</c:v>
                </c:pt>
                <c:pt idx="5543">
                  <c:v>0.41699999999999998</c:v>
                </c:pt>
                <c:pt idx="5544">
                  <c:v>0.95099999999999996</c:v>
                </c:pt>
                <c:pt idx="5545">
                  <c:v>0.82899999999999996</c:v>
                </c:pt>
                <c:pt idx="5546">
                  <c:v>0.158</c:v>
                </c:pt>
                <c:pt idx="5547">
                  <c:v>0.442</c:v>
                </c:pt>
                <c:pt idx="5548">
                  <c:v>0.63</c:v>
                </c:pt>
                <c:pt idx="5549">
                  <c:v>0.46600000000000003</c:v>
                </c:pt>
                <c:pt idx="5550">
                  <c:v>0.29899999999999999</c:v>
                </c:pt>
                <c:pt idx="5551">
                  <c:v>0.107</c:v>
                </c:pt>
                <c:pt idx="5552">
                  <c:v>0.39400000000000002</c:v>
                </c:pt>
                <c:pt idx="5553">
                  <c:v>0.47199999999999998</c:v>
                </c:pt>
                <c:pt idx="5554">
                  <c:v>0.86699999999999999</c:v>
                </c:pt>
                <c:pt idx="5555">
                  <c:v>0.75900000000000001</c:v>
                </c:pt>
                <c:pt idx="5556">
                  <c:v>0.8</c:v>
                </c:pt>
                <c:pt idx="5557">
                  <c:v>0.83699999999999997</c:v>
                </c:pt>
                <c:pt idx="5558">
                  <c:v>0.49</c:v>
                </c:pt>
                <c:pt idx="5559">
                  <c:v>0.40600000000000003</c:v>
                </c:pt>
                <c:pt idx="5560">
                  <c:v>0.84199999999999997</c:v>
                </c:pt>
                <c:pt idx="5561">
                  <c:v>8.5000000000000006E-2</c:v>
                </c:pt>
                <c:pt idx="5562">
                  <c:v>0.84199999999999997</c:v>
                </c:pt>
                <c:pt idx="5563">
                  <c:v>0.55800000000000005</c:v>
                </c:pt>
                <c:pt idx="5564">
                  <c:v>0.13700000000000001</c:v>
                </c:pt>
                <c:pt idx="5565">
                  <c:v>0.23699999999999999</c:v>
                </c:pt>
                <c:pt idx="5566">
                  <c:v>0.27400000000000002</c:v>
                </c:pt>
                <c:pt idx="5567">
                  <c:v>0.24099999999999999</c:v>
                </c:pt>
                <c:pt idx="5568">
                  <c:v>0.748</c:v>
                </c:pt>
                <c:pt idx="5569">
                  <c:v>0.57899999999999996</c:v>
                </c:pt>
                <c:pt idx="5570">
                  <c:v>0.41199999999999998</c:v>
                </c:pt>
                <c:pt idx="5571">
                  <c:v>0.34699999999999998</c:v>
                </c:pt>
                <c:pt idx="5572">
                  <c:v>0.55700000000000005</c:v>
                </c:pt>
                <c:pt idx="5573">
                  <c:v>0.251</c:v>
                </c:pt>
                <c:pt idx="5574">
                  <c:v>0.72299999999999998</c:v>
                </c:pt>
                <c:pt idx="5575">
                  <c:v>0.52500000000000002</c:v>
                </c:pt>
                <c:pt idx="5576">
                  <c:v>0.379</c:v>
                </c:pt>
                <c:pt idx="5577">
                  <c:v>0.52200000000000002</c:v>
                </c:pt>
                <c:pt idx="5578">
                  <c:v>9.7000000000000003E-2</c:v>
                </c:pt>
                <c:pt idx="5579">
                  <c:v>0.79300000000000004</c:v>
                </c:pt>
                <c:pt idx="5580">
                  <c:v>0.316</c:v>
                </c:pt>
                <c:pt idx="5581">
                  <c:v>0.93200000000000005</c:v>
                </c:pt>
                <c:pt idx="5582">
                  <c:v>0.76</c:v>
                </c:pt>
                <c:pt idx="5583">
                  <c:v>0.13</c:v>
                </c:pt>
                <c:pt idx="5584">
                  <c:v>0.57099999999999995</c:v>
                </c:pt>
                <c:pt idx="5585">
                  <c:v>0.749</c:v>
                </c:pt>
                <c:pt idx="5586">
                  <c:v>0.81799999999999995</c:v>
                </c:pt>
                <c:pt idx="5587">
                  <c:v>0.36199999999999999</c:v>
                </c:pt>
                <c:pt idx="5588">
                  <c:v>0.66800000000000004</c:v>
                </c:pt>
                <c:pt idx="5589">
                  <c:v>0.42199999999999999</c:v>
                </c:pt>
                <c:pt idx="5590">
                  <c:v>0.32</c:v>
                </c:pt>
                <c:pt idx="5591">
                  <c:v>0.73</c:v>
                </c:pt>
                <c:pt idx="5592">
                  <c:v>0.56299999999999994</c:v>
                </c:pt>
                <c:pt idx="5593">
                  <c:v>0.159</c:v>
                </c:pt>
                <c:pt idx="5594">
                  <c:v>0.48699999999999999</c:v>
                </c:pt>
                <c:pt idx="5595">
                  <c:v>0.77600000000000002</c:v>
                </c:pt>
                <c:pt idx="5596">
                  <c:v>0.90100000000000002</c:v>
                </c:pt>
                <c:pt idx="5597">
                  <c:v>0.499</c:v>
                </c:pt>
                <c:pt idx="5598">
                  <c:v>0.80900000000000005</c:v>
                </c:pt>
                <c:pt idx="5599">
                  <c:v>0.80300000000000005</c:v>
                </c:pt>
                <c:pt idx="5600">
                  <c:v>0.45400000000000001</c:v>
                </c:pt>
                <c:pt idx="5601">
                  <c:v>0.79100000000000004</c:v>
                </c:pt>
                <c:pt idx="5602">
                  <c:v>0.67300000000000004</c:v>
                </c:pt>
                <c:pt idx="5603">
                  <c:v>0.223</c:v>
                </c:pt>
                <c:pt idx="5604">
                  <c:v>0.64400000000000002</c:v>
                </c:pt>
                <c:pt idx="5605">
                  <c:v>0.73799999999999999</c:v>
                </c:pt>
                <c:pt idx="5606">
                  <c:v>0.91400000000000003</c:v>
                </c:pt>
                <c:pt idx="5607">
                  <c:v>0.86499999999999999</c:v>
                </c:pt>
                <c:pt idx="5608">
                  <c:v>0.96</c:v>
                </c:pt>
                <c:pt idx="5609">
                  <c:v>9.5000000000000001E-2</c:v>
                </c:pt>
                <c:pt idx="5610">
                  <c:v>0.63300000000000001</c:v>
                </c:pt>
                <c:pt idx="5611">
                  <c:v>0.32400000000000001</c:v>
                </c:pt>
                <c:pt idx="5612">
                  <c:v>0.78800000000000003</c:v>
                </c:pt>
                <c:pt idx="5613">
                  <c:v>0.65800000000000003</c:v>
                </c:pt>
                <c:pt idx="5614">
                  <c:v>0.26200000000000001</c:v>
                </c:pt>
                <c:pt idx="5615">
                  <c:v>0.39600000000000002</c:v>
                </c:pt>
                <c:pt idx="5616">
                  <c:v>0.89100000000000001</c:v>
                </c:pt>
                <c:pt idx="5617">
                  <c:v>0.77500000000000002</c:v>
                </c:pt>
                <c:pt idx="5618">
                  <c:v>0.872</c:v>
                </c:pt>
                <c:pt idx="5619">
                  <c:v>0.34599999999999997</c:v>
                </c:pt>
                <c:pt idx="5620">
                  <c:v>0.56399999999999995</c:v>
                </c:pt>
                <c:pt idx="5621">
                  <c:v>0.71499999999999997</c:v>
                </c:pt>
                <c:pt idx="5622">
                  <c:v>0.24299999999999999</c:v>
                </c:pt>
                <c:pt idx="5623">
                  <c:v>0.39400000000000002</c:v>
                </c:pt>
                <c:pt idx="5624">
                  <c:v>0.95699999999999996</c:v>
                </c:pt>
                <c:pt idx="5625">
                  <c:v>0.70699999999999996</c:v>
                </c:pt>
                <c:pt idx="5626">
                  <c:v>0.48</c:v>
                </c:pt>
                <c:pt idx="5627">
                  <c:v>0.35699999999999998</c:v>
                </c:pt>
                <c:pt idx="5628">
                  <c:v>0.61699999999999999</c:v>
                </c:pt>
                <c:pt idx="5629">
                  <c:v>0.63300000000000001</c:v>
                </c:pt>
                <c:pt idx="5630">
                  <c:v>0.26300000000000001</c:v>
                </c:pt>
                <c:pt idx="5631">
                  <c:v>0.95699999999999996</c:v>
                </c:pt>
                <c:pt idx="5632">
                  <c:v>0.52700000000000002</c:v>
                </c:pt>
                <c:pt idx="5633">
                  <c:v>0.63600000000000001</c:v>
                </c:pt>
                <c:pt idx="5634">
                  <c:v>0.41</c:v>
                </c:pt>
                <c:pt idx="5635">
                  <c:v>0.878</c:v>
                </c:pt>
                <c:pt idx="5636">
                  <c:v>0.53300000000000003</c:v>
                </c:pt>
                <c:pt idx="5637">
                  <c:v>9.6000000000000002E-2</c:v>
                </c:pt>
                <c:pt idx="5638">
                  <c:v>0.70699999999999996</c:v>
                </c:pt>
                <c:pt idx="5639">
                  <c:v>0.31900000000000001</c:v>
                </c:pt>
                <c:pt idx="5640">
                  <c:v>0.68400000000000005</c:v>
                </c:pt>
                <c:pt idx="5641">
                  <c:v>0.60199999999999998</c:v>
                </c:pt>
                <c:pt idx="5642">
                  <c:v>0.13900000000000001</c:v>
                </c:pt>
                <c:pt idx="5643">
                  <c:v>0.91800000000000004</c:v>
                </c:pt>
                <c:pt idx="5644">
                  <c:v>0.184</c:v>
                </c:pt>
                <c:pt idx="5645">
                  <c:v>0.42599999999999999</c:v>
                </c:pt>
                <c:pt idx="5646">
                  <c:v>0.70699999999999996</c:v>
                </c:pt>
                <c:pt idx="5647">
                  <c:v>0.27900000000000003</c:v>
                </c:pt>
                <c:pt idx="5648">
                  <c:v>0.45300000000000001</c:v>
                </c:pt>
                <c:pt idx="5649">
                  <c:v>0.4</c:v>
                </c:pt>
                <c:pt idx="5650">
                  <c:v>0.69699999999999995</c:v>
                </c:pt>
                <c:pt idx="5651">
                  <c:v>0.39900000000000002</c:v>
                </c:pt>
                <c:pt idx="5652">
                  <c:v>0.504</c:v>
                </c:pt>
                <c:pt idx="5653">
                  <c:v>0.77400000000000002</c:v>
                </c:pt>
                <c:pt idx="5654">
                  <c:v>0.32600000000000001</c:v>
                </c:pt>
                <c:pt idx="5655">
                  <c:v>0.253</c:v>
                </c:pt>
                <c:pt idx="5656">
                  <c:v>0.96799999999999997</c:v>
                </c:pt>
                <c:pt idx="5657">
                  <c:v>0.56799999999999995</c:v>
                </c:pt>
                <c:pt idx="5658">
                  <c:v>0.27200000000000002</c:v>
                </c:pt>
                <c:pt idx="5659">
                  <c:v>0.81799999999999995</c:v>
                </c:pt>
                <c:pt idx="5660">
                  <c:v>0.24299999999999999</c:v>
                </c:pt>
                <c:pt idx="5661">
                  <c:v>0.38700000000000001</c:v>
                </c:pt>
                <c:pt idx="5662">
                  <c:v>0.41299999999999998</c:v>
                </c:pt>
                <c:pt idx="5663">
                  <c:v>0.92</c:v>
                </c:pt>
                <c:pt idx="5664">
                  <c:v>0.47</c:v>
                </c:pt>
                <c:pt idx="5665">
                  <c:v>0.85199999999999998</c:v>
                </c:pt>
                <c:pt idx="5666">
                  <c:v>0.64500000000000002</c:v>
                </c:pt>
                <c:pt idx="5667">
                  <c:v>0.56699999999999995</c:v>
                </c:pt>
                <c:pt idx="5668">
                  <c:v>0.90600000000000003</c:v>
                </c:pt>
                <c:pt idx="5669">
                  <c:v>0.45100000000000001</c:v>
                </c:pt>
                <c:pt idx="5670">
                  <c:v>0.28499999999999998</c:v>
                </c:pt>
                <c:pt idx="5671">
                  <c:v>0.39200000000000002</c:v>
                </c:pt>
                <c:pt idx="5672">
                  <c:v>0.93200000000000005</c:v>
                </c:pt>
                <c:pt idx="5673">
                  <c:v>0.85799999999999998</c:v>
                </c:pt>
                <c:pt idx="5674">
                  <c:v>0.36499999999999999</c:v>
                </c:pt>
                <c:pt idx="5675">
                  <c:v>0.47399999999999998</c:v>
                </c:pt>
                <c:pt idx="5676">
                  <c:v>0.44900000000000001</c:v>
                </c:pt>
                <c:pt idx="5677">
                  <c:v>0.66</c:v>
                </c:pt>
                <c:pt idx="5678">
                  <c:v>0.90100000000000002</c:v>
                </c:pt>
                <c:pt idx="5679">
                  <c:v>0.81699999999999995</c:v>
                </c:pt>
                <c:pt idx="5680">
                  <c:v>0.52600000000000002</c:v>
                </c:pt>
                <c:pt idx="5681">
                  <c:v>0.51600000000000001</c:v>
                </c:pt>
                <c:pt idx="5682">
                  <c:v>0.80900000000000005</c:v>
                </c:pt>
                <c:pt idx="5683">
                  <c:v>0.66800000000000004</c:v>
                </c:pt>
                <c:pt idx="5684">
                  <c:v>0.23200000000000001</c:v>
                </c:pt>
                <c:pt idx="5685">
                  <c:v>0.55000000000000004</c:v>
                </c:pt>
                <c:pt idx="5686">
                  <c:v>0.89200000000000002</c:v>
                </c:pt>
                <c:pt idx="5687">
                  <c:v>0.34300000000000003</c:v>
                </c:pt>
                <c:pt idx="5688">
                  <c:v>0.45600000000000002</c:v>
                </c:pt>
                <c:pt idx="5689">
                  <c:v>0.84899999999999998</c:v>
                </c:pt>
                <c:pt idx="5690">
                  <c:v>0.78</c:v>
                </c:pt>
                <c:pt idx="5691">
                  <c:v>0.81699999999999995</c:v>
                </c:pt>
                <c:pt idx="5692">
                  <c:v>0.29599999999999999</c:v>
                </c:pt>
                <c:pt idx="5693">
                  <c:v>0.38900000000000001</c:v>
                </c:pt>
                <c:pt idx="5694">
                  <c:v>0.39500000000000002</c:v>
                </c:pt>
                <c:pt idx="5695">
                  <c:v>0.53800000000000003</c:v>
                </c:pt>
                <c:pt idx="5696">
                  <c:v>0.432</c:v>
                </c:pt>
                <c:pt idx="5697">
                  <c:v>0.622</c:v>
                </c:pt>
                <c:pt idx="5698">
                  <c:v>0.88700000000000001</c:v>
                </c:pt>
                <c:pt idx="5699">
                  <c:v>0.81299999999999994</c:v>
                </c:pt>
                <c:pt idx="5700">
                  <c:v>0.61299999999999999</c:v>
                </c:pt>
                <c:pt idx="5701">
                  <c:v>0.57999999999999996</c:v>
                </c:pt>
                <c:pt idx="5702">
                  <c:v>0.437</c:v>
                </c:pt>
                <c:pt idx="5703">
                  <c:v>0.84599999999999997</c:v>
                </c:pt>
                <c:pt idx="5704">
                  <c:v>0.45100000000000001</c:v>
                </c:pt>
                <c:pt idx="5705">
                  <c:v>0.80300000000000005</c:v>
                </c:pt>
                <c:pt idx="5706">
                  <c:v>0.89300000000000002</c:v>
                </c:pt>
                <c:pt idx="5707">
                  <c:v>0.14199999999999999</c:v>
                </c:pt>
                <c:pt idx="5708">
                  <c:v>0.34899999999999998</c:v>
                </c:pt>
                <c:pt idx="5709">
                  <c:v>0.58799999999999997</c:v>
                </c:pt>
                <c:pt idx="5710">
                  <c:v>0.67800000000000005</c:v>
                </c:pt>
                <c:pt idx="5711">
                  <c:v>0.27100000000000002</c:v>
                </c:pt>
                <c:pt idx="5712">
                  <c:v>0.47699999999999998</c:v>
                </c:pt>
                <c:pt idx="5713">
                  <c:v>0.28299999999999997</c:v>
                </c:pt>
                <c:pt idx="5714">
                  <c:v>0.56699999999999995</c:v>
                </c:pt>
                <c:pt idx="5715">
                  <c:v>0.67</c:v>
                </c:pt>
                <c:pt idx="5716">
                  <c:v>0.13800000000000001</c:v>
                </c:pt>
                <c:pt idx="5717">
                  <c:v>0.47199999999999998</c:v>
                </c:pt>
                <c:pt idx="5718">
                  <c:v>0.59499999999999997</c:v>
                </c:pt>
                <c:pt idx="5719">
                  <c:v>0.45700000000000002</c:v>
                </c:pt>
                <c:pt idx="5720">
                  <c:v>0.89400000000000002</c:v>
                </c:pt>
                <c:pt idx="5721">
                  <c:v>0.36099999999999999</c:v>
                </c:pt>
                <c:pt idx="5722">
                  <c:v>0.36199999999999999</c:v>
                </c:pt>
                <c:pt idx="5723">
                  <c:v>0.998</c:v>
                </c:pt>
                <c:pt idx="5724">
                  <c:v>0.623</c:v>
                </c:pt>
                <c:pt idx="5725">
                  <c:v>7.0999999999999994E-2</c:v>
                </c:pt>
                <c:pt idx="5726">
                  <c:v>0.63600000000000001</c:v>
                </c:pt>
                <c:pt idx="5727">
                  <c:v>0.4</c:v>
                </c:pt>
                <c:pt idx="5728">
                  <c:v>0.78400000000000003</c:v>
                </c:pt>
                <c:pt idx="5729">
                  <c:v>0.30599999999999999</c:v>
                </c:pt>
                <c:pt idx="5730">
                  <c:v>0.49</c:v>
                </c:pt>
                <c:pt idx="5731">
                  <c:v>0.63700000000000001</c:v>
                </c:pt>
                <c:pt idx="5732">
                  <c:v>0.56200000000000006</c:v>
                </c:pt>
                <c:pt idx="5733">
                  <c:v>4.1000000000000002E-2</c:v>
                </c:pt>
                <c:pt idx="5734">
                  <c:v>0.52700000000000002</c:v>
                </c:pt>
                <c:pt idx="5735">
                  <c:v>0.63600000000000001</c:v>
                </c:pt>
                <c:pt idx="5736">
                  <c:v>0.161</c:v>
                </c:pt>
                <c:pt idx="5737">
                  <c:v>0.85299999999999998</c:v>
                </c:pt>
                <c:pt idx="5738">
                  <c:v>0.64100000000000001</c:v>
                </c:pt>
                <c:pt idx="5739">
                  <c:v>0.46</c:v>
                </c:pt>
                <c:pt idx="5740">
                  <c:v>0.50600000000000001</c:v>
                </c:pt>
                <c:pt idx="5741">
                  <c:v>0.41599999999999998</c:v>
                </c:pt>
                <c:pt idx="5742">
                  <c:v>0.42</c:v>
                </c:pt>
                <c:pt idx="5743">
                  <c:v>0.16900000000000001</c:v>
                </c:pt>
                <c:pt idx="5744">
                  <c:v>0.90300000000000002</c:v>
                </c:pt>
                <c:pt idx="5745">
                  <c:v>0.39</c:v>
                </c:pt>
                <c:pt idx="5746">
                  <c:v>0.29899999999999999</c:v>
                </c:pt>
                <c:pt idx="5747">
                  <c:v>0.60599999999999998</c:v>
                </c:pt>
                <c:pt idx="5748">
                  <c:v>0.61799999999999999</c:v>
                </c:pt>
                <c:pt idx="5749">
                  <c:v>0.83199999999999996</c:v>
                </c:pt>
                <c:pt idx="5750">
                  <c:v>0.94799999999999995</c:v>
                </c:pt>
                <c:pt idx="5751">
                  <c:v>0.55300000000000005</c:v>
                </c:pt>
                <c:pt idx="5752">
                  <c:v>0.61299999999999999</c:v>
                </c:pt>
                <c:pt idx="5753">
                  <c:v>0.57099999999999995</c:v>
                </c:pt>
                <c:pt idx="5754">
                  <c:v>0.44800000000000001</c:v>
                </c:pt>
                <c:pt idx="5755">
                  <c:v>0.53700000000000003</c:v>
                </c:pt>
                <c:pt idx="5756">
                  <c:v>0.115</c:v>
                </c:pt>
                <c:pt idx="5757">
                  <c:v>0.161</c:v>
                </c:pt>
                <c:pt idx="5758">
                  <c:v>0.30499999999999999</c:v>
                </c:pt>
                <c:pt idx="5759">
                  <c:v>0.78600000000000003</c:v>
                </c:pt>
                <c:pt idx="5760">
                  <c:v>0.94199999999999995</c:v>
                </c:pt>
                <c:pt idx="5761">
                  <c:v>0.88100000000000001</c:v>
                </c:pt>
                <c:pt idx="5762">
                  <c:v>0.873</c:v>
                </c:pt>
                <c:pt idx="5763">
                  <c:v>0.46100000000000002</c:v>
                </c:pt>
                <c:pt idx="5764">
                  <c:v>0.30199999999999999</c:v>
                </c:pt>
                <c:pt idx="5765">
                  <c:v>0.55600000000000005</c:v>
                </c:pt>
                <c:pt idx="5766">
                  <c:v>0.92200000000000004</c:v>
                </c:pt>
                <c:pt idx="5767">
                  <c:v>0.72099999999999997</c:v>
                </c:pt>
                <c:pt idx="5768">
                  <c:v>0.51</c:v>
                </c:pt>
                <c:pt idx="5769">
                  <c:v>0.45100000000000001</c:v>
                </c:pt>
                <c:pt idx="5770">
                  <c:v>0.72899999999999998</c:v>
                </c:pt>
                <c:pt idx="5771">
                  <c:v>0.55400000000000005</c:v>
                </c:pt>
                <c:pt idx="5772">
                  <c:v>0.59599999999999997</c:v>
                </c:pt>
                <c:pt idx="5773">
                  <c:v>0.29699999999999999</c:v>
                </c:pt>
                <c:pt idx="5774">
                  <c:v>0.64600000000000002</c:v>
                </c:pt>
                <c:pt idx="5775">
                  <c:v>0.59699999999999998</c:v>
                </c:pt>
                <c:pt idx="5776">
                  <c:v>0.39500000000000002</c:v>
                </c:pt>
                <c:pt idx="5777">
                  <c:v>0.9</c:v>
                </c:pt>
                <c:pt idx="5778">
                  <c:v>0.63500000000000001</c:v>
                </c:pt>
                <c:pt idx="5779">
                  <c:v>0.433</c:v>
                </c:pt>
                <c:pt idx="5780">
                  <c:v>0.73</c:v>
                </c:pt>
                <c:pt idx="5781">
                  <c:v>0.48799999999999999</c:v>
                </c:pt>
                <c:pt idx="5782">
                  <c:v>0.48199999999999998</c:v>
                </c:pt>
                <c:pt idx="5783">
                  <c:v>0.97399999999999998</c:v>
                </c:pt>
                <c:pt idx="5784">
                  <c:v>0.36</c:v>
                </c:pt>
                <c:pt idx="5785">
                  <c:v>0.42199999999999999</c:v>
                </c:pt>
                <c:pt idx="5786">
                  <c:v>0.34</c:v>
                </c:pt>
                <c:pt idx="5787">
                  <c:v>0.38400000000000001</c:v>
                </c:pt>
                <c:pt idx="5788">
                  <c:v>0.106</c:v>
                </c:pt>
                <c:pt idx="5789">
                  <c:v>0.23400000000000001</c:v>
                </c:pt>
                <c:pt idx="5790">
                  <c:v>0.76600000000000001</c:v>
                </c:pt>
                <c:pt idx="5791">
                  <c:v>0.29099999999999998</c:v>
                </c:pt>
                <c:pt idx="5792">
                  <c:v>0.94599999999999995</c:v>
                </c:pt>
                <c:pt idx="5793">
                  <c:v>0.34499999999999997</c:v>
                </c:pt>
                <c:pt idx="5794">
                  <c:v>0.84899999999999998</c:v>
                </c:pt>
                <c:pt idx="5795">
                  <c:v>0.45400000000000001</c:v>
                </c:pt>
                <c:pt idx="5796">
                  <c:v>0.80600000000000005</c:v>
                </c:pt>
                <c:pt idx="5797">
                  <c:v>0.68200000000000005</c:v>
                </c:pt>
                <c:pt idx="5798">
                  <c:v>0.42899999999999999</c:v>
                </c:pt>
                <c:pt idx="5799">
                  <c:v>0.45300000000000001</c:v>
                </c:pt>
                <c:pt idx="5800">
                  <c:v>0.54</c:v>
                </c:pt>
                <c:pt idx="5801">
                  <c:v>0.59499999999999997</c:v>
                </c:pt>
                <c:pt idx="5802">
                  <c:v>0.93100000000000005</c:v>
                </c:pt>
                <c:pt idx="5803">
                  <c:v>0.67600000000000005</c:v>
                </c:pt>
                <c:pt idx="5804">
                  <c:v>0.754</c:v>
                </c:pt>
                <c:pt idx="5805">
                  <c:v>0.23499999999999999</c:v>
                </c:pt>
                <c:pt idx="5806">
                  <c:v>0.248</c:v>
                </c:pt>
                <c:pt idx="5807">
                  <c:v>0.315</c:v>
                </c:pt>
                <c:pt idx="5808">
                  <c:v>0.14099999999999999</c:v>
                </c:pt>
                <c:pt idx="5809">
                  <c:v>0.44700000000000001</c:v>
                </c:pt>
                <c:pt idx="5810">
                  <c:v>0.55000000000000004</c:v>
                </c:pt>
                <c:pt idx="5811">
                  <c:v>0.68</c:v>
                </c:pt>
                <c:pt idx="5812">
                  <c:v>0.63400000000000001</c:v>
                </c:pt>
                <c:pt idx="5813">
                  <c:v>0.218</c:v>
                </c:pt>
                <c:pt idx="5814">
                  <c:v>0.104</c:v>
                </c:pt>
                <c:pt idx="5815">
                  <c:v>0.14399999999999999</c:v>
                </c:pt>
                <c:pt idx="5816">
                  <c:v>0.38800000000000001</c:v>
                </c:pt>
                <c:pt idx="5817">
                  <c:v>0.65900000000000003</c:v>
                </c:pt>
                <c:pt idx="5818">
                  <c:v>8.4000000000000005E-2</c:v>
                </c:pt>
                <c:pt idx="5819">
                  <c:v>0.27100000000000002</c:v>
                </c:pt>
                <c:pt idx="5820">
                  <c:v>0.52500000000000002</c:v>
                </c:pt>
                <c:pt idx="5821">
                  <c:v>0.36899999999999999</c:v>
                </c:pt>
                <c:pt idx="5822">
                  <c:v>0.95799999999999996</c:v>
                </c:pt>
                <c:pt idx="5823">
                  <c:v>0.53600000000000003</c:v>
                </c:pt>
                <c:pt idx="5824">
                  <c:v>0.47099999999999997</c:v>
                </c:pt>
                <c:pt idx="5825">
                  <c:v>0.37</c:v>
                </c:pt>
                <c:pt idx="5826">
                  <c:v>0.56299999999999994</c:v>
                </c:pt>
                <c:pt idx="5827">
                  <c:v>0.314</c:v>
                </c:pt>
                <c:pt idx="5828">
                  <c:v>0.60099999999999998</c:v>
                </c:pt>
                <c:pt idx="5829">
                  <c:v>0.60299999999999998</c:v>
                </c:pt>
                <c:pt idx="5830">
                  <c:v>0.95899999999999996</c:v>
                </c:pt>
                <c:pt idx="5831">
                  <c:v>0.32100000000000001</c:v>
                </c:pt>
                <c:pt idx="5832">
                  <c:v>0.17699999999999999</c:v>
                </c:pt>
                <c:pt idx="5833">
                  <c:v>0.40100000000000002</c:v>
                </c:pt>
                <c:pt idx="5834">
                  <c:v>0.55100000000000005</c:v>
                </c:pt>
                <c:pt idx="5835">
                  <c:v>0.27800000000000002</c:v>
                </c:pt>
                <c:pt idx="5836">
                  <c:v>0.9</c:v>
                </c:pt>
                <c:pt idx="5837">
                  <c:v>0.63700000000000001</c:v>
                </c:pt>
                <c:pt idx="5838">
                  <c:v>0.216</c:v>
                </c:pt>
                <c:pt idx="5839">
                  <c:v>0.51600000000000001</c:v>
                </c:pt>
                <c:pt idx="5840">
                  <c:v>2.7E-2</c:v>
                </c:pt>
                <c:pt idx="5841">
                  <c:v>7.2999999999999995E-2</c:v>
                </c:pt>
                <c:pt idx="5842">
                  <c:v>0.435</c:v>
                </c:pt>
                <c:pt idx="5843">
                  <c:v>0.67400000000000004</c:v>
                </c:pt>
                <c:pt idx="5844">
                  <c:v>0.376</c:v>
                </c:pt>
                <c:pt idx="5845">
                  <c:v>0.749</c:v>
                </c:pt>
                <c:pt idx="5846">
                  <c:v>0.20799999999999999</c:v>
                </c:pt>
                <c:pt idx="5847">
                  <c:v>0.67400000000000004</c:v>
                </c:pt>
                <c:pt idx="5848">
                  <c:v>0.46700000000000003</c:v>
                </c:pt>
                <c:pt idx="5849">
                  <c:v>0.54800000000000004</c:v>
                </c:pt>
                <c:pt idx="5850">
                  <c:v>0.56499999999999995</c:v>
                </c:pt>
                <c:pt idx="5851">
                  <c:v>0.61599999999999999</c:v>
                </c:pt>
                <c:pt idx="5852">
                  <c:v>0.81100000000000005</c:v>
                </c:pt>
                <c:pt idx="5853">
                  <c:v>0.98599999999999999</c:v>
                </c:pt>
                <c:pt idx="5854">
                  <c:v>0.83599999999999997</c:v>
                </c:pt>
                <c:pt idx="5855">
                  <c:v>0.33900000000000002</c:v>
                </c:pt>
                <c:pt idx="5856">
                  <c:v>0.45900000000000002</c:v>
                </c:pt>
                <c:pt idx="5857">
                  <c:v>0.159</c:v>
                </c:pt>
                <c:pt idx="5858">
                  <c:v>0.505</c:v>
                </c:pt>
                <c:pt idx="5859">
                  <c:v>0.36</c:v>
                </c:pt>
                <c:pt idx="5860">
                  <c:v>0.71</c:v>
                </c:pt>
                <c:pt idx="5861">
                  <c:v>0.72699999999999998</c:v>
                </c:pt>
                <c:pt idx="5862">
                  <c:v>0.90300000000000002</c:v>
                </c:pt>
                <c:pt idx="5863">
                  <c:v>0.27900000000000003</c:v>
                </c:pt>
                <c:pt idx="5864">
                  <c:v>0.879</c:v>
                </c:pt>
                <c:pt idx="5865">
                  <c:v>0.41799999999999998</c:v>
                </c:pt>
                <c:pt idx="5866">
                  <c:v>0.30299999999999999</c:v>
                </c:pt>
                <c:pt idx="5867">
                  <c:v>0.68400000000000005</c:v>
                </c:pt>
                <c:pt idx="5868">
                  <c:v>0.39100000000000001</c:v>
                </c:pt>
                <c:pt idx="5869">
                  <c:v>0.26500000000000001</c:v>
                </c:pt>
                <c:pt idx="5870">
                  <c:v>0.59799999999999998</c:v>
                </c:pt>
                <c:pt idx="5871">
                  <c:v>0.41499999999999998</c:v>
                </c:pt>
                <c:pt idx="5872">
                  <c:v>0.30599999999999999</c:v>
                </c:pt>
                <c:pt idx="5873">
                  <c:v>0.47699999999999998</c:v>
                </c:pt>
                <c:pt idx="5874">
                  <c:v>0.16600000000000001</c:v>
                </c:pt>
                <c:pt idx="5875">
                  <c:v>0.65400000000000003</c:v>
                </c:pt>
                <c:pt idx="5876">
                  <c:v>0.32700000000000001</c:v>
                </c:pt>
                <c:pt idx="5877">
                  <c:v>0.59399999999999997</c:v>
                </c:pt>
                <c:pt idx="5878">
                  <c:v>0.372</c:v>
                </c:pt>
                <c:pt idx="5879">
                  <c:v>0.21199999999999999</c:v>
                </c:pt>
                <c:pt idx="5880">
                  <c:v>0.60399999999999998</c:v>
                </c:pt>
                <c:pt idx="5881">
                  <c:v>0.76300000000000001</c:v>
                </c:pt>
                <c:pt idx="5882">
                  <c:v>0.217</c:v>
                </c:pt>
                <c:pt idx="5883">
                  <c:v>0.38400000000000001</c:v>
                </c:pt>
                <c:pt idx="5884">
                  <c:v>0.47199999999999998</c:v>
                </c:pt>
                <c:pt idx="5885">
                  <c:v>0.52200000000000002</c:v>
                </c:pt>
                <c:pt idx="5886">
                  <c:v>0.71699999999999997</c:v>
                </c:pt>
                <c:pt idx="5887">
                  <c:v>0.82399999999999995</c:v>
                </c:pt>
                <c:pt idx="5888">
                  <c:v>0.94299999999999995</c:v>
                </c:pt>
                <c:pt idx="5889">
                  <c:v>0.308</c:v>
                </c:pt>
                <c:pt idx="5890">
                  <c:v>0.84799999999999998</c:v>
                </c:pt>
                <c:pt idx="5891">
                  <c:v>0.46600000000000003</c:v>
                </c:pt>
                <c:pt idx="5892">
                  <c:v>0.28799999999999998</c:v>
                </c:pt>
                <c:pt idx="5893">
                  <c:v>0.28699999999999998</c:v>
                </c:pt>
                <c:pt idx="5894">
                  <c:v>0.77500000000000002</c:v>
                </c:pt>
                <c:pt idx="5895">
                  <c:v>0.84499999999999997</c:v>
                </c:pt>
                <c:pt idx="5896">
                  <c:v>0.93799999999999994</c:v>
                </c:pt>
                <c:pt idx="5897">
                  <c:v>0.20799999999999999</c:v>
                </c:pt>
                <c:pt idx="5898">
                  <c:v>0.60399999999999998</c:v>
                </c:pt>
                <c:pt idx="5899">
                  <c:v>0.65500000000000003</c:v>
                </c:pt>
                <c:pt idx="5900">
                  <c:v>0.41599999999999998</c:v>
                </c:pt>
                <c:pt idx="5901">
                  <c:v>0.29099999999999998</c:v>
                </c:pt>
                <c:pt idx="5902">
                  <c:v>0.69699999999999995</c:v>
                </c:pt>
                <c:pt idx="5903">
                  <c:v>0.56599999999999995</c:v>
                </c:pt>
                <c:pt idx="5904">
                  <c:v>0.96799999999999997</c:v>
                </c:pt>
                <c:pt idx="5905">
                  <c:v>0.88300000000000001</c:v>
                </c:pt>
                <c:pt idx="5906">
                  <c:v>0.59399999999999997</c:v>
                </c:pt>
                <c:pt idx="5907">
                  <c:v>0.114</c:v>
                </c:pt>
                <c:pt idx="5908">
                  <c:v>0.44600000000000001</c:v>
                </c:pt>
                <c:pt idx="5909">
                  <c:v>0.67400000000000004</c:v>
                </c:pt>
                <c:pt idx="5910">
                  <c:v>0.48699999999999999</c:v>
                </c:pt>
                <c:pt idx="5911">
                  <c:v>0.58299999999999996</c:v>
                </c:pt>
                <c:pt idx="5912">
                  <c:v>0.69099999999999995</c:v>
                </c:pt>
                <c:pt idx="5913">
                  <c:v>0.65100000000000002</c:v>
                </c:pt>
                <c:pt idx="5914">
                  <c:v>0.41299999999999998</c:v>
                </c:pt>
                <c:pt idx="5915">
                  <c:v>0.54500000000000004</c:v>
                </c:pt>
                <c:pt idx="5916">
                  <c:v>0.3</c:v>
                </c:pt>
                <c:pt idx="5917">
                  <c:v>0.03</c:v>
                </c:pt>
                <c:pt idx="5918">
                  <c:v>0.64800000000000002</c:v>
                </c:pt>
                <c:pt idx="5919">
                  <c:v>0.65100000000000002</c:v>
                </c:pt>
                <c:pt idx="5920">
                  <c:v>0.26900000000000002</c:v>
                </c:pt>
                <c:pt idx="5921">
                  <c:v>0.54500000000000004</c:v>
                </c:pt>
                <c:pt idx="5922">
                  <c:v>0.66300000000000003</c:v>
                </c:pt>
                <c:pt idx="5923">
                  <c:v>0.2</c:v>
                </c:pt>
                <c:pt idx="5924">
                  <c:v>0.75700000000000001</c:v>
                </c:pt>
                <c:pt idx="5925">
                  <c:v>0.27100000000000002</c:v>
                </c:pt>
                <c:pt idx="5926">
                  <c:v>0.24199999999999999</c:v>
                </c:pt>
                <c:pt idx="5927">
                  <c:v>0.41899999999999998</c:v>
                </c:pt>
                <c:pt idx="5928">
                  <c:v>0.47099999999999997</c:v>
                </c:pt>
                <c:pt idx="5929">
                  <c:v>0.47299999999999998</c:v>
                </c:pt>
                <c:pt idx="5930">
                  <c:v>0.63600000000000001</c:v>
                </c:pt>
                <c:pt idx="5931">
                  <c:v>0.19</c:v>
                </c:pt>
                <c:pt idx="5932">
                  <c:v>0.48199999999999998</c:v>
                </c:pt>
                <c:pt idx="5933">
                  <c:v>0.24299999999999999</c:v>
                </c:pt>
                <c:pt idx="5934">
                  <c:v>0.51900000000000002</c:v>
                </c:pt>
                <c:pt idx="5935">
                  <c:v>0.27900000000000003</c:v>
                </c:pt>
                <c:pt idx="5936">
                  <c:v>0.33200000000000002</c:v>
                </c:pt>
                <c:pt idx="5937">
                  <c:v>0.45500000000000002</c:v>
                </c:pt>
                <c:pt idx="5938">
                  <c:v>0.42299999999999999</c:v>
                </c:pt>
                <c:pt idx="5939">
                  <c:v>0.78600000000000003</c:v>
                </c:pt>
                <c:pt idx="5940">
                  <c:v>0.748</c:v>
                </c:pt>
                <c:pt idx="5941">
                  <c:v>0.46</c:v>
                </c:pt>
                <c:pt idx="5942">
                  <c:v>0.82899999999999996</c:v>
                </c:pt>
                <c:pt idx="5943">
                  <c:v>7.6999999999999999E-2</c:v>
                </c:pt>
                <c:pt idx="5944">
                  <c:v>0.40600000000000003</c:v>
                </c:pt>
                <c:pt idx="5945">
                  <c:v>0.36</c:v>
                </c:pt>
                <c:pt idx="5946">
                  <c:v>0.59899999999999998</c:v>
                </c:pt>
                <c:pt idx="5947">
                  <c:v>0.29199999999999998</c:v>
                </c:pt>
                <c:pt idx="5948">
                  <c:v>0.90200000000000002</c:v>
                </c:pt>
                <c:pt idx="5949">
                  <c:v>0.44</c:v>
                </c:pt>
                <c:pt idx="5950">
                  <c:v>0.41499999999999998</c:v>
                </c:pt>
                <c:pt idx="5951">
                  <c:v>0.55300000000000005</c:v>
                </c:pt>
                <c:pt idx="5952">
                  <c:v>0.85199999999999998</c:v>
                </c:pt>
                <c:pt idx="5953">
                  <c:v>0.95</c:v>
                </c:pt>
                <c:pt idx="5954">
                  <c:v>0.54800000000000004</c:v>
                </c:pt>
                <c:pt idx="5955">
                  <c:v>0.13100000000000001</c:v>
                </c:pt>
                <c:pt idx="5956">
                  <c:v>0.16</c:v>
                </c:pt>
                <c:pt idx="5957">
                  <c:v>0.52600000000000002</c:v>
                </c:pt>
                <c:pt idx="5958">
                  <c:v>0.92600000000000005</c:v>
                </c:pt>
                <c:pt idx="5959">
                  <c:v>0.59099999999999997</c:v>
                </c:pt>
                <c:pt idx="5960">
                  <c:v>0.92300000000000004</c:v>
                </c:pt>
                <c:pt idx="5961">
                  <c:v>0.53300000000000003</c:v>
                </c:pt>
                <c:pt idx="5962">
                  <c:v>0.40899999999999997</c:v>
                </c:pt>
                <c:pt idx="5963">
                  <c:v>0.96699999999999997</c:v>
                </c:pt>
                <c:pt idx="5964">
                  <c:v>0.93700000000000006</c:v>
                </c:pt>
                <c:pt idx="5965">
                  <c:v>0.14099999999999999</c:v>
                </c:pt>
                <c:pt idx="5966">
                  <c:v>0.95499999999999996</c:v>
                </c:pt>
                <c:pt idx="5967">
                  <c:v>0.80500000000000005</c:v>
                </c:pt>
                <c:pt idx="5968">
                  <c:v>0.78400000000000003</c:v>
                </c:pt>
                <c:pt idx="5969">
                  <c:v>0.27</c:v>
                </c:pt>
                <c:pt idx="5970">
                  <c:v>0.56799999999999995</c:v>
                </c:pt>
                <c:pt idx="5971">
                  <c:v>0.621</c:v>
                </c:pt>
                <c:pt idx="5972">
                  <c:v>0.72499999999999998</c:v>
                </c:pt>
                <c:pt idx="5973">
                  <c:v>0.72899999999999998</c:v>
                </c:pt>
                <c:pt idx="5974">
                  <c:v>0.92800000000000005</c:v>
                </c:pt>
                <c:pt idx="5975">
                  <c:v>0.89100000000000001</c:v>
                </c:pt>
                <c:pt idx="5976">
                  <c:v>0.71899999999999997</c:v>
                </c:pt>
                <c:pt idx="5977">
                  <c:v>0.28299999999999997</c:v>
                </c:pt>
                <c:pt idx="5978">
                  <c:v>0.28199999999999997</c:v>
                </c:pt>
                <c:pt idx="5979">
                  <c:v>0.83199999999999996</c:v>
                </c:pt>
                <c:pt idx="5980">
                  <c:v>0.31</c:v>
                </c:pt>
                <c:pt idx="5981">
                  <c:v>0.52700000000000002</c:v>
                </c:pt>
                <c:pt idx="5982">
                  <c:v>0.33800000000000002</c:v>
                </c:pt>
                <c:pt idx="5983">
                  <c:v>0.55500000000000005</c:v>
                </c:pt>
                <c:pt idx="5984">
                  <c:v>0.94399999999999995</c:v>
                </c:pt>
                <c:pt idx="5985">
                  <c:v>0.63</c:v>
                </c:pt>
                <c:pt idx="5986">
                  <c:v>0.39200000000000002</c:v>
                </c:pt>
                <c:pt idx="5987">
                  <c:v>0.84599999999999997</c:v>
                </c:pt>
                <c:pt idx="5988">
                  <c:v>0.53200000000000003</c:v>
                </c:pt>
                <c:pt idx="5989">
                  <c:v>0.55100000000000005</c:v>
                </c:pt>
                <c:pt idx="5990">
                  <c:v>0.93799999999999994</c:v>
                </c:pt>
                <c:pt idx="5991">
                  <c:v>0.9</c:v>
                </c:pt>
                <c:pt idx="5992">
                  <c:v>0.95</c:v>
                </c:pt>
                <c:pt idx="5993">
                  <c:v>0.48399999999999999</c:v>
                </c:pt>
                <c:pt idx="5994">
                  <c:v>0.47299999999999998</c:v>
                </c:pt>
                <c:pt idx="5995">
                  <c:v>0.33800000000000002</c:v>
                </c:pt>
                <c:pt idx="5996">
                  <c:v>0.373</c:v>
                </c:pt>
                <c:pt idx="5997">
                  <c:v>0.71599999999999997</c:v>
                </c:pt>
                <c:pt idx="5998">
                  <c:v>0.17799999999999999</c:v>
                </c:pt>
                <c:pt idx="5999">
                  <c:v>0.22</c:v>
                </c:pt>
                <c:pt idx="6000">
                  <c:v>0.91300000000000003</c:v>
                </c:pt>
                <c:pt idx="6001">
                  <c:v>0.78400000000000003</c:v>
                </c:pt>
                <c:pt idx="6002">
                  <c:v>0.17</c:v>
                </c:pt>
                <c:pt idx="6003">
                  <c:v>0.74299999999999999</c:v>
                </c:pt>
                <c:pt idx="6004">
                  <c:v>9.8000000000000004E-2</c:v>
                </c:pt>
                <c:pt idx="6005">
                  <c:v>0.47</c:v>
                </c:pt>
                <c:pt idx="6006">
                  <c:v>0.51100000000000001</c:v>
                </c:pt>
                <c:pt idx="6007">
                  <c:v>0.62</c:v>
                </c:pt>
                <c:pt idx="6008">
                  <c:v>0.29699999999999999</c:v>
                </c:pt>
                <c:pt idx="6009">
                  <c:v>0.89200000000000002</c:v>
                </c:pt>
                <c:pt idx="6010">
                  <c:v>0.71599999999999997</c:v>
                </c:pt>
                <c:pt idx="6011">
                  <c:v>0.42499999999999999</c:v>
                </c:pt>
                <c:pt idx="6012">
                  <c:v>0.57799999999999996</c:v>
                </c:pt>
                <c:pt idx="6013">
                  <c:v>0.85299999999999998</c:v>
                </c:pt>
                <c:pt idx="6014">
                  <c:v>5.8000000000000003E-2</c:v>
                </c:pt>
                <c:pt idx="6015">
                  <c:v>6.3E-2</c:v>
                </c:pt>
                <c:pt idx="6016">
                  <c:v>6.3E-2</c:v>
                </c:pt>
                <c:pt idx="6017">
                  <c:v>0.50700000000000001</c:v>
                </c:pt>
                <c:pt idx="6018">
                  <c:v>0.627</c:v>
                </c:pt>
                <c:pt idx="6019">
                  <c:v>0.5</c:v>
                </c:pt>
                <c:pt idx="6020">
                  <c:v>9.4E-2</c:v>
                </c:pt>
                <c:pt idx="6021">
                  <c:v>0.42699999999999999</c:v>
                </c:pt>
                <c:pt idx="6022">
                  <c:v>0.46600000000000003</c:v>
                </c:pt>
                <c:pt idx="6023">
                  <c:v>0.63300000000000001</c:v>
                </c:pt>
                <c:pt idx="6024">
                  <c:v>0.61</c:v>
                </c:pt>
                <c:pt idx="6025">
                  <c:v>0.10299999999999999</c:v>
                </c:pt>
                <c:pt idx="6026">
                  <c:v>0.58399999999999996</c:v>
                </c:pt>
                <c:pt idx="6027">
                  <c:v>0.40799999999999997</c:v>
                </c:pt>
                <c:pt idx="6028">
                  <c:v>0.67600000000000005</c:v>
                </c:pt>
                <c:pt idx="6029">
                  <c:v>0.97599999999999998</c:v>
                </c:pt>
                <c:pt idx="6030">
                  <c:v>0.46400000000000002</c:v>
                </c:pt>
                <c:pt idx="6031">
                  <c:v>0.19500000000000001</c:v>
                </c:pt>
                <c:pt idx="6032">
                  <c:v>0.745</c:v>
                </c:pt>
                <c:pt idx="6033">
                  <c:v>0.61799999999999999</c:v>
                </c:pt>
                <c:pt idx="6034">
                  <c:v>0.60599999999999998</c:v>
                </c:pt>
                <c:pt idx="6035">
                  <c:v>0.93500000000000005</c:v>
                </c:pt>
                <c:pt idx="6036">
                  <c:v>0.93899999999999995</c:v>
                </c:pt>
                <c:pt idx="6037">
                  <c:v>0.4</c:v>
                </c:pt>
                <c:pt idx="6038">
                  <c:v>0.25600000000000001</c:v>
                </c:pt>
                <c:pt idx="6039">
                  <c:v>0.56899999999999995</c:v>
                </c:pt>
                <c:pt idx="6040">
                  <c:v>0.313</c:v>
                </c:pt>
                <c:pt idx="6041">
                  <c:v>0.52300000000000002</c:v>
                </c:pt>
                <c:pt idx="6042">
                  <c:v>0.79100000000000004</c:v>
                </c:pt>
                <c:pt idx="6043">
                  <c:v>0.86799999999999999</c:v>
                </c:pt>
                <c:pt idx="6044">
                  <c:v>0.1</c:v>
                </c:pt>
                <c:pt idx="6045">
                  <c:v>0.36699999999999999</c:v>
                </c:pt>
                <c:pt idx="6046">
                  <c:v>0.32800000000000001</c:v>
                </c:pt>
                <c:pt idx="6047">
                  <c:v>0.23200000000000001</c:v>
                </c:pt>
                <c:pt idx="6048">
                  <c:v>0.66900000000000004</c:v>
                </c:pt>
                <c:pt idx="6049">
                  <c:v>0.93200000000000005</c:v>
                </c:pt>
                <c:pt idx="6050">
                  <c:v>7.0999999999999994E-2</c:v>
                </c:pt>
                <c:pt idx="6051">
                  <c:v>7.6999999999999999E-2</c:v>
                </c:pt>
                <c:pt idx="6052">
                  <c:v>0.154</c:v>
                </c:pt>
                <c:pt idx="6053">
                  <c:v>0.27200000000000002</c:v>
                </c:pt>
                <c:pt idx="6054">
                  <c:v>0.27900000000000003</c:v>
                </c:pt>
                <c:pt idx="6055">
                  <c:v>0.441</c:v>
                </c:pt>
                <c:pt idx="6056">
                  <c:v>0.44500000000000001</c:v>
                </c:pt>
                <c:pt idx="6057">
                  <c:v>0.48199999999999998</c:v>
                </c:pt>
                <c:pt idx="6058">
                  <c:v>0.505</c:v>
                </c:pt>
                <c:pt idx="6059">
                  <c:v>0.51200000000000001</c:v>
                </c:pt>
                <c:pt idx="6060">
                  <c:v>0.59599999999999997</c:v>
                </c:pt>
                <c:pt idx="6061">
                  <c:v>0.69099999999999995</c:v>
                </c:pt>
                <c:pt idx="6062">
                  <c:v>0.86599999999999999</c:v>
                </c:pt>
                <c:pt idx="6063">
                  <c:v>0.505</c:v>
                </c:pt>
                <c:pt idx="6064">
                  <c:v>0.81899999999999995</c:v>
                </c:pt>
                <c:pt idx="6065">
                  <c:v>0.23</c:v>
                </c:pt>
                <c:pt idx="6066">
                  <c:v>0.48199999999999998</c:v>
                </c:pt>
                <c:pt idx="6067">
                  <c:v>0.30099999999999999</c:v>
                </c:pt>
                <c:pt idx="6068">
                  <c:v>0.436</c:v>
                </c:pt>
                <c:pt idx="6069">
                  <c:v>0.32600000000000001</c:v>
                </c:pt>
                <c:pt idx="6070">
                  <c:v>0.68200000000000005</c:v>
                </c:pt>
                <c:pt idx="6071">
                  <c:v>0.16800000000000001</c:v>
                </c:pt>
                <c:pt idx="6072">
                  <c:v>0.68799999999999994</c:v>
                </c:pt>
                <c:pt idx="6073">
                  <c:v>0.54900000000000004</c:v>
                </c:pt>
                <c:pt idx="6074">
                  <c:v>0.57899999999999996</c:v>
                </c:pt>
                <c:pt idx="6075">
                  <c:v>0.627</c:v>
                </c:pt>
                <c:pt idx="6076">
                  <c:v>0.65</c:v>
                </c:pt>
                <c:pt idx="6077">
                  <c:v>0.38700000000000001</c:v>
                </c:pt>
                <c:pt idx="6078">
                  <c:v>0.84</c:v>
                </c:pt>
                <c:pt idx="6079">
                  <c:v>0.39200000000000002</c:v>
                </c:pt>
                <c:pt idx="6080">
                  <c:v>0.128</c:v>
                </c:pt>
                <c:pt idx="6081">
                  <c:v>0.71099999999999997</c:v>
                </c:pt>
                <c:pt idx="6082">
                  <c:v>0.76300000000000001</c:v>
                </c:pt>
                <c:pt idx="6083">
                  <c:v>0.22700000000000001</c:v>
                </c:pt>
                <c:pt idx="6084">
                  <c:v>0.42599999999999999</c:v>
                </c:pt>
                <c:pt idx="6085">
                  <c:v>0.7</c:v>
                </c:pt>
                <c:pt idx="6086">
                  <c:v>0.745</c:v>
                </c:pt>
                <c:pt idx="6087">
                  <c:v>0.55000000000000004</c:v>
                </c:pt>
                <c:pt idx="6088">
                  <c:v>0.52200000000000002</c:v>
                </c:pt>
                <c:pt idx="6089">
                  <c:v>0.66900000000000004</c:v>
                </c:pt>
                <c:pt idx="6090">
                  <c:v>0.76600000000000001</c:v>
                </c:pt>
                <c:pt idx="6091">
                  <c:v>0.504</c:v>
                </c:pt>
                <c:pt idx="6092">
                  <c:v>0.36299999999999999</c:v>
                </c:pt>
                <c:pt idx="6093">
                  <c:v>0.32200000000000001</c:v>
                </c:pt>
                <c:pt idx="6094">
                  <c:v>0.98899999999999999</c:v>
                </c:pt>
                <c:pt idx="6095">
                  <c:v>0.87</c:v>
                </c:pt>
                <c:pt idx="6096">
                  <c:v>0.66700000000000004</c:v>
                </c:pt>
                <c:pt idx="6097">
                  <c:v>0.93600000000000005</c:v>
                </c:pt>
                <c:pt idx="6098">
                  <c:v>0.374</c:v>
                </c:pt>
                <c:pt idx="6099">
                  <c:v>0.52700000000000002</c:v>
                </c:pt>
                <c:pt idx="6100">
                  <c:v>0.627</c:v>
                </c:pt>
                <c:pt idx="6101">
                  <c:v>0.41299999999999998</c:v>
                </c:pt>
                <c:pt idx="6102">
                  <c:v>0.57399999999999995</c:v>
                </c:pt>
                <c:pt idx="6103">
                  <c:v>0.62</c:v>
                </c:pt>
                <c:pt idx="6104">
                  <c:v>0.72299999999999998</c:v>
                </c:pt>
                <c:pt idx="6105">
                  <c:v>0.28799999999999998</c:v>
                </c:pt>
                <c:pt idx="6106">
                  <c:v>0.73299999999999998</c:v>
                </c:pt>
                <c:pt idx="6107">
                  <c:v>0.81399999999999995</c:v>
                </c:pt>
                <c:pt idx="6108">
                  <c:v>0.47299999999999998</c:v>
                </c:pt>
                <c:pt idx="6109">
                  <c:v>1</c:v>
                </c:pt>
                <c:pt idx="6110">
                  <c:v>0.97899999999999998</c:v>
                </c:pt>
                <c:pt idx="6111">
                  <c:v>0.35699999999999998</c:v>
                </c:pt>
                <c:pt idx="6112">
                  <c:v>0.10199999999999999</c:v>
                </c:pt>
                <c:pt idx="6113">
                  <c:v>0.47</c:v>
                </c:pt>
                <c:pt idx="6114">
                  <c:v>0.376</c:v>
                </c:pt>
                <c:pt idx="6115">
                  <c:v>0.94099999999999995</c:v>
                </c:pt>
                <c:pt idx="6116">
                  <c:v>0.14099999999999999</c:v>
                </c:pt>
                <c:pt idx="6117">
                  <c:v>0.67800000000000005</c:v>
                </c:pt>
                <c:pt idx="6118">
                  <c:v>0.129</c:v>
                </c:pt>
                <c:pt idx="6119">
                  <c:v>0.55900000000000005</c:v>
                </c:pt>
                <c:pt idx="6120">
                  <c:v>0.623</c:v>
                </c:pt>
                <c:pt idx="6121">
                  <c:v>0.90100000000000002</c:v>
                </c:pt>
                <c:pt idx="6122">
                  <c:v>0.97199999999999998</c:v>
                </c:pt>
                <c:pt idx="6123">
                  <c:v>0.57599999999999996</c:v>
                </c:pt>
                <c:pt idx="6124">
                  <c:v>0.443</c:v>
                </c:pt>
                <c:pt idx="6125">
                  <c:v>0.878</c:v>
                </c:pt>
                <c:pt idx="6126">
                  <c:v>0.89200000000000002</c:v>
                </c:pt>
                <c:pt idx="6127">
                  <c:v>0.23899999999999999</c:v>
                </c:pt>
                <c:pt idx="6128">
                  <c:v>0.29199999999999998</c:v>
                </c:pt>
                <c:pt idx="6129">
                  <c:v>0.42899999999999999</c:v>
                </c:pt>
                <c:pt idx="6130">
                  <c:v>0.36299999999999999</c:v>
                </c:pt>
                <c:pt idx="6131">
                  <c:v>0.1</c:v>
                </c:pt>
                <c:pt idx="6132">
                  <c:v>0.77200000000000002</c:v>
                </c:pt>
                <c:pt idx="6133">
                  <c:v>0.224</c:v>
                </c:pt>
                <c:pt idx="6134">
                  <c:v>0.92900000000000005</c:v>
                </c:pt>
                <c:pt idx="6135">
                  <c:v>0.754</c:v>
                </c:pt>
                <c:pt idx="6136">
                  <c:v>0.16800000000000001</c:v>
                </c:pt>
                <c:pt idx="6137">
                  <c:v>0.45300000000000001</c:v>
                </c:pt>
                <c:pt idx="6138">
                  <c:v>0.45900000000000002</c:v>
                </c:pt>
                <c:pt idx="6139">
                  <c:v>0.71099999999999997</c:v>
                </c:pt>
                <c:pt idx="6140">
                  <c:v>0.873</c:v>
                </c:pt>
                <c:pt idx="6141">
                  <c:v>0.46700000000000003</c:v>
                </c:pt>
                <c:pt idx="6142">
                  <c:v>0.496</c:v>
                </c:pt>
                <c:pt idx="6143">
                  <c:v>0.51300000000000001</c:v>
                </c:pt>
                <c:pt idx="6144">
                  <c:v>0.90200000000000002</c:v>
                </c:pt>
                <c:pt idx="6145">
                  <c:v>0.36699999999999999</c:v>
                </c:pt>
                <c:pt idx="6146">
                  <c:v>0.77300000000000002</c:v>
                </c:pt>
                <c:pt idx="6147">
                  <c:v>0.66300000000000003</c:v>
                </c:pt>
                <c:pt idx="6148">
                  <c:v>0.26900000000000002</c:v>
                </c:pt>
                <c:pt idx="6149">
                  <c:v>0.69499999999999995</c:v>
                </c:pt>
                <c:pt idx="6150">
                  <c:v>0.90900000000000003</c:v>
                </c:pt>
                <c:pt idx="6151">
                  <c:v>0.96599999999999997</c:v>
                </c:pt>
                <c:pt idx="6152">
                  <c:v>0.65700000000000003</c:v>
                </c:pt>
                <c:pt idx="6153">
                  <c:v>0.495</c:v>
                </c:pt>
                <c:pt idx="6154">
                  <c:v>0.97899999999999998</c:v>
                </c:pt>
                <c:pt idx="6155">
                  <c:v>0.67300000000000004</c:v>
                </c:pt>
                <c:pt idx="6156">
                  <c:v>0.70099999999999996</c:v>
                </c:pt>
                <c:pt idx="6157">
                  <c:v>0.97799999999999998</c:v>
                </c:pt>
                <c:pt idx="6158">
                  <c:v>0.90500000000000003</c:v>
                </c:pt>
                <c:pt idx="6159">
                  <c:v>0.36</c:v>
                </c:pt>
                <c:pt idx="6160">
                  <c:v>0.47399999999999998</c:v>
                </c:pt>
                <c:pt idx="6161">
                  <c:v>0.68300000000000005</c:v>
                </c:pt>
                <c:pt idx="6162">
                  <c:v>0.7</c:v>
                </c:pt>
                <c:pt idx="6163">
                  <c:v>0.55600000000000005</c:v>
                </c:pt>
                <c:pt idx="6164">
                  <c:v>0.61</c:v>
                </c:pt>
                <c:pt idx="6165">
                  <c:v>0.72899999999999998</c:v>
                </c:pt>
                <c:pt idx="6166">
                  <c:v>0.20599999999999999</c:v>
                </c:pt>
                <c:pt idx="6167">
                  <c:v>0.42</c:v>
                </c:pt>
                <c:pt idx="6168">
                  <c:v>0.81499999999999995</c:v>
                </c:pt>
                <c:pt idx="6169">
                  <c:v>0.16</c:v>
                </c:pt>
                <c:pt idx="6170">
                  <c:v>0.48799999999999999</c:v>
                </c:pt>
                <c:pt idx="6171">
                  <c:v>7.6999999999999999E-2</c:v>
                </c:pt>
                <c:pt idx="6172">
                  <c:v>0.56299999999999994</c:v>
                </c:pt>
                <c:pt idx="6173">
                  <c:v>0.36399999999999999</c:v>
                </c:pt>
                <c:pt idx="6174">
                  <c:v>0.89500000000000002</c:v>
                </c:pt>
                <c:pt idx="6175">
                  <c:v>0.57299999999999995</c:v>
                </c:pt>
                <c:pt idx="6176">
                  <c:v>0.57099999999999995</c:v>
                </c:pt>
                <c:pt idx="6177">
                  <c:v>0.60899999999999999</c:v>
                </c:pt>
                <c:pt idx="6178">
                  <c:v>0.64100000000000001</c:v>
                </c:pt>
                <c:pt idx="6179">
                  <c:v>0.25600000000000001</c:v>
                </c:pt>
                <c:pt idx="6180">
                  <c:v>0.55900000000000005</c:v>
                </c:pt>
                <c:pt idx="6181">
                  <c:v>0.70299999999999996</c:v>
                </c:pt>
                <c:pt idx="6182">
                  <c:v>0.23</c:v>
                </c:pt>
                <c:pt idx="6183">
                  <c:v>0.60899999999999999</c:v>
                </c:pt>
                <c:pt idx="6184">
                  <c:v>0.76900000000000002</c:v>
                </c:pt>
                <c:pt idx="6185">
                  <c:v>0.70599999999999996</c:v>
                </c:pt>
                <c:pt idx="6186">
                  <c:v>0.41299999999999998</c:v>
                </c:pt>
                <c:pt idx="6187">
                  <c:v>0.38100000000000001</c:v>
                </c:pt>
                <c:pt idx="6188">
                  <c:v>0.33600000000000002</c:v>
                </c:pt>
                <c:pt idx="6189">
                  <c:v>0.498</c:v>
                </c:pt>
                <c:pt idx="6190">
                  <c:v>0.47099999999999997</c:v>
                </c:pt>
                <c:pt idx="6191">
                  <c:v>0.89400000000000002</c:v>
                </c:pt>
                <c:pt idx="6192">
                  <c:v>0.51400000000000001</c:v>
                </c:pt>
                <c:pt idx="6193">
                  <c:v>0.48099999999999998</c:v>
                </c:pt>
                <c:pt idx="6194">
                  <c:v>0.26600000000000001</c:v>
                </c:pt>
                <c:pt idx="6195">
                  <c:v>0.627</c:v>
                </c:pt>
                <c:pt idx="6196">
                  <c:v>0.40400000000000003</c:v>
                </c:pt>
                <c:pt idx="6197">
                  <c:v>0.56499999999999995</c:v>
                </c:pt>
                <c:pt idx="6198">
                  <c:v>0.98299999999999998</c:v>
                </c:pt>
                <c:pt idx="6199">
                  <c:v>0.19600000000000001</c:v>
                </c:pt>
                <c:pt idx="6200">
                  <c:v>0.23400000000000001</c:v>
                </c:pt>
                <c:pt idx="6201">
                  <c:v>0.82199999999999995</c:v>
                </c:pt>
                <c:pt idx="6202">
                  <c:v>0.193</c:v>
                </c:pt>
                <c:pt idx="6203">
                  <c:v>0.73299999999999998</c:v>
                </c:pt>
                <c:pt idx="6204">
                  <c:v>0.38400000000000001</c:v>
                </c:pt>
                <c:pt idx="6205">
                  <c:v>0.39100000000000001</c:v>
                </c:pt>
                <c:pt idx="6206">
                  <c:v>0.46200000000000002</c:v>
                </c:pt>
                <c:pt idx="6207">
                  <c:v>0.47799999999999998</c:v>
                </c:pt>
                <c:pt idx="6208">
                  <c:v>0.72699999999999998</c:v>
                </c:pt>
                <c:pt idx="6209">
                  <c:v>0.77700000000000002</c:v>
                </c:pt>
                <c:pt idx="6210">
                  <c:v>0.98299999999999998</c:v>
                </c:pt>
                <c:pt idx="6211">
                  <c:v>0.90300000000000002</c:v>
                </c:pt>
                <c:pt idx="6212">
                  <c:v>0.13200000000000001</c:v>
                </c:pt>
                <c:pt idx="6213">
                  <c:v>0.45900000000000002</c:v>
                </c:pt>
                <c:pt idx="6214">
                  <c:v>0.78</c:v>
                </c:pt>
                <c:pt idx="6215">
                  <c:v>0.34599999999999997</c:v>
                </c:pt>
                <c:pt idx="6216">
                  <c:v>0.36899999999999999</c:v>
                </c:pt>
                <c:pt idx="6217">
                  <c:v>0.60699999999999998</c:v>
                </c:pt>
                <c:pt idx="6218">
                  <c:v>0.42499999999999999</c:v>
                </c:pt>
                <c:pt idx="6219">
                  <c:v>0.49299999999999999</c:v>
                </c:pt>
                <c:pt idx="6220">
                  <c:v>0.127</c:v>
                </c:pt>
                <c:pt idx="6221">
                  <c:v>0.152</c:v>
                </c:pt>
                <c:pt idx="6222">
                  <c:v>0.32100000000000001</c:v>
                </c:pt>
                <c:pt idx="6223">
                  <c:v>0.35799999999999998</c:v>
                </c:pt>
                <c:pt idx="6224">
                  <c:v>0.3</c:v>
                </c:pt>
                <c:pt idx="6225">
                  <c:v>0.93600000000000005</c:v>
                </c:pt>
                <c:pt idx="6226">
                  <c:v>0.85499999999999998</c:v>
                </c:pt>
                <c:pt idx="6227">
                  <c:v>0.435</c:v>
                </c:pt>
                <c:pt idx="6228">
                  <c:v>0.40799999999999997</c:v>
                </c:pt>
                <c:pt idx="6229">
                  <c:v>0.34799999999999998</c:v>
                </c:pt>
                <c:pt idx="6230">
                  <c:v>0.23300000000000001</c:v>
                </c:pt>
                <c:pt idx="6231">
                  <c:v>0.60099999999999998</c:v>
                </c:pt>
                <c:pt idx="6232">
                  <c:v>0.97</c:v>
                </c:pt>
                <c:pt idx="6233">
                  <c:v>7.0999999999999994E-2</c:v>
                </c:pt>
                <c:pt idx="6234">
                  <c:v>9.6000000000000002E-2</c:v>
                </c:pt>
                <c:pt idx="6235">
                  <c:v>0.89</c:v>
                </c:pt>
                <c:pt idx="6236">
                  <c:v>0.47399999999999998</c:v>
                </c:pt>
                <c:pt idx="6237">
                  <c:v>0.55400000000000005</c:v>
                </c:pt>
                <c:pt idx="6238">
                  <c:v>0.51200000000000001</c:v>
                </c:pt>
                <c:pt idx="6239">
                  <c:v>0.63500000000000001</c:v>
                </c:pt>
                <c:pt idx="6240">
                  <c:v>0.83</c:v>
                </c:pt>
                <c:pt idx="6241">
                  <c:v>0.93400000000000005</c:v>
                </c:pt>
                <c:pt idx="6242">
                  <c:v>0.90800000000000003</c:v>
                </c:pt>
                <c:pt idx="6243">
                  <c:v>0.77200000000000002</c:v>
                </c:pt>
                <c:pt idx="6244">
                  <c:v>8.6999999999999994E-2</c:v>
                </c:pt>
                <c:pt idx="6245">
                  <c:v>0.36199999999999999</c:v>
                </c:pt>
                <c:pt idx="6246">
                  <c:v>0.73899999999999999</c:v>
                </c:pt>
                <c:pt idx="6247">
                  <c:v>0.55200000000000005</c:v>
                </c:pt>
                <c:pt idx="6248">
                  <c:v>0.16</c:v>
                </c:pt>
                <c:pt idx="6249">
                  <c:v>0.88100000000000001</c:v>
                </c:pt>
                <c:pt idx="6250">
                  <c:v>0.34899999999999998</c:v>
                </c:pt>
                <c:pt idx="6251">
                  <c:v>0.92500000000000004</c:v>
                </c:pt>
                <c:pt idx="6252">
                  <c:v>0.72299999999999998</c:v>
                </c:pt>
                <c:pt idx="6253">
                  <c:v>0.63700000000000001</c:v>
                </c:pt>
                <c:pt idx="6254">
                  <c:v>0.308</c:v>
                </c:pt>
                <c:pt idx="6255">
                  <c:v>0.55800000000000005</c:v>
                </c:pt>
                <c:pt idx="6256">
                  <c:v>0.875</c:v>
                </c:pt>
                <c:pt idx="6257">
                  <c:v>0.88600000000000001</c:v>
                </c:pt>
                <c:pt idx="6258">
                  <c:v>0.66</c:v>
                </c:pt>
                <c:pt idx="6259">
                  <c:v>0.81599999999999995</c:v>
                </c:pt>
                <c:pt idx="6260">
                  <c:v>0.35399999999999998</c:v>
                </c:pt>
                <c:pt idx="6261">
                  <c:v>0.54900000000000004</c:v>
                </c:pt>
                <c:pt idx="6262">
                  <c:v>0.58699999999999997</c:v>
                </c:pt>
                <c:pt idx="6263">
                  <c:v>0.16</c:v>
                </c:pt>
                <c:pt idx="6264">
                  <c:v>0.433</c:v>
                </c:pt>
                <c:pt idx="6265">
                  <c:v>0.8</c:v>
                </c:pt>
                <c:pt idx="6266">
                  <c:v>0.36299999999999999</c:v>
                </c:pt>
                <c:pt idx="6267">
                  <c:v>0.626</c:v>
                </c:pt>
                <c:pt idx="6268">
                  <c:v>0.93500000000000005</c:v>
                </c:pt>
                <c:pt idx="6269">
                  <c:v>0.318</c:v>
                </c:pt>
                <c:pt idx="6270">
                  <c:v>0.68600000000000005</c:v>
                </c:pt>
                <c:pt idx="6271">
                  <c:v>0.46400000000000002</c:v>
                </c:pt>
                <c:pt idx="6272">
                  <c:v>0.22900000000000001</c:v>
                </c:pt>
                <c:pt idx="6273">
                  <c:v>0.78800000000000003</c:v>
                </c:pt>
                <c:pt idx="6274">
                  <c:v>0.89</c:v>
                </c:pt>
                <c:pt idx="6275">
                  <c:v>0.17</c:v>
                </c:pt>
                <c:pt idx="6276">
                  <c:v>0.36299999999999999</c:v>
                </c:pt>
                <c:pt idx="6277">
                  <c:v>0.88400000000000001</c:v>
                </c:pt>
                <c:pt idx="6278">
                  <c:v>0.27800000000000002</c:v>
                </c:pt>
                <c:pt idx="6279">
                  <c:v>0.49</c:v>
                </c:pt>
                <c:pt idx="6280">
                  <c:v>0.16900000000000001</c:v>
                </c:pt>
                <c:pt idx="6281">
                  <c:v>0.23599999999999999</c:v>
                </c:pt>
                <c:pt idx="6282">
                  <c:v>0.2</c:v>
                </c:pt>
                <c:pt idx="6283">
                  <c:v>0.50700000000000001</c:v>
                </c:pt>
                <c:pt idx="6284">
                  <c:v>0.51300000000000001</c:v>
                </c:pt>
                <c:pt idx="6285">
                  <c:v>0.52100000000000002</c:v>
                </c:pt>
                <c:pt idx="6286">
                  <c:v>0.624</c:v>
                </c:pt>
                <c:pt idx="6287">
                  <c:v>0.629</c:v>
                </c:pt>
                <c:pt idx="6288">
                  <c:v>0.70599999999999996</c:v>
                </c:pt>
                <c:pt idx="6289">
                  <c:v>0.34300000000000003</c:v>
                </c:pt>
                <c:pt idx="6290">
                  <c:v>0.31900000000000001</c:v>
                </c:pt>
                <c:pt idx="6291">
                  <c:v>0.34200000000000003</c:v>
                </c:pt>
                <c:pt idx="6292">
                  <c:v>0.59299999999999997</c:v>
                </c:pt>
                <c:pt idx="6293">
                  <c:v>0.61699999999999999</c:v>
                </c:pt>
                <c:pt idx="6294">
                  <c:v>0.66800000000000004</c:v>
                </c:pt>
                <c:pt idx="6295">
                  <c:v>0.81899999999999995</c:v>
                </c:pt>
                <c:pt idx="6296">
                  <c:v>0.39500000000000002</c:v>
                </c:pt>
                <c:pt idx="6297">
                  <c:v>0.315</c:v>
                </c:pt>
                <c:pt idx="6298">
                  <c:v>0.20499999999999999</c:v>
                </c:pt>
                <c:pt idx="6299">
                  <c:v>0.81699999999999995</c:v>
                </c:pt>
                <c:pt idx="6300">
                  <c:v>0.67200000000000004</c:v>
                </c:pt>
                <c:pt idx="6301">
                  <c:v>0.505</c:v>
                </c:pt>
                <c:pt idx="6302">
                  <c:v>0.46800000000000003</c:v>
                </c:pt>
                <c:pt idx="6303">
                  <c:v>0.316</c:v>
                </c:pt>
                <c:pt idx="6304">
                  <c:v>0.55500000000000005</c:v>
                </c:pt>
                <c:pt idx="6305">
                  <c:v>0.65300000000000002</c:v>
                </c:pt>
                <c:pt idx="6306">
                  <c:v>0.47199999999999998</c:v>
                </c:pt>
                <c:pt idx="6307">
                  <c:v>5.6000000000000001E-2</c:v>
                </c:pt>
                <c:pt idx="6308">
                  <c:v>0.69</c:v>
                </c:pt>
                <c:pt idx="6309">
                  <c:v>0.249</c:v>
                </c:pt>
                <c:pt idx="6310">
                  <c:v>0.20499999999999999</c:v>
                </c:pt>
                <c:pt idx="6311">
                  <c:v>0.441</c:v>
                </c:pt>
                <c:pt idx="6312">
                  <c:v>0.28499999999999998</c:v>
                </c:pt>
                <c:pt idx="6313">
                  <c:v>0.38700000000000001</c:v>
                </c:pt>
                <c:pt idx="6314">
                  <c:v>0.52800000000000002</c:v>
                </c:pt>
                <c:pt idx="6315">
                  <c:v>0.98699999999999999</c:v>
                </c:pt>
                <c:pt idx="6316">
                  <c:v>0.88300000000000001</c:v>
                </c:pt>
                <c:pt idx="6317">
                  <c:v>0.71499999999999997</c:v>
                </c:pt>
                <c:pt idx="6318">
                  <c:v>0.35299999999999998</c:v>
                </c:pt>
                <c:pt idx="6319">
                  <c:v>0.879</c:v>
                </c:pt>
                <c:pt idx="6320">
                  <c:v>0.53800000000000003</c:v>
                </c:pt>
                <c:pt idx="6321">
                  <c:v>0.84899999999999998</c:v>
                </c:pt>
                <c:pt idx="6322">
                  <c:v>0.623</c:v>
                </c:pt>
                <c:pt idx="6323">
                  <c:v>0.55600000000000005</c:v>
                </c:pt>
                <c:pt idx="6324">
                  <c:v>0.92200000000000004</c:v>
                </c:pt>
                <c:pt idx="6325">
                  <c:v>0.50800000000000001</c:v>
                </c:pt>
                <c:pt idx="6326">
                  <c:v>0.55100000000000005</c:v>
                </c:pt>
                <c:pt idx="6327">
                  <c:v>0.41899999999999998</c:v>
                </c:pt>
                <c:pt idx="6328">
                  <c:v>0.10199999999999999</c:v>
                </c:pt>
                <c:pt idx="6329">
                  <c:v>0.14699999999999999</c:v>
                </c:pt>
                <c:pt idx="6330">
                  <c:v>0.312</c:v>
                </c:pt>
                <c:pt idx="6331">
                  <c:v>0.42399999999999999</c:v>
                </c:pt>
                <c:pt idx="6332">
                  <c:v>0.439</c:v>
                </c:pt>
                <c:pt idx="6333">
                  <c:v>0.82799999999999996</c:v>
                </c:pt>
                <c:pt idx="6334">
                  <c:v>0.26200000000000001</c:v>
                </c:pt>
                <c:pt idx="6335">
                  <c:v>0.8</c:v>
                </c:pt>
                <c:pt idx="6336">
                  <c:v>0.111</c:v>
                </c:pt>
                <c:pt idx="6337">
                  <c:v>0.60799999999999998</c:v>
                </c:pt>
                <c:pt idx="6338">
                  <c:v>0.36199999999999999</c:v>
                </c:pt>
                <c:pt idx="6339">
                  <c:v>0.45800000000000002</c:v>
                </c:pt>
                <c:pt idx="6340">
                  <c:v>0.39900000000000002</c:v>
                </c:pt>
                <c:pt idx="6341">
                  <c:v>0.28100000000000003</c:v>
                </c:pt>
                <c:pt idx="6342">
                  <c:v>0.40799999999999997</c:v>
                </c:pt>
                <c:pt idx="6343">
                  <c:v>0.54600000000000004</c:v>
                </c:pt>
                <c:pt idx="6344">
                  <c:v>0.61299999999999999</c:v>
                </c:pt>
                <c:pt idx="6345">
                  <c:v>0.26100000000000001</c:v>
                </c:pt>
                <c:pt idx="6346">
                  <c:v>0.79700000000000004</c:v>
                </c:pt>
                <c:pt idx="6347">
                  <c:v>0.21</c:v>
                </c:pt>
                <c:pt idx="6348">
                  <c:v>0.24199999999999999</c:v>
                </c:pt>
                <c:pt idx="6349">
                  <c:v>0.59299999999999997</c:v>
                </c:pt>
                <c:pt idx="6350">
                  <c:v>0.71799999999999997</c:v>
                </c:pt>
                <c:pt idx="6351">
                  <c:v>0.61799999999999999</c:v>
                </c:pt>
                <c:pt idx="6352">
                  <c:v>0.50900000000000001</c:v>
                </c:pt>
                <c:pt idx="6353">
                  <c:v>0.52200000000000002</c:v>
                </c:pt>
                <c:pt idx="6354">
                  <c:v>0.89</c:v>
                </c:pt>
                <c:pt idx="6355">
                  <c:v>0.58199999999999996</c:v>
                </c:pt>
                <c:pt idx="6356">
                  <c:v>0.94699999999999995</c:v>
                </c:pt>
                <c:pt idx="6357">
                  <c:v>0.91300000000000003</c:v>
                </c:pt>
                <c:pt idx="6358">
                  <c:v>0.94499999999999995</c:v>
                </c:pt>
                <c:pt idx="6359">
                  <c:v>0.625</c:v>
                </c:pt>
                <c:pt idx="6360">
                  <c:v>0.18099999999999999</c:v>
                </c:pt>
                <c:pt idx="6361">
                  <c:v>0.55900000000000005</c:v>
                </c:pt>
                <c:pt idx="6362">
                  <c:v>0.56100000000000005</c:v>
                </c:pt>
                <c:pt idx="6363">
                  <c:v>0.623</c:v>
                </c:pt>
                <c:pt idx="6364">
                  <c:v>0.89</c:v>
                </c:pt>
                <c:pt idx="6365">
                  <c:v>0.56000000000000005</c:v>
                </c:pt>
                <c:pt idx="6366">
                  <c:v>0.21099999999999999</c:v>
                </c:pt>
                <c:pt idx="6367">
                  <c:v>0.45400000000000001</c:v>
                </c:pt>
                <c:pt idx="6368">
                  <c:v>0.61099999999999999</c:v>
                </c:pt>
                <c:pt idx="6369">
                  <c:v>0.52400000000000002</c:v>
                </c:pt>
                <c:pt idx="6370">
                  <c:v>0.57999999999999996</c:v>
                </c:pt>
                <c:pt idx="6371">
                  <c:v>0.69799999999999995</c:v>
                </c:pt>
                <c:pt idx="6372">
                  <c:v>0.82599999999999996</c:v>
                </c:pt>
                <c:pt idx="6373">
                  <c:v>0.61099999999999999</c:v>
                </c:pt>
                <c:pt idx="6374">
                  <c:v>0.71699999999999997</c:v>
                </c:pt>
                <c:pt idx="6375">
                  <c:v>0.28499999999999998</c:v>
                </c:pt>
                <c:pt idx="6376">
                  <c:v>0.72499999999999998</c:v>
                </c:pt>
                <c:pt idx="6377">
                  <c:v>0.97599999999999998</c:v>
                </c:pt>
                <c:pt idx="6378">
                  <c:v>0.61499999999999999</c:v>
                </c:pt>
                <c:pt idx="6379">
                  <c:v>0.8</c:v>
                </c:pt>
                <c:pt idx="6380">
                  <c:v>0.14499999999999999</c:v>
                </c:pt>
                <c:pt idx="6381">
                  <c:v>0.58199999999999996</c:v>
                </c:pt>
                <c:pt idx="6382">
                  <c:v>0.59799999999999998</c:v>
                </c:pt>
                <c:pt idx="6383">
                  <c:v>0.623</c:v>
                </c:pt>
                <c:pt idx="6384">
                  <c:v>0.51900000000000002</c:v>
                </c:pt>
                <c:pt idx="6385">
                  <c:v>0.28599999999999998</c:v>
                </c:pt>
                <c:pt idx="6386">
                  <c:v>0.89700000000000002</c:v>
                </c:pt>
                <c:pt idx="6387">
                  <c:v>0.41199999999999998</c:v>
                </c:pt>
                <c:pt idx="6388">
                  <c:v>0.17100000000000001</c:v>
                </c:pt>
                <c:pt idx="6389">
                  <c:v>0.95</c:v>
                </c:pt>
                <c:pt idx="6390">
                  <c:v>5.8000000000000003E-2</c:v>
                </c:pt>
                <c:pt idx="6391">
                  <c:v>0.52500000000000002</c:v>
                </c:pt>
                <c:pt idx="6392">
                  <c:v>0.56000000000000005</c:v>
                </c:pt>
                <c:pt idx="6393">
                  <c:v>0.24199999999999999</c:v>
                </c:pt>
                <c:pt idx="6394">
                  <c:v>0.61599999999999999</c:v>
                </c:pt>
                <c:pt idx="6395">
                  <c:v>0.40600000000000003</c:v>
                </c:pt>
                <c:pt idx="6396">
                  <c:v>0.36599999999999999</c:v>
                </c:pt>
                <c:pt idx="6397">
                  <c:v>4.1000000000000002E-2</c:v>
                </c:pt>
                <c:pt idx="6398">
                  <c:v>0.14399999999999999</c:v>
                </c:pt>
                <c:pt idx="6399">
                  <c:v>0.28599999999999998</c:v>
                </c:pt>
                <c:pt idx="6400">
                  <c:v>0.32500000000000001</c:v>
                </c:pt>
                <c:pt idx="6401">
                  <c:v>0.32400000000000001</c:v>
                </c:pt>
                <c:pt idx="6402">
                  <c:v>0.31900000000000001</c:v>
                </c:pt>
                <c:pt idx="6403">
                  <c:v>0.379</c:v>
                </c:pt>
                <c:pt idx="6404">
                  <c:v>0.54600000000000004</c:v>
                </c:pt>
                <c:pt idx="6405">
                  <c:v>0.32700000000000001</c:v>
                </c:pt>
                <c:pt idx="6406">
                  <c:v>0.44600000000000001</c:v>
                </c:pt>
                <c:pt idx="6407">
                  <c:v>0.152</c:v>
                </c:pt>
                <c:pt idx="6408">
                  <c:v>0.76900000000000002</c:v>
                </c:pt>
                <c:pt idx="6409">
                  <c:v>0.58299999999999996</c:v>
                </c:pt>
                <c:pt idx="6410">
                  <c:v>0.71299999999999997</c:v>
                </c:pt>
                <c:pt idx="6411">
                  <c:v>0.876</c:v>
                </c:pt>
                <c:pt idx="6412">
                  <c:v>0.45800000000000002</c:v>
                </c:pt>
                <c:pt idx="6413">
                  <c:v>0.59599999999999997</c:v>
                </c:pt>
                <c:pt idx="6414">
                  <c:v>0.20399999999999999</c:v>
                </c:pt>
                <c:pt idx="6415">
                  <c:v>0.63900000000000001</c:v>
                </c:pt>
                <c:pt idx="6416">
                  <c:v>0.33300000000000002</c:v>
                </c:pt>
                <c:pt idx="6417">
                  <c:v>0.84199999999999997</c:v>
                </c:pt>
                <c:pt idx="6418">
                  <c:v>0.155</c:v>
                </c:pt>
                <c:pt idx="6419">
                  <c:v>0.374</c:v>
                </c:pt>
                <c:pt idx="6420">
                  <c:v>0.98899999999999999</c:v>
                </c:pt>
                <c:pt idx="6421">
                  <c:v>0.41799999999999998</c:v>
                </c:pt>
                <c:pt idx="6422">
                  <c:v>0.18099999999999999</c:v>
                </c:pt>
                <c:pt idx="6423">
                  <c:v>0.13200000000000001</c:v>
                </c:pt>
                <c:pt idx="6424">
                  <c:v>0.47499999999999998</c:v>
                </c:pt>
                <c:pt idx="6425">
                  <c:v>0.70099999999999996</c:v>
                </c:pt>
                <c:pt idx="6426">
                  <c:v>0.21</c:v>
                </c:pt>
                <c:pt idx="6427">
                  <c:v>0.32200000000000001</c:v>
                </c:pt>
                <c:pt idx="6428">
                  <c:v>0.23400000000000001</c:v>
                </c:pt>
                <c:pt idx="6429">
                  <c:v>0.505</c:v>
                </c:pt>
                <c:pt idx="6430">
                  <c:v>0.74099999999999999</c:v>
                </c:pt>
                <c:pt idx="6431">
                  <c:v>0.41699999999999998</c:v>
                </c:pt>
                <c:pt idx="6432">
                  <c:v>0.41</c:v>
                </c:pt>
                <c:pt idx="6433">
                  <c:v>8.5999999999999993E-2</c:v>
                </c:pt>
                <c:pt idx="6434">
                  <c:v>0.75800000000000001</c:v>
                </c:pt>
                <c:pt idx="6435">
                  <c:v>0.33100000000000002</c:v>
                </c:pt>
                <c:pt idx="6436">
                  <c:v>0.41599999999999998</c:v>
                </c:pt>
                <c:pt idx="6437">
                  <c:v>0.86</c:v>
                </c:pt>
                <c:pt idx="6438">
                  <c:v>0.26800000000000002</c:v>
                </c:pt>
                <c:pt idx="6439">
                  <c:v>0.5</c:v>
                </c:pt>
                <c:pt idx="6440">
                  <c:v>0.13600000000000001</c:v>
                </c:pt>
                <c:pt idx="6441">
                  <c:v>0.878</c:v>
                </c:pt>
                <c:pt idx="6442">
                  <c:v>0.314</c:v>
                </c:pt>
                <c:pt idx="6443">
                  <c:v>0.54900000000000004</c:v>
                </c:pt>
                <c:pt idx="6444">
                  <c:v>0.19500000000000001</c:v>
                </c:pt>
                <c:pt idx="6445">
                  <c:v>0.752</c:v>
                </c:pt>
                <c:pt idx="6446">
                  <c:v>0.497</c:v>
                </c:pt>
                <c:pt idx="6447">
                  <c:v>0.58199999999999996</c:v>
                </c:pt>
                <c:pt idx="6448">
                  <c:v>0.16400000000000001</c:v>
                </c:pt>
                <c:pt idx="6449">
                  <c:v>0.45800000000000002</c:v>
                </c:pt>
                <c:pt idx="6450">
                  <c:v>0.40600000000000003</c:v>
                </c:pt>
                <c:pt idx="6451">
                  <c:v>0.81200000000000006</c:v>
                </c:pt>
                <c:pt idx="6452">
                  <c:v>0.315</c:v>
                </c:pt>
                <c:pt idx="6453">
                  <c:v>0.41599999999999998</c:v>
                </c:pt>
                <c:pt idx="6454">
                  <c:v>0.27400000000000002</c:v>
                </c:pt>
                <c:pt idx="6455">
                  <c:v>0.54500000000000004</c:v>
                </c:pt>
                <c:pt idx="6456">
                  <c:v>0.249</c:v>
                </c:pt>
                <c:pt idx="6457">
                  <c:v>0.86</c:v>
                </c:pt>
                <c:pt idx="6458">
                  <c:v>0.55100000000000005</c:v>
                </c:pt>
                <c:pt idx="6459">
                  <c:v>0.58299999999999996</c:v>
                </c:pt>
                <c:pt idx="6460">
                  <c:v>0.27600000000000002</c:v>
                </c:pt>
                <c:pt idx="6461">
                  <c:v>0.94799999999999995</c:v>
                </c:pt>
                <c:pt idx="6462">
                  <c:v>3.3000000000000002E-2</c:v>
                </c:pt>
                <c:pt idx="6463">
                  <c:v>3.3000000000000002E-2</c:v>
                </c:pt>
                <c:pt idx="6464">
                  <c:v>6.3E-2</c:v>
                </c:pt>
                <c:pt idx="6465">
                  <c:v>0.13800000000000001</c:v>
                </c:pt>
                <c:pt idx="6466">
                  <c:v>0.14699999999999999</c:v>
                </c:pt>
                <c:pt idx="6467">
                  <c:v>0.14699999999999999</c:v>
                </c:pt>
                <c:pt idx="6468">
                  <c:v>0.17899999999999999</c:v>
                </c:pt>
                <c:pt idx="6469">
                  <c:v>0.19400000000000001</c:v>
                </c:pt>
                <c:pt idx="6470">
                  <c:v>0.19600000000000001</c:v>
                </c:pt>
                <c:pt idx="6471">
                  <c:v>0.27200000000000002</c:v>
                </c:pt>
                <c:pt idx="6472">
                  <c:v>0.34699999999999998</c:v>
                </c:pt>
                <c:pt idx="6473">
                  <c:v>0.432</c:v>
                </c:pt>
                <c:pt idx="6474">
                  <c:v>0.44400000000000001</c:v>
                </c:pt>
                <c:pt idx="6475">
                  <c:v>0.61799999999999999</c:v>
                </c:pt>
                <c:pt idx="6476">
                  <c:v>0.71499999999999997</c:v>
                </c:pt>
                <c:pt idx="6477">
                  <c:v>0.82</c:v>
                </c:pt>
                <c:pt idx="6478">
                  <c:v>0.36499999999999999</c:v>
                </c:pt>
                <c:pt idx="6479">
                  <c:v>0.66700000000000004</c:v>
                </c:pt>
                <c:pt idx="6480">
                  <c:v>0.501</c:v>
                </c:pt>
                <c:pt idx="6481">
                  <c:v>0.70499999999999996</c:v>
                </c:pt>
                <c:pt idx="6482">
                  <c:v>0.88300000000000001</c:v>
                </c:pt>
                <c:pt idx="6483">
                  <c:v>0.50800000000000001</c:v>
                </c:pt>
                <c:pt idx="6484">
                  <c:v>0.57999999999999996</c:v>
                </c:pt>
                <c:pt idx="6485">
                  <c:v>0.873</c:v>
                </c:pt>
                <c:pt idx="6486">
                  <c:v>0.17699999999999999</c:v>
                </c:pt>
                <c:pt idx="6487">
                  <c:v>0.437</c:v>
                </c:pt>
                <c:pt idx="6488">
                  <c:v>0.38700000000000001</c:v>
                </c:pt>
                <c:pt idx="6489">
                  <c:v>0.81799999999999995</c:v>
                </c:pt>
                <c:pt idx="6490">
                  <c:v>0.124</c:v>
                </c:pt>
                <c:pt idx="6491">
                  <c:v>0.161</c:v>
                </c:pt>
                <c:pt idx="6492">
                  <c:v>0.31900000000000001</c:v>
                </c:pt>
                <c:pt idx="6493">
                  <c:v>0.91200000000000003</c:v>
                </c:pt>
                <c:pt idx="6494">
                  <c:v>0.71799999999999997</c:v>
                </c:pt>
                <c:pt idx="6495">
                  <c:v>0.442</c:v>
                </c:pt>
                <c:pt idx="6496">
                  <c:v>0.193</c:v>
                </c:pt>
                <c:pt idx="6497">
                  <c:v>0.47699999999999998</c:v>
                </c:pt>
                <c:pt idx="6498">
                  <c:v>0.50600000000000001</c:v>
                </c:pt>
                <c:pt idx="6499">
                  <c:v>0.51800000000000002</c:v>
                </c:pt>
                <c:pt idx="6500">
                  <c:v>0.39700000000000002</c:v>
                </c:pt>
                <c:pt idx="6501">
                  <c:v>0.53900000000000003</c:v>
                </c:pt>
                <c:pt idx="6502">
                  <c:v>0.73799999999999999</c:v>
                </c:pt>
                <c:pt idx="6503">
                  <c:v>0.14000000000000001</c:v>
                </c:pt>
                <c:pt idx="6504">
                  <c:v>0.54400000000000004</c:v>
                </c:pt>
                <c:pt idx="6505">
                  <c:v>0.33500000000000002</c:v>
                </c:pt>
                <c:pt idx="6506">
                  <c:v>0.14199999999999999</c:v>
                </c:pt>
                <c:pt idx="6507">
                  <c:v>0.123</c:v>
                </c:pt>
                <c:pt idx="6508">
                  <c:v>0.64200000000000002</c:v>
                </c:pt>
                <c:pt idx="6509">
                  <c:v>0.53700000000000003</c:v>
                </c:pt>
                <c:pt idx="6510">
                  <c:v>0.50900000000000001</c:v>
                </c:pt>
                <c:pt idx="6511">
                  <c:v>0.61199999999999999</c:v>
                </c:pt>
                <c:pt idx="6512">
                  <c:v>0.98</c:v>
                </c:pt>
                <c:pt idx="6513">
                  <c:v>0.54300000000000004</c:v>
                </c:pt>
                <c:pt idx="6514">
                  <c:v>0.27200000000000002</c:v>
                </c:pt>
                <c:pt idx="6515">
                  <c:v>0.188</c:v>
                </c:pt>
                <c:pt idx="6516">
                  <c:v>0.42099999999999999</c:v>
                </c:pt>
                <c:pt idx="6517">
                  <c:v>0.92800000000000005</c:v>
                </c:pt>
                <c:pt idx="6518">
                  <c:v>0.68</c:v>
                </c:pt>
                <c:pt idx="6519">
                  <c:v>0.46800000000000003</c:v>
                </c:pt>
                <c:pt idx="6520">
                  <c:v>0.47899999999999998</c:v>
                </c:pt>
                <c:pt idx="6521">
                  <c:v>0.86399999999999999</c:v>
                </c:pt>
                <c:pt idx="6522">
                  <c:v>0.85499999999999998</c:v>
                </c:pt>
                <c:pt idx="6523">
                  <c:v>0.42899999999999999</c:v>
                </c:pt>
                <c:pt idx="6524">
                  <c:v>0.63200000000000001</c:v>
                </c:pt>
                <c:pt idx="6525">
                  <c:v>0.47699999999999998</c:v>
                </c:pt>
                <c:pt idx="6526">
                  <c:v>0.86399999999999999</c:v>
                </c:pt>
                <c:pt idx="6527">
                  <c:v>0.40400000000000003</c:v>
                </c:pt>
                <c:pt idx="6528">
                  <c:v>0.12</c:v>
                </c:pt>
                <c:pt idx="6529">
                  <c:v>0.68500000000000005</c:v>
                </c:pt>
                <c:pt idx="6530">
                  <c:v>0.10299999999999999</c:v>
                </c:pt>
                <c:pt idx="6531">
                  <c:v>0.152</c:v>
                </c:pt>
                <c:pt idx="6532">
                  <c:v>0.41199999999999998</c:v>
                </c:pt>
                <c:pt idx="6533">
                  <c:v>0.875</c:v>
                </c:pt>
                <c:pt idx="6534">
                  <c:v>0.55500000000000005</c:v>
                </c:pt>
                <c:pt idx="6535">
                  <c:v>0.45200000000000001</c:v>
                </c:pt>
                <c:pt idx="6536">
                  <c:v>0.78100000000000003</c:v>
                </c:pt>
                <c:pt idx="6537">
                  <c:v>0.28399999999999997</c:v>
                </c:pt>
                <c:pt idx="6538">
                  <c:v>0.33500000000000002</c:v>
                </c:pt>
                <c:pt idx="6539">
                  <c:v>0.78600000000000003</c:v>
                </c:pt>
                <c:pt idx="6540">
                  <c:v>0.217</c:v>
                </c:pt>
                <c:pt idx="6541">
                  <c:v>0.375</c:v>
                </c:pt>
                <c:pt idx="6542">
                  <c:v>0.39600000000000002</c:v>
                </c:pt>
                <c:pt idx="6543">
                  <c:v>0.91200000000000003</c:v>
                </c:pt>
                <c:pt idx="6544">
                  <c:v>3.6999999999999998E-2</c:v>
                </c:pt>
                <c:pt idx="6545">
                  <c:v>0.04</c:v>
                </c:pt>
                <c:pt idx="6546">
                  <c:v>0.27600000000000002</c:v>
                </c:pt>
                <c:pt idx="6547">
                  <c:v>0.311</c:v>
                </c:pt>
                <c:pt idx="6548">
                  <c:v>0.41199999999999998</c:v>
                </c:pt>
                <c:pt idx="6549">
                  <c:v>0.49099999999999999</c:v>
                </c:pt>
                <c:pt idx="6550">
                  <c:v>0.37</c:v>
                </c:pt>
                <c:pt idx="6551">
                  <c:v>0.97799999999999998</c:v>
                </c:pt>
                <c:pt idx="6552">
                  <c:v>0.86199999999999999</c:v>
                </c:pt>
                <c:pt idx="6553">
                  <c:v>0.36699999999999999</c:v>
                </c:pt>
                <c:pt idx="6554">
                  <c:v>0.45200000000000001</c:v>
                </c:pt>
                <c:pt idx="6555">
                  <c:v>0.155</c:v>
                </c:pt>
                <c:pt idx="6556">
                  <c:v>0.42899999999999999</c:v>
                </c:pt>
                <c:pt idx="6557">
                  <c:v>0.71499999999999997</c:v>
                </c:pt>
                <c:pt idx="6558">
                  <c:v>0.753</c:v>
                </c:pt>
                <c:pt idx="6559">
                  <c:v>0.53500000000000003</c:v>
                </c:pt>
                <c:pt idx="6560">
                  <c:v>0.57099999999999995</c:v>
                </c:pt>
                <c:pt idx="6561">
                  <c:v>5.8000000000000003E-2</c:v>
                </c:pt>
                <c:pt idx="6562">
                  <c:v>0.246</c:v>
                </c:pt>
                <c:pt idx="6563">
                  <c:v>0.41499999999999998</c:v>
                </c:pt>
                <c:pt idx="6564">
                  <c:v>0.27500000000000002</c:v>
                </c:pt>
                <c:pt idx="6565">
                  <c:v>3.5999999999999997E-2</c:v>
                </c:pt>
                <c:pt idx="6566">
                  <c:v>0.375</c:v>
                </c:pt>
                <c:pt idx="6567">
                  <c:v>0.71799999999999997</c:v>
                </c:pt>
                <c:pt idx="6568">
                  <c:v>0.875</c:v>
                </c:pt>
                <c:pt idx="6569">
                  <c:v>0.32500000000000001</c:v>
                </c:pt>
                <c:pt idx="6570">
                  <c:v>0.26100000000000001</c:v>
                </c:pt>
                <c:pt idx="6571">
                  <c:v>0.628</c:v>
                </c:pt>
                <c:pt idx="6572">
                  <c:v>0.39600000000000002</c:v>
                </c:pt>
                <c:pt idx="6573">
                  <c:v>0.95499999999999996</c:v>
                </c:pt>
                <c:pt idx="6574">
                  <c:v>0.28299999999999997</c:v>
                </c:pt>
                <c:pt idx="6575">
                  <c:v>0.254</c:v>
                </c:pt>
                <c:pt idx="6576">
                  <c:v>0.03</c:v>
                </c:pt>
                <c:pt idx="6577">
                  <c:v>0.23100000000000001</c:v>
                </c:pt>
                <c:pt idx="6578">
                  <c:v>0.46200000000000002</c:v>
                </c:pt>
                <c:pt idx="6579">
                  <c:v>0.496</c:v>
                </c:pt>
                <c:pt idx="6580">
                  <c:v>0.61099999999999999</c:v>
                </c:pt>
                <c:pt idx="6581">
                  <c:v>0.75600000000000001</c:v>
                </c:pt>
                <c:pt idx="6582">
                  <c:v>0.26600000000000001</c:v>
                </c:pt>
                <c:pt idx="6583">
                  <c:v>0.58199999999999996</c:v>
                </c:pt>
                <c:pt idx="6584">
                  <c:v>0.54800000000000004</c:v>
                </c:pt>
                <c:pt idx="6585">
                  <c:v>0.155</c:v>
                </c:pt>
                <c:pt idx="6586">
                  <c:v>0.52200000000000002</c:v>
                </c:pt>
                <c:pt idx="6587">
                  <c:v>0.46500000000000002</c:v>
                </c:pt>
                <c:pt idx="6588">
                  <c:v>0.82199999999999995</c:v>
                </c:pt>
                <c:pt idx="6589">
                  <c:v>0.89500000000000002</c:v>
                </c:pt>
                <c:pt idx="6590">
                  <c:v>0.68899999999999995</c:v>
                </c:pt>
                <c:pt idx="6591">
                  <c:v>7.8E-2</c:v>
                </c:pt>
                <c:pt idx="6592">
                  <c:v>0.33600000000000002</c:v>
                </c:pt>
                <c:pt idx="6593">
                  <c:v>0.4</c:v>
                </c:pt>
                <c:pt idx="6594">
                  <c:v>0.82899999999999996</c:v>
                </c:pt>
                <c:pt idx="6595">
                  <c:v>0.27</c:v>
                </c:pt>
                <c:pt idx="6596">
                  <c:v>0.13900000000000001</c:v>
                </c:pt>
                <c:pt idx="6597">
                  <c:v>0.36399999999999999</c:v>
                </c:pt>
                <c:pt idx="6598">
                  <c:v>0.65600000000000003</c:v>
                </c:pt>
                <c:pt idx="6599">
                  <c:v>0.49099999999999999</c:v>
                </c:pt>
                <c:pt idx="6600">
                  <c:v>0.4</c:v>
                </c:pt>
                <c:pt idx="6601">
                  <c:v>0.79100000000000004</c:v>
                </c:pt>
                <c:pt idx="6602">
                  <c:v>0.46899999999999997</c:v>
                </c:pt>
                <c:pt idx="6603">
                  <c:v>0.60399999999999998</c:v>
                </c:pt>
                <c:pt idx="6604">
                  <c:v>0.80600000000000005</c:v>
                </c:pt>
                <c:pt idx="6605">
                  <c:v>0.98499999999999999</c:v>
                </c:pt>
                <c:pt idx="6606">
                  <c:v>0.40899999999999997</c:v>
                </c:pt>
                <c:pt idx="6607">
                  <c:v>0.104</c:v>
                </c:pt>
                <c:pt idx="6608">
                  <c:v>0.38500000000000001</c:v>
                </c:pt>
                <c:pt idx="6609">
                  <c:v>0.27400000000000002</c:v>
                </c:pt>
                <c:pt idx="6610">
                  <c:v>0.70499999999999996</c:v>
                </c:pt>
                <c:pt idx="6611">
                  <c:v>0.50900000000000001</c:v>
                </c:pt>
                <c:pt idx="6612">
                  <c:v>0.58099999999999996</c:v>
                </c:pt>
                <c:pt idx="6613">
                  <c:v>0.31900000000000001</c:v>
                </c:pt>
                <c:pt idx="6614">
                  <c:v>0.57699999999999996</c:v>
                </c:pt>
                <c:pt idx="6615">
                  <c:v>0.79700000000000004</c:v>
                </c:pt>
                <c:pt idx="6616">
                  <c:v>0.182</c:v>
                </c:pt>
                <c:pt idx="6617">
                  <c:v>0.29299999999999998</c:v>
                </c:pt>
                <c:pt idx="6618">
                  <c:v>0.33900000000000002</c:v>
                </c:pt>
                <c:pt idx="6619">
                  <c:v>0.52600000000000002</c:v>
                </c:pt>
                <c:pt idx="6620">
                  <c:v>0.753</c:v>
                </c:pt>
                <c:pt idx="6621">
                  <c:v>0.20599999999999999</c:v>
                </c:pt>
                <c:pt idx="6622">
                  <c:v>0.35599999999999998</c:v>
                </c:pt>
                <c:pt idx="6623">
                  <c:v>0.41299999999999998</c:v>
                </c:pt>
                <c:pt idx="6624">
                  <c:v>0.441</c:v>
                </c:pt>
                <c:pt idx="6625">
                  <c:v>0.41099999999999998</c:v>
                </c:pt>
                <c:pt idx="6626">
                  <c:v>0.53600000000000003</c:v>
                </c:pt>
                <c:pt idx="6627">
                  <c:v>7.8E-2</c:v>
                </c:pt>
                <c:pt idx="6628">
                  <c:v>0.71499999999999997</c:v>
                </c:pt>
                <c:pt idx="6629">
                  <c:v>0.91300000000000003</c:v>
                </c:pt>
                <c:pt idx="6630">
                  <c:v>0.35899999999999999</c:v>
                </c:pt>
                <c:pt idx="6631">
                  <c:v>9.6000000000000002E-2</c:v>
                </c:pt>
                <c:pt idx="6632">
                  <c:v>0.51400000000000001</c:v>
                </c:pt>
                <c:pt idx="6633">
                  <c:v>0.46</c:v>
                </c:pt>
                <c:pt idx="6634">
                  <c:v>0.71499999999999997</c:v>
                </c:pt>
                <c:pt idx="6635">
                  <c:v>0.108</c:v>
                </c:pt>
                <c:pt idx="6636">
                  <c:v>0.52100000000000002</c:v>
                </c:pt>
                <c:pt idx="6637">
                  <c:v>0.35799999999999998</c:v>
                </c:pt>
                <c:pt idx="6638">
                  <c:v>0.626</c:v>
                </c:pt>
                <c:pt idx="6639">
                  <c:v>0.36699999999999999</c:v>
                </c:pt>
                <c:pt idx="6640">
                  <c:v>0.57599999999999996</c:v>
                </c:pt>
                <c:pt idx="6641">
                  <c:v>0.51100000000000001</c:v>
                </c:pt>
                <c:pt idx="6642">
                  <c:v>0.5</c:v>
                </c:pt>
                <c:pt idx="6643">
                  <c:v>0.72199999999999998</c:v>
                </c:pt>
                <c:pt idx="6644">
                  <c:v>0.26800000000000002</c:v>
                </c:pt>
                <c:pt idx="6645">
                  <c:v>0.73799999999999999</c:v>
                </c:pt>
                <c:pt idx="6646">
                  <c:v>0.93600000000000005</c:v>
                </c:pt>
                <c:pt idx="6647">
                  <c:v>0.29599999999999999</c:v>
                </c:pt>
                <c:pt idx="6648">
                  <c:v>0.11600000000000001</c:v>
                </c:pt>
                <c:pt idx="6649">
                  <c:v>0.46100000000000002</c:v>
                </c:pt>
                <c:pt idx="6650">
                  <c:v>0.27400000000000002</c:v>
                </c:pt>
                <c:pt idx="6651">
                  <c:v>0.40400000000000003</c:v>
                </c:pt>
                <c:pt idx="6652">
                  <c:v>0.34599999999999997</c:v>
                </c:pt>
                <c:pt idx="6653">
                  <c:v>0.505</c:v>
                </c:pt>
                <c:pt idx="6654">
                  <c:v>0.81599999999999995</c:v>
                </c:pt>
                <c:pt idx="6655">
                  <c:v>0.374</c:v>
                </c:pt>
                <c:pt idx="6656">
                  <c:v>0.89300000000000002</c:v>
                </c:pt>
                <c:pt idx="6657">
                  <c:v>0.439</c:v>
                </c:pt>
                <c:pt idx="6658">
                  <c:v>0.30599999999999999</c:v>
                </c:pt>
                <c:pt idx="6659">
                  <c:v>0.19</c:v>
                </c:pt>
                <c:pt idx="6660">
                  <c:v>0.40300000000000002</c:v>
                </c:pt>
                <c:pt idx="6661">
                  <c:v>0.32100000000000001</c:v>
                </c:pt>
                <c:pt idx="6662">
                  <c:v>0.42099999999999999</c:v>
                </c:pt>
                <c:pt idx="6663">
                  <c:v>0.78100000000000003</c:v>
                </c:pt>
                <c:pt idx="6664">
                  <c:v>0.26800000000000002</c:v>
                </c:pt>
                <c:pt idx="6665">
                  <c:v>7.1999999999999995E-2</c:v>
                </c:pt>
                <c:pt idx="6666">
                  <c:v>0.246</c:v>
                </c:pt>
                <c:pt idx="6667">
                  <c:v>0.441</c:v>
                </c:pt>
                <c:pt idx="6668">
                  <c:v>0.38500000000000001</c:v>
                </c:pt>
                <c:pt idx="6669">
                  <c:v>0.48299999999999998</c:v>
                </c:pt>
                <c:pt idx="6670">
                  <c:v>0.63100000000000001</c:v>
                </c:pt>
                <c:pt idx="6671">
                  <c:v>0.89200000000000002</c:v>
                </c:pt>
                <c:pt idx="6672">
                  <c:v>0.312</c:v>
                </c:pt>
                <c:pt idx="6673">
                  <c:v>0.60399999999999998</c:v>
                </c:pt>
                <c:pt idx="6674">
                  <c:v>0.55900000000000005</c:v>
                </c:pt>
                <c:pt idx="6675">
                  <c:v>0.13900000000000001</c:v>
                </c:pt>
                <c:pt idx="6676">
                  <c:v>0.497</c:v>
                </c:pt>
                <c:pt idx="6677">
                  <c:v>0.89300000000000002</c:v>
                </c:pt>
                <c:pt idx="6678">
                  <c:v>0.21299999999999999</c:v>
                </c:pt>
                <c:pt idx="6679">
                  <c:v>0.76300000000000001</c:v>
                </c:pt>
                <c:pt idx="6680">
                  <c:v>0.435</c:v>
                </c:pt>
                <c:pt idx="6681">
                  <c:v>0.63</c:v>
                </c:pt>
                <c:pt idx="6682">
                  <c:v>0.68600000000000005</c:v>
                </c:pt>
                <c:pt idx="6683">
                  <c:v>0.63200000000000001</c:v>
                </c:pt>
                <c:pt idx="6684">
                  <c:v>0.57999999999999996</c:v>
                </c:pt>
                <c:pt idx="6685">
                  <c:v>0.56899999999999995</c:v>
                </c:pt>
                <c:pt idx="6686">
                  <c:v>0.747</c:v>
                </c:pt>
                <c:pt idx="6687">
                  <c:v>0.39200000000000002</c:v>
                </c:pt>
                <c:pt idx="6688">
                  <c:v>0.81599999999999995</c:v>
                </c:pt>
                <c:pt idx="6689">
                  <c:v>0.90700000000000003</c:v>
                </c:pt>
                <c:pt idx="6690">
                  <c:v>0.41</c:v>
                </c:pt>
                <c:pt idx="6691">
                  <c:v>0.434</c:v>
                </c:pt>
                <c:pt idx="6692">
                  <c:v>0.36199999999999999</c:v>
                </c:pt>
                <c:pt idx="6693">
                  <c:v>0.375</c:v>
                </c:pt>
                <c:pt idx="6694">
                  <c:v>0.50700000000000001</c:v>
                </c:pt>
                <c:pt idx="6695">
                  <c:v>0.91800000000000004</c:v>
                </c:pt>
                <c:pt idx="6696">
                  <c:v>0.11</c:v>
                </c:pt>
                <c:pt idx="6697">
                  <c:v>0.85699999999999998</c:v>
                </c:pt>
                <c:pt idx="6698">
                  <c:v>0.61299999999999999</c:v>
                </c:pt>
                <c:pt idx="6699">
                  <c:v>0.13200000000000001</c:v>
                </c:pt>
                <c:pt idx="6700">
                  <c:v>0.70699999999999996</c:v>
                </c:pt>
                <c:pt idx="6701">
                  <c:v>0.65900000000000003</c:v>
                </c:pt>
                <c:pt idx="6702">
                  <c:v>8.5000000000000006E-2</c:v>
                </c:pt>
                <c:pt idx="6703">
                  <c:v>0.35699999999999998</c:v>
                </c:pt>
                <c:pt idx="6704">
                  <c:v>0.35499999999999998</c:v>
                </c:pt>
                <c:pt idx="6705">
                  <c:v>7.0999999999999994E-2</c:v>
                </c:pt>
                <c:pt idx="6706">
                  <c:v>9.4E-2</c:v>
                </c:pt>
                <c:pt idx="6707">
                  <c:v>0.58699999999999997</c:v>
                </c:pt>
                <c:pt idx="6708">
                  <c:v>0.436</c:v>
                </c:pt>
                <c:pt idx="6709">
                  <c:v>0.216</c:v>
                </c:pt>
                <c:pt idx="6710">
                  <c:v>0.495</c:v>
                </c:pt>
                <c:pt idx="6711">
                  <c:v>0.27600000000000002</c:v>
                </c:pt>
                <c:pt idx="6712">
                  <c:v>0.80500000000000005</c:v>
                </c:pt>
                <c:pt idx="6713">
                  <c:v>0.54400000000000004</c:v>
                </c:pt>
                <c:pt idx="6714">
                  <c:v>0.67900000000000005</c:v>
                </c:pt>
                <c:pt idx="6715">
                  <c:v>0.13400000000000001</c:v>
                </c:pt>
                <c:pt idx="6716">
                  <c:v>0.218</c:v>
                </c:pt>
                <c:pt idx="6717">
                  <c:v>0.29299999999999998</c:v>
                </c:pt>
                <c:pt idx="6718">
                  <c:v>0.5</c:v>
                </c:pt>
                <c:pt idx="6719">
                  <c:v>0.89700000000000002</c:v>
                </c:pt>
                <c:pt idx="6720">
                  <c:v>0.16200000000000001</c:v>
                </c:pt>
                <c:pt idx="6721">
                  <c:v>0.872</c:v>
                </c:pt>
                <c:pt idx="6722">
                  <c:v>0.28899999999999998</c:v>
                </c:pt>
                <c:pt idx="6723">
                  <c:v>0.30099999999999999</c:v>
                </c:pt>
                <c:pt idx="6724">
                  <c:v>0.95799999999999996</c:v>
                </c:pt>
                <c:pt idx="6725">
                  <c:v>0.84199999999999997</c:v>
                </c:pt>
                <c:pt idx="6726">
                  <c:v>0.3</c:v>
                </c:pt>
                <c:pt idx="6727">
                  <c:v>0.71799999999999997</c:v>
                </c:pt>
                <c:pt idx="6728">
                  <c:v>0.23799999999999999</c:v>
                </c:pt>
                <c:pt idx="6729">
                  <c:v>0.53700000000000003</c:v>
                </c:pt>
                <c:pt idx="6730">
                  <c:v>0.50700000000000001</c:v>
                </c:pt>
                <c:pt idx="6731">
                  <c:v>0.157</c:v>
                </c:pt>
                <c:pt idx="6732">
                  <c:v>0.96</c:v>
                </c:pt>
                <c:pt idx="6733">
                  <c:v>0.46800000000000003</c:v>
                </c:pt>
                <c:pt idx="6734">
                  <c:v>2.8000000000000001E-2</c:v>
                </c:pt>
                <c:pt idx="6735">
                  <c:v>0.97699999999999998</c:v>
                </c:pt>
                <c:pt idx="6736">
                  <c:v>6.3E-2</c:v>
                </c:pt>
                <c:pt idx="6737">
                  <c:v>7.6999999999999999E-2</c:v>
                </c:pt>
                <c:pt idx="6738">
                  <c:v>0.436</c:v>
                </c:pt>
                <c:pt idx="6739">
                  <c:v>0.64100000000000001</c:v>
                </c:pt>
                <c:pt idx="6740">
                  <c:v>0.64200000000000002</c:v>
                </c:pt>
                <c:pt idx="6741">
                  <c:v>0.88300000000000001</c:v>
                </c:pt>
                <c:pt idx="6742">
                  <c:v>0.74299999999999999</c:v>
                </c:pt>
                <c:pt idx="6743">
                  <c:v>0.25900000000000001</c:v>
                </c:pt>
                <c:pt idx="6744">
                  <c:v>0.70199999999999996</c:v>
                </c:pt>
                <c:pt idx="6745">
                  <c:v>0.87</c:v>
                </c:pt>
                <c:pt idx="6746">
                  <c:v>0.25900000000000001</c:v>
                </c:pt>
                <c:pt idx="6747">
                  <c:v>0.92500000000000004</c:v>
                </c:pt>
                <c:pt idx="6748">
                  <c:v>0.46</c:v>
                </c:pt>
                <c:pt idx="6749">
                  <c:v>0.50900000000000001</c:v>
                </c:pt>
                <c:pt idx="6750">
                  <c:v>0.54400000000000004</c:v>
                </c:pt>
                <c:pt idx="6751">
                  <c:v>0.248</c:v>
                </c:pt>
                <c:pt idx="6752">
                  <c:v>0.67</c:v>
                </c:pt>
                <c:pt idx="6753">
                  <c:v>0.224</c:v>
                </c:pt>
                <c:pt idx="6754">
                  <c:v>0.15</c:v>
                </c:pt>
                <c:pt idx="6755">
                  <c:v>0.34499999999999997</c:v>
                </c:pt>
                <c:pt idx="6756">
                  <c:v>0.43</c:v>
                </c:pt>
                <c:pt idx="6757">
                  <c:v>0.52200000000000002</c:v>
                </c:pt>
                <c:pt idx="6758">
                  <c:v>0.312</c:v>
                </c:pt>
                <c:pt idx="6759">
                  <c:v>0.27500000000000002</c:v>
                </c:pt>
                <c:pt idx="6760">
                  <c:v>0.29899999999999999</c:v>
                </c:pt>
                <c:pt idx="6761">
                  <c:v>0.22700000000000001</c:v>
                </c:pt>
                <c:pt idx="6762">
                  <c:v>0.66200000000000003</c:v>
                </c:pt>
                <c:pt idx="6763">
                  <c:v>0.877</c:v>
                </c:pt>
                <c:pt idx="6764">
                  <c:v>0.48899999999999999</c:v>
                </c:pt>
                <c:pt idx="6765">
                  <c:v>5.3999999999999999E-2</c:v>
                </c:pt>
                <c:pt idx="6766">
                  <c:v>9.6000000000000002E-2</c:v>
                </c:pt>
                <c:pt idx="6767">
                  <c:v>0.158</c:v>
                </c:pt>
                <c:pt idx="6768">
                  <c:v>0.34799999999999998</c:v>
                </c:pt>
                <c:pt idx="6769">
                  <c:v>0.38</c:v>
                </c:pt>
                <c:pt idx="6770">
                  <c:v>0.40899999999999997</c:v>
                </c:pt>
                <c:pt idx="6771">
                  <c:v>0.439</c:v>
                </c:pt>
                <c:pt idx="6772">
                  <c:v>0.496</c:v>
                </c:pt>
                <c:pt idx="6773">
                  <c:v>0.55500000000000005</c:v>
                </c:pt>
                <c:pt idx="6774">
                  <c:v>0.61699999999999999</c:v>
                </c:pt>
                <c:pt idx="6775">
                  <c:v>0.91500000000000004</c:v>
                </c:pt>
                <c:pt idx="6776">
                  <c:v>0.72499999999999998</c:v>
                </c:pt>
                <c:pt idx="6777">
                  <c:v>0.749</c:v>
                </c:pt>
                <c:pt idx="6778">
                  <c:v>0.13800000000000001</c:v>
                </c:pt>
                <c:pt idx="6779">
                  <c:v>0.35499999999999998</c:v>
                </c:pt>
                <c:pt idx="6780">
                  <c:v>0.59299999999999997</c:v>
                </c:pt>
                <c:pt idx="6781">
                  <c:v>0.255</c:v>
                </c:pt>
                <c:pt idx="6782">
                  <c:v>0.67200000000000004</c:v>
                </c:pt>
                <c:pt idx="6783">
                  <c:v>0.11799999999999999</c:v>
                </c:pt>
                <c:pt idx="6784">
                  <c:v>0.54400000000000004</c:v>
                </c:pt>
                <c:pt idx="6785">
                  <c:v>0.71299999999999997</c:v>
                </c:pt>
                <c:pt idx="6786">
                  <c:v>0.49399999999999999</c:v>
                </c:pt>
                <c:pt idx="6787">
                  <c:v>0.27600000000000002</c:v>
                </c:pt>
                <c:pt idx="6788">
                  <c:v>0.32100000000000001</c:v>
                </c:pt>
                <c:pt idx="6789">
                  <c:v>0.60399999999999998</c:v>
                </c:pt>
                <c:pt idx="6790">
                  <c:v>0.14399999999999999</c:v>
                </c:pt>
                <c:pt idx="6791">
                  <c:v>0.41499999999999998</c:v>
                </c:pt>
                <c:pt idx="6792">
                  <c:v>0.55800000000000005</c:v>
                </c:pt>
                <c:pt idx="6793">
                  <c:v>0.53900000000000003</c:v>
                </c:pt>
                <c:pt idx="6794">
                  <c:v>5.2999999999999999E-2</c:v>
                </c:pt>
                <c:pt idx="6795">
                  <c:v>0.50800000000000001</c:v>
                </c:pt>
                <c:pt idx="6796">
                  <c:v>0.73599999999999999</c:v>
                </c:pt>
                <c:pt idx="6797">
                  <c:v>0.57499999999999996</c:v>
                </c:pt>
                <c:pt idx="6798">
                  <c:v>6.0999999999999999E-2</c:v>
                </c:pt>
                <c:pt idx="6799">
                  <c:v>0.80300000000000005</c:v>
                </c:pt>
                <c:pt idx="6800">
                  <c:v>0.68799999999999994</c:v>
                </c:pt>
                <c:pt idx="6801">
                  <c:v>0.95799999999999996</c:v>
                </c:pt>
                <c:pt idx="6802">
                  <c:v>0.29499999999999998</c:v>
                </c:pt>
                <c:pt idx="6803">
                  <c:v>0.41399999999999998</c:v>
                </c:pt>
                <c:pt idx="6804">
                  <c:v>0.499</c:v>
                </c:pt>
                <c:pt idx="6805">
                  <c:v>0.35699999999999998</c:v>
                </c:pt>
                <c:pt idx="6806">
                  <c:v>0.44700000000000001</c:v>
                </c:pt>
                <c:pt idx="6807">
                  <c:v>0.66700000000000004</c:v>
                </c:pt>
                <c:pt idx="6808">
                  <c:v>0.41299999999999998</c:v>
                </c:pt>
                <c:pt idx="6809">
                  <c:v>0.441</c:v>
                </c:pt>
                <c:pt idx="6810">
                  <c:v>0.75900000000000001</c:v>
                </c:pt>
                <c:pt idx="6811">
                  <c:v>4.1000000000000002E-2</c:v>
                </c:pt>
                <c:pt idx="6812">
                  <c:v>0.246</c:v>
                </c:pt>
                <c:pt idx="6813">
                  <c:v>0.26200000000000001</c:v>
                </c:pt>
                <c:pt idx="6814">
                  <c:v>0.36699999999999999</c:v>
                </c:pt>
                <c:pt idx="6815">
                  <c:v>0.93300000000000005</c:v>
                </c:pt>
                <c:pt idx="6816">
                  <c:v>0.441</c:v>
                </c:pt>
                <c:pt idx="6817">
                  <c:v>0.53700000000000003</c:v>
                </c:pt>
                <c:pt idx="6818">
                  <c:v>4.5999999999999999E-2</c:v>
                </c:pt>
                <c:pt idx="6819">
                  <c:v>0.66100000000000003</c:v>
                </c:pt>
                <c:pt idx="6820">
                  <c:v>0.66800000000000004</c:v>
                </c:pt>
                <c:pt idx="6821">
                  <c:v>0.55900000000000005</c:v>
                </c:pt>
                <c:pt idx="6822">
                  <c:v>0.30599999999999999</c:v>
                </c:pt>
                <c:pt idx="6823">
                  <c:v>0.84</c:v>
                </c:pt>
                <c:pt idx="6824">
                  <c:v>0.46700000000000003</c:v>
                </c:pt>
                <c:pt idx="6825">
                  <c:v>0.59599999999999997</c:v>
                </c:pt>
                <c:pt idx="6826">
                  <c:v>0.754</c:v>
                </c:pt>
                <c:pt idx="6827">
                  <c:v>0.51800000000000002</c:v>
                </c:pt>
                <c:pt idx="6828">
                  <c:v>0.67300000000000004</c:v>
                </c:pt>
                <c:pt idx="6829">
                  <c:v>0.78700000000000003</c:v>
                </c:pt>
                <c:pt idx="6830">
                  <c:v>0.69699999999999995</c:v>
                </c:pt>
                <c:pt idx="6831">
                  <c:v>0.34100000000000003</c:v>
                </c:pt>
                <c:pt idx="6832">
                  <c:v>0.40300000000000002</c:v>
                </c:pt>
                <c:pt idx="6833">
                  <c:v>0.28299999999999997</c:v>
                </c:pt>
                <c:pt idx="6834">
                  <c:v>0.35499999999999998</c:v>
                </c:pt>
                <c:pt idx="6835">
                  <c:v>0.84799999999999998</c:v>
                </c:pt>
                <c:pt idx="6836">
                  <c:v>0.45800000000000002</c:v>
                </c:pt>
                <c:pt idx="6837">
                  <c:v>0.33100000000000002</c:v>
                </c:pt>
                <c:pt idx="6838">
                  <c:v>0.54400000000000004</c:v>
                </c:pt>
                <c:pt idx="6839">
                  <c:v>0.64700000000000002</c:v>
                </c:pt>
                <c:pt idx="6840">
                  <c:v>0.78100000000000003</c:v>
                </c:pt>
                <c:pt idx="6841">
                  <c:v>7.0000000000000001E-3</c:v>
                </c:pt>
                <c:pt idx="6842">
                  <c:v>0.21199999999999999</c:v>
                </c:pt>
                <c:pt idx="6843">
                  <c:v>0.39100000000000001</c:v>
                </c:pt>
                <c:pt idx="6844">
                  <c:v>0.27900000000000003</c:v>
                </c:pt>
                <c:pt idx="6845">
                  <c:v>0.85799999999999998</c:v>
                </c:pt>
                <c:pt idx="6846">
                  <c:v>0.88200000000000001</c:v>
                </c:pt>
                <c:pt idx="6847">
                  <c:v>0.39800000000000002</c:v>
                </c:pt>
                <c:pt idx="6848">
                  <c:v>0.98399999999999999</c:v>
                </c:pt>
                <c:pt idx="6849">
                  <c:v>0.216</c:v>
                </c:pt>
                <c:pt idx="6850">
                  <c:v>4.4999999999999998E-2</c:v>
                </c:pt>
                <c:pt idx="6851">
                  <c:v>0.216</c:v>
                </c:pt>
                <c:pt idx="6852">
                  <c:v>0.30499999999999999</c:v>
                </c:pt>
                <c:pt idx="6853">
                  <c:v>5.0999999999999997E-2</c:v>
                </c:pt>
                <c:pt idx="6854">
                  <c:v>0.112</c:v>
                </c:pt>
                <c:pt idx="6855">
                  <c:v>0.125</c:v>
                </c:pt>
                <c:pt idx="6856">
                  <c:v>0.14799999999999999</c:v>
                </c:pt>
                <c:pt idx="6857">
                  <c:v>0.95399999999999996</c:v>
                </c:pt>
                <c:pt idx="6858">
                  <c:v>0.182</c:v>
                </c:pt>
                <c:pt idx="6859">
                  <c:v>0.95799999999999996</c:v>
                </c:pt>
                <c:pt idx="6860">
                  <c:v>0.35899999999999999</c:v>
                </c:pt>
                <c:pt idx="6861">
                  <c:v>0.13900000000000001</c:v>
                </c:pt>
                <c:pt idx="6862">
                  <c:v>0.80700000000000005</c:v>
                </c:pt>
                <c:pt idx="6863">
                  <c:v>0.46700000000000003</c:v>
                </c:pt>
                <c:pt idx="6864">
                  <c:v>0.28000000000000003</c:v>
                </c:pt>
                <c:pt idx="6865">
                  <c:v>0.123</c:v>
                </c:pt>
                <c:pt idx="6866">
                  <c:v>0.752</c:v>
                </c:pt>
                <c:pt idx="6867">
                  <c:v>1.9E-2</c:v>
                </c:pt>
                <c:pt idx="6868">
                  <c:v>0.161</c:v>
                </c:pt>
                <c:pt idx="6869">
                  <c:v>0.26800000000000002</c:v>
                </c:pt>
                <c:pt idx="6870">
                  <c:v>0.84299999999999997</c:v>
                </c:pt>
                <c:pt idx="6871">
                  <c:v>0.13300000000000001</c:v>
                </c:pt>
                <c:pt idx="6872">
                  <c:v>0.82699999999999996</c:v>
                </c:pt>
                <c:pt idx="6873">
                  <c:v>0.38100000000000001</c:v>
                </c:pt>
                <c:pt idx="6874">
                  <c:v>0.84199999999999997</c:v>
                </c:pt>
                <c:pt idx="6875">
                  <c:v>0.40899999999999997</c:v>
                </c:pt>
                <c:pt idx="6876">
                  <c:v>0.224</c:v>
                </c:pt>
                <c:pt idx="6877">
                  <c:v>0.80500000000000005</c:v>
                </c:pt>
                <c:pt idx="6878">
                  <c:v>0.19</c:v>
                </c:pt>
                <c:pt idx="6879">
                  <c:v>0.44900000000000001</c:v>
                </c:pt>
                <c:pt idx="6880">
                  <c:v>0.13700000000000001</c:v>
                </c:pt>
                <c:pt idx="6881">
                  <c:v>0.45200000000000001</c:v>
                </c:pt>
                <c:pt idx="6882">
                  <c:v>0.105</c:v>
                </c:pt>
                <c:pt idx="6883">
                  <c:v>0.36799999999999999</c:v>
                </c:pt>
                <c:pt idx="6884">
                  <c:v>0.90200000000000002</c:v>
                </c:pt>
                <c:pt idx="6885">
                  <c:v>8.7999999999999995E-2</c:v>
                </c:pt>
                <c:pt idx="6886">
                  <c:v>0.69399999999999995</c:v>
                </c:pt>
                <c:pt idx="6887">
                  <c:v>0.38400000000000001</c:v>
                </c:pt>
                <c:pt idx="6888">
                  <c:v>0.36299999999999999</c:v>
                </c:pt>
                <c:pt idx="6889">
                  <c:v>0.61299999999999999</c:v>
                </c:pt>
                <c:pt idx="6890">
                  <c:v>0.67</c:v>
                </c:pt>
                <c:pt idx="6891">
                  <c:v>0.06</c:v>
                </c:pt>
                <c:pt idx="6892">
                  <c:v>0.39700000000000002</c:v>
                </c:pt>
                <c:pt idx="6893">
                  <c:v>0.36499999999999999</c:v>
                </c:pt>
                <c:pt idx="6894">
                  <c:v>0.55500000000000005</c:v>
                </c:pt>
                <c:pt idx="6895">
                  <c:v>0.39700000000000002</c:v>
                </c:pt>
                <c:pt idx="6896">
                  <c:v>0.83899999999999997</c:v>
                </c:pt>
                <c:pt idx="6897">
                  <c:v>0.27200000000000002</c:v>
                </c:pt>
                <c:pt idx="6898">
                  <c:v>7.5999999999999998E-2</c:v>
                </c:pt>
                <c:pt idx="6899">
                  <c:v>0.214</c:v>
                </c:pt>
                <c:pt idx="6900">
                  <c:v>0.30399999999999999</c:v>
                </c:pt>
                <c:pt idx="6901">
                  <c:v>0.24199999999999999</c:v>
                </c:pt>
                <c:pt idx="6902">
                  <c:v>0.29799999999999999</c:v>
                </c:pt>
                <c:pt idx="6903">
                  <c:v>0.23200000000000001</c:v>
                </c:pt>
                <c:pt idx="6904">
                  <c:v>6.3E-2</c:v>
                </c:pt>
                <c:pt idx="6905">
                  <c:v>0.442</c:v>
                </c:pt>
                <c:pt idx="6906">
                  <c:v>0.628</c:v>
                </c:pt>
                <c:pt idx="6907">
                  <c:v>0.18</c:v>
                </c:pt>
                <c:pt idx="6908">
                  <c:v>0.49299999999999999</c:v>
                </c:pt>
                <c:pt idx="6909">
                  <c:v>0.188</c:v>
                </c:pt>
                <c:pt idx="6910">
                  <c:v>0.218</c:v>
                </c:pt>
                <c:pt idx="6911">
                  <c:v>0.377</c:v>
                </c:pt>
                <c:pt idx="6912">
                  <c:v>0.192</c:v>
                </c:pt>
                <c:pt idx="6913">
                  <c:v>0.46600000000000003</c:v>
                </c:pt>
                <c:pt idx="6914">
                  <c:v>3.4000000000000002E-2</c:v>
                </c:pt>
                <c:pt idx="6915">
                  <c:v>7.0999999999999994E-2</c:v>
                </c:pt>
                <c:pt idx="6916">
                  <c:v>0.247</c:v>
                </c:pt>
                <c:pt idx="6917">
                  <c:v>0.84399999999999997</c:v>
                </c:pt>
                <c:pt idx="6918">
                  <c:v>0.41699999999999998</c:v>
                </c:pt>
                <c:pt idx="6919">
                  <c:v>0.54600000000000004</c:v>
                </c:pt>
                <c:pt idx="6920">
                  <c:v>0.58799999999999997</c:v>
                </c:pt>
                <c:pt idx="6921">
                  <c:v>0.89300000000000002</c:v>
                </c:pt>
                <c:pt idx="6922">
                  <c:v>0.42699999999999999</c:v>
                </c:pt>
                <c:pt idx="6923">
                  <c:v>0.40100000000000002</c:v>
                </c:pt>
                <c:pt idx="6924">
                  <c:v>0.45300000000000001</c:v>
                </c:pt>
                <c:pt idx="6925">
                  <c:v>0.53400000000000003</c:v>
                </c:pt>
                <c:pt idx="6926">
                  <c:v>7.9000000000000001E-2</c:v>
                </c:pt>
                <c:pt idx="6927">
                  <c:v>9.2999999999999999E-2</c:v>
                </c:pt>
                <c:pt idx="6928">
                  <c:v>0.23699999999999999</c:v>
                </c:pt>
                <c:pt idx="6929">
                  <c:v>0.622</c:v>
                </c:pt>
                <c:pt idx="6930">
                  <c:v>0.81399999999999995</c:v>
                </c:pt>
                <c:pt idx="6931">
                  <c:v>0.51700000000000002</c:v>
                </c:pt>
                <c:pt idx="6932">
                  <c:v>0.624</c:v>
                </c:pt>
                <c:pt idx="6933">
                  <c:v>0.75</c:v>
                </c:pt>
                <c:pt idx="6934">
                  <c:v>0.374</c:v>
                </c:pt>
                <c:pt idx="6935">
                  <c:v>0.216</c:v>
                </c:pt>
                <c:pt idx="6936">
                  <c:v>0.86399999999999999</c:v>
                </c:pt>
                <c:pt idx="6937">
                  <c:v>0.44500000000000001</c:v>
                </c:pt>
                <c:pt idx="6938">
                  <c:v>0.4</c:v>
                </c:pt>
                <c:pt idx="6939">
                  <c:v>0.40899999999999997</c:v>
                </c:pt>
                <c:pt idx="6940">
                  <c:v>0.86399999999999999</c:v>
                </c:pt>
                <c:pt idx="6941">
                  <c:v>0.34899999999999998</c:v>
                </c:pt>
                <c:pt idx="6942">
                  <c:v>0.35299999999999998</c:v>
                </c:pt>
                <c:pt idx="6943">
                  <c:v>0.29499999999999998</c:v>
                </c:pt>
                <c:pt idx="6944">
                  <c:v>0.96299999999999997</c:v>
                </c:pt>
                <c:pt idx="6945">
                  <c:v>0.45500000000000002</c:v>
                </c:pt>
                <c:pt idx="6946">
                  <c:v>0.44400000000000001</c:v>
                </c:pt>
                <c:pt idx="6947">
                  <c:v>0.76300000000000001</c:v>
                </c:pt>
                <c:pt idx="6948">
                  <c:v>0.32</c:v>
                </c:pt>
                <c:pt idx="6949">
                  <c:v>0.246</c:v>
                </c:pt>
                <c:pt idx="6950">
                  <c:v>0.55700000000000005</c:v>
                </c:pt>
                <c:pt idx="6951">
                  <c:v>0.30499999999999999</c:v>
                </c:pt>
                <c:pt idx="6952">
                  <c:v>0.51100000000000001</c:v>
                </c:pt>
                <c:pt idx="6953">
                  <c:v>0.78600000000000003</c:v>
                </c:pt>
                <c:pt idx="6954">
                  <c:v>0.76900000000000002</c:v>
                </c:pt>
                <c:pt idx="6955">
                  <c:v>0.38500000000000001</c:v>
                </c:pt>
                <c:pt idx="6956">
                  <c:v>0.11600000000000001</c:v>
                </c:pt>
                <c:pt idx="6957">
                  <c:v>0.16400000000000001</c:v>
                </c:pt>
                <c:pt idx="6958">
                  <c:v>0.26400000000000001</c:v>
                </c:pt>
                <c:pt idx="6959">
                  <c:v>0.374</c:v>
                </c:pt>
                <c:pt idx="6960">
                  <c:v>0.55600000000000005</c:v>
                </c:pt>
                <c:pt idx="6961">
                  <c:v>0.88200000000000001</c:v>
                </c:pt>
                <c:pt idx="6962">
                  <c:v>0.57199999999999995</c:v>
                </c:pt>
                <c:pt idx="6963">
                  <c:v>0.68400000000000005</c:v>
                </c:pt>
                <c:pt idx="6964">
                  <c:v>0.91500000000000004</c:v>
                </c:pt>
                <c:pt idx="6965">
                  <c:v>0.48199999999999998</c:v>
                </c:pt>
                <c:pt idx="6966">
                  <c:v>0.94099999999999995</c:v>
                </c:pt>
                <c:pt idx="6967">
                  <c:v>7.1999999999999995E-2</c:v>
                </c:pt>
                <c:pt idx="6968">
                  <c:v>0.60399999999999998</c:v>
                </c:pt>
                <c:pt idx="6969">
                  <c:v>0.64600000000000002</c:v>
                </c:pt>
                <c:pt idx="6970">
                  <c:v>0.41299999999999998</c:v>
                </c:pt>
                <c:pt idx="6971">
                  <c:v>0.16800000000000001</c:v>
                </c:pt>
                <c:pt idx="6972">
                  <c:v>0.16700000000000001</c:v>
                </c:pt>
                <c:pt idx="6973">
                  <c:v>0.63400000000000001</c:v>
                </c:pt>
                <c:pt idx="6974">
                  <c:v>0.16700000000000001</c:v>
                </c:pt>
                <c:pt idx="6975">
                  <c:v>0.32500000000000001</c:v>
                </c:pt>
                <c:pt idx="6976">
                  <c:v>0.17599999999999999</c:v>
                </c:pt>
                <c:pt idx="6977">
                  <c:v>0.45500000000000002</c:v>
                </c:pt>
                <c:pt idx="6978">
                  <c:v>0.67700000000000005</c:v>
                </c:pt>
                <c:pt idx="6979">
                  <c:v>8.5999999999999993E-2</c:v>
                </c:pt>
                <c:pt idx="6980">
                  <c:v>0.63600000000000001</c:v>
                </c:pt>
                <c:pt idx="6981">
                  <c:v>0.32200000000000001</c:v>
                </c:pt>
                <c:pt idx="6982">
                  <c:v>9.5000000000000001E-2</c:v>
                </c:pt>
                <c:pt idx="6983">
                  <c:v>0.11899999999999999</c:v>
                </c:pt>
                <c:pt idx="6984">
                  <c:v>0.65900000000000003</c:v>
                </c:pt>
                <c:pt idx="6985">
                  <c:v>0.86499999999999999</c:v>
                </c:pt>
                <c:pt idx="6986">
                  <c:v>0.56100000000000005</c:v>
                </c:pt>
                <c:pt idx="6987">
                  <c:v>0.45700000000000002</c:v>
                </c:pt>
                <c:pt idx="6988">
                  <c:v>0.73599999999999999</c:v>
                </c:pt>
                <c:pt idx="6989">
                  <c:v>0.32700000000000001</c:v>
                </c:pt>
                <c:pt idx="6990">
                  <c:v>0.13100000000000001</c:v>
                </c:pt>
                <c:pt idx="6991">
                  <c:v>0.70699999999999996</c:v>
                </c:pt>
                <c:pt idx="6992">
                  <c:v>0.77600000000000002</c:v>
                </c:pt>
                <c:pt idx="6993">
                  <c:v>0.46800000000000003</c:v>
                </c:pt>
                <c:pt idx="6994">
                  <c:v>0.83599999999999997</c:v>
                </c:pt>
                <c:pt idx="6995">
                  <c:v>0.61699999999999999</c:v>
                </c:pt>
                <c:pt idx="6996">
                  <c:v>9.7000000000000003E-2</c:v>
                </c:pt>
                <c:pt idx="6997">
                  <c:v>0.46500000000000002</c:v>
                </c:pt>
                <c:pt idx="6998">
                  <c:v>9.1999999999999998E-2</c:v>
                </c:pt>
                <c:pt idx="6999">
                  <c:v>0.70099999999999996</c:v>
                </c:pt>
                <c:pt idx="7000">
                  <c:v>0.22600000000000001</c:v>
                </c:pt>
                <c:pt idx="7001">
                  <c:v>0.84599999999999997</c:v>
                </c:pt>
                <c:pt idx="7002">
                  <c:v>0.91300000000000003</c:v>
                </c:pt>
                <c:pt idx="7003">
                  <c:v>0.748</c:v>
                </c:pt>
                <c:pt idx="7004">
                  <c:v>0.91400000000000003</c:v>
                </c:pt>
                <c:pt idx="7005">
                  <c:v>0.76900000000000002</c:v>
                </c:pt>
                <c:pt idx="7006">
                  <c:v>0.57299999999999995</c:v>
                </c:pt>
                <c:pt idx="7007">
                  <c:v>0.434</c:v>
                </c:pt>
                <c:pt idx="7008">
                  <c:v>0.77500000000000002</c:v>
                </c:pt>
                <c:pt idx="7009">
                  <c:v>0.39500000000000002</c:v>
                </c:pt>
                <c:pt idx="7010">
                  <c:v>0.96199999999999997</c:v>
                </c:pt>
                <c:pt idx="7011">
                  <c:v>0.20200000000000001</c:v>
                </c:pt>
                <c:pt idx="7012">
                  <c:v>9.6000000000000002E-2</c:v>
                </c:pt>
                <c:pt idx="7013">
                  <c:v>0.77800000000000002</c:v>
                </c:pt>
                <c:pt idx="7014">
                  <c:v>0.83799999999999997</c:v>
                </c:pt>
                <c:pt idx="7015">
                  <c:v>0.81399999999999995</c:v>
                </c:pt>
                <c:pt idx="7016">
                  <c:v>0.35599999999999998</c:v>
                </c:pt>
                <c:pt idx="7017">
                  <c:v>0.18099999999999999</c:v>
                </c:pt>
                <c:pt idx="7018">
                  <c:v>0.27200000000000002</c:v>
                </c:pt>
                <c:pt idx="7019">
                  <c:v>0.623</c:v>
                </c:pt>
                <c:pt idx="7020">
                  <c:v>0.5</c:v>
                </c:pt>
                <c:pt idx="7021">
                  <c:v>0.44</c:v>
                </c:pt>
                <c:pt idx="7022">
                  <c:v>0.40300000000000002</c:v>
                </c:pt>
                <c:pt idx="7023">
                  <c:v>0.16200000000000001</c:v>
                </c:pt>
                <c:pt idx="7024">
                  <c:v>0.58399999999999996</c:v>
                </c:pt>
                <c:pt idx="7025">
                  <c:v>0.41499999999999998</c:v>
                </c:pt>
                <c:pt idx="7026">
                  <c:v>0.29899999999999999</c:v>
                </c:pt>
                <c:pt idx="7027">
                  <c:v>0.65200000000000002</c:v>
                </c:pt>
                <c:pt idx="7028">
                  <c:v>0.316</c:v>
                </c:pt>
                <c:pt idx="7029">
                  <c:v>0.17699999999999999</c:v>
                </c:pt>
                <c:pt idx="7030">
                  <c:v>0.41899999999999998</c:v>
                </c:pt>
                <c:pt idx="7031">
                  <c:v>0.44400000000000001</c:v>
                </c:pt>
                <c:pt idx="7032">
                  <c:v>0.75800000000000001</c:v>
                </c:pt>
                <c:pt idx="7033">
                  <c:v>0.39700000000000002</c:v>
                </c:pt>
                <c:pt idx="7034">
                  <c:v>0.59599999999999997</c:v>
                </c:pt>
                <c:pt idx="7035">
                  <c:v>0.11600000000000001</c:v>
                </c:pt>
                <c:pt idx="7036">
                  <c:v>0.873</c:v>
                </c:pt>
                <c:pt idx="7037">
                  <c:v>0.34699999999999998</c:v>
                </c:pt>
                <c:pt idx="7038">
                  <c:v>0.55100000000000005</c:v>
                </c:pt>
                <c:pt idx="7039">
                  <c:v>0.14099999999999999</c:v>
                </c:pt>
                <c:pt idx="7040">
                  <c:v>0.42699999999999999</c:v>
                </c:pt>
                <c:pt idx="7041">
                  <c:v>0.47699999999999998</c:v>
                </c:pt>
                <c:pt idx="7042">
                  <c:v>0.93600000000000005</c:v>
                </c:pt>
                <c:pt idx="7043">
                  <c:v>0.83199999999999996</c:v>
                </c:pt>
                <c:pt idx="7044">
                  <c:v>0.53</c:v>
                </c:pt>
                <c:pt idx="7045">
                  <c:v>0.14599999999999999</c:v>
                </c:pt>
                <c:pt idx="7046">
                  <c:v>0.29699999999999999</c:v>
                </c:pt>
                <c:pt idx="7047">
                  <c:v>0.32400000000000001</c:v>
                </c:pt>
                <c:pt idx="7048">
                  <c:v>0.54200000000000004</c:v>
                </c:pt>
                <c:pt idx="7049">
                  <c:v>0.65100000000000002</c:v>
                </c:pt>
                <c:pt idx="7050">
                  <c:v>0.189</c:v>
                </c:pt>
                <c:pt idx="7051">
                  <c:v>0.50900000000000001</c:v>
                </c:pt>
                <c:pt idx="7052">
                  <c:v>0.34399999999999997</c:v>
                </c:pt>
                <c:pt idx="7053">
                  <c:v>0.115</c:v>
                </c:pt>
                <c:pt idx="7054">
                  <c:v>0.14099999999999999</c:v>
                </c:pt>
                <c:pt idx="7055">
                  <c:v>0.183</c:v>
                </c:pt>
                <c:pt idx="7056">
                  <c:v>0.29399999999999998</c:v>
                </c:pt>
                <c:pt idx="7057">
                  <c:v>0.36</c:v>
                </c:pt>
                <c:pt idx="7058">
                  <c:v>0.41399999999999998</c:v>
                </c:pt>
                <c:pt idx="7059">
                  <c:v>0.45500000000000002</c:v>
                </c:pt>
                <c:pt idx="7060">
                  <c:v>0.44900000000000001</c:v>
                </c:pt>
                <c:pt idx="7061">
                  <c:v>0.17</c:v>
                </c:pt>
                <c:pt idx="7062">
                  <c:v>0.17</c:v>
                </c:pt>
                <c:pt idx="7063">
                  <c:v>0.30099999999999999</c:v>
                </c:pt>
                <c:pt idx="7064">
                  <c:v>0.432</c:v>
                </c:pt>
                <c:pt idx="7065">
                  <c:v>0.746</c:v>
                </c:pt>
                <c:pt idx="7066">
                  <c:v>0.56699999999999995</c:v>
                </c:pt>
                <c:pt idx="7067">
                  <c:v>0.16</c:v>
                </c:pt>
                <c:pt idx="7068">
                  <c:v>0.23100000000000001</c:v>
                </c:pt>
                <c:pt idx="7069">
                  <c:v>0.13300000000000001</c:v>
                </c:pt>
                <c:pt idx="7070">
                  <c:v>0.16400000000000001</c:v>
                </c:pt>
                <c:pt idx="7071">
                  <c:v>0.433</c:v>
                </c:pt>
                <c:pt idx="7072">
                  <c:v>0.379</c:v>
                </c:pt>
                <c:pt idx="7073">
                  <c:v>0.57399999999999995</c:v>
                </c:pt>
                <c:pt idx="7074">
                  <c:v>0.83899999999999997</c:v>
                </c:pt>
                <c:pt idx="7075">
                  <c:v>0.95</c:v>
                </c:pt>
                <c:pt idx="7076">
                  <c:v>0.63100000000000001</c:v>
                </c:pt>
                <c:pt idx="7077">
                  <c:v>0.2</c:v>
                </c:pt>
                <c:pt idx="7078">
                  <c:v>0.59</c:v>
                </c:pt>
                <c:pt idx="7079">
                  <c:v>0.94899999999999995</c:v>
                </c:pt>
                <c:pt idx="7080">
                  <c:v>0.23100000000000001</c:v>
                </c:pt>
                <c:pt idx="7081">
                  <c:v>0.879</c:v>
                </c:pt>
                <c:pt idx="7082">
                  <c:v>0.64400000000000002</c:v>
                </c:pt>
                <c:pt idx="7083">
                  <c:v>0.123</c:v>
                </c:pt>
                <c:pt idx="7084">
                  <c:v>0.253</c:v>
                </c:pt>
                <c:pt idx="7085">
                  <c:v>0.58699999999999997</c:v>
                </c:pt>
                <c:pt idx="7086">
                  <c:v>0.29499999999999998</c:v>
                </c:pt>
                <c:pt idx="7087">
                  <c:v>0.216</c:v>
                </c:pt>
                <c:pt idx="7088">
                  <c:v>0.97399999999999998</c:v>
                </c:pt>
                <c:pt idx="7089">
                  <c:v>0.58499999999999996</c:v>
                </c:pt>
                <c:pt idx="7090">
                  <c:v>0.60199999999999998</c:v>
                </c:pt>
                <c:pt idx="7091">
                  <c:v>0.57999999999999996</c:v>
                </c:pt>
                <c:pt idx="7092">
                  <c:v>0.25900000000000001</c:v>
                </c:pt>
                <c:pt idx="7093">
                  <c:v>0.14699999999999999</c:v>
                </c:pt>
                <c:pt idx="7094">
                  <c:v>0.96899999999999997</c:v>
                </c:pt>
                <c:pt idx="7095">
                  <c:v>0.42099999999999999</c:v>
                </c:pt>
                <c:pt idx="7096">
                  <c:v>8.3000000000000004E-2</c:v>
                </c:pt>
                <c:pt idx="7097">
                  <c:v>0.35</c:v>
                </c:pt>
                <c:pt idx="7098">
                  <c:v>0.93700000000000006</c:v>
                </c:pt>
                <c:pt idx="7099">
                  <c:v>0.48099999999999998</c:v>
                </c:pt>
                <c:pt idx="7100">
                  <c:v>0.113</c:v>
                </c:pt>
                <c:pt idx="7101">
                  <c:v>0.60599999999999998</c:v>
                </c:pt>
                <c:pt idx="7102">
                  <c:v>0.51400000000000001</c:v>
                </c:pt>
                <c:pt idx="7103">
                  <c:v>0.20699999999999999</c:v>
                </c:pt>
                <c:pt idx="7104">
                  <c:v>0.80700000000000005</c:v>
                </c:pt>
                <c:pt idx="7105">
                  <c:v>0.374</c:v>
                </c:pt>
                <c:pt idx="7106">
                  <c:v>0.44900000000000001</c:v>
                </c:pt>
                <c:pt idx="7107">
                  <c:v>0.39900000000000002</c:v>
                </c:pt>
                <c:pt idx="7108">
                  <c:v>0.31900000000000001</c:v>
                </c:pt>
                <c:pt idx="7109">
                  <c:v>0.745</c:v>
                </c:pt>
                <c:pt idx="7110">
                  <c:v>0.72299999999999998</c:v>
                </c:pt>
                <c:pt idx="7111">
                  <c:v>4.7E-2</c:v>
                </c:pt>
                <c:pt idx="7112">
                  <c:v>0.47599999999999998</c:v>
                </c:pt>
                <c:pt idx="7113">
                  <c:v>8.3000000000000004E-2</c:v>
                </c:pt>
                <c:pt idx="7114">
                  <c:v>0.36899999999999999</c:v>
                </c:pt>
                <c:pt idx="7115">
                  <c:v>0.10299999999999999</c:v>
                </c:pt>
                <c:pt idx="7116">
                  <c:v>0.70499999999999996</c:v>
                </c:pt>
                <c:pt idx="7117">
                  <c:v>0.184</c:v>
                </c:pt>
                <c:pt idx="7118">
                  <c:v>0.64300000000000002</c:v>
                </c:pt>
                <c:pt idx="7119">
                  <c:v>0.73499999999999999</c:v>
                </c:pt>
                <c:pt idx="7120">
                  <c:v>0.52500000000000002</c:v>
                </c:pt>
                <c:pt idx="7121">
                  <c:v>0.40699999999999997</c:v>
                </c:pt>
                <c:pt idx="7122">
                  <c:v>0.88</c:v>
                </c:pt>
                <c:pt idx="7123">
                  <c:v>0.28999999999999998</c:v>
                </c:pt>
                <c:pt idx="7124">
                  <c:v>0.59</c:v>
                </c:pt>
                <c:pt idx="7125">
                  <c:v>0.14299999999999999</c:v>
                </c:pt>
                <c:pt idx="7126">
                  <c:v>0.375</c:v>
                </c:pt>
                <c:pt idx="7127">
                  <c:v>0.40200000000000002</c:v>
                </c:pt>
                <c:pt idx="7128">
                  <c:v>0.72499999999999998</c:v>
                </c:pt>
                <c:pt idx="7129">
                  <c:v>0.66400000000000003</c:v>
                </c:pt>
                <c:pt idx="7130">
                  <c:v>0.82399999999999995</c:v>
                </c:pt>
                <c:pt idx="7131">
                  <c:v>0.27300000000000002</c:v>
                </c:pt>
                <c:pt idx="7132">
                  <c:v>0.59699999999999998</c:v>
                </c:pt>
                <c:pt idx="7133">
                  <c:v>0.12</c:v>
                </c:pt>
                <c:pt idx="7134">
                  <c:v>0.81699999999999995</c:v>
                </c:pt>
                <c:pt idx="7135">
                  <c:v>0.28799999999999998</c:v>
                </c:pt>
                <c:pt idx="7136">
                  <c:v>0.36599999999999999</c:v>
                </c:pt>
                <c:pt idx="7137">
                  <c:v>0.14399999999999999</c:v>
                </c:pt>
                <c:pt idx="7138">
                  <c:v>0.5</c:v>
                </c:pt>
                <c:pt idx="7139">
                  <c:v>0.52800000000000002</c:v>
                </c:pt>
                <c:pt idx="7140">
                  <c:v>0.75</c:v>
                </c:pt>
                <c:pt idx="7141">
                  <c:v>0.53200000000000003</c:v>
                </c:pt>
                <c:pt idx="7142">
                  <c:v>0.40100000000000002</c:v>
                </c:pt>
                <c:pt idx="7143">
                  <c:v>0.185</c:v>
                </c:pt>
                <c:pt idx="7144">
                  <c:v>0.67</c:v>
                </c:pt>
                <c:pt idx="7145">
                  <c:v>9.6000000000000002E-2</c:v>
                </c:pt>
                <c:pt idx="7146">
                  <c:v>0.113</c:v>
                </c:pt>
                <c:pt idx="7147">
                  <c:v>0.17899999999999999</c:v>
                </c:pt>
                <c:pt idx="7148">
                  <c:v>0.22</c:v>
                </c:pt>
                <c:pt idx="7149">
                  <c:v>0.38600000000000001</c:v>
                </c:pt>
                <c:pt idx="7150">
                  <c:v>0.27200000000000002</c:v>
                </c:pt>
                <c:pt idx="7151">
                  <c:v>0.85699999999999998</c:v>
                </c:pt>
                <c:pt idx="7152">
                  <c:v>0.161</c:v>
                </c:pt>
                <c:pt idx="7153">
                  <c:v>0.82399999999999995</c:v>
                </c:pt>
                <c:pt idx="7154">
                  <c:v>0.317</c:v>
                </c:pt>
                <c:pt idx="7155">
                  <c:v>5.8000000000000003E-2</c:v>
                </c:pt>
                <c:pt idx="7156">
                  <c:v>0.251</c:v>
                </c:pt>
                <c:pt idx="7157">
                  <c:v>0.84299999999999997</c:v>
                </c:pt>
                <c:pt idx="7158">
                  <c:v>0.33300000000000002</c:v>
                </c:pt>
                <c:pt idx="7159">
                  <c:v>0.33800000000000002</c:v>
                </c:pt>
                <c:pt idx="7160">
                  <c:v>0.77100000000000002</c:v>
                </c:pt>
                <c:pt idx="7161">
                  <c:v>6.3E-2</c:v>
                </c:pt>
                <c:pt idx="7162">
                  <c:v>0.247</c:v>
                </c:pt>
                <c:pt idx="7163">
                  <c:v>0.31</c:v>
                </c:pt>
                <c:pt idx="7164">
                  <c:v>0.47799999999999998</c:v>
                </c:pt>
                <c:pt idx="7165">
                  <c:v>0.35899999999999999</c:v>
                </c:pt>
                <c:pt idx="7166">
                  <c:v>0.93700000000000006</c:v>
                </c:pt>
                <c:pt idx="7167">
                  <c:v>0.503</c:v>
                </c:pt>
                <c:pt idx="7168">
                  <c:v>0.39300000000000002</c:v>
                </c:pt>
                <c:pt idx="7169">
                  <c:v>0.48799999999999999</c:v>
                </c:pt>
                <c:pt idx="7170">
                  <c:v>0.4</c:v>
                </c:pt>
                <c:pt idx="7171">
                  <c:v>0.60699999999999998</c:v>
                </c:pt>
                <c:pt idx="7172">
                  <c:v>0.65400000000000003</c:v>
                </c:pt>
                <c:pt idx="7173">
                  <c:v>0.14199999999999999</c:v>
                </c:pt>
                <c:pt idx="7174">
                  <c:v>0.70599999999999996</c:v>
                </c:pt>
                <c:pt idx="7175">
                  <c:v>0.79600000000000004</c:v>
                </c:pt>
                <c:pt idx="7176">
                  <c:v>0.44</c:v>
                </c:pt>
                <c:pt idx="7177">
                  <c:v>0.26500000000000001</c:v>
                </c:pt>
                <c:pt idx="7178">
                  <c:v>0.55500000000000005</c:v>
                </c:pt>
                <c:pt idx="7179">
                  <c:v>0.67400000000000004</c:v>
                </c:pt>
                <c:pt idx="7180">
                  <c:v>0.14599999999999999</c:v>
                </c:pt>
                <c:pt idx="7181">
                  <c:v>0.35699999999999998</c:v>
                </c:pt>
                <c:pt idx="7182">
                  <c:v>0.50700000000000001</c:v>
                </c:pt>
                <c:pt idx="7183">
                  <c:v>0.53800000000000003</c:v>
                </c:pt>
                <c:pt idx="7184">
                  <c:v>0.36599999999999999</c:v>
                </c:pt>
                <c:pt idx="7185">
                  <c:v>0.21</c:v>
                </c:pt>
                <c:pt idx="7186">
                  <c:v>0.252</c:v>
                </c:pt>
                <c:pt idx="7187">
                  <c:v>0.42699999999999999</c:v>
                </c:pt>
                <c:pt idx="7188">
                  <c:v>0.88800000000000001</c:v>
                </c:pt>
                <c:pt idx="7189">
                  <c:v>0.185</c:v>
                </c:pt>
                <c:pt idx="7190">
                  <c:v>9.9000000000000005E-2</c:v>
                </c:pt>
                <c:pt idx="7191">
                  <c:v>0.38700000000000001</c:v>
                </c:pt>
                <c:pt idx="7192">
                  <c:v>0.53100000000000003</c:v>
                </c:pt>
                <c:pt idx="7193">
                  <c:v>0.51900000000000002</c:v>
                </c:pt>
                <c:pt idx="7194">
                  <c:v>0.29799999999999999</c:v>
                </c:pt>
                <c:pt idx="7195">
                  <c:v>0.41199999999999998</c:v>
                </c:pt>
                <c:pt idx="7196">
                  <c:v>0.21099999999999999</c:v>
                </c:pt>
                <c:pt idx="7197">
                  <c:v>0.45200000000000001</c:v>
                </c:pt>
                <c:pt idx="7198">
                  <c:v>0.83399999999999996</c:v>
                </c:pt>
                <c:pt idx="7199">
                  <c:v>0.78500000000000003</c:v>
                </c:pt>
                <c:pt idx="7200">
                  <c:v>0.56899999999999995</c:v>
                </c:pt>
                <c:pt idx="7201">
                  <c:v>0.23</c:v>
                </c:pt>
                <c:pt idx="7202">
                  <c:v>0.5</c:v>
                </c:pt>
                <c:pt idx="7203">
                  <c:v>0.94799999999999995</c:v>
                </c:pt>
                <c:pt idx="7204">
                  <c:v>0.29699999999999999</c:v>
                </c:pt>
                <c:pt idx="7205">
                  <c:v>0.02</c:v>
                </c:pt>
                <c:pt idx="7206">
                  <c:v>9.0999999999999998E-2</c:v>
                </c:pt>
                <c:pt idx="7207">
                  <c:v>9.1999999999999998E-2</c:v>
                </c:pt>
                <c:pt idx="7208">
                  <c:v>0.108</c:v>
                </c:pt>
                <c:pt idx="7209">
                  <c:v>0.15</c:v>
                </c:pt>
                <c:pt idx="7210">
                  <c:v>0.16800000000000001</c:v>
                </c:pt>
                <c:pt idx="7211">
                  <c:v>0.32500000000000001</c:v>
                </c:pt>
                <c:pt idx="7212">
                  <c:v>0.48599999999999999</c:v>
                </c:pt>
                <c:pt idx="7213">
                  <c:v>0.57299999999999995</c:v>
                </c:pt>
                <c:pt idx="7214">
                  <c:v>0.74299999999999999</c:v>
                </c:pt>
                <c:pt idx="7215">
                  <c:v>0.95699999999999996</c:v>
                </c:pt>
                <c:pt idx="7216">
                  <c:v>7.2999999999999995E-2</c:v>
                </c:pt>
                <c:pt idx="7217">
                  <c:v>0.72199999999999998</c:v>
                </c:pt>
                <c:pt idx="7218">
                  <c:v>0.71699999999999997</c:v>
                </c:pt>
                <c:pt idx="7219">
                  <c:v>0.36399999999999999</c:v>
                </c:pt>
                <c:pt idx="7220">
                  <c:v>0.499</c:v>
                </c:pt>
                <c:pt idx="7221">
                  <c:v>0.223</c:v>
                </c:pt>
                <c:pt idx="7222">
                  <c:v>0.437</c:v>
                </c:pt>
                <c:pt idx="7223">
                  <c:v>0.219</c:v>
                </c:pt>
                <c:pt idx="7224">
                  <c:v>0.36899999999999999</c:v>
                </c:pt>
                <c:pt idx="7225">
                  <c:v>6.0999999999999999E-2</c:v>
                </c:pt>
                <c:pt idx="7226">
                  <c:v>0.49399999999999999</c:v>
                </c:pt>
                <c:pt idx="7227">
                  <c:v>0.72599999999999998</c:v>
                </c:pt>
                <c:pt idx="7228">
                  <c:v>0.24099999999999999</c:v>
                </c:pt>
                <c:pt idx="7229">
                  <c:v>0.29099999999999998</c:v>
                </c:pt>
                <c:pt idx="7230">
                  <c:v>0.34200000000000003</c:v>
                </c:pt>
                <c:pt idx="7231">
                  <c:v>0.44600000000000001</c:v>
                </c:pt>
                <c:pt idx="7232">
                  <c:v>0.46600000000000003</c:v>
                </c:pt>
                <c:pt idx="7233">
                  <c:v>0.65100000000000002</c:v>
                </c:pt>
                <c:pt idx="7234">
                  <c:v>0.84</c:v>
                </c:pt>
                <c:pt idx="7235">
                  <c:v>0.124</c:v>
                </c:pt>
                <c:pt idx="7236">
                  <c:v>0.58299999999999996</c:v>
                </c:pt>
                <c:pt idx="7237">
                  <c:v>0.26900000000000002</c:v>
                </c:pt>
                <c:pt idx="7238">
                  <c:v>0.57199999999999995</c:v>
                </c:pt>
                <c:pt idx="7239">
                  <c:v>0.127</c:v>
                </c:pt>
                <c:pt idx="7240">
                  <c:v>0.72499999999999998</c:v>
                </c:pt>
                <c:pt idx="7241">
                  <c:v>0.25800000000000001</c:v>
                </c:pt>
                <c:pt idx="7242">
                  <c:v>0.52300000000000002</c:v>
                </c:pt>
                <c:pt idx="7243">
                  <c:v>0.188</c:v>
                </c:pt>
                <c:pt idx="7244">
                  <c:v>0.20200000000000001</c:v>
                </c:pt>
                <c:pt idx="7245">
                  <c:v>7.5999999999999998E-2</c:v>
                </c:pt>
                <c:pt idx="7246">
                  <c:v>0.40699999999999997</c:v>
                </c:pt>
                <c:pt idx="7247">
                  <c:v>0.57599999999999996</c:v>
                </c:pt>
                <c:pt idx="7248">
                  <c:v>9.7000000000000003E-2</c:v>
                </c:pt>
                <c:pt idx="7249">
                  <c:v>0.35899999999999999</c:v>
                </c:pt>
                <c:pt idx="7250">
                  <c:v>0.46</c:v>
                </c:pt>
                <c:pt idx="7251">
                  <c:v>0.124</c:v>
                </c:pt>
                <c:pt idx="7252">
                  <c:v>0.19800000000000001</c:v>
                </c:pt>
                <c:pt idx="7253">
                  <c:v>0.219</c:v>
                </c:pt>
                <c:pt idx="7254">
                  <c:v>0.70899999999999996</c:v>
                </c:pt>
                <c:pt idx="7255">
                  <c:v>0.99299999999999999</c:v>
                </c:pt>
                <c:pt idx="7256">
                  <c:v>0.55100000000000005</c:v>
                </c:pt>
                <c:pt idx="7257">
                  <c:v>0.16</c:v>
                </c:pt>
                <c:pt idx="7258">
                  <c:v>0.80300000000000005</c:v>
                </c:pt>
                <c:pt idx="7259">
                  <c:v>0.35799999999999998</c:v>
                </c:pt>
                <c:pt idx="7260">
                  <c:v>9.5000000000000001E-2</c:v>
                </c:pt>
                <c:pt idx="7261">
                  <c:v>0.81200000000000006</c:v>
                </c:pt>
                <c:pt idx="7262">
                  <c:v>0.92500000000000004</c:v>
                </c:pt>
                <c:pt idx="7263">
                  <c:v>5.3999999999999999E-2</c:v>
                </c:pt>
                <c:pt idx="7264">
                  <c:v>0.26600000000000001</c:v>
                </c:pt>
                <c:pt idx="7265">
                  <c:v>0.79</c:v>
                </c:pt>
                <c:pt idx="7266">
                  <c:v>0.83199999999999996</c:v>
                </c:pt>
                <c:pt idx="7267">
                  <c:v>0.64300000000000002</c:v>
                </c:pt>
                <c:pt idx="7268">
                  <c:v>0.46300000000000002</c:v>
                </c:pt>
                <c:pt idx="7269">
                  <c:v>0.36199999999999999</c:v>
                </c:pt>
                <c:pt idx="7270">
                  <c:v>0.72</c:v>
                </c:pt>
                <c:pt idx="7271">
                  <c:v>0.08</c:v>
                </c:pt>
                <c:pt idx="7272">
                  <c:v>0.25800000000000001</c:v>
                </c:pt>
                <c:pt idx="7273">
                  <c:v>0.34699999999999998</c:v>
                </c:pt>
                <c:pt idx="7274">
                  <c:v>0.53200000000000003</c:v>
                </c:pt>
                <c:pt idx="7275">
                  <c:v>0.57899999999999996</c:v>
                </c:pt>
                <c:pt idx="7276">
                  <c:v>0.65400000000000003</c:v>
                </c:pt>
                <c:pt idx="7277">
                  <c:v>0.69299999999999995</c:v>
                </c:pt>
                <c:pt idx="7278">
                  <c:v>0.66400000000000003</c:v>
                </c:pt>
                <c:pt idx="7279">
                  <c:v>0.57299999999999995</c:v>
                </c:pt>
                <c:pt idx="7280">
                  <c:v>0.76600000000000001</c:v>
                </c:pt>
                <c:pt idx="7281">
                  <c:v>0.314</c:v>
                </c:pt>
                <c:pt idx="7282">
                  <c:v>0.71499999999999997</c:v>
                </c:pt>
                <c:pt idx="7283">
                  <c:v>5.8000000000000003E-2</c:v>
                </c:pt>
                <c:pt idx="7284">
                  <c:v>0.104</c:v>
                </c:pt>
                <c:pt idx="7285">
                  <c:v>0.27100000000000002</c:v>
                </c:pt>
                <c:pt idx="7286">
                  <c:v>0.36499999999999999</c:v>
                </c:pt>
                <c:pt idx="7287">
                  <c:v>0.92800000000000005</c:v>
                </c:pt>
                <c:pt idx="7288">
                  <c:v>0.63500000000000001</c:v>
                </c:pt>
                <c:pt idx="7289">
                  <c:v>0.50800000000000001</c:v>
                </c:pt>
                <c:pt idx="7290">
                  <c:v>0.20599999999999999</c:v>
                </c:pt>
                <c:pt idx="7291">
                  <c:v>0.222</c:v>
                </c:pt>
                <c:pt idx="7292">
                  <c:v>0.5</c:v>
                </c:pt>
                <c:pt idx="7293">
                  <c:v>0.14399999999999999</c:v>
                </c:pt>
                <c:pt idx="7294">
                  <c:v>0.57199999999999995</c:v>
                </c:pt>
                <c:pt idx="7295">
                  <c:v>0.32900000000000001</c:v>
                </c:pt>
                <c:pt idx="7296">
                  <c:v>0.85399999999999998</c:v>
                </c:pt>
                <c:pt idx="7297">
                  <c:v>0.375</c:v>
                </c:pt>
                <c:pt idx="7298">
                  <c:v>0.88</c:v>
                </c:pt>
                <c:pt idx="7299">
                  <c:v>0.63900000000000001</c:v>
                </c:pt>
                <c:pt idx="7300">
                  <c:v>0.755</c:v>
                </c:pt>
                <c:pt idx="7301">
                  <c:v>0.73899999999999999</c:v>
                </c:pt>
                <c:pt idx="7302">
                  <c:v>9.7000000000000003E-2</c:v>
                </c:pt>
                <c:pt idx="7303">
                  <c:v>0.192</c:v>
                </c:pt>
                <c:pt idx="7304">
                  <c:v>0.61099999999999999</c:v>
                </c:pt>
                <c:pt idx="7305">
                  <c:v>0.73699999999999999</c:v>
                </c:pt>
                <c:pt idx="7306">
                  <c:v>0.27500000000000002</c:v>
                </c:pt>
                <c:pt idx="7307">
                  <c:v>0.58099999999999996</c:v>
                </c:pt>
                <c:pt idx="7308">
                  <c:v>0.57099999999999995</c:v>
                </c:pt>
                <c:pt idx="7309">
                  <c:v>0.67800000000000005</c:v>
                </c:pt>
                <c:pt idx="7310">
                  <c:v>0.17299999999999999</c:v>
                </c:pt>
                <c:pt idx="7311">
                  <c:v>0.43</c:v>
                </c:pt>
                <c:pt idx="7312">
                  <c:v>0.50600000000000001</c:v>
                </c:pt>
                <c:pt idx="7313">
                  <c:v>0.45</c:v>
                </c:pt>
                <c:pt idx="7314">
                  <c:v>0.94399999999999995</c:v>
                </c:pt>
                <c:pt idx="7315">
                  <c:v>0.497</c:v>
                </c:pt>
                <c:pt idx="7316">
                  <c:v>4.4999999999999998E-2</c:v>
                </c:pt>
                <c:pt idx="7317">
                  <c:v>0.23300000000000001</c:v>
                </c:pt>
                <c:pt idx="7318">
                  <c:v>0.35099999999999998</c:v>
                </c:pt>
                <c:pt idx="7319">
                  <c:v>0.127</c:v>
                </c:pt>
                <c:pt idx="7320">
                  <c:v>0.42199999999999999</c:v>
                </c:pt>
                <c:pt idx="7321">
                  <c:v>0.109</c:v>
                </c:pt>
                <c:pt idx="7322">
                  <c:v>0.751</c:v>
                </c:pt>
                <c:pt idx="7323">
                  <c:v>0.23699999999999999</c:v>
                </c:pt>
                <c:pt idx="7324">
                  <c:v>0.25600000000000001</c:v>
                </c:pt>
                <c:pt idx="7325">
                  <c:v>0.127</c:v>
                </c:pt>
                <c:pt idx="7326">
                  <c:v>0.28599999999999998</c:v>
                </c:pt>
                <c:pt idx="7327">
                  <c:v>0.16700000000000001</c:v>
                </c:pt>
                <c:pt idx="7328">
                  <c:v>0.52200000000000002</c:v>
                </c:pt>
                <c:pt idx="7329">
                  <c:v>0.70799999999999996</c:v>
                </c:pt>
                <c:pt idx="7330">
                  <c:v>5.5E-2</c:v>
                </c:pt>
                <c:pt idx="7331">
                  <c:v>0.17899999999999999</c:v>
                </c:pt>
                <c:pt idx="7332">
                  <c:v>0.42299999999999999</c:v>
                </c:pt>
                <c:pt idx="7333">
                  <c:v>0.105</c:v>
                </c:pt>
                <c:pt idx="7334">
                  <c:v>0.67100000000000004</c:v>
                </c:pt>
                <c:pt idx="7335">
                  <c:v>0.751</c:v>
                </c:pt>
                <c:pt idx="7336">
                  <c:v>0.14299999999999999</c:v>
                </c:pt>
                <c:pt idx="7337">
                  <c:v>0.95099999999999996</c:v>
                </c:pt>
                <c:pt idx="7338">
                  <c:v>0.23499999999999999</c:v>
                </c:pt>
                <c:pt idx="7339">
                  <c:v>0.30599999999999999</c:v>
                </c:pt>
                <c:pt idx="7340">
                  <c:v>0.95299999999999996</c:v>
                </c:pt>
                <c:pt idx="7341">
                  <c:v>0.56999999999999995</c:v>
                </c:pt>
                <c:pt idx="7342">
                  <c:v>0.57399999999999995</c:v>
                </c:pt>
                <c:pt idx="7343">
                  <c:v>0.79100000000000004</c:v>
                </c:pt>
                <c:pt idx="7344">
                  <c:v>0.84799999999999998</c:v>
                </c:pt>
                <c:pt idx="7345">
                  <c:v>0.14699999999999999</c:v>
                </c:pt>
                <c:pt idx="7346">
                  <c:v>0.45500000000000002</c:v>
                </c:pt>
                <c:pt idx="7347">
                  <c:v>0.49299999999999999</c:v>
                </c:pt>
                <c:pt idx="7348">
                  <c:v>0.5</c:v>
                </c:pt>
                <c:pt idx="7349">
                  <c:v>0.67700000000000005</c:v>
                </c:pt>
                <c:pt idx="7350">
                  <c:v>0.20699999999999999</c:v>
                </c:pt>
                <c:pt idx="7351">
                  <c:v>0.317</c:v>
                </c:pt>
                <c:pt idx="7352">
                  <c:v>0.255</c:v>
                </c:pt>
                <c:pt idx="7353">
                  <c:v>0.58599999999999997</c:v>
                </c:pt>
                <c:pt idx="7354">
                  <c:v>3.3000000000000002E-2</c:v>
                </c:pt>
                <c:pt idx="7355">
                  <c:v>0.10299999999999999</c:v>
                </c:pt>
                <c:pt idx="7356">
                  <c:v>2.1000000000000001E-2</c:v>
                </c:pt>
                <c:pt idx="7357">
                  <c:v>0.13600000000000001</c:v>
                </c:pt>
                <c:pt idx="7358">
                  <c:v>0.32200000000000001</c:v>
                </c:pt>
                <c:pt idx="7359">
                  <c:v>0.44900000000000001</c:v>
                </c:pt>
                <c:pt idx="7360">
                  <c:v>0.51300000000000001</c:v>
                </c:pt>
                <c:pt idx="7361">
                  <c:v>0.63600000000000001</c:v>
                </c:pt>
                <c:pt idx="7362">
                  <c:v>0.71599999999999997</c:v>
                </c:pt>
                <c:pt idx="7363">
                  <c:v>0.78800000000000003</c:v>
                </c:pt>
                <c:pt idx="7364">
                  <c:v>0.20499999999999999</c:v>
                </c:pt>
                <c:pt idx="7365">
                  <c:v>0.65700000000000003</c:v>
                </c:pt>
                <c:pt idx="7366">
                  <c:v>0.42</c:v>
                </c:pt>
                <c:pt idx="7367">
                  <c:v>0.54300000000000004</c:v>
                </c:pt>
                <c:pt idx="7368">
                  <c:v>0.71399999999999997</c:v>
                </c:pt>
                <c:pt idx="7369">
                  <c:v>4.7E-2</c:v>
                </c:pt>
                <c:pt idx="7370">
                  <c:v>0.75700000000000001</c:v>
                </c:pt>
                <c:pt idx="7371">
                  <c:v>9.6000000000000002E-2</c:v>
                </c:pt>
                <c:pt idx="7372">
                  <c:v>0.90300000000000002</c:v>
                </c:pt>
                <c:pt idx="7373">
                  <c:v>0.67400000000000004</c:v>
                </c:pt>
                <c:pt idx="7374">
                  <c:v>0.58399999999999996</c:v>
                </c:pt>
                <c:pt idx="7375">
                  <c:v>0.34899999999999998</c:v>
                </c:pt>
                <c:pt idx="7376">
                  <c:v>0.39400000000000002</c:v>
                </c:pt>
                <c:pt idx="7377">
                  <c:v>0.23300000000000001</c:v>
                </c:pt>
                <c:pt idx="7378">
                  <c:v>0.95399999999999996</c:v>
                </c:pt>
                <c:pt idx="7379">
                  <c:v>0.16500000000000001</c:v>
                </c:pt>
                <c:pt idx="7380">
                  <c:v>0.193</c:v>
                </c:pt>
                <c:pt idx="7381">
                  <c:v>0.96699999999999997</c:v>
                </c:pt>
                <c:pt idx="7382">
                  <c:v>9.6000000000000002E-2</c:v>
                </c:pt>
                <c:pt idx="7383">
                  <c:v>0.34699999999999998</c:v>
                </c:pt>
                <c:pt idx="7384">
                  <c:v>0.19500000000000001</c:v>
                </c:pt>
                <c:pt idx="7385">
                  <c:v>0.57299999999999995</c:v>
                </c:pt>
                <c:pt idx="7386">
                  <c:v>0.68600000000000005</c:v>
                </c:pt>
                <c:pt idx="7387">
                  <c:v>0.29199999999999998</c:v>
                </c:pt>
                <c:pt idx="7388">
                  <c:v>0.56100000000000005</c:v>
                </c:pt>
                <c:pt idx="7389">
                  <c:v>0.495</c:v>
                </c:pt>
                <c:pt idx="7390">
                  <c:v>0.19500000000000001</c:v>
                </c:pt>
                <c:pt idx="7391">
                  <c:v>0.55000000000000004</c:v>
                </c:pt>
                <c:pt idx="7392">
                  <c:v>0.54600000000000004</c:v>
                </c:pt>
                <c:pt idx="7393">
                  <c:v>0.75600000000000001</c:v>
                </c:pt>
                <c:pt idx="7394">
                  <c:v>0.38700000000000001</c:v>
                </c:pt>
                <c:pt idx="7395">
                  <c:v>0.95199999999999996</c:v>
                </c:pt>
                <c:pt idx="7396">
                  <c:v>0.67600000000000005</c:v>
                </c:pt>
                <c:pt idx="7397">
                  <c:v>9.0999999999999998E-2</c:v>
                </c:pt>
                <c:pt idx="7398">
                  <c:v>0.14199999999999999</c:v>
                </c:pt>
                <c:pt idx="7399">
                  <c:v>0.13500000000000001</c:v>
                </c:pt>
                <c:pt idx="7400">
                  <c:v>0.13</c:v>
                </c:pt>
                <c:pt idx="7401">
                  <c:v>0.14199999999999999</c:v>
                </c:pt>
                <c:pt idx="7402">
                  <c:v>0.68500000000000005</c:v>
                </c:pt>
                <c:pt idx="7403">
                  <c:v>4.8000000000000001E-2</c:v>
                </c:pt>
                <c:pt idx="7404">
                  <c:v>0.115</c:v>
                </c:pt>
                <c:pt idx="7405">
                  <c:v>0.129</c:v>
                </c:pt>
                <c:pt idx="7406">
                  <c:v>0.32100000000000001</c:v>
                </c:pt>
                <c:pt idx="7407">
                  <c:v>0.89200000000000002</c:v>
                </c:pt>
                <c:pt idx="7408">
                  <c:v>0.18099999999999999</c:v>
                </c:pt>
                <c:pt idx="7409">
                  <c:v>0.224</c:v>
                </c:pt>
                <c:pt idx="7410">
                  <c:v>0.27400000000000002</c:v>
                </c:pt>
                <c:pt idx="7411">
                  <c:v>0.32800000000000001</c:v>
                </c:pt>
                <c:pt idx="7412">
                  <c:v>0.33500000000000002</c:v>
                </c:pt>
                <c:pt idx="7413">
                  <c:v>6.3E-2</c:v>
                </c:pt>
                <c:pt idx="7414">
                  <c:v>0.47799999999999998</c:v>
                </c:pt>
                <c:pt idx="7415">
                  <c:v>0.23400000000000001</c:v>
                </c:pt>
                <c:pt idx="7416">
                  <c:v>0.51400000000000001</c:v>
                </c:pt>
                <c:pt idx="7417">
                  <c:v>0.91300000000000003</c:v>
                </c:pt>
                <c:pt idx="7418">
                  <c:v>0.47199999999999998</c:v>
                </c:pt>
                <c:pt idx="7419">
                  <c:v>0.311</c:v>
                </c:pt>
                <c:pt idx="7420">
                  <c:v>0.126</c:v>
                </c:pt>
                <c:pt idx="7421">
                  <c:v>0.15</c:v>
                </c:pt>
                <c:pt idx="7422">
                  <c:v>0.441</c:v>
                </c:pt>
                <c:pt idx="7423">
                  <c:v>0.69099999999999995</c:v>
                </c:pt>
                <c:pt idx="7424">
                  <c:v>0.53500000000000003</c:v>
                </c:pt>
                <c:pt idx="7425">
                  <c:v>0.70099999999999996</c:v>
                </c:pt>
                <c:pt idx="7426">
                  <c:v>0.57799999999999996</c:v>
                </c:pt>
                <c:pt idx="7427">
                  <c:v>0.90600000000000003</c:v>
                </c:pt>
                <c:pt idx="7428">
                  <c:v>0.89</c:v>
                </c:pt>
                <c:pt idx="7429">
                  <c:v>0.14099999999999999</c:v>
                </c:pt>
                <c:pt idx="7430">
                  <c:v>0.106</c:v>
                </c:pt>
                <c:pt idx="7431">
                  <c:v>0.25800000000000001</c:v>
                </c:pt>
                <c:pt idx="7432">
                  <c:v>0.217</c:v>
                </c:pt>
                <c:pt idx="7433">
                  <c:v>0.94699999999999995</c:v>
                </c:pt>
                <c:pt idx="7434">
                  <c:v>0.51900000000000002</c:v>
                </c:pt>
                <c:pt idx="7435">
                  <c:v>0.23300000000000001</c:v>
                </c:pt>
                <c:pt idx="7436">
                  <c:v>0.79300000000000004</c:v>
                </c:pt>
                <c:pt idx="7437">
                  <c:v>0.44900000000000001</c:v>
                </c:pt>
                <c:pt idx="7438">
                  <c:v>0.126</c:v>
                </c:pt>
                <c:pt idx="7439">
                  <c:v>8.8999999999999996E-2</c:v>
                </c:pt>
                <c:pt idx="7440">
                  <c:v>0.55400000000000005</c:v>
                </c:pt>
                <c:pt idx="7441">
                  <c:v>0.1</c:v>
                </c:pt>
                <c:pt idx="7442">
                  <c:v>0.216</c:v>
                </c:pt>
                <c:pt idx="7443">
                  <c:v>0.39500000000000002</c:v>
                </c:pt>
                <c:pt idx="7444">
                  <c:v>0.158</c:v>
                </c:pt>
                <c:pt idx="7445">
                  <c:v>9.7000000000000003E-2</c:v>
                </c:pt>
                <c:pt idx="7446">
                  <c:v>3.5000000000000003E-2</c:v>
                </c:pt>
                <c:pt idx="7447">
                  <c:v>0.29199999999999998</c:v>
                </c:pt>
                <c:pt idx="7448">
                  <c:v>0.39700000000000002</c:v>
                </c:pt>
                <c:pt idx="7449">
                  <c:v>0.46200000000000002</c:v>
                </c:pt>
                <c:pt idx="7450">
                  <c:v>0.73299999999999998</c:v>
                </c:pt>
                <c:pt idx="7451">
                  <c:v>0.39900000000000002</c:v>
                </c:pt>
                <c:pt idx="7452">
                  <c:v>0.186</c:v>
                </c:pt>
                <c:pt idx="7453">
                  <c:v>0.29899999999999999</c:v>
                </c:pt>
                <c:pt idx="7454">
                  <c:v>0.88500000000000001</c:v>
                </c:pt>
                <c:pt idx="7455">
                  <c:v>0.374</c:v>
                </c:pt>
                <c:pt idx="7456">
                  <c:v>0.83499999999999996</c:v>
                </c:pt>
                <c:pt idx="7457">
                  <c:v>0.22</c:v>
                </c:pt>
                <c:pt idx="7458">
                  <c:v>0.83599999999999997</c:v>
                </c:pt>
                <c:pt idx="7459">
                  <c:v>0.90300000000000002</c:v>
                </c:pt>
                <c:pt idx="7460">
                  <c:v>0.80800000000000005</c:v>
                </c:pt>
                <c:pt idx="7461">
                  <c:v>0.90600000000000003</c:v>
                </c:pt>
                <c:pt idx="7462">
                  <c:v>0.28299999999999997</c:v>
                </c:pt>
                <c:pt idx="7463">
                  <c:v>0.64500000000000002</c:v>
                </c:pt>
                <c:pt idx="7464">
                  <c:v>0.26900000000000002</c:v>
                </c:pt>
                <c:pt idx="7465">
                  <c:v>0.35</c:v>
                </c:pt>
                <c:pt idx="7466">
                  <c:v>0.91500000000000004</c:v>
                </c:pt>
                <c:pt idx="7467">
                  <c:v>0.45500000000000002</c:v>
                </c:pt>
                <c:pt idx="7468">
                  <c:v>0.60499999999999998</c:v>
                </c:pt>
                <c:pt idx="7469">
                  <c:v>0.183</c:v>
                </c:pt>
                <c:pt idx="7470">
                  <c:v>0.98799999999999999</c:v>
                </c:pt>
                <c:pt idx="7471">
                  <c:v>0.129</c:v>
                </c:pt>
                <c:pt idx="7472">
                  <c:v>9.6000000000000002E-2</c:v>
                </c:pt>
                <c:pt idx="7473">
                  <c:v>0.94799999999999995</c:v>
                </c:pt>
                <c:pt idx="7474">
                  <c:v>0.79600000000000004</c:v>
                </c:pt>
                <c:pt idx="7475">
                  <c:v>0.35</c:v>
                </c:pt>
                <c:pt idx="7476">
                  <c:v>0.83199999999999996</c:v>
                </c:pt>
                <c:pt idx="7477">
                  <c:v>0.91300000000000003</c:v>
                </c:pt>
                <c:pt idx="7478">
                  <c:v>0.92200000000000004</c:v>
                </c:pt>
                <c:pt idx="7479">
                  <c:v>0.54900000000000004</c:v>
                </c:pt>
                <c:pt idx="7480">
                  <c:v>0.83099999999999996</c:v>
                </c:pt>
                <c:pt idx="7481">
                  <c:v>0.41699999999999998</c:v>
                </c:pt>
                <c:pt idx="7482">
                  <c:v>0.126</c:v>
                </c:pt>
                <c:pt idx="7483">
                  <c:v>0.221</c:v>
                </c:pt>
                <c:pt idx="7484">
                  <c:v>6.0999999999999999E-2</c:v>
                </c:pt>
                <c:pt idx="7485">
                  <c:v>6.6000000000000003E-2</c:v>
                </c:pt>
                <c:pt idx="7486">
                  <c:v>0.113</c:v>
                </c:pt>
                <c:pt idx="7487">
                  <c:v>0.997</c:v>
                </c:pt>
                <c:pt idx="7488">
                  <c:v>0.17</c:v>
                </c:pt>
                <c:pt idx="7489">
                  <c:v>0.89700000000000002</c:v>
                </c:pt>
                <c:pt idx="7490">
                  <c:v>0.13800000000000001</c:v>
                </c:pt>
                <c:pt idx="7491">
                  <c:v>0.27500000000000002</c:v>
                </c:pt>
                <c:pt idx="7492">
                  <c:v>0.54</c:v>
                </c:pt>
                <c:pt idx="7493">
                  <c:v>0.246</c:v>
                </c:pt>
                <c:pt idx="7494">
                  <c:v>7.6999999999999999E-2</c:v>
                </c:pt>
                <c:pt idx="7495">
                  <c:v>0.52200000000000002</c:v>
                </c:pt>
                <c:pt idx="7496">
                  <c:v>0.94599999999999995</c:v>
                </c:pt>
                <c:pt idx="7497">
                  <c:v>0.09</c:v>
                </c:pt>
                <c:pt idx="7498">
                  <c:v>0.14299999999999999</c:v>
                </c:pt>
                <c:pt idx="7499">
                  <c:v>0.19600000000000001</c:v>
                </c:pt>
                <c:pt idx="7500">
                  <c:v>0.115</c:v>
                </c:pt>
                <c:pt idx="7501">
                  <c:v>0.318</c:v>
                </c:pt>
                <c:pt idx="7502">
                  <c:v>9.4E-2</c:v>
                </c:pt>
                <c:pt idx="7503">
                  <c:v>0.39400000000000002</c:v>
                </c:pt>
                <c:pt idx="7504">
                  <c:v>0.33300000000000002</c:v>
                </c:pt>
                <c:pt idx="7505">
                  <c:v>0.41899999999999998</c:v>
                </c:pt>
                <c:pt idx="7506">
                  <c:v>0.59299999999999997</c:v>
                </c:pt>
                <c:pt idx="7507">
                  <c:v>0.113</c:v>
                </c:pt>
                <c:pt idx="7508">
                  <c:v>0.11600000000000001</c:v>
                </c:pt>
                <c:pt idx="7509">
                  <c:v>9.9000000000000005E-2</c:v>
                </c:pt>
                <c:pt idx="7510">
                  <c:v>0.78200000000000003</c:v>
                </c:pt>
                <c:pt idx="7511">
                  <c:v>0.129</c:v>
                </c:pt>
                <c:pt idx="7512">
                  <c:v>0.83399999999999996</c:v>
                </c:pt>
                <c:pt idx="7513">
                  <c:v>0.10100000000000001</c:v>
                </c:pt>
                <c:pt idx="7514">
                  <c:v>5.8000000000000003E-2</c:v>
                </c:pt>
                <c:pt idx="7515">
                  <c:v>0.47799999999999998</c:v>
                </c:pt>
                <c:pt idx="7516">
                  <c:v>6.9000000000000006E-2</c:v>
                </c:pt>
                <c:pt idx="7517">
                  <c:v>0.28599999999999998</c:v>
                </c:pt>
                <c:pt idx="7518">
                  <c:v>0.70499999999999996</c:v>
                </c:pt>
                <c:pt idx="7519">
                  <c:v>0.14099999999999999</c:v>
                </c:pt>
                <c:pt idx="7520">
                  <c:v>0.40300000000000002</c:v>
                </c:pt>
                <c:pt idx="7521">
                  <c:v>0.33300000000000002</c:v>
                </c:pt>
                <c:pt idx="7522">
                  <c:v>0.10299999999999999</c:v>
                </c:pt>
                <c:pt idx="7523">
                  <c:v>0.46700000000000003</c:v>
                </c:pt>
                <c:pt idx="7524">
                  <c:v>0.69399999999999995</c:v>
                </c:pt>
                <c:pt idx="7525">
                  <c:v>0.124</c:v>
                </c:pt>
                <c:pt idx="7526">
                  <c:v>0.13700000000000001</c:v>
                </c:pt>
                <c:pt idx="7527">
                  <c:v>0.221</c:v>
                </c:pt>
                <c:pt idx="7528">
                  <c:v>5.8000000000000003E-2</c:v>
                </c:pt>
                <c:pt idx="7529">
                  <c:v>0.52500000000000002</c:v>
                </c:pt>
                <c:pt idx="7530">
                  <c:v>0.88900000000000001</c:v>
                </c:pt>
                <c:pt idx="7531">
                  <c:v>0.92900000000000005</c:v>
                </c:pt>
                <c:pt idx="7532">
                  <c:v>0.46800000000000003</c:v>
                </c:pt>
                <c:pt idx="7533">
                  <c:v>0.22800000000000001</c:v>
                </c:pt>
                <c:pt idx="7534">
                  <c:v>0.98399999999999999</c:v>
                </c:pt>
                <c:pt idx="7535">
                  <c:v>0.34</c:v>
                </c:pt>
                <c:pt idx="7536">
                  <c:v>0.93799999999999994</c:v>
                </c:pt>
                <c:pt idx="7537">
                  <c:v>0.34799999999999998</c:v>
                </c:pt>
                <c:pt idx="7538">
                  <c:v>0.98299999999999998</c:v>
                </c:pt>
                <c:pt idx="7539">
                  <c:v>0.11600000000000001</c:v>
                </c:pt>
                <c:pt idx="7540">
                  <c:v>0.58099999999999996</c:v>
                </c:pt>
                <c:pt idx="7541">
                  <c:v>6.3E-2</c:v>
                </c:pt>
                <c:pt idx="7542">
                  <c:v>0.49399999999999999</c:v>
                </c:pt>
                <c:pt idx="7543">
                  <c:v>0.69</c:v>
                </c:pt>
                <c:pt idx="7544">
                  <c:v>0.63</c:v>
                </c:pt>
                <c:pt idx="7545">
                  <c:v>0.17899999999999999</c:v>
                </c:pt>
                <c:pt idx="7546">
                  <c:v>0.63500000000000001</c:v>
                </c:pt>
                <c:pt idx="7547">
                  <c:v>0.45500000000000002</c:v>
                </c:pt>
                <c:pt idx="7548">
                  <c:v>0.752</c:v>
                </c:pt>
                <c:pt idx="7549">
                  <c:v>0.14699999999999999</c:v>
                </c:pt>
                <c:pt idx="7550">
                  <c:v>0.39</c:v>
                </c:pt>
                <c:pt idx="7551">
                  <c:v>7.3999999999999996E-2</c:v>
                </c:pt>
                <c:pt idx="7552">
                  <c:v>8.2000000000000003E-2</c:v>
                </c:pt>
                <c:pt idx="7553">
                  <c:v>0.311</c:v>
                </c:pt>
                <c:pt idx="7554">
                  <c:v>0.90900000000000003</c:v>
                </c:pt>
                <c:pt idx="7555">
                  <c:v>3.7999999999999999E-2</c:v>
                </c:pt>
                <c:pt idx="7556">
                  <c:v>0.58199999999999996</c:v>
                </c:pt>
                <c:pt idx="7557">
                  <c:v>0.84799999999999998</c:v>
                </c:pt>
                <c:pt idx="7558">
                  <c:v>0.94499999999999995</c:v>
                </c:pt>
                <c:pt idx="7559">
                  <c:v>0.125</c:v>
                </c:pt>
                <c:pt idx="7560">
                  <c:v>0.92600000000000005</c:v>
                </c:pt>
                <c:pt idx="7561">
                  <c:v>0.72</c:v>
                </c:pt>
                <c:pt idx="7562">
                  <c:v>0.747</c:v>
                </c:pt>
                <c:pt idx="7563">
                  <c:v>6.6000000000000003E-2</c:v>
                </c:pt>
                <c:pt idx="7564">
                  <c:v>0.14499999999999999</c:v>
                </c:pt>
                <c:pt idx="7565">
                  <c:v>0.96599999999999997</c:v>
                </c:pt>
                <c:pt idx="7566">
                  <c:v>0.436</c:v>
                </c:pt>
                <c:pt idx="7567">
                  <c:v>0.11899999999999999</c:v>
                </c:pt>
                <c:pt idx="7568">
                  <c:v>0.158</c:v>
                </c:pt>
                <c:pt idx="7569">
                  <c:v>0.24199999999999999</c:v>
                </c:pt>
                <c:pt idx="7570">
                  <c:v>0.69599999999999995</c:v>
                </c:pt>
                <c:pt idx="7571">
                  <c:v>0.35299999999999998</c:v>
                </c:pt>
                <c:pt idx="7572">
                  <c:v>0.193</c:v>
                </c:pt>
                <c:pt idx="7573">
                  <c:v>0.91900000000000004</c:v>
                </c:pt>
                <c:pt idx="7574">
                  <c:v>0.42099999999999999</c:v>
                </c:pt>
                <c:pt idx="7575">
                  <c:v>0.879</c:v>
                </c:pt>
                <c:pt idx="7576">
                  <c:v>0.46600000000000003</c:v>
                </c:pt>
                <c:pt idx="7577">
                  <c:v>7.3999999999999996E-2</c:v>
                </c:pt>
                <c:pt idx="7578">
                  <c:v>0.72199999999999998</c:v>
                </c:pt>
                <c:pt idx="7579">
                  <c:v>9.2999999999999999E-2</c:v>
                </c:pt>
                <c:pt idx="7580">
                  <c:v>0.373</c:v>
                </c:pt>
                <c:pt idx="7581">
                  <c:v>0.47699999999999998</c:v>
                </c:pt>
                <c:pt idx="7582">
                  <c:v>8.5000000000000006E-2</c:v>
                </c:pt>
                <c:pt idx="7583">
                  <c:v>0.59299999999999997</c:v>
                </c:pt>
                <c:pt idx="7584">
                  <c:v>0.81599999999999995</c:v>
                </c:pt>
                <c:pt idx="7585">
                  <c:v>0.375</c:v>
                </c:pt>
                <c:pt idx="7586">
                  <c:v>0.126</c:v>
                </c:pt>
                <c:pt idx="7587">
                  <c:v>2.8000000000000001E-2</c:v>
                </c:pt>
                <c:pt idx="7588">
                  <c:v>0.84599999999999997</c:v>
                </c:pt>
                <c:pt idx="7589">
                  <c:v>0.87</c:v>
                </c:pt>
                <c:pt idx="7590">
                  <c:v>0.77200000000000002</c:v>
                </c:pt>
                <c:pt idx="7591">
                  <c:v>3.5999999999999997E-2</c:v>
                </c:pt>
                <c:pt idx="7592">
                  <c:v>0.53700000000000003</c:v>
                </c:pt>
                <c:pt idx="7593">
                  <c:v>0.13400000000000001</c:v>
                </c:pt>
                <c:pt idx="7594">
                  <c:v>0.20300000000000001</c:v>
                </c:pt>
                <c:pt idx="7595">
                  <c:v>0.41</c:v>
                </c:pt>
                <c:pt idx="7596">
                  <c:v>0.9</c:v>
                </c:pt>
                <c:pt idx="7597">
                  <c:v>0.248</c:v>
                </c:pt>
                <c:pt idx="7598">
                  <c:v>5.8999999999999997E-2</c:v>
                </c:pt>
                <c:pt idx="7599">
                  <c:v>0.79100000000000004</c:v>
                </c:pt>
                <c:pt idx="7600">
                  <c:v>0.122</c:v>
                </c:pt>
                <c:pt idx="7601">
                  <c:v>0.44900000000000001</c:v>
                </c:pt>
                <c:pt idx="7602">
                  <c:v>0.59799999999999998</c:v>
                </c:pt>
                <c:pt idx="7603">
                  <c:v>0.64400000000000002</c:v>
                </c:pt>
                <c:pt idx="7604">
                  <c:v>0.54600000000000004</c:v>
                </c:pt>
                <c:pt idx="7605">
                  <c:v>0.63900000000000001</c:v>
                </c:pt>
                <c:pt idx="7606">
                  <c:v>7.2999999999999995E-2</c:v>
                </c:pt>
                <c:pt idx="7607">
                  <c:v>0.67</c:v>
                </c:pt>
                <c:pt idx="7608">
                  <c:v>0.79900000000000004</c:v>
                </c:pt>
                <c:pt idx="7609">
                  <c:v>6.7000000000000004E-2</c:v>
                </c:pt>
                <c:pt idx="7610">
                  <c:v>0.54</c:v>
                </c:pt>
                <c:pt idx="7611">
                  <c:v>0.107</c:v>
                </c:pt>
                <c:pt idx="7612">
                  <c:v>0.65700000000000003</c:v>
                </c:pt>
                <c:pt idx="7613">
                  <c:v>0.32700000000000001</c:v>
                </c:pt>
                <c:pt idx="7614">
                  <c:v>0.91300000000000003</c:v>
                </c:pt>
                <c:pt idx="7615">
                  <c:v>0.41799999999999998</c:v>
                </c:pt>
                <c:pt idx="7616">
                  <c:v>0.63600000000000001</c:v>
                </c:pt>
                <c:pt idx="7617">
                  <c:v>9.4E-2</c:v>
                </c:pt>
                <c:pt idx="7618">
                  <c:v>7.2999999999999995E-2</c:v>
                </c:pt>
                <c:pt idx="7619">
                  <c:v>0.214</c:v>
                </c:pt>
                <c:pt idx="7620">
                  <c:v>0.621</c:v>
                </c:pt>
                <c:pt idx="7621">
                  <c:v>2.9000000000000001E-2</c:v>
                </c:pt>
                <c:pt idx="7622">
                  <c:v>0.54400000000000004</c:v>
                </c:pt>
                <c:pt idx="7623">
                  <c:v>4.5999999999999999E-2</c:v>
                </c:pt>
                <c:pt idx="7624">
                  <c:v>0.22700000000000001</c:v>
                </c:pt>
                <c:pt idx="7625">
                  <c:v>0.52900000000000003</c:v>
                </c:pt>
                <c:pt idx="7626">
                  <c:v>0.50600000000000001</c:v>
                </c:pt>
                <c:pt idx="7627">
                  <c:v>0.875</c:v>
                </c:pt>
                <c:pt idx="7628">
                  <c:v>0.66900000000000004</c:v>
                </c:pt>
                <c:pt idx="7629">
                  <c:v>0.63600000000000001</c:v>
                </c:pt>
                <c:pt idx="7630">
                  <c:v>0.21</c:v>
                </c:pt>
                <c:pt idx="7631">
                  <c:v>0.63200000000000001</c:v>
                </c:pt>
                <c:pt idx="7632">
                  <c:v>0.42499999999999999</c:v>
                </c:pt>
                <c:pt idx="7633">
                  <c:v>4.7E-2</c:v>
                </c:pt>
                <c:pt idx="7634">
                  <c:v>0.20499999999999999</c:v>
                </c:pt>
                <c:pt idx="7635">
                  <c:v>0.66</c:v>
                </c:pt>
                <c:pt idx="7636">
                  <c:v>0.124</c:v>
                </c:pt>
                <c:pt idx="7637">
                  <c:v>0.51600000000000001</c:v>
                </c:pt>
                <c:pt idx="7638">
                  <c:v>0.71199999999999997</c:v>
                </c:pt>
                <c:pt idx="7639">
                  <c:v>0.68300000000000005</c:v>
                </c:pt>
                <c:pt idx="7640">
                  <c:v>0.154</c:v>
                </c:pt>
                <c:pt idx="7641">
                  <c:v>0.74099999999999999</c:v>
                </c:pt>
                <c:pt idx="7642">
                  <c:v>0.123</c:v>
                </c:pt>
                <c:pt idx="7643">
                  <c:v>0.26500000000000001</c:v>
                </c:pt>
                <c:pt idx="7644">
                  <c:v>0.44400000000000001</c:v>
                </c:pt>
                <c:pt idx="7645">
                  <c:v>0.59</c:v>
                </c:pt>
                <c:pt idx="7646">
                  <c:v>0.123</c:v>
                </c:pt>
                <c:pt idx="7647">
                  <c:v>0.90700000000000003</c:v>
                </c:pt>
                <c:pt idx="7648">
                  <c:v>0.65100000000000002</c:v>
                </c:pt>
                <c:pt idx="7649">
                  <c:v>0.92500000000000004</c:v>
                </c:pt>
                <c:pt idx="7650">
                  <c:v>0.84199999999999997</c:v>
                </c:pt>
                <c:pt idx="7651">
                  <c:v>0.86599999999999999</c:v>
                </c:pt>
                <c:pt idx="7652">
                  <c:v>0.76600000000000001</c:v>
                </c:pt>
                <c:pt idx="7653">
                  <c:v>0.41899999999999998</c:v>
                </c:pt>
                <c:pt idx="7654">
                  <c:v>0.82799999999999996</c:v>
                </c:pt>
                <c:pt idx="7655">
                  <c:v>4.1000000000000002E-2</c:v>
                </c:pt>
                <c:pt idx="7656">
                  <c:v>0.1</c:v>
                </c:pt>
                <c:pt idx="7657">
                  <c:v>5.8999999999999997E-2</c:v>
                </c:pt>
                <c:pt idx="7658">
                  <c:v>0.28599999999999998</c:v>
                </c:pt>
                <c:pt idx="7659">
                  <c:v>0.68899999999999995</c:v>
                </c:pt>
                <c:pt idx="7660">
                  <c:v>0.44400000000000001</c:v>
                </c:pt>
                <c:pt idx="7661">
                  <c:v>0.91100000000000003</c:v>
                </c:pt>
                <c:pt idx="7662">
                  <c:v>3.3000000000000002E-2</c:v>
                </c:pt>
                <c:pt idx="7663">
                  <c:v>0.36399999999999999</c:v>
                </c:pt>
                <c:pt idx="7664">
                  <c:v>0.63600000000000001</c:v>
                </c:pt>
                <c:pt idx="7665">
                  <c:v>0.105</c:v>
                </c:pt>
                <c:pt idx="7666">
                  <c:v>0.121</c:v>
                </c:pt>
                <c:pt idx="7667">
                  <c:v>0.755</c:v>
                </c:pt>
                <c:pt idx="7668">
                  <c:v>0.751</c:v>
                </c:pt>
                <c:pt idx="7669">
                  <c:v>0.76100000000000001</c:v>
                </c:pt>
                <c:pt idx="7670">
                  <c:v>9.5000000000000001E-2</c:v>
                </c:pt>
                <c:pt idx="7671">
                  <c:v>0.80200000000000005</c:v>
                </c:pt>
                <c:pt idx="7672">
                  <c:v>0.755</c:v>
                </c:pt>
                <c:pt idx="7673">
                  <c:v>0.86599999999999999</c:v>
                </c:pt>
                <c:pt idx="7674">
                  <c:v>6.0999999999999999E-2</c:v>
                </c:pt>
                <c:pt idx="7675">
                  <c:v>0.22600000000000001</c:v>
                </c:pt>
                <c:pt idx="7676">
                  <c:v>0.248</c:v>
                </c:pt>
                <c:pt idx="7677">
                  <c:v>0.29599999999999999</c:v>
                </c:pt>
                <c:pt idx="7678">
                  <c:v>0.32400000000000001</c:v>
                </c:pt>
                <c:pt idx="7679">
                  <c:v>7.0999999999999994E-2</c:v>
                </c:pt>
                <c:pt idx="7680">
                  <c:v>0.66</c:v>
                </c:pt>
                <c:pt idx="7681">
                  <c:v>0.129</c:v>
                </c:pt>
                <c:pt idx="7682">
                  <c:v>0.17499999999999999</c:v>
                </c:pt>
                <c:pt idx="7683">
                  <c:v>0.59799999999999998</c:v>
                </c:pt>
                <c:pt idx="7684">
                  <c:v>0.14099999999999999</c:v>
                </c:pt>
                <c:pt idx="7685">
                  <c:v>7.1999999999999995E-2</c:v>
                </c:pt>
                <c:pt idx="7686">
                  <c:v>8.5999999999999993E-2</c:v>
                </c:pt>
                <c:pt idx="7687">
                  <c:v>0.83599999999999997</c:v>
                </c:pt>
                <c:pt idx="7688">
                  <c:v>0.29799999999999999</c:v>
                </c:pt>
                <c:pt idx="7689">
                  <c:v>0.74</c:v>
                </c:pt>
                <c:pt idx="7690">
                  <c:v>0.44500000000000001</c:v>
                </c:pt>
                <c:pt idx="7691">
                  <c:v>0.79400000000000004</c:v>
                </c:pt>
                <c:pt idx="7692">
                  <c:v>0.72299999999999998</c:v>
                </c:pt>
                <c:pt idx="7693">
                  <c:v>0.185</c:v>
                </c:pt>
                <c:pt idx="7694">
                  <c:v>0.28199999999999997</c:v>
                </c:pt>
                <c:pt idx="7695">
                  <c:v>0.79100000000000004</c:v>
                </c:pt>
                <c:pt idx="7696">
                  <c:v>0.188</c:v>
                </c:pt>
                <c:pt idx="7697">
                  <c:v>0.86399999999999999</c:v>
                </c:pt>
                <c:pt idx="7698">
                  <c:v>0.27400000000000002</c:v>
                </c:pt>
                <c:pt idx="7699">
                  <c:v>0.27600000000000002</c:v>
                </c:pt>
                <c:pt idx="7700">
                  <c:v>0.75600000000000001</c:v>
                </c:pt>
                <c:pt idx="7701">
                  <c:v>0.182</c:v>
                </c:pt>
                <c:pt idx="7702">
                  <c:v>0.82099999999999995</c:v>
                </c:pt>
                <c:pt idx="7703">
                  <c:v>7.9000000000000001E-2</c:v>
                </c:pt>
                <c:pt idx="7704">
                  <c:v>0.3</c:v>
                </c:pt>
                <c:pt idx="7705">
                  <c:v>0.47</c:v>
                </c:pt>
                <c:pt idx="7706">
                  <c:v>0.57799999999999996</c:v>
                </c:pt>
                <c:pt idx="7707">
                  <c:v>0.79100000000000004</c:v>
                </c:pt>
                <c:pt idx="7708">
                  <c:v>0.61899999999999999</c:v>
                </c:pt>
                <c:pt idx="7709">
                  <c:v>0.47799999999999998</c:v>
                </c:pt>
                <c:pt idx="7710">
                  <c:v>0.93300000000000005</c:v>
                </c:pt>
                <c:pt idx="7711">
                  <c:v>0.68700000000000006</c:v>
                </c:pt>
                <c:pt idx="7712">
                  <c:v>0.253</c:v>
                </c:pt>
                <c:pt idx="7713">
                  <c:v>0.84</c:v>
                </c:pt>
                <c:pt idx="7714">
                  <c:v>0.71299999999999997</c:v>
                </c:pt>
                <c:pt idx="7715">
                  <c:v>0.48699999999999999</c:v>
                </c:pt>
                <c:pt idx="7716">
                  <c:v>0.60299999999999998</c:v>
                </c:pt>
                <c:pt idx="7717">
                  <c:v>0.28999999999999998</c:v>
                </c:pt>
                <c:pt idx="7718">
                  <c:v>0.34300000000000003</c:v>
                </c:pt>
                <c:pt idx="7719">
                  <c:v>1.0999999999999999E-2</c:v>
                </c:pt>
                <c:pt idx="7720">
                  <c:v>0.11899999999999999</c:v>
                </c:pt>
                <c:pt idx="7721">
                  <c:v>0.16700000000000001</c:v>
                </c:pt>
                <c:pt idx="7722">
                  <c:v>0.34799999999999998</c:v>
                </c:pt>
                <c:pt idx="7723">
                  <c:v>0.41699999999999998</c:v>
                </c:pt>
                <c:pt idx="7724">
                  <c:v>0.66100000000000003</c:v>
                </c:pt>
                <c:pt idx="7725">
                  <c:v>0.83699999999999997</c:v>
                </c:pt>
              </c:numCache>
            </c:numRef>
          </c:xVal>
          <c:yVal>
            <c:numRef>
              <c:f>'EcoDis Phase In'!$C$3:$C$7792</c:f>
              <c:numCache>
                <c:formatCode>0%</c:formatCode>
                <c:ptCount val="7790"/>
                <c:pt idx="0">
                  <c:v>1.5748031496062999E-2</c:v>
                </c:pt>
                <c:pt idx="1">
                  <c:v>1.88679245283019E-2</c:v>
                </c:pt>
                <c:pt idx="2">
                  <c:v>2.27272727272727E-2</c:v>
                </c:pt>
                <c:pt idx="3">
                  <c:v>2.32558139534884E-2</c:v>
                </c:pt>
                <c:pt idx="4">
                  <c:v>2.5706940874036001E-2</c:v>
                </c:pt>
                <c:pt idx="5">
                  <c:v>2.94117647058823E-2</c:v>
                </c:pt>
                <c:pt idx="6">
                  <c:v>3.2786885245901599E-2</c:v>
                </c:pt>
                <c:pt idx="7">
                  <c:v>3.83693045563549E-2</c:v>
                </c:pt>
                <c:pt idx="8">
                  <c:v>3.8461538461538498E-2</c:v>
                </c:pt>
                <c:pt idx="9">
                  <c:v>3.94736842105263E-2</c:v>
                </c:pt>
                <c:pt idx="10">
                  <c:v>4.3478260869565202E-2</c:v>
                </c:pt>
                <c:pt idx="11">
                  <c:v>5.2631578947368397E-2</c:v>
                </c:pt>
                <c:pt idx="12">
                  <c:v>5.2631578947368397E-2</c:v>
                </c:pt>
                <c:pt idx="13">
                  <c:v>5.3763440860214999E-2</c:v>
                </c:pt>
                <c:pt idx="14">
                  <c:v>6.25E-2</c:v>
                </c:pt>
                <c:pt idx="15">
                  <c:v>6.3492063492063502E-2</c:v>
                </c:pt>
                <c:pt idx="16">
                  <c:v>7.0175438596491196E-2</c:v>
                </c:pt>
                <c:pt idx="17">
                  <c:v>7.0422535211267595E-2</c:v>
                </c:pt>
                <c:pt idx="18">
                  <c:v>7.1428571428571397E-2</c:v>
                </c:pt>
                <c:pt idx="19">
                  <c:v>7.1428571428571397E-2</c:v>
                </c:pt>
                <c:pt idx="20">
                  <c:v>0.08</c:v>
                </c:pt>
                <c:pt idx="21">
                  <c:v>8.3333333333333301E-2</c:v>
                </c:pt>
                <c:pt idx="22">
                  <c:v>8.4745762711864403E-2</c:v>
                </c:pt>
                <c:pt idx="23">
                  <c:v>8.5106382978723402E-2</c:v>
                </c:pt>
                <c:pt idx="24">
                  <c:v>8.5714285714285701E-2</c:v>
                </c:pt>
                <c:pt idx="25">
                  <c:v>8.6956521739130405E-2</c:v>
                </c:pt>
                <c:pt idx="26">
                  <c:v>8.8235294117646995E-2</c:v>
                </c:pt>
                <c:pt idx="27">
                  <c:v>9.0909090909090898E-2</c:v>
                </c:pt>
                <c:pt idx="28">
                  <c:v>9.375E-2</c:v>
                </c:pt>
                <c:pt idx="29">
                  <c:v>9.5238095238095205E-2</c:v>
                </c:pt>
                <c:pt idx="30">
                  <c:v>9.7222222222222196E-2</c:v>
                </c:pt>
                <c:pt idx="31">
                  <c:v>0.101449275362319</c:v>
                </c:pt>
                <c:pt idx="32">
                  <c:v>0.102564102564103</c:v>
                </c:pt>
                <c:pt idx="33">
                  <c:v>0.10280373831775701</c:v>
                </c:pt>
                <c:pt idx="34">
                  <c:v>0.105263157894737</c:v>
                </c:pt>
                <c:pt idx="35">
                  <c:v>0.105263157894737</c:v>
                </c:pt>
                <c:pt idx="36">
                  <c:v>0.11009174311926601</c:v>
                </c:pt>
                <c:pt idx="37">
                  <c:v>0.11111111111111099</c:v>
                </c:pt>
                <c:pt idx="38">
                  <c:v>0.114285714285714</c:v>
                </c:pt>
                <c:pt idx="39">
                  <c:v>0.116279069767442</c:v>
                </c:pt>
                <c:pt idx="40">
                  <c:v>0.116666666666667</c:v>
                </c:pt>
                <c:pt idx="41">
                  <c:v>0.119047619047619</c:v>
                </c:pt>
                <c:pt idx="42">
                  <c:v>0.12121212121212099</c:v>
                </c:pt>
                <c:pt idx="43">
                  <c:v>0.12195121951219499</c:v>
                </c:pt>
                <c:pt idx="44">
                  <c:v>0.125</c:v>
                </c:pt>
                <c:pt idx="45">
                  <c:v>0.126984126984127</c:v>
                </c:pt>
                <c:pt idx="46">
                  <c:v>0.130769230769231</c:v>
                </c:pt>
                <c:pt idx="47">
                  <c:v>0.133333333333333</c:v>
                </c:pt>
                <c:pt idx="48">
                  <c:v>0.133333333333333</c:v>
                </c:pt>
                <c:pt idx="49">
                  <c:v>0.134615384615385</c:v>
                </c:pt>
                <c:pt idx="50">
                  <c:v>0.13709677419354799</c:v>
                </c:pt>
                <c:pt idx="51">
                  <c:v>0.140350877192982</c:v>
                </c:pt>
                <c:pt idx="52">
                  <c:v>0.140350877192982</c:v>
                </c:pt>
                <c:pt idx="53">
                  <c:v>0.140845070422535</c:v>
                </c:pt>
                <c:pt idx="54">
                  <c:v>0.14285714285714299</c:v>
                </c:pt>
                <c:pt idx="55">
                  <c:v>0.14285714285714299</c:v>
                </c:pt>
                <c:pt idx="56">
                  <c:v>0.14285714285714299</c:v>
                </c:pt>
                <c:pt idx="57">
                  <c:v>0.14285714285714299</c:v>
                </c:pt>
                <c:pt idx="58">
                  <c:v>0.145454545454545</c:v>
                </c:pt>
                <c:pt idx="59">
                  <c:v>0.148148148148148</c:v>
                </c:pt>
                <c:pt idx="60">
                  <c:v>0.15</c:v>
                </c:pt>
                <c:pt idx="61">
                  <c:v>0.15094339622641501</c:v>
                </c:pt>
                <c:pt idx="62">
                  <c:v>0.151111111111111</c:v>
                </c:pt>
                <c:pt idx="63">
                  <c:v>0.155555555555556</c:v>
                </c:pt>
                <c:pt idx="64">
                  <c:v>0.157894736842105</c:v>
                </c:pt>
                <c:pt idx="65">
                  <c:v>0.157894736842105</c:v>
                </c:pt>
                <c:pt idx="66">
                  <c:v>0.16129032258064499</c:v>
                </c:pt>
                <c:pt idx="67">
                  <c:v>0.16346153846153799</c:v>
                </c:pt>
                <c:pt idx="68">
                  <c:v>0.16666666666666699</c:v>
                </c:pt>
                <c:pt idx="69">
                  <c:v>0.16666666666666699</c:v>
                </c:pt>
                <c:pt idx="70">
                  <c:v>0.16666666666666699</c:v>
                </c:pt>
                <c:pt idx="71">
                  <c:v>0.16666666666666699</c:v>
                </c:pt>
                <c:pt idx="72">
                  <c:v>0.16875000000000001</c:v>
                </c:pt>
                <c:pt idx="73">
                  <c:v>0.170212765957447</c:v>
                </c:pt>
                <c:pt idx="74">
                  <c:v>0.171875</c:v>
                </c:pt>
                <c:pt idx="75">
                  <c:v>0.173913043478261</c:v>
                </c:pt>
                <c:pt idx="76">
                  <c:v>0.173913043478261</c:v>
                </c:pt>
                <c:pt idx="77">
                  <c:v>0.17431192660550501</c:v>
                </c:pt>
                <c:pt idx="78">
                  <c:v>0.17948717948717899</c:v>
                </c:pt>
                <c:pt idx="79">
                  <c:v>0.18181818181818199</c:v>
                </c:pt>
                <c:pt idx="80">
                  <c:v>0.18518518518518501</c:v>
                </c:pt>
                <c:pt idx="81">
                  <c:v>0.1875</c:v>
                </c:pt>
                <c:pt idx="82">
                  <c:v>0.18954248366013099</c:v>
                </c:pt>
                <c:pt idx="83">
                  <c:v>0.18994413407821201</c:v>
                </c:pt>
                <c:pt idx="84">
                  <c:v>0.19148936170212799</c:v>
                </c:pt>
                <c:pt idx="85">
                  <c:v>0.19191919191919199</c:v>
                </c:pt>
                <c:pt idx="86">
                  <c:v>0.19387755102040799</c:v>
                </c:pt>
                <c:pt idx="87">
                  <c:v>0.19565217391304299</c:v>
                </c:pt>
                <c:pt idx="88">
                  <c:v>0.19696969696969699</c:v>
                </c:pt>
                <c:pt idx="89">
                  <c:v>0.19902912621359201</c:v>
                </c:pt>
                <c:pt idx="90">
                  <c:v>0.2</c:v>
                </c:pt>
                <c:pt idx="91">
                  <c:v>0.2</c:v>
                </c:pt>
                <c:pt idx="92">
                  <c:v>0.20119521912350599</c:v>
                </c:pt>
                <c:pt idx="93">
                  <c:v>0.20754716981132099</c:v>
                </c:pt>
                <c:pt idx="94">
                  <c:v>0.209677419354839</c:v>
                </c:pt>
                <c:pt idx="95">
                  <c:v>0.209876543209877</c:v>
                </c:pt>
                <c:pt idx="96">
                  <c:v>0.21118012422360199</c:v>
                </c:pt>
                <c:pt idx="97">
                  <c:v>0.21212121212121199</c:v>
                </c:pt>
                <c:pt idx="98">
                  <c:v>0.21241830065359499</c:v>
                </c:pt>
                <c:pt idx="99">
                  <c:v>0.213355048859935</c:v>
                </c:pt>
                <c:pt idx="100">
                  <c:v>0.215789473684211</c:v>
                </c:pt>
                <c:pt idx="101">
                  <c:v>0.21666666666666701</c:v>
                </c:pt>
                <c:pt idx="102">
                  <c:v>0.21875</c:v>
                </c:pt>
                <c:pt idx="103">
                  <c:v>0.21875</c:v>
                </c:pt>
                <c:pt idx="104">
                  <c:v>0.219512195121951</c:v>
                </c:pt>
                <c:pt idx="105">
                  <c:v>0.221428571428571</c:v>
                </c:pt>
                <c:pt idx="106">
                  <c:v>0.22222222222222199</c:v>
                </c:pt>
                <c:pt idx="107">
                  <c:v>0.22222222222222199</c:v>
                </c:pt>
                <c:pt idx="108">
                  <c:v>0.22222222222222199</c:v>
                </c:pt>
                <c:pt idx="109">
                  <c:v>0.22448979591836701</c:v>
                </c:pt>
                <c:pt idx="110">
                  <c:v>0.226190476190476</c:v>
                </c:pt>
                <c:pt idx="111">
                  <c:v>0.22641509433962301</c:v>
                </c:pt>
                <c:pt idx="112">
                  <c:v>0.230769230769231</c:v>
                </c:pt>
                <c:pt idx="113">
                  <c:v>0.230769230769231</c:v>
                </c:pt>
                <c:pt idx="114">
                  <c:v>0.230769230769231</c:v>
                </c:pt>
                <c:pt idx="115">
                  <c:v>0.23297491039426499</c:v>
                </c:pt>
                <c:pt idx="116">
                  <c:v>0.234375</c:v>
                </c:pt>
                <c:pt idx="117">
                  <c:v>0.238095238095238</c:v>
                </c:pt>
                <c:pt idx="118">
                  <c:v>0.23943661971831001</c:v>
                </c:pt>
                <c:pt idx="119">
                  <c:v>0.240816326530612</c:v>
                </c:pt>
                <c:pt idx="120">
                  <c:v>0.24137931034482801</c:v>
                </c:pt>
                <c:pt idx="121">
                  <c:v>0.24324324324324301</c:v>
                </c:pt>
                <c:pt idx="122">
                  <c:v>0.24633431085044</c:v>
                </c:pt>
                <c:pt idx="123">
                  <c:v>0.25</c:v>
                </c:pt>
                <c:pt idx="124">
                  <c:v>0.25</c:v>
                </c:pt>
                <c:pt idx="125">
                  <c:v>0.25</c:v>
                </c:pt>
                <c:pt idx="126">
                  <c:v>0.25230769230769201</c:v>
                </c:pt>
                <c:pt idx="127">
                  <c:v>0.25555555555555598</c:v>
                </c:pt>
                <c:pt idx="128">
                  <c:v>0.25560538116591902</c:v>
                </c:pt>
                <c:pt idx="129">
                  <c:v>0.256329113924051</c:v>
                </c:pt>
                <c:pt idx="130">
                  <c:v>0.258278145695364</c:v>
                </c:pt>
                <c:pt idx="131">
                  <c:v>0.26500000000000001</c:v>
                </c:pt>
                <c:pt idx="132">
                  <c:v>0.26530612244898</c:v>
                </c:pt>
                <c:pt idx="133">
                  <c:v>0.266666666666667</c:v>
                </c:pt>
                <c:pt idx="134">
                  <c:v>0.266666666666667</c:v>
                </c:pt>
                <c:pt idx="135">
                  <c:v>0.26760563380281699</c:v>
                </c:pt>
                <c:pt idx="136">
                  <c:v>0.270531400966184</c:v>
                </c:pt>
                <c:pt idx="137">
                  <c:v>0.27173913043478298</c:v>
                </c:pt>
                <c:pt idx="138">
                  <c:v>0.27272727272727298</c:v>
                </c:pt>
                <c:pt idx="139">
                  <c:v>0.27272727272727298</c:v>
                </c:pt>
                <c:pt idx="140">
                  <c:v>0.27551020408163301</c:v>
                </c:pt>
                <c:pt idx="141">
                  <c:v>0.27777777777777801</c:v>
                </c:pt>
                <c:pt idx="142">
                  <c:v>0.27835051546391798</c:v>
                </c:pt>
                <c:pt idx="143">
                  <c:v>0.27966101694915202</c:v>
                </c:pt>
                <c:pt idx="144">
                  <c:v>0.27967479674796702</c:v>
                </c:pt>
                <c:pt idx="145">
                  <c:v>0.28125</c:v>
                </c:pt>
                <c:pt idx="146">
                  <c:v>0.282608695652174</c:v>
                </c:pt>
                <c:pt idx="147">
                  <c:v>0.28571428571428598</c:v>
                </c:pt>
                <c:pt idx="148">
                  <c:v>0.28596802841918301</c:v>
                </c:pt>
                <c:pt idx="149">
                  <c:v>0.28985507246376802</c:v>
                </c:pt>
                <c:pt idx="150">
                  <c:v>0.29012345679012302</c:v>
                </c:pt>
                <c:pt idx="151">
                  <c:v>0.29017857142857101</c:v>
                </c:pt>
                <c:pt idx="152">
                  <c:v>0.29079497907949797</c:v>
                </c:pt>
                <c:pt idx="153">
                  <c:v>0.29096989966555198</c:v>
                </c:pt>
                <c:pt idx="154">
                  <c:v>0.29118773946360199</c:v>
                </c:pt>
                <c:pt idx="155">
                  <c:v>0.29292929292929298</c:v>
                </c:pt>
                <c:pt idx="156">
                  <c:v>0.29411764705882398</c:v>
                </c:pt>
                <c:pt idx="157">
                  <c:v>0.29411764705882398</c:v>
                </c:pt>
                <c:pt idx="158">
                  <c:v>0.29591836734693899</c:v>
                </c:pt>
                <c:pt idx="159">
                  <c:v>0.296296296296296</c:v>
                </c:pt>
                <c:pt idx="160">
                  <c:v>0.29702970297029702</c:v>
                </c:pt>
                <c:pt idx="161">
                  <c:v>0.29710144927536197</c:v>
                </c:pt>
                <c:pt idx="162">
                  <c:v>0.29716981132075498</c:v>
                </c:pt>
                <c:pt idx="163">
                  <c:v>0.29931972789115602</c:v>
                </c:pt>
                <c:pt idx="164">
                  <c:v>0.29961089494163401</c:v>
                </c:pt>
                <c:pt idx="165">
                  <c:v>0.3</c:v>
                </c:pt>
                <c:pt idx="166">
                  <c:v>0.300492610837438</c:v>
                </c:pt>
                <c:pt idx="167">
                  <c:v>0.30107526881720398</c:v>
                </c:pt>
                <c:pt idx="168">
                  <c:v>0.30172413793103398</c:v>
                </c:pt>
                <c:pt idx="169">
                  <c:v>0.30303030303030298</c:v>
                </c:pt>
                <c:pt idx="170">
                  <c:v>0.30303030303030298</c:v>
                </c:pt>
                <c:pt idx="171">
                  <c:v>0.30379746835443</c:v>
                </c:pt>
                <c:pt idx="172">
                  <c:v>0.30434782608695599</c:v>
                </c:pt>
                <c:pt idx="173">
                  <c:v>0.30555555555555602</c:v>
                </c:pt>
                <c:pt idx="174">
                  <c:v>0.30612244897959201</c:v>
                </c:pt>
                <c:pt idx="175">
                  <c:v>0.30678466076696198</c:v>
                </c:pt>
                <c:pt idx="176">
                  <c:v>0.30681818181818199</c:v>
                </c:pt>
                <c:pt idx="177">
                  <c:v>0.30769230769230799</c:v>
                </c:pt>
                <c:pt idx="178">
                  <c:v>0.30769230769230799</c:v>
                </c:pt>
                <c:pt idx="179">
                  <c:v>0.30769230769230799</c:v>
                </c:pt>
                <c:pt idx="180">
                  <c:v>0.30833333333333302</c:v>
                </c:pt>
                <c:pt idx="181">
                  <c:v>0.30888888888888899</c:v>
                </c:pt>
                <c:pt idx="182">
                  <c:v>0.31</c:v>
                </c:pt>
                <c:pt idx="183">
                  <c:v>0.31</c:v>
                </c:pt>
                <c:pt idx="184">
                  <c:v>0.31081081081081102</c:v>
                </c:pt>
                <c:pt idx="185">
                  <c:v>0.31111111111111101</c:v>
                </c:pt>
                <c:pt idx="186">
                  <c:v>0.3125</c:v>
                </c:pt>
                <c:pt idx="187">
                  <c:v>0.3125</c:v>
                </c:pt>
                <c:pt idx="188">
                  <c:v>0.3125</c:v>
                </c:pt>
                <c:pt idx="189">
                  <c:v>0.31395348837209303</c:v>
                </c:pt>
                <c:pt idx="190">
                  <c:v>0.31413612565444998</c:v>
                </c:pt>
                <c:pt idx="191">
                  <c:v>0.31543624161073802</c:v>
                </c:pt>
                <c:pt idx="192">
                  <c:v>0.31543624161073802</c:v>
                </c:pt>
                <c:pt idx="193">
                  <c:v>0.31578947368421001</c:v>
                </c:pt>
                <c:pt idx="194">
                  <c:v>0.31578947368421001</c:v>
                </c:pt>
                <c:pt idx="195">
                  <c:v>0.316</c:v>
                </c:pt>
                <c:pt idx="196">
                  <c:v>0.31818181818181801</c:v>
                </c:pt>
                <c:pt idx="197">
                  <c:v>0.31901840490797501</c:v>
                </c:pt>
                <c:pt idx="198">
                  <c:v>0.32</c:v>
                </c:pt>
                <c:pt idx="199">
                  <c:v>0.32352941176470601</c:v>
                </c:pt>
                <c:pt idx="200">
                  <c:v>0.323943661971831</c:v>
                </c:pt>
                <c:pt idx="201">
                  <c:v>0.32407407407407401</c:v>
                </c:pt>
                <c:pt idx="202">
                  <c:v>0.32432432432432401</c:v>
                </c:pt>
                <c:pt idx="203">
                  <c:v>0.32452830188679199</c:v>
                </c:pt>
                <c:pt idx="204">
                  <c:v>0.32500000000000001</c:v>
                </c:pt>
                <c:pt idx="205">
                  <c:v>0.32544378698224802</c:v>
                </c:pt>
                <c:pt idx="206">
                  <c:v>0.32661290322580599</c:v>
                </c:pt>
                <c:pt idx="207">
                  <c:v>0.32699619771863098</c:v>
                </c:pt>
                <c:pt idx="208">
                  <c:v>0.32804232804232802</c:v>
                </c:pt>
                <c:pt idx="209">
                  <c:v>0.32894736842105299</c:v>
                </c:pt>
                <c:pt idx="210">
                  <c:v>0.329479768786127</c:v>
                </c:pt>
                <c:pt idx="211">
                  <c:v>0.32989690721649501</c:v>
                </c:pt>
                <c:pt idx="212">
                  <c:v>0.33333333333333298</c:v>
                </c:pt>
                <c:pt idx="213">
                  <c:v>0.33333333333333298</c:v>
                </c:pt>
                <c:pt idx="214">
                  <c:v>0.33333333333333298</c:v>
                </c:pt>
                <c:pt idx="215">
                  <c:v>0.33333333333333298</c:v>
                </c:pt>
                <c:pt idx="216">
                  <c:v>0.33428571428571402</c:v>
                </c:pt>
                <c:pt idx="217">
                  <c:v>0.33479212253829299</c:v>
                </c:pt>
                <c:pt idx="218">
                  <c:v>0.33505917159763299</c:v>
                </c:pt>
                <c:pt idx="219">
                  <c:v>0.337579617834395</c:v>
                </c:pt>
                <c:pt idx="220">
                  <c:v>0.337837837837838</c:v>
                </c:pt>
                <c:pt idx="221">
                  <c:v>0.33846153846153798</c:v>
                </c:pt>
                <c:pt idx="222">
                  <c:v>0.338983050847458</c:v>
                </c:pt>
                <c:pt idx="223">
                  <c:v>0.33918770581778301</c:v>
                </c:pt>
                <c:pt idx="224">
                  <c:v>0.339622641509434</c:v>
                </c:pt>
                <c:pt idx="225">
                  <c:v>0.34014598540146002</c:v>
                </c:pt>
                <c:pt idx="226">
                  <c:v>0.34020618556700999</c:v>
                </c:pt>
                <c:pt idx="227">
                  <c:v>0.340425531914894</c:v>
                </c:pt>
                <c:pt idx="228">
                  <c:v>0.34210526315789502</c:v>
                </c:pt>
                <c:pt idx="229">
                  <c:v>0.34246575342465702</c:v>
                </c:pt>
                <c:pt idx="230">
                  <c:v>0.34375</c:v>
                </c:pt>
                <c:pt idx="231">
                  <c:v>0.34482758620689702</c:v>
                </c:pt>
                <c:pt idx="232">
                  <c:v>0.34482758620689702</c:v>
                </c:pt>
                <c:pt idx="233">
                  <c:v>0.34579439252336402</c:v>
                </c:pt>
                <c:pt idx="234">
                  <c:v>0.34588235294117597</c:v>
                </c:pt>
                <c:pt idx="235">
                  <c:v>0.34659090909090901</c:v>
                </c:pt>
                <c:pt idx="236">
                  <c:v>0.34782608695652201</c:v>
                </c:pt>
                <c:pt idx="237">
                  <c:v>0.348314606741573</c:v>
                </c:pt>
                <c:pt idx="238">
                  <c:v>0.35</c:v>
                </c:pt>
                <c:pt idx="239">
                  <c:v>0.35174418604651198</c:v>
                </c:pt>
                <c:pt idx="240">
                  <c:v>0.352112676056338</c:v>
                </c:pt>
                <c:pt idx="241">
                  <c:v>0.35294117647058798</c:v>
                </c:pt>
                <c:pt idx="242">
                  <c:v>0.35329341317365298</c:v>
                </c:pt>
                <c:pt idx="243">
                  <c:v>0.35338345864661602</c:v>
                </c:pt>
                <c:pt idx="244">
                  <c:v>0.35353535353535298</c:v>
                </c:pt>
                <c:pt idx="245">
                  <c:v>0.353658536585366</c:v>
                </c:pt>
                <c:pt idx="246">
                  <c:v>0.35384615384615398</c:v>
                </c:pt>
                <c:pt idx="247">
                  <c:v>0.35398230088495602</c:v>
                </c:pt>
                <c:pt idx="248">
                  <c:v>0.35537190082644599</c:v>
                </c:pt>
                <c:pt idx="249">
                  <c:v>0.35632183908046</c:v>
                </c:pt>
                <c:pt idx="250">
                  <c:v>0.35648754914809999</c:v>
                </c:pt>
                <c:pt idx="251">
                  <c:v>0.35682819383259901</c:v>
                </c:pt>
                <c:pt idx="252">
                  <c:v>0.35714285714285698</c:v>
                </c:pt>
                <c:pt idx="253">
                  <c:v>0.359375</c:v>
                </c:pt>
                <c:pt idx="254">
                  <c:v>0.35947712418300598</c:v>
                </c:pt>
                <c:pt idx="255">
                  <c:v>0.36</c:v>
                </c:pt>
                <c:pt idx="256">
                  <c:v>0.36</c:v>
                </c:pt>
                <c:pt idx="257">
                  <c:v>0.36073059360730603</c:v>
                </c:pt>
                <c:pt idx="258">
                  <c:v>0.36158192090395502</c:v>
                </c:pt>
                <c:pt idx="259">
                  <c:v>0.36216839677047302</c:v>
                </c:pt>
                <c:pt idx="260">
                  <c:v>0.36231884057970998</c:v>
                </c:pt>
                <c:pt idx="261">
                  <c:v>0.36312849162011201</c:v>
                </c:pt>
                <c:pt idx="262">
                  <c:v>0.36338418862690702</c:v>
                </c:pt>
                <c:pt idx="263">
                  <c:v>0.36458333333333298</c:v>
                </c:pt>
                <c:pt idx="264">
                  <c:v>0.36585365853658502</c:v>
                </c:pt>
                <c:pt idx="265">
                  <c:v>0.36589698046181202</c:v>
                </c:pt>
                <c:pt idx="266">
                  <c:v>0.36627547869054999</c:v>
                </c:pt>
                <c:pt idx="267">
                  <c:v>0.366834170854271</c:v>
                </c:pt>
                <c:pt idx="268">
                  <c:v>0.36702127659574502</c:v>
                </c:pt>
                <c:pt idx="269">
                  <c:v>0.36734693877551</c:v>
                </c:pt>
                <c:pt idx="270">
                  <c:v>0.36792452830188699</c:v>
                </c:pt>
                <c:pt idx="271">
                  <c:v>0.36822429906541998</c:v>
                </c:pt>
                <c:pt idx="272">
                  <c:v>0.36842105263157898</c:v>
                </c:pt>
                <c:pt idx="273">
                  <c:v>0.36842105263157898</c:v>
                </c:pt>
                <c:pt idx="274">
                  <c:v>0.36875000000000002</c:v>
                </c:pt>
                <c:pt idx="275">
                  <c:v>0.36956521739130399</c:v>
                </c:pt>
                <c:pt idx="276">
                  <c:v>0.37037037037037002</c:v>
                </c:pt>
                <c:pt idx="277">
                  <c:v>0.37060478199718699</c:v>
                </c:pt>
                <c:pt idx="278">
                  <c:v>0.371428571428571</c:v>
                </c:pt>
                <c:pt idx="279">
                  <c:v>0.371428571428571</c:v>
                </c:pt>
                <c:pt idx="280">
                  <c:v>0.371428571428571</c:v>
                </c:pt>
                <c:pt idx="281">
                  <c:v>0.37190082644628097</c:v>
                </c:pt>
                <c:pt idx="282">
                  <c:v>0.372093023255814</c:v>
                </c:pt>
                <c:pt idx="283">
                  <c:v>0.37234042553191499</c:v>
                </c:pt>
                <c:pt idx="284">
                  <c:v>0.37254901960784298</c:v>
                </c:pt>
                <c:pt idx="285">
                  <c:v>0.37272727272727302</c:v>
                </c:pt>
                <c:pt idx="286">
                  <c:v>0.37288135593220301</c:v>
                </c:pt>
                <c:pt idx="287">
                  <c:v>0.37292817679557999</c:v>
                </c:pt>
                <c:pt idx="288">
                  <c:v>0.37468354430379702</c:v>
                </c:pt>
                <c:pt idx="289">
                  <c:v>0.375</c:v>
                </c:pt>
                <c:pt idx="290">
                  <c:v>0.375</c:v>
                </c:pt>
                <c:pt idx="291">
                  <c:v>0.375</c:v>
                </c:pt>
                <c:pt idx="292">
                  <c:v>0.37588652482269502</c:v>
                </c:pt>
                <c:pt idx="293">
                  <c:v>0.37634408602150499</c:v>
                </c:pt>
                <c:pt idx="294">
                  <c:v>0.37792207792207799</c:v>
                </c:pt>
                <c:pt idx="295">
                  <c:v>0.37881219903691798</c:v>
                </c:pt>
                <c:pt idx="296">
                  <c:v>0.37894736842105298</c:v>
                </c:pt>
                <c:pt idx="297">
                  <c:v>0.38022988505747102</c:v>
                </c:pt>
                <c:pt idx="298">
                  <c:v>0.38069498069498098</c:v>
                </c:pt>
                <c:pt idx="299">
                  <c:v>0.38080495356037097</c:v>
                </c:pt>
                <c:pt idx="300">
                  <c:v>0.38095238095238099</c:v>
                </c:pt>
                <c:pt idx="301">
                  <c:v>0.38095238095238099</c:v>
                </c:pt>
                <c:pt idx="302">
                  <c:v>0.38106235565819901</c:v>
                </c:pt>
                <c:pt idx="303">
                  <c:v>0.38129496402877699</c:v>
                </c:pt>
                <c:pt idx="304">
                  <c:v>0.38235294117647101</c:v>
                </c:pt>
                <c:pt idx="305">
                  <c:v>0.38235294117647101</c:v>
                </c:pt>
                <c:pt idx="306">
                  <c:v>0.38235294117647101</c:v>
                </c:pt>
                <c:pt idx="307">
                  <c:v>0.38235294117647101</c:v>
                </c:pt>
                <c:pt idx="308">
                  <c:v>0.38255033557047002</c:v>
                </c:pt>
                <c:pt idx="309">
                  <c:v>0.38308977035490599</c:v>
                </c:pt>
                <c:pt idx="310">
                  <c:v>0.38317757009345799</c:v>
                </c:pt>
                <c:pt idx="311">
                  <c:v>0.383647798742138</c:v>
                </c:pt>
                <c:pt idx="312">
                  <c:v>0.38372093023255799</c:v>
                </c:pt>
                <c:pt idx="313">
                  <c:v>0.383850931677019</c:v>
                </c:pt>
                <c:pt idx="314">
                  <c:v>0.38461538461538503</c:v>
                </c:pt>
                <c:pt idx="315">
                  <c:v>0.38461538461538503</c:v>
                </c:pt>
                <c:pt idx="316">
                  <c:v>0.38557993730407503</c:v>
                </c:pt>
                <c:pt idx="317">
                  <c:v>0.38679245283018898</c:v>
                </c:pt>
                <c:pt idx="318">
                  <c:v>0.38738738738738698</c:v>
                </c:pt>
                <c:pt idx="319">
                  <c:v>0.38793103448275901</c:v>
                </c:pt>
                <c:pt idx="320">
                  <c:v>0.38826185101580102</c:v>
                </c:pt>
                <c:pt idx="321">
                  <c:v>0.38875305623471901</c:v>
                </c:pt>
                <c:pt idx="322">
                  <c:v>0.38888888888888901</c:v>
                </c:pt>
                <c:pt idx="323">
                  <c:v>0.38928939237899102</c:v>
                </c:pt>
                <c:pt idx="324">
                  <c:v>0.38983050847457601</c:v>
                </c:pt>
                <c:pt idx="325">
                  <c:v>0.39130434782608697</c:v>
                </c:pt>
                <c:pt idx="326">
                  <c:v>0.39215686274509798</c:v>
                </c:pt>
                <c:pt idx="327">
                  <c:v>0.392202729044834</c:v>
                </c:pt>
                <c:pt idx="328">
                  <c:v>0.39263803680981602</c:v>
                </c:pt>
                <c:pt idx="329">
                  <c:v>0.39277899343544898</c:v>
                </c:pt>
                <c:pt idx="330">
                  <c:v>0.39285714285714302</c:v>
                </c:pt>
                <c:pt idx="331">
                  <c:v>0.39285714285714302</c:v>
                </c:pt>
                <c:pt idx="332">
                  <c:v>0.393630573248408</c:v>
                </c:pt>
                <c:pt idx="333">
                  <c:v>0.39405204460966498</c:v>
                </c:pt>
                <c:pt idx="334">
                  <c:v>0.39428571428571402</c:v>
                </c:pt>
                <c:pt idx="335">
                  <c:v>0.39520958083832303</c:v>
                </c:pt>
                <c:pt idx="336">
                  <c:v>0.39583333333333298</c:v>
                </c:pt>
                <c:pt idx="337">
                  <c:v>0.39601494396014902</c:v>
                </c:pt>
                <c:pt idx="338">
                  <c:v>0.39649122807017501</c:v>
                </c:pt>
                <c:pt idx="339">
                  <c:v>0.39672131147541001</c:v>
                </c:pt>
                <c:pt idx="340">
                  <c:v>0.39692307692307699</c:v>
                </c:pt>
                <c:pt idx="341">
                  <c:v>0.39756944444444398</c:v>
                </c:pt>
                <c:pt idx="342">
                  <c:v>0.39814814814814797</c:v>
                </c:pt>
                <c:pt idx="343">
                  <c:v>0.39814814814814797</c:v>
                </c:pt>
                <c:pt idx="344">
                  <c:v>0.39830508474576298</c:v>
                </c:pt>
                <c:pt idx="345">
                  <c:v>0.398960363872644</c:v>
                </c:pt>
                <c:pt idx="346">
                  <c:v>0.4</c:v>
                </c:pt>
                <c:pt idx="347">
                  <c:v>0.4</c:v>
                </c:pt>
                <c:pt idx="348">
                  <c:v>0.4</c:v>
                </c:pt>
                <c:pt idx="349">
                  <c:v>0.40037950664136601</c:v>
                </c:pt>
                <c:pt idx="350">
                  <c:v>0.400709219858156</c:v>
                </c:pt>
                <c:pt idx="351">
                  <c:v>0.401709401709402</c:v>
                </c:pt>
                <c:pt idx="352">
                  <c:v>0.40243902439024398</c:v>
                </c:pt>
                <c:pt idx="353">
                  <c:v>0.40259740259740301</c:v>
                </c:pt>
                <c:pt idx="354">
                  <c:v>0.40277777777777801</c:v>
                </c:pt>
                <c:pt idx="355">
                  <c:v>0.40277777777777801</c:v>
                </c:pt>
                <c:pt idx="356">
                  <c:v>0.403294367693943</c:v>
                </c:pt>
                <c:pt idx="357">
                  <c:v>0.40404040404040398</c:v>
                </c:pt>
                <c:pt idx="358">
                  <c:v>0.40418118466899</c:v>
                </c:pt>
                <c:pt idx="359">
                  <c:v>0.40425531914893598</c:v>
                </c:pt>
                <c:pt idx="360">
                  <c:v>0.40517241379310298</c:v>
                </c:pt>
                <c:pt idx="361">
                  <c:v>0.40554480980012902</c:v>
                </c:pt>
                <c:pt idx="362">
                  <c:v>0.40598802395209599</c:v>
                </c:pt>
                <c:pt idx="363">
                  <c:v>0.40606060606060601</c:v>
                </c:pt>
                <c:pt idx="364">
                  <c:v>0.40616966580976899</c:v>
                </c:pt>
                <c:pt idx="365">
                  <c:v>0.40625</c:v>
                </c:pt>
                <c:pt idx="366">
                  <c:v>0.40673575129533701</c:v>
                </c:pt>
                <c:pt idx="367">
                  <c:v>0.40697674418604601</c:v>
                </c:pt>
                <c:pt idx="368">
                  <c:v>0.40723270440251602</c:v>
                </c:pt>
                <c:pt idx="369">
                  <c:v>0.407407407407407</c:v>
                </c:pt>
                <c:pt idx="370">
                  <c:v>0.407407407407407</c:v>
                </c:pt>
                <c:pt idx="371">
                  <c:v>0.40909090909090901</c:v>
                </c:pt>
                <c:pt idx="372">
                  <c:v>0.40976331360946699</c:v>
                </c:pt>
                <c:pt idx="373">
                  <c:v>0.40978348035284701</c:v>
                </c:pt>
                <c:pt idx="374">
                  <c:v>0.41001353179972899</c:v>
                </c:pt>
                <c:pt idx="375">
                  <c:v>0.41076696165191701</c:v>
                </c:pt>
                <c:pt idx="376">
                  <c:v>0.41130604288499001</c:v>
                </c:pt>
                <c:pt idx="377">
                  <c:v>0.41176470588235298</c:v>
                </c:pt>
                <c:pt idx="378">
                  <c:v>0.41176470588235298</c:v>
                </c:pt>
                <c:pt idx="379">
                  <c:v>0.41184767277856099</c:v>
                </c:pt>
                <c:pt idx="380">
                  <c:v>0.41339770669885301</c:v>
                </c:pt>
                <c:pt idx="381">
                  <c:v>0.41379310344827602</c:v>
                </c:pt>
                <c:pt idx="382">
                  <c:v>0.41405269761606001</c:v>
                </c:pt>
                <c:pt idx="383">
                  <c:v>0.41414141414141398</c:v>
                </c:pt>
                <c:pt idx="384">
                  <c:v>0.414201183431953</c:v>
                </c:pt>
                <c:pt idx="385">
                  <c:v>0.414355628058728</c:v>
                </c:pt>
                <c:pt idx="386">
                  <c:v>0.41441441441441401</c:v>
                </c:pt>
                <c:pt idx="387">
                  <c:v>0.41545189504373198</c:v>
                </c:pt>
                <c:pt idx="388">
                  <c:v>0.41666666666666702</c:v>
                </c:pt>
                <c:pt idx="389">
                  <c:v>0.41687979539641901</c:v>
                </c:pt>
                <c:pt idx="390">
                  <c:v>0.41692307692307701</c:v>
                </c:pt>
                <c:pt idx="391">
                  <c:v>0.41725978647686801</c:v>
                </c:pt>
                <c:pt idx="392">
                  <c:v>0.41734417344173402</c:v>
                </c:pt>
                <c:pt idx="393">
                  <c:v>0.41791044776119401</c:v>
                </c:pt>
                <c:pt idx="394">
                  <c:v>0.41843971631205701</c:v>
                </c:pt>
                <c:pt idx="395">
                  <c:v>0.418604651162791</c:v>
                </c:pt>
                <c:pt idx="396">
                  <c:v>0.418604651162791</c:v>
                </c:pt>
                <c:pt idx="397">
                  <c:v>0.419047619047619</c:v>
                </c:pt>
                <c:pt idx="398">
                  <c:v>0.42032967032967</c:v>
                </c:pt>
                <c:pt idx="399">
                  <c:v>0.42105263157894701</c:v>
                </c:pt>
                <c:pt idx="400">
                  <c:v>0.42105263157894701</c:v>
                </c:pt>
                <c:pt idx="401">
                  <c:v>0.42105263157894701</c:v>
                </c:pt>
                <c:pt idx="402">
                  <c:v>0.42158859470468402</c:v>
                </c:pt>
                <c:pt idx="403">
                  <c:v>0.422077922077922</c:v>
                </c:pt>
                <c:pt idx="404">
                  <c:v>0.42292490118577097</c:v>
                </c:pt>
                <c:pt idx="405">
                  <c:v>0.42424242424242398</c:v>
                </c:pt>
                <c:pt idx="406">
                  <c:v>0.42424242424242398</c:v>
                </c:pt>
                <c:pt idx="407">
                  <c:v>0.42477876106194701</c:v>
                </c:pt>
                <c:pt idx="408">
                  <c:v>0.425133689839572</c:v>
                </c:pt>
                <c:pt idx="409">
                  <c:v>0.425398155909472</c:v>
                </c:pt>
                <c:pt idx="410">
                  <c:v>0.425438596491228</c:v>
                </c:pt>
                <c:pt idx="411">
                  <c:v>0.42570281124498</c:v>
                </c:pt>
                <c:pt idx="412">
                  <c:v>0.42592592592592599</c:v>
                </c:pt>
                <c:pt idx="413">
                  <c:v>0.42607003891050599</c:v>
                </c:pt>
                <c:pt idx="414">
                  <c:v>0.426086956521739</c:v>
                </c:pt>
                <c:pt idx="415">
                  <c:v>0.42739726027397301</c:v>
                </c:pt>
                <c:pt idx="416">
                  <c:v>0.42755681818181801</c:v>
                </c:pt>
                <c:pt idx="417">
                  <c:v>0.42790697674418599</c:v>
                </c:pt>
                <c:pt idx="418">
                  <c:v>0.42798353909464998</c:v>
                </c:pt>
                <c:pt idx="419">
                  <c:v>0.42857142857142899</c:v>
                </c:pt>
                <c:pt idx="420">
                  <c:v>0.42857142857142899</c:v>
                </c:pt>
                <c:pt idx="421">
                  <c:v>0.42857142857142899</c:v>
                </c:pt>
                <c:pt idx="422">
                  <c:v>0.42857142857142899</c:v>
                </c:pt>
                <c:pt idx="423">
                  <c:v>0.42878560719640202</c:v>
                </c:pt>
                <c:pt idx="424">
                  <c:v>0.42913385826771699</c:v>
                </c:pt>
                <c:pt idx="425">
                  <c:v>0.429643527204503</c:v>
                </c:pt>
                <c:pt idx="426">
                  <c:v>0.43006263048016702</c:v>
                </c:pt>
                <c:pt idx="427">
                  <c:v>0.430075187969925</c:v>
                </c:pt>
                <c:pt idx="428">
                  <c:v>0.43023255813953498</c:v>
                </c:pt>
                <c:pt idx="429">
                  <c:v>0.430379746835443</c:v>
                </c:pt>
                <c:pt idx="430">
                  <c:v>0.43055555555555602</c:v>
                </c:pt>
                <c:pt idx="431">
                  <c:v>0.43062200956937802</c:v>
                </c:pt>
                <c:pt idx="432">
                  <c:v>0.43073047858942098</c:v>
                </c:pt>
                <c:pt idx="433">
                  <c:v>0.43093922651933703</c:v>
                </c:pt>
                <c:pt idx="434">
                  <c:v>0.43099273607748201</c:v>
                </c:pt>
                <c:pt idx="435">
                  <c:v>0.43130990415335502</c:v>
                </c:pt>
                <c:pt idx="436">
                  <c:v>0.432</c:v>
                </c:pt>
                <c:pt idx="437">
                  <c:v>0.43234836702954899</c:v>
                </c:pt>
                <c:pt idx="438">
                  <c:v>0.432384341637011</c:v>
                </c:pt>
                <c:pt idx="439">
                  <c:v>0.43243243243243201</c:v>
                </c:pt>
                <c:pt idx="440">
                  <c:v>0.43291995490417101</c:v>
                </c:pt>
                <c:pt idx="441">
                  <c:v>0.43308865047995498</c:v>
                </c:pt>
                <c:pt idx="442">
                  <c:v>0.43333333333333302</c:v>
                </c:pt>
                <c:pt idx="443">
                  <c:v>0.43348982785602502</c:v>
                </c:pt>
                <c:pt idx="444">
                  <c:v>0.43381294964028799</c:v>
                </c:pt>
                <c:pt idx="445">
                  <c:v>0.43396226415094302</c:v>
                </c:pt>
                <c:pt idx="446">
                  <c:v>0.43420538852010898</c:v>
                </c:pt>
                <c:pt idx="447">
                  <c:v>0.43438538205980098</c:v>
                </c:pt>
                <c:pt idx="448">
                  <c:v>0.434782608695652</c:v>
                </c:pt>
                <c:pt idx="449">
                  <c:v>0.434782608695652</c:v>
                </c:pt>
                <c:pt idx="450">
                  <c:v>0.43512974051896203</c:v>
                </c:pt>
                <c:pt idx="451">
                  <c:v>0.43516209476309198</c:v>
                </c:pt>
                <c:pt idx="452">
                  <c:v>0.435294117647059</c:v>
                </c:pt>
                <c:pt idx="453">
                  <c:v>0.43548387096774199</c:v>
                </c:pt>
                <c:pt idx="454">
                  <c:v>0.43617021276595702</c:v>
                </c:pt>
                <c:pt idx="455">
                  <c:v>0.43684210526315798</c:v>
                </c:pt>
                <c:pt idx="456">
                  <c:v>0.43686309260079798</c:v>
                </c:pt>
                <c:pt idx="457">
                  <c:v>0.4375</c:v>
                </c:pt>
                <c:pt idx="458">
                  <c:v>0.4375</c:v>
                </c:pt>
                <c:pt idx="459">
                  <c:v>0.4375</c:v>
                </c:pt>
                <c:pt idx="460">
                  <c:v>0.43774319066147899</c:v>
                </c:pt>
                <c:pt idx="461">
                  <c:v>0.43796711509716002</c:v>
                </c:pt>
                <c:pt idx="462">
                  <c:v>0.43814432989690699</c:v>
                </c:pt>
                <c:pt idx="463">
                  <c:v>0.43859649122806998</c:v>
                </c:pt>
                <c:pt idx="464">
                  <c:v>0.43870967741935502</c:v>
                </c:pt>
                <c:pt idx="465">
                  <c:v>0.43914081145584699</c:v>
                </c:pt>
                <c:pt idx="466">
                  <c:v>0.439285714285714</c:v>
                </c:pt>
                <c:pt idx="467">
                  <c:v>0.43965517241379298</c:v>
                </c:pt>
                <c:pt idx="468">
                  <c:v>0.43978102189780999</c:v>
                </c:pt>
                <c:pt idx="469">
                  <c:v>0.43991416309012898</c:v>
                </c:pt>
                <c:pt idx="470">
                  <c:v>0.43992248062015499</c:v>
                </c:pt>
                <c:pt idx="471">
                  <c:v>0.44</c:v>
                </c:pt>
                <c:pt idx="472">
                  <c:v>0.44005641748942198</c:v>
                </c:pt>
                <c:pt idx="473">
                  <c:v>0.44025157232704398</c:v>
                </c:pt>
                <c:pt idx="474">
                  <c:v>0.44066193853427899</c:v>
                </c:pt>
                <c:pt idx="475">
                  <c:v>0.44081632653061198</c:v>
                </c:pt>
                <c:pt idx="476">
                  <c:v>0.44086021505376299</c:v>
                </c:pt>
                <c:pt idx="477">
                  <c:v>0.44095940959409602</c:v>
                </c:pt>
                <c:pt idx="478">
                  <c:v>0.441176470588235</c:v>
                </c:pt>
                <c:pt idx="479">
                  <c:v>0.44162436548223299</c:v>
                </c:pt>
                <c:pt idx="480">
                  <c:v>0.442</c:v>
                </c:pt>
                <c:pt idx="481">
                  <c:v>0.44206008583690998</c:v>
                </c:pt>
                <c:pt idx="482">
                  <c:v>0.44221105527638199</c:v>
                </c:pt>
                <c:pt idx="483">
                  <c:v>0.442424242424242</c:v>
                </c:pt>
                <c:pt idx="484">
                  <c:v>0.44247787610619499</c:v>
                </c:pt>
                <c:pt idx="485">
                  <c:v>0.44262295081967201</c:v>
                </c:pt>
                <c:pt idx="486">
                  <c:v>0.44267053701016001</c:v>
                </c:pt>
                <c:pt idx="487">
                  <c:v>0.442922374429224</c:v>
                </c:pt>
                <c:pt idx="488">
                  <c:v>0.44320297951582899</c:v>
                </c:pt>
                <c:pt idx="489">
                  <c:v>0.443931398416887</c:v>
                </c:pt>
                <c:pt idx="490">
                  <c:v>0.44407894736842102</c:v>
                </c:pt>
                <c:pt idx="491">
                  <c:v>0.44408427876823298</c:v>
                </c:pt>
                <c:pt idx="492">
                  <c:v>0.44444444444444398</c:v>
                </c:pt>
                <c:pt idx="493">
                  <c:v>0.44444444444444398</c:v>
                </c:pt>
                <c:pt idx="494">
                  <c:v>0.44444444444444398</c:v>
                </c:pt>
                <c:pt idx="495">
                  <c:v>0.44452945677123201</c:v>
                </c:pt>
                <c:pt idx="496">
                  <c:v>0.44470046082949299</c:v>
                </c:pt>
                <c:pt idx="497">
                  <c:v>0.44475138121546998</c:v>
                </c:pt>
                <c:pt idx="498">
                  <c:v>0.44484629294755901</c:v>
                </c:pt>
                <c:pt idx="499">
                  <c:v>0.445578231292517</c:v>
                </c:pt>
                <c:pt idx="500">
                  <c:v>0.44614264919941798</c:v>
                </c:pt>
                <c:pt idx="501">
                  <c:v>0.44628099173553698</c:v>
                </c:pt>
                <c:pt idx="502">
                  <c:v>0.44662576687116601</c:v>
                </c:pt>
                <c:pt idx="503">
                  <c:v>0.44680851063829802</c:v>
                </c:pt>
                <c:pt idx="504">
                  <c:v>0.44680851063829802</c:v>
                </c:pt>
                <c:pt idx="505">
                  <c:v>0.44680851063829802</c:v>
                </c:pt>
                <c:pt idx="506">
                  <c:v>0.44707520891364899</c:v>
                </c:pt>
                <c:pt idx="507">
                  <c:v>0.447204968944099</c:v>
                </c:pt>
                <c:pt idx="508">
                  <c:v>0.448421052631579</c:v>
                </c:pt>
                <c:pt idx="509">
                  <c:v>0.44871794871794901</c:v>
                </c:pt>
                <c:pt idx="510">
                  <c:v>0.44897959183673503</c:v>
                </c:pt>
                <c:pt idx="511">
                  <c:v>0.44920993227991002</c:v>
                </c:pt>
                <c:pt idx="512">
                  <c:v>0.44983818770226502</c:v>
                </c:pt>
                <c:pt idx="513">
                  <c:v>0.450273224043716</c:v>
                </c:pt>
                <c:pt idx="514">
                  <c:v>0.45047923322683697</c:v>
                </c:pt>
                <c:pt idx="515">
                  <c:v>0.450606585788561</c:v>
                </c:pt>
                <c:pt idx="516">
                  <c:v>0.45087900723888302</c:v>
                </c:pt>
                <c:pt idx="517">
                  <c:v>0.45210084033613401</c:v>
                </c:pt>
                <c:pt idx="518">
                  <c:v>0.452214452214452</c:v>
                </c:pt>
                <c:pt idx="519">
                  <c:v>0.45225541886350301</c:v>
                </c:pt>
                <c:pt idx="520">
                  <c:v>0.45252225519287798</c:v>
                </c:pt>
                <c:pt idx="521">
                  <c:v>0.452631578947368</c:v>
                </c:pt>
                <c:pt idx="522">
                  <c:v>0.45412844036697197</c:v>
                </c:pt>
                <c:pt idx="523">
                  <c:v>0.45454545454545398</c:v>
                </c:pt>
                <c:pt idx="524">
                  <c:v>0.454912516823688</c:v>
                </c:pt>
                <c:pt idx="525">
                  <c:v>0.45504087193460502</c:v>
                </c:pt>
                <c:pt idx="526">
                  <c:v>0.45575221238938002</c:v>
                </c:pt>
                <c:pt idx="527">
                  <c:v>0.45588235294117602</c:v>
                </c:pt>
                <c:pt idx="528">
                  <c:v>0.45604395604395598</c:v>
                </c:pt>
                <c:pt idx="529">
                  <c:v>0.45659163987138301</c:v>
                </c:pt>
                <c:pt idx="530">
                  <c:v>0.45659163987138301</c:v>
                </c:pt>
                <c:pt idx="531">
                  <c:v>0.45714285714285702</c:v>
                </c:pt>
                <c:pt idx="532">
                  <c:v>0.45714285714285702</c:v>
                </c:pt>
                <c:pt idx="533">
                  <c:v>0.45726495726495697</c:v>
                </c:pt>
                <c:pt idx="534">
                  <c:v>0.45789473684210502</c:v>
                </c:pt>
                <c:pt idx="535">
                  <c:v>0.45791245791245799</c:v>
                </c:pt>
                <c:pt idx="536">
                  <c:v>0.45800316957210802</c:v>
                </c:pt>
                <c:pt idx="537">
                  <c:v>0.458452722063037</c:v>
                </c:pt>
                <c:pt idx="538">
                  <c:v>0.458984375</c:v>
                </c:pt>
                <c:pt idx="539">
                  <c:v>0.45901639344262302</c:v>
                </c:pt>
                <c:pt idx="540">
                  <c:v>0.45913043478260901</c:v>
                </c:pt>
                <c:pt idx="541">
                  <c:v>0.45945945945945899</c:v>
                </c:pt>
                <c:pt idx="542">
                  <c:v>0.45945945945945899</c:v>
                </c:pt>
                <c:pt idx="543">
                  <c:v>0.459588353413655</c:v>
                </c:pt>
                <c:pt idx="544">
                  <c:v>0.45971370143149298</c:v>
                </c:pt>
                <c:pt idx="545">
                  <c:v>0.45985401459853997</c:v>
                </c:pt>
                <c:pt idx="546">
                  <c:v>0.46022727272727298</c:v>
                </c:pt>
                <c:pt idx="547">
                  <c:v>0.46067415730337102</c:v>
                </c:pt>
                <c:pt idx="548">
                  <c:v>0.4610630407911</c:v>
                </c:pt>
                <c:pt idx="549">
                  <c:v>0.46124763705103999</c:v>
                </c:pt>
                <c:pt idx="550">
                  <c:v>0.46153846153846201</c:v>
                </c:pt>
                <c:pt idx="551">
                  <c:v>0.46153846153846201</c:v>
                </c:pt>
                <c:pt idx="552">
                  <c:v>0.46153846153846201</c:v>
                </c:pt>
                <c:pt idx="553">
                  <c:v>0.46215139442231101</c:v>
                </c:pt>
                <c:pt idx="554">
                  <c:v>0.4629057187017</c:v>
                </c:pt>
                <c:pt idx="555">
                  <c:v>0.463286713286713</c:v>
                </c:pt>
                <c:pt idx="556">
                  <c:v>0.46341463414634099</c:v>
                </c:pt>
                <c:pt idx="557">
                  <c:v>0.463644140290847</c:v>
                </c:pt>
                <c:pt idx="558">
                  <c:v>0.463687150837989</c:v>
                </c:pt>
                <c:pt idx="559">
                  <c:v>0.46385542168674698</c:v>
                </c:pt>
                <c:pt idx="560">
                  <c:v>0.46385542168674698</c:v>
                </c:pt>
                <c:pt idx="561">
                  <c:v>0.46389891696750901</c:v>
                </c:pt>
                <c:pt idx="562">
                  <c:v>0.46428571428571402</c:v>
                </c:pt>
                <c:pt idx="563">
                  <c:v>0.46431199411331903</c:v>
                </c:pt>
                <c:pt idx="564">
                  <c:v>0.464454976303318</c:v>
                </c:pt>
                <c:pt idx="565">
                  <c:v>0.46448087431694002</c:v>
                </c:pt>
                <c:pt idx="566">
                  <c:v>0.46451612903225797</c:v>
                </c:pt>
                <c:pt idx="567">
                  <c:v>0.464566929133858</c:v>
                </c:pt>
                <c:pt idx="568">
                  <c:v>0.46472392638036802</c:v>
                </c:pt>
                <c:pt idx="569">
                  <c:v>0.46478873239436602</c:v>
                </c:pt>
                <c:pt idx="570">
                  <c:v>0.46511627906976699</c:v>
                </c:pt>
                <c:pt idx="571">
                  <c:v>0.465425531914894</c:v>
                </c:pt>
                <c:pt idx="572">
                  <c:v>0.46551724137931</c:v>
                </c:pt>
                <c:pt idx="573">
                  <c:v>0.46555683122847302</c:v>
                </c:pt>
                <c:pt idx="574">
                  <c:v>0.46581875993640698</c:v>
                </c:pt>
                <c:pt idx="575">
                  <c:v>0.46628407460545201</c:v>
                </c:pt>
                <c:pt idx="576">
                  <c:v>0.46666666666666701</c:v>
                </c:pt>
                <c:pt idx="577">
                  <c:v>0.46676970633693998</c:v>
                </c:pt>
                <c:pt idx="578">
                  <c:v>0.46678854357099298</c:v>
                </c:pt>
                <c:pt idx="579">
                  <c:v>0.46685878962535998</c:v>
                </c:pt>
                <c:pt idx="580">
                  <c:v>0.46750000000000003</c:v>
                </c:pt>
                <c:pt idx="581">
                  <c:v>0.467592592592593</c:v>
                </c:pt>
                <c:pt idx="582">
                  <c:v>0.467592592592593</c:v>
                </c:pt>
                <c:pt idx="583">
                  <c:v>0.46788990825688098</c:v>
                </c:pt>
                <c:pt idx="584">
                  <c:v>0.46808510638297901</c:v>
                </c:pt>
                <c:pt idx="585">
                  <c:v>0.46808510638297901</c:v>
                </c:pt>
                <c:pt idx="586">
                  <c:v>0.46808510638297901</c:v>
                </c:pt>
                <c:pt idx="587">
                  <c:v>0.468354430379747</c:v>
                </c:pt>
                <c:pt idx="588">
                  <c:v>0.46875</c:v>
                </c:pt>
                <c:pt idx="589">
                  <c:v>0.46875</c:v>
                </c:pt>
                <c:pt idx="590">
                  <c:v>0.46927374301676</c:v>
                </c:pt>
                <c:pt idx="591">
                  <c:v>0.46934865900383099</c:v>
                </c:pt>
                <c:pt idx="592">
                  <c:v>0.46947368421052599</c:v>
                </c:pt>
                <c:pt idx="593">
                  <c:v>0.46949327817993802</c:v>
                </c:pt>
                <c:pt idx="594">
                  <c:v>0.46956521739130402</c:v>
                </c:pt>
                <c:pt idx="595">
                  <c:v>0.46985446985446999</c:v>
                </c:pt>
                <c:pt idx="596">
                  <c:v>0.47038327526132401</c:v>
                </c:pt>
                <c:pt idx="597">
                  <c:v>0.470558631102164</c:v>
                </c:pt>
                <c:pt idx="598">
                  <c:v>0.47058823529411797</c:v>
                </c:pt>
                <c:pt idx="599">
                  <c:v>0.47073791348600502</c:v>
                </c:pt>
                <c:pt idx="600">
                  <c:v>0.47084548104956297</c:v>
                </c:pt>
                <c:pt idx="601">
                  <c:v>0.47117296222664001</c:v>
                </c:pt>
                <c:pt idx="602">
                  <c:v>0.47144754316069098</c:v>
                </c:pt>
                <c:pt idx="603">
                  <c:v>0.47191011235955099</c:v>
                </c:pt>
                <c:pt idx="604">
                  <c:v>0.47222222222222199</c:v>
                </c:pt>
                <c:pt idx="605">
                  <c:v>0.47222222222222199</c:v>
                </c:pt>
                <c:pt idx="606">
                  <c:v>0.47222222222222199</c:v>
                </c:pt>
                <c:pt idx="607">
                  <c:v>0.47232207045291202</c:v>
                </c:pt>
                <c:pt idx="608">
                  <c:v>0.47234814143245701</c:v>
                </c:pt>
                <c:pt idx="609">
                  <c:v>0.47286821705426402</c:v>
                </c:pt>
                <c:pt idx="610">
                  <c:v>0.47360000000000002</c:v>
                </c:pt>
                <c:pt idx="611">
                  <c:v>0.47368421052631599</c:v>
                </c:pt>
                <c:pt idx="612">
                  <c:v>0.47368421052631599</c:v>
                </c:pt>
                <c:pt idx="613">
                  <c:v>0.47368421052631599</c:v>
                </c:pt>
                <c:pt idx="614">
                  <c:v>0.47368421052631599</c:v>
                </c:pt>
                <c:pt idx="615">
                  <c:v>0.47368421052631599</c:v>
                </c:pt>
                <c:pt idx="616">
                  <c:v>0.47378832838773499</c:v>
                </c:pt>
                <c:pt idx="617">
                  <c:v>0.47384155455904298</c:v>
                </c:pt>
                <c:pt idx="618">
                  <c:v>0.474320241691843</c:v>
                </c:pt>
                <c:pt idx="619">
                  <c:v>0.474813432835821</c:v>
                </c:pt>
                <c:pt idx="620">
                  <c:v>0.47499999999999998</c:v>
                </c:pt>
                <c:pt idx="621">
                  <c:v>0.47529411764705898</c:v>
                </c:pt>
                <c:pt idx="622">
                  <c:v>0.47540983606557402</c:v>
                </c:pt>
                <c:pt idx="623">
                  <c:v>0.47562582345191001</c:v>
                </c:pt>
                <c:pt idx="624">
                  <c:v>0.47592385218365102</c:v>
                </c:pt>
                <c:pt idx="625">
                  <c:v>0.476190476190476</c:v>
                </c:pt>
                <c:pt idx="626">
                  <c:v>0.47625698324022298</c:v>
                </c:pt>
                <c:pt idx="627">
                  <c:v>0.47628865979381402</c:v>
                </c:pt>
                <c:pt idx="628">
                  <c:v>0.47657928663515298</c:v>
                </c:pt>
                <c:pt idx="629">
                  <c:v>0.476643241008681</c:v>
                </c:pt>
                <c:pt idx="630">
                  <c:v>0.47665056360708502</c:v>
                </c:pt>
                <c:pt idx="631">
                  <c:v>0.476673427991886</c:v>
                </c:pt>
                <c:pt idx="632">
                  <c:v>0.47672485453034102</c:v>
                </c:pt>
                <c:pt idx="633">
                  <c:v>0.47681159420289898</c:v>
                </c:pt>
                <c:pt idx="634">
                  <c:v>0.47683397683397699</c:v>
                </c:pt>
                <c:pt idx="635">
                  <c:v>0.47712418300653597</c:v>
                </c:pt>
                <c:pt idx="636">
                  <c:v>0.47720797720797697</c:v>
                </c:pt>
                <c:pt idx="637">
                  <c:v>0.47802993722839199</c:v>
                </c:pt>
                <c:pt idx="638">
                  <c:v>0.47826086956521702</c:v>
                </c:pt>
                <c:pt idx="639">
                  <c:v>0.47826086956521702</c:v>
                </c:pt>
                <c:pt idx="640">
                  <c:v>0.47848101265822801</c:v>
                </c:pt>
                <c:pt idx="641">
                  <c:v>0.47872340425531901</c:v>
                </c:pt>
                <c:pt idx="642">
                  <c:v>0.47872340425531901</c:v>
                </c:pt>
                <c:pt idx="643">
                  <c:v>0.47882268485283602</c:v>
                </c:pt>
                <c:pt idx="644">
                  <c:v>0.47912317327766202</c:v>
                </c:pt>
                <c:pt idx="645">
                  <c:v>0.47916666666666702</c:v>
                </c:pt>
                <c:pt idx="646">
                  <c:v>0.47975077881619899</c:v>
                </c:pt>
                <c:pt idx="647">
                  <c:v>0.479768786127168</c:v>
                </c:pt>
                <c:pt idx="648">
                  <c:v>0.480132450331126</c:v>
                </c:pt>
                <c:pt idx="649">
                  <c:v>0.480151228733459</c:v>
                </c:pt>
                <c:pt idx="650">
                  <c:v>0.48056994818652798</c:v>
                </c:pt>
                <c:pt idx="651">
                  <c:v>0.48085106382978698</c:v>
                </c:pt>
                <c:pt idx="652">
                  <c:v>0.48086124401913899</c:v>
                </c:pt>
                <c:pt idx="653">
                  <c:v>0.48089171974522299</c:v>
                </c:pt>
                <c:pt idx="654">
                  <c:v>0.48106060606060602</c:v>
                </c:pt>
                <c:pt idx="655">
                  <c:v>0.48120300751879702</c:v>
                </c:pt>
                <c:pt idx="656">
                  <c:v>0.48148148148148101</c:v>
                </c:pt>
                <c:pt idx="657">
                  <c:v>0.48192771084337299</c:v>
                </c:pt>
                <c:pt idx="658">
                  <c:v>0.48214285714285698</c:v>
                </c:pt>
                <c:pt idx="659">
                  <c:v>0.48214285714285698</c:v>
                </c:pt>
                <c:pt idx="660">
                  <c:v>0.482374768089054</c:v>
                </c:pt>
                <c:pt idx="661">
                  <c:v>0.48250460405156498</c:v>
                </c:pt>
                <c:pt idx="662">
                  <c:v>0.48263888888888901</c:v>
                </c:pt>
                <c:pt idx="663">
                  <c:v>0.48275862068965503</c:v>
                </c:pt>
                <c:pt idx="664">
                  <c:v>0.48280423280423301</c:v>
                </c:pt>
                <c:pt idx="665">
                  <c:v>0.48284960422163598</c:v>
                </c:pt>
                <c:pt idx="666">
                  <c:v>0.48299319727891199</c:v>
                </c:pt>
                <c:pt idx="667">
                  <c:v>0.48314606741573002</c:v>
                </c:pt>
                <c:pt idx="668">
                  <c:v>0.48319327731092399</c:v>
                </c:pt>
                <c:pt idx="669">
                  <c:v>0.48351648351648302</c:v>
                </c:pt>
                <c:pt idx="670">
                  <c:v>0.48359966358284301</c:v>
                </c:pt>
                <c:pt idx="671">
                  <c:v>0.48361381753764399</c:v>
                </c:pt>
                <c:pt idx="672">
                  <c:v>0.483870967741935</c:v>
                </c:pt>
                <c:pt idx="673">
                  <c:v>0.483870967741935</c:v>
                </c:pt>
                <c:pt idx="674">
                  <c:v>0.483870967741935</c:v>
                </c:pt>
                <c:pt idx="675">
                  <c:v>0.483870967741935</c:v>
                </c:pt>
                <c:pt idx="676">
                  <c:v>0.48427672955974799</c:v>
                </c:pt>
                <c:pt idx="677">
                  <c:v>0.48447204968944102</c:v>
                </c:pt>
                <c:pt idx="678">
                  <c:v>0.48453608247422703</c:v>
                </c:pt>
                <c:pt idx="679">
                  <c:v>0.48504273504273498</c:v>
                </c:pt>
                <c:pt idx="680">
                  <c:v>0.48507462686567199</c:v>
                </c:pt>
                <c:pt idx="681">
                  <c:v>0.48514851485148502</c:v>
                </c:pt>
                <c:pt idx="682">
                  <c:v>0.48529411764705899</c:v>
                </c:pt>
                <c:pt idx="683">
                  <c:v>0.48586118251928001</c:v>
                </c:pt>
                <c:pt idx="684">
                  <c:v>0.48587570621468901</c:v>
                </c:pt>
                <c:pt idx="685">
                  <c:v>0.48598130841121501</c:v>
                </c:pt>
                <c:pt idx="686">
                  <c:v>0.48632218844984798</c:v>
                </c:pt>
                <c:pt idx="687">
                  <c:v>0.48672566371681403</c:v>
                </c:pt>
                <c:pt idx="688">
                  <c:v>0.48678071539657802</c:v>
                </c:pt>
                <c:pt idx="689">
                  <c:v>0.48712667353244099</c:v>
                </c:pt>
                <c:pt idx="690">
                  <c:v>0.48728139904610501</c:v>
                </c:pt>
                <c:pt idx="691">
                  <c:v>0.48756218905472598</c:v>
                </c:pt>
                <c:pt idx="692">
                  <c:v>0.48768472906403898</c:v>
                </c:pt>
                <c:pt idx="693">
                  <c:v>0.48798521256931598</c:v>
                </c:pt>
                <c:pt idx="694">
                  <c:v>0.488188976377953</c:v>
                </c:pt>
                <c:pt idx="695">
                  <c:v>0.48823529411764699</c:v>
                </c:pt>
                <c:pt idx="696">
                  <c:v>0.48863212821468499</c:v>
                </c:pt>
                <c:pt idx="697">
                  <c:v>0.48890784982935098</c:v>
                </c:pt>
                <c:pt idx="698">
                  <c:v>0.488958990536278</c:v>
                </c:pt>
                <c:pt idx="699">
                  <c:v>0.48915662650602398</c:v>
                </c:pt>
                <c:pt idx="700">
                  <c:v>0.48933601609657901</c:v>
                </c:pt>
                <c:pt idx="701">
                  <c:v>0.48958333333333298</c:v>
                </c:pt>
                <c:pt idx="702">
                  <c:v>0.48969072164948402</c:v>
                </c:pt>
                <c:pt idx="703">
                  <c:v>0.48973607038123201</c:v>
                </c:pt>
                <c:pt idx="704">
                  <c:v>0.48979591836734698</c:v>
                </c:pt>
                <c:pt idx="705">
                  <c:v>0.48986486486486502</c:v>
                </c:pt>
                <c:pt idx="706">
                  <c:v>0.49019607843137197</c:v>
                </c:pt>
                <c:pt idx="707">
                  <c:v>0.49042145593869702</c:v>
                </c:pt>
                <c:pt idx="708">
                  <c:v>0.490566037735849</c:v>
                </c:pt>
                <c:pt idx="709">
                  <c:v>0.490566037735849</c:v>
                </c:pt>
                <c:pt idx="710">
                  <c:v>0.49090909090909102</c:v>
                </c:pt>
                <c:pt idx="711">
                  <c:v>0.49132947976878599</c:v>
                </c:pt>
                <c:pt idx="712">
                  <c:v>0.49160908193484698</c:v>
                </c:pt>
                <c:pt idx="713">
                  <c:v>0.49168975069252102</c:v>
                </c:pt>
                <c:pt idx="714">
                  <c:v>0.49181446111868998</c:v>
                </c:pt>
                <c:pt idx="715">
                  <c:v>0.49197860962566797</c:v>
                </c:pt>
                <c:pt idx="716">
                  <c:v>0.49200492004919999</c:v>
                </c:pt>
                <c:pt idx="717">
                  <c:v>0.49209039548022598</c:v>
                </c:pt>
                <c:pt idx="718">
                  <c:v>0.49244060475161999</c:v>
                </c:pt>
                <c:pt idx="719">
                  <c:v>0.492492492492492</c:v>
                </c:pt>
                <c:pt idx="720">
                  <c:v>0.49253731343283602</c:v>
                </c:pt>
                <c:pt idx="721">
                  <c:v>0.492547906316537</c:v>
                </c:pt>
                <c:pt idx="722">
                  <c:v>0.49272349272349297</c:v>
                </c:pt>
                <c:pt idx="723">
                  <c:v>0.49272349272349297</c:v>
                </c:pt>
                <c:pt idx="724">
                  <c:v>0.49285714285714299</c:v>
                </c:pt>
                <c:pt idx="725">
                  <c:v>0.49298409728718401</c:v>
                </c:pt>
                <c:pt idx="726">
                  <c:v>0.49330783938814499</c:v>
                </c:pt>
                <c:pt idx="727">
                  <c:v>0.49342481417953099</c:v>
                </c:pt>
                <c:pt idx="728">
                  <c:v>0.49355432780847103</c:v>
                </c:pt>
                <c:pt idx="729">
                  <c:v>0.49364021804966701</c:v>
                </c:pt>
                <c:pt idx="730">
                  <c:v>0.49373433583959903</c:v>
                </c:pt>
                <c:pt idx="731">
                  <c:v>0.49401913875598102</c:v>
                </c:pt>
                <c:pt idx="732">
                  <c:v>0.49411764705882399</c:v>
                </c:pt>
                <c:pt idx="733">
                  <c:v>0.49416342412451397</c:v>
                </c:pt>
                <c:pt idx="734">
                  <c:v>0.49421128798842301</c:v>
                </c:pt>
                <c:pt idx="735">
                  <c:v>0.49466192170818502</c:v>
                </c:pt>
                <c:pt idx="736">
                  <c:v>0.49468085106382997</c:v>
                </c:pt>
                <c:pt idx="737">
                  <c:v>0.49475262368815598</c:v>
                </c:pt>
                <c:pt idx="738">
                  <c:v>0.49502487562189101</c:v>
                </c:pt>
                <c:pt idx="739">
                  <c:v>0.495145631067961</c:v>
                </c:pt>
                <c:pt idx="740">
                  <c:v>0.49518304431599203</c:v>
                </c:pt>
                <c:pt idx="741">
                  <c:v>0.49523809523809498</c:v>
                </c:pt>
                <c:pt idx="742">
                  <c:v>0.49574105621805797</c:v>
                </c:pt>
                <c:pt idx="743">
                  <c:v>0.49576271186440701</c:v>
                </c:pt>
                <c:pt idx="744">
                  <c:v>0.49625935162094797</c:v>
                </c:pt>
                <c:pt idx="745">
                  <c:v>0.49671977507029003</c:v>
                </c:pt>
                <c:pt idx="746">
                  <c:v>0.49679487179487197</c:v>
                </c:pt>
                <c:pt idx="747">
                  <c:v>0.49704142011834301</c:v>
                </c:pt>
                <c:pt idx="748">
                  <c:v>0.49728892331525898</c:v>
                </c:pt>
                <c:pt idx="749">
                  <c:v>0.49741824440619598</c:v>
                </c:pt>
                <c:pt idx="750">
                  <c:v>0.49779735682819398</c:v>
                </c:pt>
                <c:pt idx="751">
                  <c:v>0.49812030075188002</c:v>
                </c:pt>
                <c:pt idx="752">
                  <c:v>0.49869994799792</c:v>
                </c:pt>
                <c:pt idx="753">
                  <c:v>0.49887640449438198</c:v>
                </c:pt>
                <c:pt idx="754">
                  <c:v>0.49892008639308799</c:v>
                </c:pt>
                <c:pt idx="755">
                  <c:v>0.49911971830985902</c:v>
                </c:pt>
                <c:pt idx="756">
                  <c:v>0.49960285941223198</c:v>
                </c:pt>
                <c:pt idx="757">
                  <c:v>0.5</c:v>
                </c:pt>
                <c:pt idx="758">
                  <c:v>0.5</c:v>
                </c:pt>
                <c:pt idx="759">
                  <c:v>0.5</c:v>
                </c:pt>
                <c:pt idx="760">
                  <c:v>0.5</c:v>
                </c:pt>
                <c:pt idx="761">
                  <c:v>0.5</c:v>
                </c:pt>
                <c:pt idx="762">
                  <c:v>0.5</c:v>
                </c:pt>
                <c:pt idx="763">
                  <c:v>0.5</c:v>
                </c:pt>
                <c:pt idx="764">
                  <c:v>0.5</c:v>
                </c:pt>
                <c:pt idx="765">
                  <c:v>0.5</c:v>
                </c:pt>
                <c:pt idx="766">
                  <c:v>0.5</c:v>
                </c:pt>
                <c:pt idx="767">
                  <c:v>0.5</c:v>
                </c:pt>
                <c:pt idx="768">
                  <c:v>0.5</c:v>
                </c:pt>
                <c:pt idx="769">
                  <c:v>0.5</c:v>
                </c:pt>
                <c:pt idx="770">
                  <c:v>0.5</c:v>
                </c:pt>
                <c:pt idx="771">
                  <c:v>0.5</c:v>
                </c:pt>
                <c:pt idx="772">
                  <c:v>0.5</c:v>
                </c:pt>
                <c:pt idx="773">
                  <c:v>0.5</c:v>
                </c:pt>
                <c:pt idx="774">
                  <c:v>0.5</c:v>
                </c:pt>
                <c:pt idx="775">
                  <c:v>0.5</c:v>
                </c:pt>
                <c:pt idx="776">
                  <c:v>0.5</c:v>
                </c:pt>
                <c:pt idx="777">
                  <c:v>0.5</c:v>
                </c:pt>
                <c:pt idx="778">
                  <c:v>0.5</c:v>
                </c:pt>
                <c:pt idx="779">
                  <c:v>0.50042844901456696</c:v>
                </c:pt>
                <c:pt idx="780">
                  <c:v>0.50104166666666705</c:v>
                </c:pt>
                <c:pt idx="781">
                  <c:v>0.50121065375302698</c:v>
                </c:pt>
                <c:pt idx="782">
                  <c:v>0.50165016501650195</c:v>
                </c:pt>
                <c:pt idx="783">
                  <c:v>0.501680672268908</c:v>
                </c:pt>
                <c:pt idx="784">
                  <c:v>0.50210970464134996</c:v>
                </c:pt>
                <c:pt idx="785">
                  <c:v>0.50215208034433301</c:v>
                </c:pt>
                <c:pt idx="786">
                  <c:v>0.50226244343891402</c:v>
                </c:pt>
                <c:pt idx="787">
                  <c:v>0.50250626566416001</c:v>
                </c:pt>
                <c:pt idx="788">
                  <c:v>0.50252780586450996</c:v>
                </c:pt>
                <c:pt idx="789">
                  <c:v>0.502742230347349</c:v>
                </c:pt>
                <c:pt idx="790">
                  <c:v>0.50284090909090895</c:v>
                </c:pt>
                <c:pt idx="791">
                  <c:v>0.50307619498343603</c:v>
                </c:pt>
                <c:pt idx="792">
                  <c:v>0.50341530054644801</c:v>
                </c:pt>
                <c:pt idx="793">
                  <c:v>0.50342465753424703</c:v>
                </c:pt>
                <c:pt idx="794">
                  <c:v>0.50346420323325602</c:v>
                </c:pt>
                <c:pt idx="795">
                  <c:v>0.50346921075455298</c:v>
                </c:pt>
                <c:pt idx="796">
                  <c:v>0.50359712230215803</c:v>
                </c:pt>
                <c:pt idx="797">
                  <c:v>0.50374531835206005</c:v>
                </c:pt>
                <c:pt idx="798">
                  <c:v>0.50390625</c:v>
                </c:pt>
                <c:pt idx="799">
                  <c:v>0.50391061452513997</c:v>
                </c:pt>
                <c:pt idx="800">
                  <c:v>0.50406504065040603</c:v>
                </c:pt>
                <c:pt idx="801">
                  <c:v>0.504132231404959</c:v>
                </c:pt>
                <c:pt idx="802">
                  <c:v>0.50425531914893595</c:v>
                </c:pt>
                <c:pt idx="803">
                  <c:v>0.50513698630137005</c:v>
                </c:pt>
                <c:pt idx="804">
                  <c:v>0.505335844318895</c:v>
                </c:pt>
                <c:pt idx="805">
                  <c:v>0.50535077288941699</c:v>
                </c:pt>
                <c:pt idx="806">
                  <c:v>0.50537634408602095</c:v>
                </c:pt>
                <c:pt idx="807">
                  <c:v>0.50566037735849101</c:v>
                </c:pt>
                <c:pt idx="808">
                  <c:v>0.50574712643678199</c:v>
                </c:pt>
                <c:pt idx="809">
                  <c:v>0.50617283950617298</c:v>
                </c:pt>
                <c:pt idx="810">
                  <c:v>0.50637213254035696</c:v>
                </c:pt>
                <c:pt idx="811">
                  <c:v>0.50637522768670296</c:v>
                </c:pt>
                <c:pt idx="812">
                  <c:v>0.50638297872340399</c:v>
                </c:pt>
                <c:pt idx="813">
                  <c:v>0.50645161290322604</c:v>
                </c:pt>
                <c:pt idx="814">
                  <c:v>0.506493506493506</c:v>
                </c:pt>
                <c:pt idx="815">
                  <c:v>0.50666666666666704</c:v>
                </c:pt>
                <c:pt idx="816">
                  <c:v>0.50680272108843505</c:v>
                </c:pt>
                <c:pt idx="817">
                  <c:v>0.50726978998384498</c:v>
                </c:pt>
                <c:pt idx="818">
                  <c:v>0.50764006791171501</c:v>
                </c:pt>
                <c:pt idx="819">
                  <c:v>0.50771604938271597</c:v>
                </c:pt>
                <c:pt idx="820">
                  <c:v>0.50781831720029802</c:v>
                </c:pt>
                <c:pt idx="821">
                  <c:v>0.50794701986754998</c:v>
                </c:pt>
                <c:pt idx="822">
                  <c:v>0.50806451612903203</c:v>
                </c:pt>
                <c:pt idx="823">
                  <c:v>0.50815217391304301</c:v>
                </c:pt>
                <c:pt idx="824">
                  <c:v>0.50823723228995099</c:v>
                </c:pt>
                <c:pt idx="825">
                  <c:v>0.50838926174496601</c:v>
                </c:pt>
                <c:pt idx="826">
                  <c:v>0.50880088008800906</c:v>
                </c:pt>
                <c:pt idx="827">
                  <c:v>0.50888888888888895</c:v>
                </c:pt>
                <c:pt idx="828">
                  <c:v>0.50900900900900903</c:v>
                </c:pt>
                <c:pt idx="829">
                  <c:v>0.50910273081924595</c:v>
                </c:pt>
                <c:pt idx="830">
                  <c:v>0.50978856695379804</c:v>
                </c:pt>
                <c:pt idx="831">
                  <c:v>0.50980392156862697</c:v>
                </c:pt>
                <c:pt idx="832">
                  <c:v>0.50986842105263197</c:v>
                </c:pt>
                <c:pt idx="833">
                  <c:v>0.50989345509893502</c:v>
                </c:pt>
                <c:pt idx="834">
                  <c:v>0.50994575045208002</c:v>
                </c:pt>
                <c:pt idx="835">
                  <c:v>0.51006711409395999</c:v>
                </c:pt>
                <c:pt idx="836">
                  <c:v>0.51029411764705901</c:v>
                </c:pt>
                <c:pt idx="837">
                  <c:v>0.51030927835051498</c:v>
                </c:pt>
                <c:pt idx="838">
                  <c:v>0.51034482758620703</c:v>
                </c:pt>
                <c:pt idx="839">
                  <c:v>0.51034482758620703</c:v>
                </c:pt>
                <c:pt idx="840">
                  <c:v>0.51034482758620703</c:v>
                </c:pt>
                <c:pt idx="841">
                  <c:v>0.510510510510511</c:v>
                </c:pt>
                <c:pt idx="842">
                  <c:v>0.51077246452969005</c:v>
                </c:pt>
                <c:pt idx="843">
                  <c:v>0.51078167115902995</c:v>
                </c:pt>
                <c:pt idx="844">
                  <c:v>0.51098901098901095</c:v>
                </c:pt>
                <c:pt idx="845">
                  <c:v>0.51101321585903103</c:v>
                </c:pt>
                <c:pt idx="846">
                  <c:v>0.51111111111111096</c:v>
                </c:pt>
                <c:pt idx="847">
                  <c:v>0.51124567474048399</c:v>
                </c:pt>
                <c:pt idx="848">
                  <c:v>0.51162790697674398</c:v>
                </c:pt>
                <c:pt idx="849">
                  <c:v>0.51162790697674398</c:v>
                </c:pt>
                <c:pt idx="850">
                  <c:v>0.51162790697674398</c:v>
                </c:pt>
                <c:pt idx="851">
                  <c:v>0.51165146909827797</c:v>
                </c:pt>
                <c:pt idx="852">
                  <c:v>0.51170568561872898</c:v>
                </c:pt>
                <c:pt idx="853">
                  <c:v>0.51209341117597995</c:v>
                </c:pt>
                <c:pt idx="854">
                  <c:v>0.51219512195121997</c:v>
                </c:pt>
                <c:pt idx="855">
                  <c:v>0.51219512195121997</c:v>
                </c:pt>
                <c:pt idx="856">
                  <c:v>0.51219512195121997</c:v>
                </c:pt>
                <c:pt idx="857">
                  <c:v>0.51226158038147096</c:v>
                </c:pt>
                <c:pt idx="858">
                  <c:v>0.51243781094527396</c:v>
                </c:pt>
                <c:pt idx="859">
                  <c:v>0.51271186440677996</c:v>
                </c:pt>
                <c:pt idx="860">
                  <c:v>0.512820512820513</c:v>
                </c:pt>
                <c:pt idx="861">
                  <c:v>0.512820512820513</c:v>
                </c:pt>
                <c:pt idx="862">
                  <c:v>0.51292517006802696</c:v>
                </c:pt>
                <c:pt idx="863">
                  <c:v>0.51293103448275901</c:v>
                </c:pt>
                <c:pt idx="864">
                  <c:v>0.51295731707317105</c:v>
                </c:pt>
                <c:pt idx="865">
                  <c:v>0.51300448430493295</c:v>
                </c:pt>
                <c:pt idx="866">
                  <c:v>0.51302605210420804</c:v>
                </c:pt>
                <c:pt idx="867">
                  <c:v>0.51304347826087005</c:v>
                </c:pt>
                <c:pt idx="868">
                  <c:v>0.513134851138354</c:v>
                </c:pt>
                <c:pt idx="869">
                  <c:v>0.51330304996755305</c:v>
                </c:pt>
                <c:pt idx="870">
                  <c:v>0.51331360946745597</c:v>
                </c:pt>
                <c:pt idx="871">
                  <c:v>0.51344086021505397</c:v>
                </c:pt>
                <c:pt idx="872">
                  <c:v>0.51360946745562097</c:v>
                </c:pt>
                <c:pt idx="873">
                  <c:v>0.51374207188160703</c:v>
                </c:pt>
                <c:pt idx="874">
                  <c:v>0.51376146788990795</c:v>
                </c:pt>
                <c:pt idx="875">
                  <c:v>0.51401869158878499</c:v>
                </c:pt>
                <c:pt idx="876">
                  <c:v>0.51419878296146004</c:v>
                </c:pt>
                <c:pt idx="877">
                  <c:v>0.51421188630490999</c:v>
                </c:pt>
                <c:pt idx="878">
                  <c:v>0.51428571428571401</c:v>
                </c:pt>
                <c:pt idx="879">
                  <c:v>0.51428571428571401</c:v>
                </c:pt>
                <c:pt idx="880">
                  <c:v>0.51449275362318803</c:v>
                </c:pt>
                <c:pt idx="881">
                  <c:v>0.51477597712106804</c:v>
                </c:pt>
                <c:pt idx="882">
                  <c:v>0.51503759398496196</c:v>
                </c:pt>
                <c:pt idx="883">
                  <c:v>0.51505376344085996</c:v>
                </c:pt>
                <c:pt idx="884">
                  <c:v>0.51515151515151503</c:v>
                </c:pt>
                <c:pt idx="885">
                  <c:v>0.515267175572519</c:v>
                </c:pt>
                <c:pt idx="886">
                  <c:v>0.51541850220264296</c:v>
                </c:pt>
                <c:pt idx="887">
                  <c:v>0.51548269581056505</c:v>
                </c:pt>
                <c:pt idx="888">
                  <c:v>0.51565995525727104</c:v>
                </c:pt>
                <c:pt idx="889">
                  <c:v>0.51591553734635998</c:v>
                </c:pt>
                <c:pt idx="890">
                  <c:v>0.515993265993266</c:v>
                </c:pt>
                <c:pt idx="891">
                  <c:v>0.51612903225806395</c:v>
                </c:pt>
                <c:pt idx="892">
                  <c:v>0.51619047619047598</c:v>
                </c:pt>
                <c:pt idx="893">
                  <c:v>0.51619870410367197</c:v>
                </c:pt>
                <c:pt idx="894">
                  <c:v>0.51623376623376604</c:v>
                </c:pt>
                <c:pt idx="895">
                  <c:v>0.51623931623931596</c:v>
                </c:pt>
                <c:pt idx="896">
                  <c:v>0.51632047477744802</c:v>
                </c:pt>
                <c:pt idx="897">
                  <c:v>0.51639344262295095</c:v>
                </c:pt>
                <c:pt idx="898">
                  <c:v>0.516500785751702</c:v>
                </c:pt>
                <c:pt idx="899">
                  <c:v>0.51660026560424999</c:v>
                </c:pt>
                <c:pt idx="900">
                  <c:v>0.51666666666666705</c:v>
                </c:pt>
                <c:pt idx="901">
                  <c:v>0.51679434295816196</c:v>
                </c:pt>
                <c:pt idx="902">
                  <c:v>0.51694915254237295</c:v>
                </c:pt>
                <c:pt idx="903">
                  <c:v>0.51694915254237295</c:v>
                </c:pt>
                <c:pt idx="904">
                  <c:v>0.51699029126213603</c:v>
                </c:pt>
                <c:pt idx="905">
                  <c:v>0.517133956386293</c:v>
                </c:pt>
                <c:pt idx="906">
                  <c:v>0.51724137931034497</c:v>
                </c:pt>
                <c:pt idx="907">
                  <c:v>0.51741716227697498</c:v>
                </c:pt>
                <c:pt idx="908">
                  <c:v>0.517527327553713</c:v>
                </c:pt>
                <c:pt idx="909">
                  <c:v>0.51785714285714302</c:v>
                </c:pt>
                <c:pt idx="910">
                  <c:v>0.51798561151079103</c:v>
                </c:pt>
                <c:pt idx="911">
                  <c:v>0.51818181818181797</c:v>
                </c:pt>
                <c:pt idx="912">
                  <c:v>0.51819757365684604</c:v>
                </c:pt>
                <c:pt idx="913">
                  <c:v>0.51822916666666696</c:v>
                </c:pt>
                <c:pt idx="914">
                  <c:v>0.51851851851851805</c:v>
                </c:pt>
                <c:pt idx="915">
                  <c:v>0.51851851851851805</c:v>
                </c:pt>
                <c:pt idx="916">
                  <c:v>0.51851851851851805</c:v>
                </c:pt>
                <c:pt idx="917">
                  <c:v>0.51851851851851805</c:v>
                </c:pt>
                <c:pt idx="918">
                  <c:v>0.51856763925729399</c:v>
                </c:pt>
                <c:pt idx="919">
                  <c:v>0.51859956236323901</c:v>
                </c:pt>
                <c:pt idx="920">
                  <c:v>0.51862464183381096</c:v>
                </c:pt>
                <c:pt idx="921">
                  <c:v>0.51944971537001905</c:v>
                </c:pt>
                <c:pt idx="922">
                  <c:v>0.51948051948051899</c:v>
                </c:pt>
                <c:pt idx="923">
                  <c:v>0.51963746223564999</c:v>
                </c:pt>
                <c:pt idx="924">
                  <c:v>0.51963746223564999</c:v>
                </c:pt>
                <c:pt idx="925">
                  <c:v>0.51970443349753703</c:v>
                </c:pt>
                <c:pt idx="926">
                  <c:v>0.52</c:v>
                </c:pt>
                <c:pt idx="927">
                  <c:v>0.52</c:v>
                </c:pt>
                <c:pt idx="928">
                  <c:v>0.52008456659619495</c:v>
                </c:pt>
                <c:pt idx="929">
                  <c:v>0.52034261241970003</c:v>
                </c:pt>
                <c:pt idx="930">
                  <c:v>0.52046783625730997</c:v>
                </c:pt>
                <c:pt idx="931">
                  <c:v>0.52054794520547898</c:v>
                </c:pt>
                <c:pt idx="932">
                  <c:v>0.52066929133858297</c:v>
                </c:pt>
                <c:pt idx="933">
                  <c:v>0.52079566003616595</c:v>
                </c:pt>
                <c:pt idx="934">
                  <c:v>0.52094440213252102</c:v>
                </c:pt>
                <c:pt idx="935">
                  <c:v>0.52095422308188299</c:v>
                </c:pt>
                <c:pt idx="936">
                  <c:v>0.52095808383233499</c:v>
                </c:pt>
                <c:pt idx="937">
                  <c:v>0.52098765432098804</c:v>
                </c:pt>
                <c:pt idx="938">
                  <c:v>0.52098765432098804</c:v>
                </c:pt>
                <c:pt idx="939">
                  <c:v>0.52112676056338003</c:v>
                </c:pt>
                <c:pt idx="940">
                  <c:v>0.52127659574468099</c:v>
                </c:pt>
                <c:pt idx="941">
                  <c:v>0.52143138025953595</c:v>
                </c:pt>
                <c:pt idx="942">
                  <c:v>0.521484375</c:v>
                </c:pt>
                <c:pt idx="943">
                  <c:v>0.52151462994836495</c:v>
                </c:pt>
                <c:pt idx="944">
                  <c:v>0.52158894645941301</c:v>
                </c:pt>
                <c:pt idx="945">
                  <c:v>0.521631644004944</c:v>
                </c:pt>
                <c:pt idx="946">
                  <c:v>0.52168949771689499</c:v>
                </c:pt>
                <c:pt idx="947">
                  <c:v>0.52173913043478304</c:v>
                </c:pt>
                <c:pt idx="948">
                  <c:v>0.52197802197802201</c:v>
                </c:pt>
                <c:pt idx="949">
                  <c:v>0.522198731501057</c:v>
                </c:pt>
                <c:pt idx="950">
                  <c:v>0.52224824355971899</c:v>
                </c:pt>
                <c:pt idx="951">
                  <c:v>0.52228412256267398</c:v>
                </c:pt>
                <c:pt idx="952">
                  <c:v>0.52248394004282595</c:v>
                </c:pt>
                <c:pt idx="953">
                  <c:v>0.52252252252252296</c:v>
                </c:pt>
                <c:pt idx="954">
                  <c:v>0.52259887005649697</c:v>
                </c:pt>
                <c:pt idx="955">
                  <c:v>0.52263374485596703</c:v>
                </c:pt>
                <c:pt idx="956">
                  <c:v>0.52272727272727304</c:v>
                </c:pt>
                <c:pt idx="957">
                  <c:v>0.52287581699346397</c:v>
                </c:pt>
                <c:pt idx="958">
                  <c:v>0.52294853963838706</c:v>
                </c:pt>
                <c:pt idx="959">
                  <c:v>0.52309985096870304</c:v>
                </c:pt>
                <c:pt idx="960">
                  <c:v>0.52317880794701999</c:v>
                </c:pt>
                <c:pt idx="961">
                  <c:v>0.52325581395348797</c:v>
                </c:pt>
                <c:pt idx="962">
                  <c:v>0.52358490566037696</c:v>
                </c:pt>
                <c:pt idx="963">
                  <c:v>0.52375152253349599</c:v>
                </c:pt>
                <c:pt idx="964">
                  <c:v>0.52380952380952395</c:v>
                </c:pt>
                <c:pt idx="965">
                  <c:v>0.52380952380952395</c:v>
                </c:pt>
                <c:pt idx="966">
                  <c:v>0.52380952380952395</c:v>
                </c:pt>
                <c:pt idx="967">
                  <c:v>0.52388535031847105</c:v>
                </c:pt>
                <c:pt idx="968">
                  <c:v>0.52398523985239898</c:v>
                </c:pt>
                <c:pt idx="969">
                  <c:v>0.52413793103448303</c:v>
                </c:pt>
                <c:pt idx="970">
                  <c:v>0.52415902140672799</c:v>
                </c:pt>
                <c:pt idx="971">
                  <c:v>0.52417302798982202</c:v>
                </c:pt>
                <c:pt idx="972">
                  <c:v>0.52418645558487198</c:v>
                </c:pt>
                <c:pt idx="973">
                  <c:v>0.52432432432432396</c:v>
                </c:pt>
                <c:pt idx="974">
                  <c:v>0.52439024390243905</c:v>
                </c:pt>
                <c:pt idx="975">
                  <c:v>0.52491694352159501</c:v>
                </c:pt>
                <c:pt idx="976">
                  <c:v>0.52495378927911296</c:v>
                </c:pt>
                <c:pt idx="977">
                  <c:v>0.52500000000000002</c:v>
                </c:pt>
                <c:pt idx="978">
                  <c:v>0.52501214181641598</c:v>
                </c:pt>
                <c:pt idx="979">
                  <c:v>0.52506265664160401</c:v>
                </c:pt>
                <c:pt idx="980">
                  <c:v>0.52557616638561</c:v>
                </c:pt>
                <c:pt idx="981">
                  <c:v>0.52564102564102599</c:v>
                </c:pt>
                <c:pt idx="982">
                  <c:v>0.52566539923954403</c:v>
                </c:pt>
                <c:pt idx="983">
                  <c:v>0.52575757575757598</c:v>
                </c:pt>
                <c:pt idx="984">
                  <c:v>0.52577319587628901</c:v>
                </c:pt>
                <c:pt idx="985">
                  <c:v>0.52587991718426497</c:v>
                </c:pt>
                <c:pt idx="986">
                  <c:v>0.52590673575129498</c:v>
                </c:pt>
                <c:pt idx="987">
                  <c:v>0.52591170825335898</c:v>
                </c:pt>
                <c:pt idx="988">
                  <c:v>0.52596439169139497</c:v>
                </c:pt>
                <c:pt idx="989">
                  <c:v>0.52596975673898705</c:v>
                </c:pt>
                <c:pt idx="990">
                  <c:v>0.52603231597845601</c:v>
                </c:pt>
                <c:pt idx="991">
                  <c:v>0.52609308885754602</c:v>
                </c:pt>
                <c:pt idx="992">
                  <c:v>0.52616279069767402</c:v>
                </c:pt>
                <c:pt idx="993">
                  <c:v>0.52631578947368396</c:v>
                </c:pt>
                <c:pt idx="994">
                  <c:v>0.52637749120750299</c:v>
                </c:pt>
                <c:pt idx="995">
                  <c:v>0.52642706131078199</c:v>
                </c:pt>
                <c:pt idx="996">
                  <c:v>0.52643678160919505</c:v>
                </c:pt>
                <c:pt idx="997">
                  <c:v>0.52650176678445204</c:v>
                </c:pt>
                <c:pt idx="998">
                  <c:v>0.52667167543200599</c:v>
                </c:pt>
                <c:pt idx="999">
                  <c:v>0.526984126984127</c:v>
                </c:pt>
                <c:pt idx="1000">
                  <c:v>0.52699784017278595</c:v>
                </c:pt>
                <c:pt idx="1001">
                  <c:v>0.52702702702702697</c:v>
                </c:pt>
                <c:pt idx="1002">
                  <c:v>0.52702702702702697</c:v>
                </c:pt>
                <c:pt idx="1003">
                  <c:v>0.52710027100270995</c:v>
                </c:pt>
                <c:pt idx="1004">
                  <c:v>0.527220630372493</c:v>
                </c:pt>
                <c:pt idx="1005">
                  <c:v>0.52743902439024404</c:v>
                </c:pt>
                <c:pt idx="1006">
                  <c:v>0.527454242928453</c:v>
                </c:pt>
                <c:pt idx="1007">
                  <c:v>0.52759740259740295</c:v>
                </c:pt>
                <c:pt idx="1008">
                  <c:v>0.52768729641693801</c:v>
                </c:pt>
                <c:pt idx="1009">
                  <c:v>0.52773109243697502</c:v>
                </c:pt>
                <c:pt idx="1010">
                  <c:v>0.52777777777777801</c:v>
                </c:pt>
                <c:pt idx="1011">
                  <c:v>0.52779893373952802</c:v>
                </c:pt>
                <c:pt idx="1012">
                  <c:v>0.52798789712556704</c:v>
                </c:pt>
                <c:pt idx="1013">
                  <c:v>0.52808988764044895</c:v>
                </c:pt>
                <c:pt idx="1014">
                  <c:v>0.52830188679245305</c:v>
                </c:pt>
                <c:pt idx="1015">
                  <c:v>0.52830188679245305</c:v>
                </c:pt>
                <c:pt idx="1016">
                  <c:v>0.52834224598930501</c:v>
                </c:pt>
                <c:pt idx="1017">
                  <c:v>0.52835408022130004</c:v>
                </c:pt>
                <c:pt idx="1018">
                  <c:v>0.52848722986247498</c:v>
                </c:pt>
                <c:pt idx="1019">
                  <c:v>0.52848722986247498</c:v>
                </c:pt>
                <c:pt idx="1020">
                  <c:v>0.52859135285913506</c:v>
                </c:pt>
                <c:pt idx="1021">
                  <c:v>0.52880658436214001</c:v>
                </c:pt>
                <c:pt idx="1022">
                  <c:v>0.52885525070955497</c:v>
                </c:pt>
                <c:pt idx="1023">
                  <c:v>0.52892561983471098</c:v>
                </c:pt>
                <c:pt idx="1024">
                  <c:v>0.52924791086350997</c:v>
                </c:pt>
                <c:pt idx="1025">
                  <c:v>0.52928416485900198</c:v>
                </c:pt>
                <c:pt idx="1026">
                  <c:v>0.52941176470588203</c:v>
                </c:pt>
                <c:pt idx="1027">
                  <c:v>0.52941176470588203</c:v>
                </c:pt>
                <c:pt idx="1028">
                  <c:v>0.52958152958153004</c:v>
                </c:pt>
                <c:pt idx="1029">
                  <c:v>0.52962515114872999</c:v>
                </c:pt>
                <c:pt idx="1030">
                  <c:v>0.52963671128107104</c:v>
                </c:pt>
                <c:pt idx="1031">
                  <c:v>0.52975047984644896</c:v>
                </c:pt>
                <c:pt idx="1032">
                  <c:v>0.52985074626865702</c:v>
                </c:pt>
                <c:pt idx="1033">
                  <c:v>0.52991452991453003</c:v>
                </c:pt>
                <c:pt idx="1034">
                  <c:v>0.53003161222339301</c:v>
                </c:pt>
                <c:pt idx="1035">
                  <c:v>0.53035714285714297</c:v>
                </c:pt>
                <c:pt idx="1036">
                  <c:v>0.53043478260869603</c:v>
                </c:pt>
                <c:pt idx="1037">
                  <c:v>0.53051359516616303</c:v>
                </c:pt>
                <c:pt idx="1038">
                  <c:v>0.53071895424836601</c:v>
                </c:pt>
                <c:pt idx="1039">
                  <c:v>0.53073770491803296</c:v>
                </c:pt>
                <c:pt idx="1040">
                  <c:v>0.53076923076923099</c:v>
                </c:pt>
                <c:pt idx="1041">
                  <c:v>0.53078078078078095</c:v>
                </c:pt>
                <c:pt idx="1042">
                  <c:v>0.53080568720379195</c:v>
                </c:pt>
                <c:pt idx="1043">
                  <c:v>0.53089887640449396</c:v>
                </c:pt>
                <c:pt idx="1044">
                  <c:v>0.53094606542882405</c:v>
                </c:pt>
                <c:pt idx="1045">
                  <c:v>0.53103448275862097</c:v>
                </c:pt>
                <c:pt idx="1046">
                  <c:v>0.53111111111111098</c:v>
                </c:pt>
                <c:pt idx="1047">
                  <c:v>0.53125</c:v>
                </c:pt>
                <c:pt idx="1048">
                  <c:v>0.53138075313807498</c:v>
                </c:pt>
                <c:pt idx="1049">
                  <c:v>0.53153153153153199</c:v>
                </c:pt>
                <c:pt idx="1050">
                  <c:v>0.53156384505021503</c:v>
                </c:pt>
                <c:pt idx="1051">
                  <c:v>0.53182308522114397</c:v>
                </c:pt>
                <c:pt idx="1052">
                  <c:v>0.531835205992509</c:v>
                </c:pt>
                <c:pt idx="1053">
                  <c:v>0.53191489361702105</c:v>
                </c:pt>
                <c:pt idx="1054">
                  <c:v>0.53191489361702105</c:v>
                </c:pt>
                <c:pt idx="1055">
                  <c:v>0.53234175025942598</c:v>
                </c:pt>
                <c:pt idx="1056">
                  <c:v>0.53235908141962396</c:v>
                </c:pt>
                <c:pt idx="1057">
                  <c:v>0.53237410071942404</c:v>
                </c:pt>
                <c:pt idx="1058">
                  <c:v>0.532407407407407</c:v>
                </c:pt>
                <c:pt idx="1059">
                  <c:v>0.532407407407407</c:v>
                </c:pt>
                <c:pt idx="1060">
                  <c:v>0.53244592346089803</c:v>
                </c:pt>
                <c:pt idx="1061">
                  <c:v>0.53246753246753198</c:v>
                </c:pt>
                <c:pt idx="1062">
                  <c:v>0.53267045454545503</c:v>
                </c:pt>
                <c:pt idx="1063">
                  <c:v>0.53277310924369703</c:v>
                </c:pt>
                <c:pt idx="1064">
                  <c:v>0.53295128939828096</c:v>
                </c:pt>
                <c:pt idx="1065">
                  <c:v>0.53296703296703296</c:v>
                </c:pt>
                <c:pt idx="1066">
                  <c:v>0.53319171534784904</c:v>
                </c:pt>
                <c:pt idx="1067">
                  <c:v>0.53322528363046995</c:v>
                </c:pt>
                <c:pt idx="1068">
                  <c:v>0.53333333333333299</c:v>
                </c:pt>
                <c:pt idx="1069">
                  <c:v>0.53353658536585402</c:v>
                </c:pt>
                <c:pt idx="1070">
                  <c:v>0.53398058252427205</c:v>
                </c:pt>
                <c:pt idx="1071">
                  <c:v>0.53398058252427205</c:v>
                </c:pt>
                <c:pt idx="1072">
                  <c:v>0.53409090909090895</c:v>
                </c:pt>
                <c:pt idx="1073">
                  <c:v>0.53413654618473905</c:v>
                </c:pt>
                <c:pt idx="1074">
                  <c:v>0.53429602888086603</c:v>
                </c:pt>
                <c:pt idx="1075">
                  <c:v>0.53448275862068995</c:v>
                </c:pt>
                <c:pt idx="1076">
                  <c:v>0.53477218225419698</c:v>
                </c:pt>
                <c:pt idx="1077">
                  <c:v>0.53485254691688999</c:v>
                </c:pt>
                <c:pt idx="1078">
                  <c:v>0.53488372093023295</c:v>
                </c:pt>
                <c:pt idx="1079">
                  <c:v>0.53512705530642701</c:v>
                </c:pt>
                <c:pt idx="1080">
                  <c:v>0.53515625</c:v>
                </c:pt>
                <c:pt idx="1081">
                  <c:v>0.53521126760563398</c:v>
                </c:pt>
                <c:pt idx="1082">
                  <c:v>0.53528399311531805</c:v>
                </c:pt>
                <c:pt idx="1083">
                  <c:v>0.53540462427745705</c:v>
                </c:pt>
                <c:pt idx="1084">
                  <c:v>0.535433070866142</c:v>
                </c:pt>
                <c:pt idx="1085">
                  <c:v>0.53571428571428603</c:v>
                </c:pt>
                <c:pt idx="1086">
                  <c:v>0.53594771241830097</c:v>
                </c:pt>
                <c:pt idx="1087">
                  <c:v>0.53598014888337497</c:v>
                </c:pt>
                <c:pt idx="1088">
                  <c:v>0.53599071207430304</c:v>
                </c:pt>
                <c:pt idx="1089">
                  <c:v>0.53599476439790605</c:v>
                </c:pt>
                <c:pt idx="1090">
                  <c:v>0.53615279672578398</c:v>
                </c:pt>
                <c:pt idx="1091">
                  <c:v>0.53623188405797095</c:v>
                </c:pt>
                <c:pt idx="1092">
                  <c:v>0.53647058823529403</c:v>
                </c:pt>
                <c:pt idx="1093">
                  <c:v>0.53647058823529403</c:v>
                </c:pt>
                <c:pt idx="1094">
                  <c:v>0.53658536585365901</c:v>
                </c:pt>
                <c:pt idx="1095">
                  <c:v>0.53680430879712704</c:v>
                </c:pt>
                <c:pt idx="1096">
                  <c:v>0.53682170542635699</c:v>
                </c:pt>
                <c:pt idx="1097">
                  <c:v>0.536922209695603</c:v>
                </c:pt>
                <c:pt idx="1098">
                  <c:v>0.53703703703703698</c:v>
                </c:pt>
                <c:pt idx="1099">
                  <c:v>0.53703703703703698</c:v>
                </c:pt>
                <c:pt idx="1100">
                  <c:v>0.53705815279361502</c:v>
                </c:pt>
                <c:pt idx="1101">
                  <c:v>0.53714285714285703</c:v>
                </c:pt>
                <c:pt idx="1102">
                  <c:v>0.53723404255319196</c:v>
                </c:pt>
                <c:pt idx="1103">
                  <c:v>0.53754940711462496</c:v>
                </c:pt>
                <c:pt idx="1104">
                  <c:v>0.53759535052669805</c:v>
                </c:pt>
                <c:pt idx="1105">
                  <c:v>0.53773584905660399</c:v>
                </c:pt>
                <c:pt idx="1106">
                  <c:v>0.53789004457652301</c:v>
                </c:pt>
                <c:pt idx="1107">
                  <c:v>0.53789731051344702</c:v>
                </c:pt>
                <c:pt idx="1108">
                  <c:v>0.53816046966731901</c:v>
                </c:pt>
                <c:pt idx="1109">
                  <c:v>0.53819444444444398</c:v>
                </c:pt>
                <c:pt idx="1110">
                  <c:v>0.53824362606232301</c:v>
                </c:pt>
                <c:pt idx="1111">
                  <c:v>0.53846153846153799</c:v>
                </c:pt>
                <c:pt idx="1112">
                  <c:v>0.53846153846153799</c:v>
                </c:pt>
                <c:pt idx="1113">
                  <c:v>0.53846153846153799</c:v>
                </c:pt>
                <c:pt idx="1114">
                  <c:v>0.53846153846153799</c:v>
                </c:pt>
                <c:pt idx="1115">
                  <c:v>0.53851540616246496</c:v>
                </c:pt>
                <c:pt idx="1116">
                  <c:v>0.53860407659048803</c:v>
                </c:pt>
                <c:pt idx="1117">
                  <c:v>0.53863636363636402</c:v>
                </c:pt>
                <c:pt idx="1118">
                  <c:v>0.53866146848603003</c:v>
                </c:pt>
                <c:pt idx="1119">
                  <c:v>0.53875968992248102</c:v>
                </c:pt>
                <c:pt idx="1120">
                  <c:v>0.53881278538812805</c:v>
                </c:pt>
                <c:pt idx="1121">
                  <c:v>0.538834951456311</c:v>
                </c:pt>
                <c:pt idx="1122">
                  <c:v>0.53900709219858201</c:v>
                </c:pt>
                <c:pt idx="1123">
                  <c:v>0.53908484270734003</c:v>
                </c:pt>
                <c:pt idx="1124">
                  <c:v>0.53921568627451</c:v>
                </c:pt>
                <c:pt idx="1125">
                  <c:v>0.53939393939393898</c:v>
                </c:pt>
                <c:pt idx="1126">
                  <c:v>0.53947368421052599</c:v>
                </c:pt>
                <c:pt idx="1127">
                  <c:v>0.53947368421052599</c:v>
                </c:pt>
                <c:pt idx="1128">
                  <c:v>0.53956834532374098</c:v>
                </c:pt>
                <c:pt idx="1129">
                  <c:v>0.53975363941769305</c:v>
                </c:pt>
                <c:pt idx="1130">
                  <c:v>0.53978779840848801</c:v>
                </c:pt>
                <c:pt idx="1131">
                  <c:v>0.54</c:v>
                </c:pt>
                <c:pt idx="1132">
                  <c:v>0.54</c:v>
                </c:pt>
                <c:pt idx="1133">
                  <c:v>0.54</c:v>
                </c:pt>
                <c:pt idx="1134">
                  <c:v>0.54</c:v>
                </c:pt>
                <c:pt idx="1135">
                  <c:v>0.54008438818565396</c:v>
                </c:pt>
                <c:pt idx="1136">
                  <c:v>0.54009900990099002</c:v>
                </c:pt>
                <c:pt idx="1137">
                  <c:v>0.54012561060711795</c:v>
                </c:pt>
                <c:pt idx="1138">
                  <c:v>0.54030874785591798</c:v>
                </c:pt>
                <c:pt idx="1139">
                  <c:v>0.54037267080745299</c:v>
                </c:pt>
                <c:pt idx="1140">
                  <c:v>0.54038461538461502</c:v>
                </c:pt>
                <c:pt idx="1141">
                  <c:v>0.54040404040404</c:v>
                </c:pt>
                <c:pt idx="1142">
                  <c:v>0.54054054054054101</c:v>
                </c:pt>
                <c:pt idx="1143">
                  <c:v>0.54092920353982299</c:v>
                </c:pt>
                <c:pt idx="1144">
                  <c:v>0.54096045197740095</c:v>
                </c:pt>
                <c:pt idx="1145">
                  <c:v>0.54138999557326195</c:v>
                </c:pt>
                <c:pt idx="1146">
                  <c:v>0.54146806482364196</c:v>
                </c:pt>
                <c:pt idx="1147">
                  <c:v>0.541534559289791</c:v>
                </c:pt>
                <c:pt idx="1148">
                  <c:v>0.54166666666666696</c:v>
                </c:pt>
                <c:pt idx="1149">
                  <c:v>0.54166666666666696</c:v>
                </c:pt>
                <c:pt idx="1150">
                  <c:v>0.54193548387096802</c:v>
                </c:pt>
                <c:pt idx="1151">
                  <c:v>0.54205607476635498</c:v>
                </c:pt>
                <c:pt idx="1152">
                  <c:v>0.54210526315789498</c:v>
                </c:pt>
                <c:pt idx="1153">
                  <c:v>0.54214123006833703</c:v>
                </c:pt>
                <c:pt idx="1154">
                  <c:v>0.54234234234234202</c:v>
                </c:pt>
                <c:pt idx="1155">
                  <c:v>0.54247572815533995</c:v>
                </c:pt>
                <c:pt idx="1156">
                  <c:v>0.54249547920434005</c:v>
                </c:pt>
                <c:pt idx="1157">
                  <c:v>0.54252199413489699</c:v>
                </c:pt>
                <c:pt idx="1158">
                  <c:v>0.54252873563218396</c:v>
                </c:pt>
                <c:pt idx="1159">
                  <c:v>0.54259043173862298</c:v>
                </c:pt>
                <c:pt idx="1160">
                  <c:v>0.54279749478079298</c:v>
                </c:pt>
                <c:pt idx="1161">
                  <c:v>0.54285714285714304</c:v>
                </c:pt>
                <c:pt idx="1162">
                  <c:v>0.54290718038528896</c:v>
                </c:pt>
                <c:pt idx="1163">
                  <c:v>0.54294803817603399</c:v>
                </c:pt>
                <c:pt idx="1164">
                  <c:v>0.54304635761589404</c:v>
                </c:pt>
                <c:pt idx="1165">
                  <c:v>0.54305200341005999</c:v>
                </c:pt>
                <c:pt idx="1166">
                  <c:v>0.54319180087847696</c:v>
                </c:pt>
                <c:pt idx="1167">
                  <c:v>0.54337899543378998</c:v>
                </c:pt>
                <c:pt idx="1168">
                  <c:v>0.543396226415094</c:v>
                </c:pt>
                <c:pt idx="1169">
                  <c:v>0.54347826086956497</c:v>
                </c:pt>
                <c:pt idx="1170">
                  <c:v>0.54351145038167903</c:v>
                </c:pt>
                <c:pt idx="1171">
                  <c:v>0.54358270418668497</c:v>
                </c:pt>
                <c:pt idx="1172">
                  <c:v>0.54362416107382505</c:v>
                </c:pt>
                <c:pt idx="1173">
                  <c:v>0.54365733113673798</c:v>
                </c:pt>
                <c:pt idx="1174">
                  <c:v>0.54368932038834905</c:v>
                </c:pt>
                <c:pt idx="1175">
                  <c:v>0.54368932038834905</c:v>
                </c:pt>
                <c:pt idx="1176">
                  <c:v>0.543744889615699</c:v>
                </c:pt>
                <c:pt idx="1177">
                  <c:v>0.54385964912280704</c:v>
                </c:pt>
                <c:pt idx="1178">
                  <c:v>0.54386617100371704</c:v>
                </c:pt>
                <c:pt idx="1179">
                  <c:v>0.54415274463007202</c:v>
                </c:pt>
                <c:pt idx="1180">
                  <c:v>0.54424778761061898</c:v>
                </c:pt>
                <c:pt idx="1181">
                  <c:v>0.54427083333333304</c:v>
                </c:pt>
                <c:pt idx="1182">
                  <c:v>0.544303797468354</c:v>
                </c:pt>
                <c:pt idx="1183">
                  <c:v>0.54432855280312897</c:v>
                </c:pt>
                <c:pt idx="1184">
                  <c:v>0.54444444444444395</c:v>
                </c:pt>
                <c:pt idx="1185">
                  <c:v>0.54446854663774402</c:v>
                </c:pt>
                <c:pt idx="1186">
                  <c:v>0.54455445544554504</c:v>
                </c:pt>
                <c:pt idx="1187">
                  <c:v>0.54482758620689697</c:v>
                </c:pt>
                <c:pt idx="1188">
                  <c:v>0.54500000000000004</c:v>
                </c:pt>
                <c:pt idx="1189">
                  <c:v>0.54502369668246398</c:v>
                </c:pt>
                <c:pt idx="1190">
                  <c:v>0.54504504504504503</c:v>
                </c:pt>
                <c:pt idx="1191">
                  <c:v>0.54507042253521099</c:v>
                </c:pt>
                <c:pt idx="1192">
                  <c:v>0.54521625163827003</c:v>
                </c:pt>
                <c:pt idx="1193">
                  <c:v>0.54525862068965503</c:v>
                </c:pt>
                <c:pt idx="1194">
                  <c:v>0.54537850271852795</c:v>
                </c:pt>
                <c:pt idx="1195">
                  <c:v>0.54545454545454497</c:v>
                </c:pt>
                <c:pt idx="1196">
                  <c:v>0.54545454545454497</c:v>
                </c:pt>
                <c:pt idx="1197">
                  <c:v>0.54557551563539597</c:v>
                </c:pt>
                <c:pt idx="1198">
                  <c:v>0.545662100456621</c:v>
                </c:pt>
                <c:pt idx="1199">
                  <c:v>0.54567901234567895</c:v>
                </c:pt>
                <c:pt idx="1200">
                  <c:v>0.54570446735395195</c:v>
                </c:pt>
                <c:pt idx="1201">
                  <c:v>0.545768566493955</c:v>
                </c:pt>
                <c:pt idx="1202">
                  <c:v>0.54581673306772904</c:v>
                </c:pt>
                <c:pt idx="1203">
                  <c:v>0.54581673306772904</c:v>
                </c:pt>
                <c:pt idx="1204">
                  <c:v>0.54583333333333295</c:v>
                </c:pt>
                <c:pt idx="1205">
                  <c:v>0.54589371980676304</c:v>
                </c:pt>
                <c:pt idx="1206">
                  <c:v>0.54605263157894701</c:v>
                </c:pt>
                <c:pt idx="1207">
                  <c:v>0.54609929078014197</c:v>
                </c:pt>
                <c:pt idx="1208">
                  <c:v>0.54639175257731998</c:v>
                </c:pt>
                <c:pt idx="1209">
                  <c:v>0.54651162790697705</c:v>
                </c:pt>
                <c:pt idx="1210">
                  <c:v>0.54655380894800498</c:v>
                </c:pt>
                <c:pt idx="1211">
                  <c:v>0.54681647940074896</c:v>
                </c:pt>
                <c:pt idx="1212">
                  <c:v>0.54683195592286504</c:v>
                </c:pt>
                <c:pt idx="1213">
                  <c:v>0.546875</c:v>
                </c:pt>
                <c:pt idx="1214">
                  <c:v>0.54716981132075504</c:v>
                </c:pt>
                <c:pt idx="1215">
                  <c:v>0.54716981132075504</c:v>
                </c:pt>
                <c:pt idx="1216">
                  <c:v>0.54716981132075504</c:v>
                </c:pt>
                <c:pt idx="1217">
                  <c:v>0.54720439963336398</c:v>
                </c:pt>
                <c:pt idx="1218">
                  <c:v>0.54748603351955305</c:v>
                </c:pt>
                <c:pt idx="1219">
                  <c:v>0.54753643303261601</c:v>
                </c:pt>
                <c:pt idx="1220">
                  <c:v>0.54758620689655202</c:v>
                </c:pt>
                <c:pt idx="1221">
                  <c:v>0.547619047619048</c:v>
                </c:pt>
                <c:pt idx="1222">
                  <c:v>0.54765751211631697</c:v>
                </c:pt>
                <c:pt idx="1223">
                  <c:v>0.54770318021201403</c:v>
                </c:pt>
                <c:pt idx="1224">
                  <c:v>0.547770700636943</c:v>
                </c:pt>
                <c:pt idx="1225">
                  <c:v>0.54777845404747405</c:v>
                </c:pt>
                <c:pt idx="1226">
                  <c:v>0.54801856479828603</c:v>
                </c:pt>
                <c:pt idx="1227">
                  <c:v>0.54807692307692302</c:v>
                </c:pt>
                <c:pt idx="1228">
                  <c:v>0.54818325434439197</c:v>
                </c:pt>
                <c:pt idx="1229">
                  <c:v>0.54819277108433695</c:v>
                </c:pt>
                <c:pt idx="1230">
                  <c:v>0.54827586206896495</c:v>
                </c:pt>
                <c:pt idx="1231">
                  <c:v>0.54827586206896495</c:v>
                </c:pt>
                <c:pt idx="1232">
                  <c:v>0.54829545454545503</c:v>
                </c:pt>
                <c:pt idx="1233">
                  <c:v>0.54838709677419295</c:v>
                </c:pt>
                <c:pt idx="1234">
                  <c:v>0.54838709677419295</c:v>
                </c:pt>
                <c:pt idx="1235">
                  <c:v>0.54844720496894395</c:v>
                </c:pt>
                <c:pt idx="1236">
                  <c:v>0.54848484848484802</c:v>
                </c:pt>
                <c:pt idx="1237">
                  <c:v>0.54857819905213301</c:v>
                </c:pt>
                <c:pt idx="1238">
                  <c:v>0.54861111111111105</c:v>
                </c:pt>
                <c:pt idx="1239">
                  <c:v>0.54863221884498503</c:v>
                </c:pt>
                <c:pt idx="1240">
                  <c:v>0.54888268156424602</c:v>
                </c:pt>
                <c:pt idx="1241">
                  <c:v>0.54897815362931601</c:v>
                </c:pt>
                <c:pt idx="1242">
                  <c:v>0.54903758020165006</c:v>
                </c:pt>
                <c:pt idx="1243">
                  <c:v>0.54905660377358501</c:v>
                </c:pt>
                <c:pt idx="1244">
                  <c:v>0.54917387883556301</c:v>
                </c:pt>
                <c:pt idx="1245">
                  <c:v>0.54927007299270103</c:v>
                </c:pt>
                <c:pt idx="1246">
                  <c:v>0.549275362318841</c:v>
                </c:pt>
                <c:pt idx="1247">
                  <c:v>0.54929577464788704</c:v>
                </c:pt>
                <c:pt idx="1248">
                  <c:v>0.54954954954955004</c:v>
                </c:pt>
                <c:pt idx="1249">
                  <c:v>0.549562682215743</c:v>
                </c:pt>
                <c:pt idx="1250">
                  <c:v>0.54959630911187995</c:v>
                </c:pt>
                <c:pt idx="1251">
                  <c:v>0.54961832061068705</c:v>
                </c:pt>
                <c:pt idx="1252">
                  <c:v>0.54983922829581999</c:v>
                </c:pt>
                <c:pt idx="1253">
                  <c:v>0.55000000000000004</c:v>
                </c:pt>
                <c:pt idx="1254">
                  <c:v>0.55000000000000004</c:v>
                </c:pt>
                <c:pt idx="1255">
                  <c:v>0.55000000000000004</c:v>
                </c:pt>
                <c:pt idx="1256">
                  <c:v>0.55000000000000004</c:v>
                </c:pt>
                <c:pt idx="1257">
                  <c:v>0.55008488964346303</c:v>
                </c:pt>
                <c:pt idx="1258">
                  <c:v>0.55013192612137196</c:v>
                </c:pt>
                <c:pt idx="1259">
                  <c:v>0.55018587360594795</c:v>
                </c:pt>
                <c:pt idx="1260">
                  <c:v>0.55037468776020004</c:v>
                </c:pt>
                <c:pt idx="1261">
                  <c:v>0.55097613882863306</c:v>
                </c:pt>
                <c:pt idx="1262">
                  <c:v>0.55102040816326503</c:v>
                </c:pt>
                <c:pt idx="1263">
                  <c:v>0.55120101137800204</c:v>
                </c:pt>
                <c:pt idx="1264">
                  <c:v>0.55172413793103403</c:v>
                </c:pt>
                <c:pt idx="1265">
                  <c:v>0.55172413793103403</c:v>
                </c:pt>
                <c:pt idx="1266">
                  <c:v>0.55185659411011501</c:v>
                </c:pt>
                <c:pt idx="1267">
                  <c:v>0.55200000000000005</c:v>
                </c:pt>
                <c:pt idx="1268">
                  <c:v>0.55202312138728304</c:v>
                </c:pt>
                <c:pt idx="1269">
                  <c:v>0.55206611570247899</c:v>
                </c:pt>
                <c:pt idx="1270">
                  <c:v>0.55208333333333304</c:v>
                </c:pt>
                <c:pt idx="1271">
                  <c:v>0.55212355212355202</c:v>
                </c:pt>
                <c:pt idx="1272">
                  <c:v>0.55214723926380405</c:v>
                </c:pt>
                <c:pt idx="1273">
                  <c:v>0.55218855218855201</c:v>
                </c:pt>
                <c:pt idx="1274">
                  <c:v>0.55220228384991799</c:v>
                </c:pt>
                <c:pt idx="1275">
                  <c:v>0.55234657039711199</c:v>
                </c:pt>
                <c:pt idx="1276">
                  <c:v>0.55244755244755195</c:v>
                </c:pt>
                <c:pt idx="1277">
                  <c:v>0.55249999999999999</c:v>
                </c:pt>
                <c:pt idx="1278">
                  <c:v>0.55263157894736803</c:v>
                </c:pt>
                <c:pt idx="1279">
                  <c:v>0.55263157894736803</c:v>
                </c:pt>
                <c:pt idx="1280">
                  <c:v>0.55263157894736803</c:v>
                </c:pt>
                <c:pt idx="1281">
                  <c:v>0.552795031055901</c:v>
                </c:pt>
                <c:pt idx="1282">
                  <c:v>0.55284552845528501</c:v>
                </c:pt>
                <c:pt idx="1283">
                  <c:v>0.55294117647058805</c:v>
                </c:pt>
                <c:pt idx="1284">
                  <c:v>0.55303030303030298</c:v>
                </c:pt>
                <c:pt idx="1285">
                  <c:v>0.55303030303030298</c:v>
                </c:pt>
                <c:pt idx="1286">
                  <c:v>0.55308641975308603</c:v>
                </c:pt>
                <c:pt idx="1287">
                  <c:v>0.553097345132743</c:v>
                </c:pt>
                <c:pt idx="1288">
                  <c:v>0.55315614617940201</c:v>
                </c:pt>
                <c:pt idx="1289">
                  <c:v>0.55319148936170204</c:v>
                </c:pt>
                <c:pt idx="1290">
                  <c:v>0.55333333333333301</c:v>
                </c:pt>
                <c:pt idx="1291">
                  <c:v>0.55335968379446598</c:v>
                </c:pt>
                <c:pt idx="1292">
                  <c:v>0.55373134328358198</c:v>
                </c:pt>
                <c:pt idx="1293">
                  <c:v>0.55380577427821498</c:v>
                </c:pt>
                <c:pt idx="1294">
                  <c:v>0.55383022774327095</c:v>
                </c:pt>
                <c:pt idx="1295">
                  <c:v>0.55397727272727304</c:v>
                </c:pt>
                <c:pt idx="1296">
                  <c:v>0.55399061032863794</c:v>
                </c:pt>
                <c:pt idx="1297">
                  <c:v>0.55407565263718705</c:v>
                </c:pt>
                <c:pt idx="1298">
                  <c:v>0.55408560311284005</c:v>
                </c:pt>
                <c:pt idx="1299">
                  <c:v>0.55410691003911305</c:v>
                </c:pt>
                <c:pt idx="1300">
                  <c:v>0.55421686746987997</c:v>
                </c:pt>
                <c:pt idx="1301">
                  <c:v>0.55428571428571405</c:v>
                </c:pt>
                <c:pt idx="1302">
                  <c:v>0.55439459127227997</c:v>
                </c:pt>
                <c:pt idx="1303">
                  <c:v>0.55440414507771996</c:v>
                </c:pt>
                <c:pt idx="1304">
                  <c:v>0.55462184873949605</c:v>
                </c:pt>
                <c:pt idx="1305">
                  <c:v>0.55463059313215402</c:v>
                </c:pt>
                <c:pt idx="1306">
                  <c:v>0.55472636815920395</c:v>
                </c:pt>
                <c:pt idx="1307">
                  <c:v>0.55475763016157997</c:v>
                </c:pt>
                <c:pt idx="1308">
                  <c:v>0.55480378890392401</c:v>
                </c:pt>
                <c:pt idx="1309">
                  <c:v>0.554838709677419</c:v>
                </c:pt>
                <c:pt idx="1310">
                  <c:v>0.55508474576271205</c:v>
                </c:pt>
                <c:pt idx="1311">
                  <c:v>0.55513307984790905</c:v>
                </c:pt>
                <c:pt idx="1312">
                  <c:v>0.555172413793103</c:v>
                </c:pt>
                <c:pt idx="1313">
                  <c:v>0.55518394648829394</c:v>
                </c:pt>
                <c:pt idx="1314">
                  <c:v>0.55524734165510903</c:v>
                </c:pt>
                <c:pt idx="1315">
                  <c:v>0.55524861878453002</c:v>
                </c:pt>
                <c:pt idx="1316">
                  <c:v>0.55525606469002697</c:v>
                </c:pt>
                <c:pt idx="1317">
                  <c:v>0.55526315789473701</c:v>
                </c:pt>
                <c:pt idx="1318">
                  <c:v>0.55542021924482299</c:v>
                </c:pt>
                <c:pt idx="1319">
                  <c:v>0.55555555555555602</c:v>
                </c:pt>
                <c:pt idx="1320">
                  <c:v>0.55555555555555602</c:v>
                </c:pt>
                <c:pt idx="1321">
                  <c:v>0.55555555555555602</c:v>
                </c:pt>
                <c:pt idx="1322">
                  <c:v>0.55555555555555602</c:v>
                </c:pt>
                <c:pt idx="1323">
                  <c:v>0.55555555555555602</c:v>
                </c:pt>
                <c:pt idx="1324">
                  <c:v>0.55555555555555602</c:v>
                </c:pt>
                <c:pt idx="1325">
                  <c:v>0.55555555555555602</c:v>
                </c:pt>
                <c:pt idx="1326">
                  <c:v>0.55555555555555602</c:v>
                </c:pt>
                <c:pt idx="1327">
                  <c:v>0.55555555555555602</c:v>
                </c:pt>
                <c:pt idx="1328">
                  <c:v>0.55564715581203605</c:v>
                </c:pt>
                <c:pt idx="1329">
                  <c:v>0.55571227080394903</c:v>
                </c:pt>
                <c:pt idx="1330">
                  <c:v>0.55574614065180095</c:v>
                </c:pt>
                <c:pt idx="1331">
                  <c:v>0.55576923076923102</c:v>
                </c:pt>
                <c:pt idx="1332">
                  <c:v>0.55589123867069501</c:v>
                </c:pt>
                <c:pt idx="1333">
                  <c:v>0.55594817432273302</c:v>
                </c:pt>
                <c:pt idx="1334">
                  <c:v>0.55598208573256602</c:v>
                </c:pt>
                <c:pt idx="1335">
                  <c:v>0.55606407322654505</c:v>
                </c:pt>
                <c:pt idx="1336">
                  <c:v>0.55624036979969205</c:v>
                </c:pt>
                <c:pt idx="1337">
                  <c:v>0.556291390728477</c:v>
                </c:pt>
                <c:pt idx="1338">
                  <c:v>0.556412729026037</c:v>
                </c:pt>
                <c:pt idx="1339">
                  <c:v>0.55645161290322598</c:v>
                </c:pt>
                <c:pt idx="1340">
                  <c:v>0.55646551724137905</c:v>
                </c:pt>
                <c:pt idx="1341">
                  <c:v>0.55648535564853596</c:v>
                </c:pt>
                <c:pt idx="1342">
                  <c:v>0.55681818181818199</c:v>
                </c:pt>
                <c:pt idx="1343">
                  <c:v>0.55694618272841101</c:v>
                </c:pt>
                <c:pt idx="1344">
                  <c:v>0.55699658703071697</c:v>
                </c:pt>
                <c:pt idx="1345">
                  <c:v>0.55704697986577201</c:v>
                </c:pt>
                <c:pt idx="1346">
                  <c:v>0.55724299065420602</c:v>
                </c:pt>
                <c:pt idx="1347">
                  <c:v>0.55754475703324802</c:v>
                </c:pt>
                <c:pt idx="1348">
                  <c:v>0.55757261410788395</c:v>
                </c:pt>
                <c:pt idx="1349">
                  <c:v>0.55757575757575795</c:v>
                </c:pt>
                <c:pt idx="1350">
                  <c:v>0.55757575757575795</c:v>
                </c:pt>
                <c:pt idx="1351">
                  <c:v>0.55769230769230804</c:v>
                </c:pt>
                <c:pt idx="1352">
                  <c:v>0.55778894472361795</c:v>
                </c:pt>
                <c:pt idx="1353">
                  <c:v>0.55791962174940901</c:v>
                </c:pt>
                <c:pt idx="1354">
                  <c:v>0.55807365439093504</c:v>
                </c:pt>
                <c:pt idx="1355">
                  <c:v>0.55809859154929597</c:v>
                </c:pt>
                <c:pt idx="1356">
                  <c:v>0.55813953488372103</c:v>
                </c:pt>
                <c:pt idx="1357">
                  <c:v>0.55836849507735598</c:v>
                </c:pt>
                <c:pt idx="1358">
                  <c:v>0.55837563451776595</c:v>
                </c:pt>
                <c:pt idx="1359">
                  <c:v>0.55844155844155796</c:v>
                </c:pt>
                <c:pt idx="1360">
                  <c:v>0.55851063829787195</c:v>
                </c:pt>
                <c:pt idx="1361">
                  <c:v>0.55858930602957901</c:v>
                </c:pt>
                <c:pt idx="1362">
                  <c:v>0.55862068965517198</c:v>
                </c:pt>
                <c:pt idx="1363">
                  <c:v>0.55862068965517198</c:v>
                </c:pt>
                <c:pt idx="1364">
                  <c:v>0.55865921787709505</c:v>
                </c:pt>
                <c:pt idx="1365">
                  <c:v>0.55870445344129605</c:v>
                </c:pt>
                <c:pt idx="1366">
                  <c:v>0.55875576036866403</c:v>
                </c:pt>
                <c:pt idx="1367">
                  <c:v>0.55875952121871597</c:v>
                </c:pt>
                <c:pt idx="1368">
                  <c:v>0.55882352941176505</c:v>
                </c:pt>
                <c:pt idx="1369">
                  <c:v>0.55891238670694898</c:v>
                </c:pt>
                <c:pt idx="1370">
                  <c:v>0.55892255892255904</c:v>
                </c:pt>
                <c:pt idx="1371">
                  <c:v>0.55892648774795795</c:v>
                </c:pt>
                <c:pt idx="1372">
                  <c:v>0.55895196506550204</c:v>
                </c:pt>
                <c:pt idx="1373">
                  <c:v>0.55902306648575295</c:v>
                </c:pt>
                <c:pt idx="1374">
                  <c:v>0.55911823647294601</c:v>
                </c:pt>
                <c:pt idx="1375">
                  <c:v>0.55913978494623595</c:v>
                </c:pt>
                <c:pt idx="1376">
                  <c:v>0.55913978494623595</c:v>
                </c:pt>
                <c:pt idx="1377">
                  <c:v>0.559241706161137</c:v>
                </c:pt>
                <c:pt idx="1378">
                  <c:v>0.55925925925925901</c:v>
                </c:pt>
                <c:pt idx="1379">
                  <c:v>0.55932203389830504</c:v>
                </c:pt>
                <c:pt idx="1380">
                  <c:v>0.55932203389830504</c:v>
                </c:pt>
                <c:pt idx="1381">
                  <c:v>0.55940594059405901</c:v>
                </c:pt>
                <c:pt idx="1382">
                  <c:v>0.55958549222797904</c:v>
                </c:pt>
                <c:pt idx="1383">
                  <c:v>0.559782608695652</c:v>
                </c:pt>
                <c:pt idx="1384">
                  <c:v>0.55982274741506599</c:v>
                </c:pt>
                <c:pt idx="1385">
                  <c:v>0.55987055016181198</c:v>
                </c:pt>
                <c:pt idx="1386">
                  <c:v>0.55993690851735001</c:v>
                </c:pt>
                <c:pt idx="1387">
                  <c:v>0.55994152046783596</c:v>
                </c:pt>
                <c:pt idx="1388">
                  <c:v>0.56000000000000005</c:v>
                </c:pt>
                <c:pt idx="1389">
                  <c:v>0.56006768189509304</c:v>
                </c:pt>
                <c:pt idx="1390">
                  <c:v>0.560165975103734</c:v>
                </c:pt>
                <c:pt idx="1391">
                  <c:v>0.56027397260274003</c:v>
                </c:pt>
                <c:pt idx="1392">
                  <c:v>0.56038647342995196</c:v>
                </c:pt>
                <c:pt idx="1393">
                  <c:v>0.56043956043956</c:v>
                </c:pt>
                <c:pt idx="1394">
                  <c:v>0.56051873198847302</c:v>
                </c:pt>
                <c:pt idx="1395">
                  <c:v>0.56063268892794405</c:v>
                </c:pt>
                <c:pt idx="1396">
                  <c:v>0.56063268892794405</c:v>
                </c:pt>
                <c:pt idx="1397">
                  <c:v>0.56066945606694596</c:v>
                </c:pt>
                <c:pt idx="1398">
                  <c:v>0.56074766355140204</c:v>
                </c:pt>
                <c:pt idx="1399">
                  <c:v>0.56085409252669005</c:v>
                </c:pt>
                <c:pt idx="1400">
                  <c:v>0.56088082901554404</c:v>
                </c:pt>
                <c:pt idx="1401">
                  <c:v>0.56088888888888899</c:v>
                </c:pt>
                <c:pt idx="1402">
                  <c:v>0.56090651558073701</c:v>
                </c:pt>
                <c:pt idx="1403">
                  <c:v>0.56097560975609795</c:v>
                </c:pt>
                <c:pt idx="1404">
                  <c:v>0.56097560975609795</c:v>
                </c:pt>
                <c:pt idx="1405">
                  <c:v>0.56102362204724399</c:v>
                </c:pt>
                <c:pt idx="1406">
                  <c:v>0.56102564102564101</c:v>
                </c:pt>
                <c:pt idx="1407">
                  <c:v>0.56105990783410098</c:v>
                </c:pt>
                <c:pt idx="1408">
                  <c:v>0.56113902847571195</c:v>
                </c:pt>
                <c:pt idx="1409">
                  <c:v>0.56127886323268195</c:v>
                </c:pt>
                <c:pt idx="1410">
                  <c:v>0.56134969325153405</c:v>
                </c:pt>
                <c:pt idx="1411">
                  <c:v>0.56140350877193002</c:v>
                </c:pt>
                <c:pt idx="1412">
                  <c:v>0.56153846153846199</c:v>
                </c:pt>
                <c:pt idx="1413">
                  <c:v>0.561546286876907</c:v>
                </c:pt>
                <c:pt idx="1414">
                  <c:v>0.561594202898551</c:v>
                </c:pt>
                <c:pt idx="1415">
                  <c:v>0.56169429097605905</c:v>
                </c:pt>
                <c:pt idx="1416">
                  <c:v>0.56172328086164003</c:v>
                </c:pt>
                <c:pt idx="1417">
                  <c:v>0.56183745583038902</c:v>
                </c:pt>
                <c:pt idx="1418">
                  <c:v>0.56209150326797397</c:v>
                </c:pt>
                <c:pt idx="1419">
                  <c:v>0.56209150326797397</c:v>
                </c:pt>
                <c:pt idx="1420">
                  <c:v>0.56228373702422096</c:v>
                </c:pt>
                <c:pt idx="1421">
                  <c:v>0.56228956228956195</c:v>
                </c:pt>
                <c:pt idx="1422">
                  <c:v>0.5625</c:v>
                </c:pt>
                <c:pt idx="1423">
                  <c:v>0.5625</c:v>
                </c:pt>
                <c:pt idx="1424">
                  <c:v>0.5625</c:v>
                </c:pt>
                <c:pt idx="1425">
                  <c:v>0.5625</c:v>
                </c:pt>
                <c:pt idx="1426">
                  <c:v>0.56255283178360105</c:v>
                </c:pt>
                <c:pt idx="1427">
                  <c:v>0.56268011527377504</c:v>
                </c:pt>
                <c:pt idx="1428">
                  <c:v>0.56281407035175901</c:v>
                </c:pt>
                <c:pt idx="1429">
                  <c:v>0.56283357593401295</c:v>
                </c:pt>
                <c:pt idx="1430">
                  <c:v>0.56284760845383797</c:v>
                </c:pt>
                <c:pt idx="1431">
                  <c:v>0.56290773532152805</c:v>
                </c:pt>
                <c:pt idx="1432">
                  <c:v>0.56294964028776995</c:v>
                </c:pt>
                <c:pt idx="1433">
                  <c:v>0.56298600311042002</c:v>
                </c:pt>
                <c:pt idx="1434">
                  <c:v>0.56303972366148503</c:v>
                </c:pt>
                <c:pt idx="1435">
                  <c:v>0.56307692307692303</c:v>
                </c:pt>
                <c:pt idx="1436">
                  <c:v>0.56314312441534098</c:v>
                </c:pt>
                <c:pt idx="1437">
                  <c:v>0.56321839080459801</c:v>
                </c:pt>
                <c:pt idx="1438">
                  <c:v>0.563271604938272</c:v>
                </c:pt>
                <c:pt idx="1439">
                  <c:v>0.56348167539267002</c:v>
                </c:pt>
                <c:pt idx="1440">
                  <c:v>0.56353591160220995</c:v>
                </c:pt>
                <c:pt idx="1441">
                  <c:v>0.56372824256035903</c:v>
                </c:pt>
                <c:pt idx="1442">
                  <c:v>0.56382978723404298</c:v>
                </c:pt>
                <c:pt idx="1443">
                  <c:v>0.56382978723404298</c:v>
                </c:pt>
                <c:pt idx="1444">
                  <c:v>0.56410256410256399</c:v>
                </c:pt>
                <c:pt idx="1445">
                  <c:v>0.56423841059602697</c:v>
                </c:pt>
                <c:pt idx="1446">
                  <c:v>0.56447831184056296</c:v>
                </c:pt>
                <c:pt idx="1447">
                  <c:v>0.56457142857142895</c:v>
                </c:pt>
                <c:pt idx="1448">
                  <c:v>0.56461232604373801</c:v>
                </c:pt>
                <c:pt idx="1449">
                  <c:v>0.56469298245613997</c:v>
                </c:pt>
                <c:pt idx="1450">
                  <c:v>0.56485355648535596</c:v>
                </c:pt>
                <c:pt idx="1451">
                  <c:v>0.56488549618320605</c:v>
                </c:pt>
                <c:pt idx="1452">
                  <c:v>0.56496350364963499</c:v>
                </c:pt>
                <c:pt idx="1453">
                  <c:v>0.56496519721577698</c:v>
                </c:pt>
                <c:pt idx="1454">
                  <c:v>0.56513026052104198</c:v>
                </c:pt>
                <c:pt idx="1455">
                  <c:v>0.565217391304348</c:v>
                </c:pt>
                <c:pt idx="1456">
                  <c:v>0.56528189910979199</c:v>
                </c:pt>
                <c:pt idx="1457">
                  <c:v>0.56531284302963802</c:v>
                </c:pt>
                <c:pt idx="1458">
                  <c:v>0.565359477124183</c:v>
                </c:pt>
                <c:pt idx="1459">
                  <c:v>0.56562137049941896</c:v>
                </c:pt>
                <c:pt idx="1460">
                  <c:v>0.56572769953051605</c:v>
                </c:pt>
                <c:pt idx="1461">
                  <c:v>0.56582278481012704</c:v>
                </c:pt>
                <c:pt idx="1462">
                  <c:v>0.56583629893238396</c:v>
                </c:pt>
                <c:pt idx="1463">
                  <c:v>0.56589147286821695</c:v>
                </c:pt>
                <c:pt idx="1464">
                  <c:v>0.56590084643288996</c:v>
                </c:pt>
                <c:pt idx="1465">
                  <c:v>0.56594323873121899</c:v>
                </c:pt>
                <c:pt idx="1466">
                  <c:v>0.56599552572706902</c:v>
                </c:pt>
                <c:pt idx="1467">
                  <c:v>0.56603773584905703</c:v>
                </c:pt>
                <c:pt idx="1468">
                  <c:v>0.56613437782464604</c:v>
                </c:pt>
                <c:pt idx="1469">
                  <c:v>0.56637168141592897</c:v>
                </c:pt>
                <c:pt idx="1470">
                  <c:v>0.56643356643356602</c:v>
                </c:pt>
                <c:pt idx="1471">
                  <c:v>0.56652360515021505</c:v>
                </c:pt>
                <c:pt idx="1472">
                  <c:v>0.56657730116175198</c:v>
                </c:pt>
                <c:pt idx="1473">
                  <c:v>0.56666666666666698</c:v>
                </c:pt>
                <c:pt idx="1474">
                  <c:v>0.56669361358124504</c:v>
                </c:pt>
                <c:pt idx="1475">
                  <c:v>0.56675749318801105</c:v>
                </c:pt>
                <c:pt idx="1476">
                  <c:v>0.56681034482758597</c:v>
                </c:pt>
                <c:pt idx="1477">
                  <c:v>0.56692913385826804</c:v>
                </c:pt>
                <c:pt idx="1478">
                  <c:v>0.56699346405228801</c:v>
                </c:pt>
                <c:pt idx="1479">
                  <c:v>0.56716417910447803</c:v>
                </c:pt>
                <c:pt idx="1480">
                  <c:v>0.56717618664521297</c:v>
                </c:pt>
                <c:pt idx="1481">
                  <c:v>0.567357512953368</c:v>
                </c:pt>
                <c:pt idx="1482">
                  <c:v>0.56744186046511602</c:v>
                </c:pt>
                <c:pt idx="1483">
                  <c:v>0.56755089450956198</c:v>
                </c:pt>
                <c:pt idx="1484">
                  <c:v>0.56756756756756799</c:v>
                </c:pt>
                <c:pt idx="1485">
                  <c:v>0.56756756756756799</c:v>
                </c:pt>
                <c:pt idx="1486">
                  <c:v>0.56775067750677499</c:v>
                </c:pt>
                <c:pt idx="1487">
                  <c:v>0.56783919597989896</c:v>
                </c:pt>
                <c:pt idx="1488">
                  <c:v>0.56784162240463498</c:v>
                </c:pt>
                <c:pt idx="1489">
                  <c:v>0.56785714285714295</c:v>
                </c:pt>
                <c:pt idx="1490">
                  <c:v>0.56790123456790098</c:v>
                </c:pt>
                <c:pt idx="1491">
                  <c:v>0.56799999999999995</c:v>
                </c:pt>
                <c:pt idx="1492">
                  <c:v>0.56818181818181801</c:v>
                </c:pt>
                <c:pt idx="1493">
                  <c:v>0.56818181818181801</c:v>
                </c:pt>
                <c:pt idx="1494">
                  <c:v>0.56824512534818905</c:v>
                </c:pt>
                <c:pt idx="1495">
                  <c:v>0.56850533807829196</c:v>
                </c:pt>
                <c:pt idx="1496">
                  <c:v>0.56852791878172604</c:v>
                </c:pt>
                <c:pt idx="1497">
                  <c:v>0.56862745098039202</c:v>
                </c:pt>
                <c:pt idx="1498">
                  <c:v>0.56880733944954098</c:v>
                </c:pt>
                <c:pt idx="1499">
                  <c:v>0.56880733944954098</c:v>
                </c:pt>
                <c:pt idx="1500">
                  <c:v>0.56882494004796202</c:v>
                </c:pt>
                <c:pt idx="1501">
                  <c:v>0.56892230576441105</c:v>
                </c:pt>
                <c:pt idx="1502">
                  <c:v>0.56903765690376595</c:v>
                </c:pt>
                <c:pt idx="1503">
                  <c:v>0.56911196911196904</c:v>
                </c:pt>
                <c:pt idx="1504">
                  <c:v>0.56911581569115799</c:v>
                </c:pt>
                <c:pt idx="1505">
                  <c:v>0.56922549691569602</c:v>
                </c:pt>
                <c:pt idx="1506">
                  <c:v>0.56932153392330398</c:v>
                </c:pt>
                <c:pt idx="1507">
                  <c:v>0.56944444444444398</c:v>
                </c:pt>
                <c:pt idx="1508">
                  <c:v>0.56944444444444398</c:v>
                </c:pt>
                <c:pt idx="1509">
                  <c:v>0.56944444444444398</c:v>
                </c:pt>
                <c:pt idx="1510">
                  <c:v>0.56951871657754005</c:v>
                </c:pt>
                <c:pt idx="1511">
                  <c:v>0.56955645161290303</c:v>
                </c:pt>
                <c:pt idx="1512">
                  <c:v>0.5696</c:v>
                </c:pt>
                <c:pt idx="1513">
                  <c:v>0.56964842011571004</c:v>
                </c:pt>
                <c:pt idx="1514">
                  <c:v>0.56969696969697003</c:v>
                </c:pt>
                <c:pt idx="1515">
                  <c:v>0.56991951710261601</c:v>
                </c:pt>
                <c:pt idx="1516">
                  <c:v>0.56999999999999995</c:v>
                </c:pt>
                <c:pt idx="1517">
                  <c:v>0.57014590347923699</c:v>
                </c:pt>
                <c:pt idx="1518">
                  <c:v>0.57021131561008898</c:v>
                </c:pt>
                <c:pt idx="1519">
                  <c:v>0.570393374741201</c:v>
                </c:pt>
                <c:pt idx="1520">
                  <c:v>0.57042253521126796</c:v>
                </c:pt>
                <c:pt idx="1521">
                  <c:v>0.57043879907621198</c:v>
                </c:pt>
                <c:pt idx="1522">
                  <c:v>0.57044198895027598</c:v>
                </c:pt>
                <c:pt idx="1523">
                  <c:v>0.57046979865771796</c:v>
                </c:pt>
                <c:pt idx="1524">
                  <c:v>0.57048458149779702</c:v>
                </c:pt>
                <c:pt idx="1525">
                  <c:v>0.57051282051282004</c:v>
                </c:pt>
                <c:pt idx="1526">
                  <c:v>0.57051736357193505</c:v>
                </c:pt>
                <c:pt idx="1527">
                  <c:v>0.57057057057057103</c:v>
                </c:pt>
                <c:pt idx="1528">
                  <c:v>0.57063403781980004</c:v>
                </c:pt>
                <c:pt idx="1529">
                  <c:v>0.57065217391304301</c:v>
                </c:pt>
                <c:pt idx="1530">
                  <c:v>0.57073170731707301</c:v>
                </c:pt>
                <c:pt idx="1531">
                  <c:v>0.57074340527577905</c:v>
                </c:pt>
                <c:pt idx="1532">
                  <c:v>0.570809248554913</c:v>
                </c:pt>
                <c:pt idx="1533">
                  <c:v>0.5708309564556</c:v>
                </c:pt>
                <c:pt idx="1534">
                  <c:v>0.57086614173228301</c:v>
                </c:pt>
                <c:pt idx="1535">
                  <c:v>0.57096247960848301</c:v>
                </c:pt>
                <c:pt idx="1536">
                  <c:v>0.57103064066852405</c:v>
                </c:pt>
                <c:pt idx="1537">
                  <c:v>0.57104286196422505</c:v>
                </c:pt>
                <c:pt idx="1538">
                  <c:v>0.57111111111111101</c:v>
                </c:pt>
                <c:pt idx="1539">
                  <c:v>0.57115384615384601</c:v>
                </c:pt>
                <c:pt idx="1540">
                  <c:v>0.57121212121212095</c:v>
                </c:pt>
                <c:pt idx="1541">
                  <c:v>0.57142857142857095</c:v>
                </c:pt>
                <c:pt idx="1542">
                  <c:v>0.57142857142857095</c:v>
                </c:pt>
                <c:pt idx="1543">
                  <c:v>0.57142857142857095</c:v>
                </c:pt>
                <c:pt idx="1544">
                  <c:v>0.57142857142857095</c:v>
                </c:pt>
                <c:pt idx="1545">
                  <c:v>0.57142857142857095</c:v>
                </c:pt>
                <c:pt idx="1546">
                  <c:v>0.57142857142857095</c:v>
                </c:pt>
                <c:pt idx="1547">
                  <c:v>0.57163323782234998</c:v>
                </c:pt>
                <c:pt idx="1548">
                  <c:v>0.571761960326721</c:v>
                </c:pt>
                <c:pt idx="1549">
                  <c:v>0.57197943444730104</c:v>
                </c:pt>
                <c:pt idx="1550">
                  <c:v>0.57213930348258701</c:v>
                </c:pt>
                <c:pt idx="1551">
                  <c:v>0.57216494845360799</c:v>
                </c:pt>
                <c:pt idx="1552">
                  <c:v>0.57224118316268502</c:v>
                </c:pt>
                <c:pt idx="1553">
                  <c:v>0.57225433526011604</c:v>
                </c:pt>
                <c:pt idx="1554">
                  <c:v>0.57226705796038102</c:v>
                </c:pt>
                <c:pt idx="1555">
                  <c:v>0.57228915662650603</c:v>
                </c:pt>
                <c:pt idx="1556">
                  <c:v>0.57230769230769196</c:v>
                </c:pt>
                <c:pt idx="1557">
                  <c:v>0.57232704402515699</c:v>
                </c:pt>
                <c:pt idx="1558">
                  <c:v>0.57234726688102899</c:v>
                </c:pt>
                <c:pt idx="1559">
                  <c:v>0.57238605898123296</c:v>
                </c:pt>
                <c:pt idx="1560">
                  <c:v>0.57244655581947701</c:v>
                </c:pt>
                <c:pt idx="1561">
                  <c:v>0.57246376811594202</c:v>
                </c:pt>
                <c:pt idx="1562">
                  <c:v>0.57255936675461705</c:v>
                </c:pt>
                <c:pt idx="1563">
                  <c:v>0.57266435986159203</c:v>
                </c:pt>
                <c:pt idx="1564">
                  <c:v>0.57273918741808605</c:v>
                </c:pt>
                <c:pt idx="1565">
                  <c:v>0.57276995305164302</c:v>
                </c:pt>
                <c:pt idx="1566">
                  <c:v>0.572784810126582</c:v>
                </c:pt>
                <c:pt idx="1567">
                  <c:v>0.57281553398058205</c:v>
                </c:pt>
                <c:pt idx="1568">
                  <c:v>0.57290767903365003</c:v>
                </c:pt>
                <c:pt idx="1569">
                  <c:v>0.57295373665480398</c:v>
                </c:pt>
                <c:pt idx="1570">
                  <c:v>0.573082489146165</c:v>
                </c:pt>
                <c:pt idx="1571">
                  <c:v>0.573099415204678</c:v>
                </c:pt>
                <c:pt idx="1572">
                  <c:v>0.57312252964426902</c:v>
                </c:pt>
                <c:pt idx="1573">
                  <c:v>0.57316332726168795</c:v>
                </c:pt>
                <c:pt idx="1574">
                  <c:v>0.57323688969258602</c:v>
                </c:pt>
                <c:pt idx="1575">
                  <c:v>0.57352941176470595</c:v>
                </c:pt>
                <c:pt idx="1576">
                  <c:v>0.57356459330143506</c:v>
                </c:pt>
                <c:pt idx="1577">
                  <c:v>0.57360406091370597</c:v>
                </c:pt>
                <c:pt idx="1578">
                  <c:v>0.57360627177700396</c:v>
                </c:pt>
                <c:pt idx="1579">
                  <c:v>0.57367668097281799</c:v>
                </c:pt>
                <c:pt idx="1580">
                  <c:v>0.57368421052631602</c:v>
                </c:pt>
                <c:pt idx="1581">
                  <c:v>0.57377049180327899</c:v>
                </c:pt>
                <c:pt idx="1582">
                  <c:v>0.573913043478261</c:v>
                </c:pt>
                <c:pt idx="1583">
                  <c:v>0.573943661971831</c:v>
                </c:pt>
                <c:pt idx="1584">
                  <c:v>0.57397959183673497</c:v>
                </c:pt>
                <c:pt idx="1585">
                  <c:v>0.57403651115618703</c:v>
                </c:pt>
                <c:pt idx="1586">
                  <c:v>0.57407407407407396</c:v>
                </c:pt>
                <c:pt idx="1587">
                  <c:v>0.57422969187675099</c:v>
                </c:pt>
                <c:pt idx="1588">
                  <c:v>0.57425742574257399</c:v>
                </c:pt>
                <c:pt idx="1589">
                  <c:v>0.57430730478589398</c:v>
                </c:pt>
                <c:pt idx="1590">
                  <c:v>0.57430730478589398</c:v>
                </c:pt>
                <c:pt idx="1591">
                  <c:v>0.57432432432432401</c:v>
                </c:pt>
                <c:pt idx="1592">
                  <c:v>0.57446808510638303</c:v>
                </c:pt>
                <c:pt idx="1593">
                  <c:v>0.57446808510638303</c:v>
                </c:pt>
                <c:pt idx="1594">
                  <c:v>0.57453416149068304</c:v>
                </c:pt>
                <c:pt idx="1595">
                  <c:v>0.57462686567164201</c:v>
                </c:pt>
                <c:pt idx="1596">
                  <c:v>0.57468643101482297</c:v>
                </c:pt>
                <c:pt idx="1597">
                  <c:v>0.574762658227848</c:v>
                </c:pt>
                <c:pt idx="1598">
                  <c:v>0.574866310160428</c:v>
                </c:pt>
                <c:pt idx="1599">
                  <c:v>0.57487437185929602</c:v>
                </c:pt>
                <c:pt idx="1600">
                  <c:v>0.57488986784141005</c:v>
                </c:pt>
                <c:pt idx="1601">
                  <c:v>0.57493188010899199</c:v>
                </c:pt>
                <c:pt idx="1602">
                  <c:v>0.57515030060120198</c:v>
                </c:pt>
                <c:pt idx="1603">
                  <c:v>0.57518796992481203</c:v>
                </c:pt>
                <c:pt idx="1604">
                  <c:v>0.57532956685499104</c:v>
                </c:pt>
                <c:pt idx="1605">
                  <c:v>0.57534246575342496</c:v>
                </c:pt>
                <c:pt idx="1606">
                  <c:v>0.57544757033248095</c:v>
                </c:pt>
                <c:pt idx="1607">
                  <c:v>0.57553956834532405</c:v>
                </c:pt>
                <c:pt idx="1608">
                  <c:v>0.57563959955506105</c:v>
                </c:pt>
                <c:pt idx="1609">
                  <c:v>0.57572992700729897</c:v>
                </c:pt>
                <c:pt idx="1610">
                  <c:v>0.57575757575757602</c:v>
                </c:pt>
                <c:pt idx="1611">
                  <c:v>0.57586206896551695</c:v>
                </c:pt>
                <c:pt idx="1612">
                  <c:v>0.57587336244541498</c:v>
                </c:pt>
                <c:pt idx="1613">
                  <c:v>0.57589285714285698</c:v>
                </c:pt>
                <c:pt idx="1614">
                  <c:v>0.57589285714285698</c:v>
                </c:pt>
                <c:pt idx="1615">
                  <c:v>0.57595993322203698</c:v>
                </c:pt>
                <c:pt idx="1616">
                  <c:v>0.57596253902185202</c:v>
                </c:pt>
                <c:pt idx="1617">
                  <c:v>0.575966850828729</c:v>
                </c:pt>
                <c:pt idx="1618">
                  <c:v>0.57598784194528896</c:v>
                </c:pt>
                <c:pt idx="1619">
                  <c:v>0.57608695652173902</c:v>
                </c:pt>
                <c:pt idx="1620">
                  <c:v>0.57625272331154698</c:v>
                </c:pt>
                <c:pt idx="1621">
                  <c:v>0.57627118644067798</c:v>
                </c:pt>
                <c:pt idx="1622">
                  <c:v>0.57627118644067798</c:v>
                </c:pt>
                <c:pt idx="1623">
                  <c:v>0.57633892885691496</c:v>
                </c:pt>
                <c:pt idx="1624">
                  <c:v>0.57635467980295596</c:v>
                </c:pt>
                <c:pt idx="1625">
                  <c:v>0.57674418604651201</c:v>
                </c:pt>
                <c:pt idx="1626">
                  <c:v>0.57692307692307698</c:v>
                </c:pt>
                <c:pt idx="1627">
                  <c:v>0.57692307692307698</c:v>
                </c:pt>
                <c:pt idx="1628">
                  <c:v>0.57692307692307698</c:v>
                </c:pt>
                <c:pt idx="1629">
                  <c:v>0.577114427860697</c:v>
                </c:pt>
                <c:pt idx="1630">
                  <c:v>0.57713884992987396</c:v>
                </c:pt>
                <c:pt idx="1631">
                  <c:v>0.57716049382715995</c:v>
                </c:pt>
                <c:pt idx="1632">
                  <c:v>0.577181208053691</c:v>
                </c:pt>
                <c:pt idx="1633">
                  <c:v>0.57727272727272705</c:v>
                </c:pt>
                <c:pt idx="1634">
                  <c:v>0.57727272727272705</c:v>
                </c:pt>
                <c:pt idx="1635">
                  <c:v>0.57746478873239404</c:v>
                </c:pt>
                <c:pt idx="1636">
                  <c:v>0.57746478873239404</c:v>
                </c:pt>
                <c:pt idx="1637">
                  <c:v>0.57749469214437399</c:v>
                </c:pt>
                <c:pt idx="1638">
                  <c:v>0.57754010695187197</c:v>
                </c:pt>
                <c:pt idx="1639">
                  <c:v>0.577557755775578</c:v>
                </c:pt>
                <c:pt idx="1640">
                  <c:v>0.57758985200845703</c:v>
                </c:pt>
                <c:pt idx="1641">
                  <c:v>0.57760663507109</c:v>
                </c:pt>
                <c:pt idx="1642">
                  <c:v>0.57761732851985603</c:v>
                </c:pt>
                <c:pt idx="1643">
                  <c:v>0.57770632368703101</c:v>
                </c:pt>
                <c:pt idx="1644">
                  <c:v>0.57777777777777795</c:v>
                </c:pt>
                <c:pt idx="1645">
                  <c:v>0.57777777777777795</c:v>
                </c:pt>
                <c:pt idx="1646">
                  <c:v>0.57795698924731198</c:v>
                </c:pt>
                <c:pt idx="1647">
                  <c:v>0.578125</c:v>
                </c:pt>
                <c:pt idx="1648">
                  <c:v>0.578125</c:v>
                </c:pt>
                <c:pt idx="1649">
                  <c:v>0.57820383451059498</c:v>
                </c:pt>
                <c:pt idx="1650">
                  <c:v>0.57820738137082595</c:v>
                </c:pt>
                <c:pt idx="1651">
                  <c:v>0.57831325301204795</c:v>
                </c:pt>
                <c:pt idx="1652">
                  <c:v>0.578347578347578</c:v>
                </c:pt>
                <c:pt idx="1653">
                  <c:v>0.57839721254355403</c:v>
                </c:pt>
                <c:pt idx="1654">
                  <c:v>0.57843137254902</c:v>
                </c:pt>
                <c:pt idx="1655">
                  <c:v>0.57851239669421495</c:v>
                </c:pt>
                <c:pt idx="1656">
                  <c:v>0.57852882703777297</c:v>
                </c:pt>
                <c:pt idx="1657">
                  <c:v>0.57859078590785895</c:v>
                </c:pt>
                <c:pt idx="1658">
                  <c:v>0.57860962566844898</c:v>
                </c:pt>
                <c:pt idx="1659">
                  <c:v>0.57861635220125796</c:v>
                </c:pt>
                <c:pt idx="1660">
                  <c:v>0.57863145258103199</c:v>
                </c:pt>
                <c:pt idx="1661">
                  <c:v>0.57880794701986804</c:v>
                </c:pt>
                <c:pt idx="1662">
                  <c:v>0.57887788778877902</c:v>
                </c:pt>
                <c:pt idx="1663">
                  <c:v>0.57894736842105299</c:v>
                </c:pt>
                <c:pt idx="1664">
                  <c:v>0.57894736842105299</c:v>
                </c:pt>
                <c:pt idx="1665">
                  <c:v>0.57894736842105299</c:v>
                </c:pt>
                <c:pt idx="1666">
                  <c:v>0.57913247362250897</c:v>
                </c:pt>
                <c:pt idx="1667">
                  <c:v>0.57913669064748197</c:v>
                </c:pt>
                <c:pt idx="1668">
                  <c:v>0.57920000000000005</c:v>
                </c:pt>
                <c:pt idx="1669">
                  <c:v>0.57923497267759605</c:v>
                </c:pt>
                <c:pt idx="1670">
                  <c:v>0.57933042212518204</c:v>
                </c:pt>
                <c:pt idx="1671">
                  <c:v>0.57943022694350599</c:v>
                </c:pt>
                <c:pt idx="1672">
                  <c:v>0.57943492357572901</c:v>
                </c:pt>
                <c:pt idx="1673">
                  <c:v>0.57957244655581996</c:v>
                </c:pt>
                <c:pt idx="1674">
                  <c:v>0.57963446475195801</c:v>
                </c:pt>
                <c:pt idx="1675">
                  <c:v>0.57975797579758004</c:v>
                </c:pt>
                <c:pt idx="1676">
                  <c:v>0.57985611510791402</c:v>
                </c:pt>
                <c:pt idx="1677">
                  <c:v>0.57999999999999996</c:v>
                </c:pt>
                <c:pt idx="1678">
                  <c:v>0.58008658008657998</c:v>
                </c:pt>
                <c:pt idx="1679">
                  <c:v>0.58021712907116996</c:v>
                </c:pt>
                <c:pt idx="1680">
                  <c:v>0.58022388059701502</c:v>
                </c:pt>
                <c:pt idx="1681">
                  <c:v>0.58045977011494299</c:v>
                </c:pt>
                <c:pt idx="1682">
                  <c:v>0.58048780487804896</c:v>
                </c:pt>
                <c:pt idx="1683">
                  <c:v>0.58050847457627097</c:v>
                </c:pt>
                <c:pt idx="1684">
                  <c:v>0.58051235132662404</c:v>
                </c:pt>
                <c:pt idx="1685">
                  <c:v>0.58052434456928803</c:v>
                </c:pt>
                <c:pt idx="1686">
                  <c:v>0.580543933054393</c:v>
                </c:pt>
                <c:pt idx="1687">
                  <c:v>0.58054711246200597</c:v>
                </c:pt>
                <c:pt idx="1688">
                  <c:v>0.58056265984654698</c:v>
                </c:pt>
                <c:pt idx="1689">
                  <c:v>0.58064516129032295</c:v>
                </c:pt>
                <c:pt idx="1690">
                  <c:v>0.58064516129032295</c:v>
                </c:pt>
                <c:pt idx="1691">
                  <c:v>0.58064516129032295</c:v>
                </c:pt>
                <c:pt idx="1692">
                  <c:v>0.58075313807531403</c:v>
                </c:pt>
                <c:pt idx="1693">
                  <c:v>0.580777096114519</c:v>
                </c:pt>
                <c:pt idx="1694">
                  <c:v>0.58078602620087305</c:v>
                </c:pt>
                <c:pt idx="1695">
                  <c:v>0.58085694540428501</c:v>
                </c:pt>
                <c:pt idx="1696">
                  <c:v>0.58100558659217905</c:v>
                </c:pt>
                <c:pt idx="1697">
                  <c:v>0.58101629913710395</c:v>
                </c:pt>
                <c:pt idx="1698">
                  <c:v>0.581023454157783</c:v>
                </c:pt>
                <c:pt idx="1699">
                  <c:v>0.58106169296987098</c:v>
                </c:pt>
                <c:pt idx="1700">
                  <c:v>0.58108108108108103</c:v>
                </c:pt>
                <c:pt idx="1701">
                  <c:v>0.58115942028985501</c:v>
                </c:pt>
                <c:pt idx="1702">
                  <c:v>0.58121827411167504</c:v>
                </c:pt>
                <c:pt idx="1703">
                  <c:v>0.581235697940503</c:v>
                </c:pt>
                <c:pt idx="1704">
                  <c:v>0.58131720430107503</c:v>
                </c:pt>
                <c:pt idx="1705">
                  <c:v>0.581395348837209</c:v>
                </c:pt>
                <c:pt idx="1706">
                  <c:v>0.58149779735682805</c:v>
                </c:pt>
                <c:pt idx="1707">
                  <c:v>0.58165137614678897</c:v>
                </c:pt>
                <c:pt idx="1708">
                  <c:v>0.58168761220825804</c:v>
                </c:pt>
                <c:pt idx="1709">
                  <c:v>0.58173076923076905</c:v>
                </c:pt>
                <c:pt idx="1710">
                  <c:v>0.58193979933110396</c:v>
                </c:pt>
                <c:pt idx="1711">
                  <c:v>0.58201058201058198</c:v>
                </c:pt>
                <c:pt idx="1712">
                  <c:v>0.58237547892720298</c:v>
                </c:pt>
                <c:pt idx="1713">
                  <c:v>0.58237547892720298</c:v>
                </c:pt>
                <c:pt idx="1714">
                  <c:v>0.58238636363636398</c:v>
                </c:pt>
                <c:pt idx="1715">
                  <c:v>0.58240819812126399</c:v>
                </c:pt>
                <c:pt idx="1716">
                  <c:v>0.58241758241758201</c:v>
                </c:pt>
                <c:pt idx="1717">
                  <c:v>0.58247422680412397</c:v>
                </c:pt>
                <c:pt idx="1718">
                  <c:v>0.58247422680412397</c:v>
                </c:pt>
                <c:pt idx="1719">
                  <c:v>0.58248472505091697</c:v>
                </c:pt>
                <c:pt idx="1720">
                  <c:v>0.58260869565217399</c:v>
                </c:pt>
                <c:pt idx="1721">
                  <c:v>0.58260869565217399</c:v>
                </c:pt>
                <c:pt idx="1722">
                  <c:v>0.58262711864406802</c:v>
                </c:pt>
                <c:pt idx="1723">
                  <c:v>0.58267716535433101</c:v>
                </c:pt>
                <c:pt idx="1724">
                  <c:v>0.58270270270270297</c:v>
                </c:pt>
                <c:pt idx="1725">
                  <c:v>0.58273381294964</c:v>
                </c:pt>
                <c:pt idx="1726">
                  <c:v>0.58283433133732498</c:v>
                </c:pt>
                <c:pt idx="1727">
                  <c:v>0.58285714285714296</c:v>
                </c:pt>
                <c:pt idx="1728">
                  <c:v>0.58290005777007503</c:v>
                </c:pt>
                <c:pt idx="1729">
                  <c:v>0.58295281582952796</c:v>
                </c:pt>
                <c:pt idx="1730">
                  <c:v>0.58295964125560495</c:v>
                </c:pt>
                <c:pt idx="1731">
                  <c:v>0.58300132802124804</c:v>
                </c:pt>
                <c:pt idx="1732">
                  <c:v>0.583250249252243</c:v>
                </c:pt>
                <c:pt idx="1733">
                  <c:v>0.58333333333333304</c:v>
                </c:pt>
                <c:pt idx="1734">
                  <c:v>0.58333333333333304</c:v>
                </c:pt>
                <c:pt idx="1735">
                  <c:v>0.58333333333333304</c:v>
                </c:pt>
                <c:pt idx="1736">
                  <c:v>0.58333333333333304</c:v>
                </c:pt>
                <c:pt idx="1737">
                  <c:v>0.58340535868625798</c:v>
                </c:pt>
                <c:pt idx="1738">
                  <c:v>0.58342922899884897</c:v>
                </c:pt>
                <c:pt idx="1739">
                  <c:v>0.58347107438016499</c:v>
                </c:pt>
                <c:pt idx="1740">
                  <c:v>0.58354324097397103</c:v>
                </c:pt>
                <c:pt idx="1741">
                  <c:v>0.58356039963669404</c:v>
                </c:pt>
                <c:pt idx="1742">
                  <c:v>0.58361774744027295</c:v>
                </c:pt>
                <c:pt idx="1743">
                  <c:v>0.583720930232558</c:v>
                </c:pt>
                <c:pt idx="1744">
                  <c:v>0.58381502890173398</c:v>
                </c:pt>
                <c:pt idx="1745">
                  <c:v>0.58382642998027601</c:v>
                </c:pt>
                <c:pt idx="1746">
                  <c:v>0.58388625592417098</c:v>
                </c:pt>
                <c:pt idx="1747">
                  <c:v>0.58389261744966403</c:v>
                </c:pt>
                <c:pt idx="1748">
                  <c:v>0.58392857142857102</c:v>
                </c:pt>
                <c:pt idx="1749">
                  <c:v>0.58415841584158401</c:v>
                </c:pt>
                <c:pt idx="1750">
                  <c:v>0.58422939068100399</c:v>
                </c:pt>
                <c:pt idx="1751">
                  <c:v>0.58447488584474905</c:v>
                </c:pt>
                <c:pt idx="1752">
                  <c:v>0.58455114822547005</c:v>
                </c:pt>
                <c:pt idx="1753">
                  <c:v>0.58455882352941202</c:v>
                </c:pt>
                <c:pt idx="1754">
                  <c:v>0.58456973293768499</c:v>
                </c:pt>
                <c:pt idx="1755">
                  <c:v>0.58461538461538498</c:v>
                </c:pt>
                <c:pt idx="1756">
                  <c:v>0.58487394957983196</c:v>
                </c:pt>
                <c:pt idx="1757">
                  <c:v>0.58490566037735803</c:v>
                </c:pt>
                <c:pt idx="1758">
                  <c:v>0.58495821727019504</c:v>
                </c:pt>
                <c:pt idx="1759">
                  <c:v>0.58501440922190195</c:v>
                </c:pt>
                <c:pt idx="1760">
                  <c:v>0.58510638297872297</c:v>
                </c:pt>
                <c:pt idx="1761">
                  <c:v>0.58510638297872297</c:v>
                </c:pt>
                <c:pt idx="1762">
                  <c:v>0.58510638297872297</c:v>
                </c:pt>
                <c:pt idx="1763">
                  <c:v>0.58518518518518503</c:v>
                </c:pt>
                <c:pt idx="1764">
                  <c:v>0.58526315789473704</c:v>
                </c:pt>
                <c:pt idx="1765">
                  <c:v>0.58527131782945696</c:v>
                </c:pt>
                <c:pt idx="1766">
                  <c:v>0.58530510585305096</c:v>
                </c:pt>
                <c:pt idx="1767">
                  <c:v>0.58536585365853699</c:v>
                </c:pt>
                <c:pt idx="1768">
                  <c:v>0.58536585365853699</c:v>
                </c:pt>
                <c:pt idx="1769">
                  <c:v>0.58536585365853699</c:v>
                </c:pt>
                <c:pt idx="1770">
                  <c:v>0.58539603960396003</c:v>
                </c:pt>
                <c:pt idx="1771">
                  <c:v>0.58544839255499204</c:v>
                </c:pt>
                <c:pt idx="1772">
                  <c:v>0.585534863577306</c:v>
                </c:pt>
                <c:pt idx="1773">
                  <c:v>0.58571428571428596</c:v>
                </c:pt>
                <c:pt idx="1774">
                  <c:v>0.58571428571428596</c:v>
                </c:pt>
                <c:pt idx="1775">
                  <c:v>0.585798816568047</c:v>
                </c:pt>
                <c:pt idx="1776">
                  <c:v>0.58581560283687895</c:v>
                </c:pt>
                <c:pt idx="1777">
                  <c:v>0.58582089552238803</c:v>
                </c:pt>
                <c:pt idx="1778">
                  <c:v>0.58584070796460197</c:v>
                </c:pt>
                <c:pt idx="1779">
                  <c:v>0.58585858585858597</c:v>
                </c:pt>
                <c:pt idx="1780">
                  <c:v>0.58587786259541996</c:v>
                </c:pt>
                <c:pt idx="1781">
                  <c:v>0.586049170954831</c:v>
                </c:pt>
                <c:pt idx="1782">
                  <c:v>0.58606557377049195</c:v>
                </c:pt>
                <c:pt idx="1783">
                  <c:v>0.58609794628751999</c:v>
                </c:pt>
                <c:pt idx="1784">
                  <c:v>0.58617021276595704</c:v>
                </c:pt>
                <c:pt idx="1785">
                  <c:v>0.58620689655172398</c:v>
                </c:pt>
                <c:pt idx="1786">
                  <c:v>0.58620689655172398</c:v>
                </c:pt>
                <c:pt idx="1787">
                  <c:v>0.58620689655172398</c:v>
                </c:pt>
                <c:pt idx="1788">
                  <c:v>0.58627450980392204</c:v>
                </c:pt>
                <c:pt idx="1789">
                  <c:v>0.58627858627858598</c:v>
                </c:pt>
                <c:pt idx="1790">
                  <c:v>0.58629441624365497</c:v>
                </c:pt>
                <c:pt idx="1791">
                  <c:v>0.58637083993660899</c:v>
                </c:pt>
                <c:pt idx="1792">
                  <c:v>0.58637469586374702</c:v>
                </c:pt>
                <c:pt idx="1793">
                  <c:v>0.58650602409638597</c:v>
                </c:pt>
                <c:pt idx="1794">
                  <c:v>0.58653846153846201</c:v>
                </c:pt>
                <c:pt idx="1795">
                  <c:v>0.58653846153846201</c:v>
                </c:pt>
                <c:pt idx="1796">
                  <c:v>0.58663366336633704</c:v>
                </c:pt>
                <c:pt idx="1797">
                  <c:v>0.58675078864353303</c:v>
                </c:pt>
                <c:pt idx="1798">
                  <c:v>0.58686440677966101</c:v>
                </c:pt>
                <c:pt idx="1799">
                  <c:v>0.58687258687258703</c:v>
                </c:pt>
                <c:pt idx="1800">
                  <c:v>0.586891757696127</c:v>
                </c:pt>
                <c:pt idx="1801">
                  <c:v>0.58695652173913004</c:v>
                </c:pt>
                <c:pt idx="1802">
                  <c:v>0.58695652173913004</c:v>
                </c:pt>
                <c:pt idx="1803">
                  <c:v>0.58695652173913004</c:v>
                </c:pt>
                <c:pt idx="1804">
                  <c:v>0.58700209643605905</c:v>
                </c:pt>
                <c:pt idx="1805">
                  <c:v>0.587096774193548</c:v>
                </c:pt>
                <c:pt idx="1806">
                  <c:v>0.58710562414266099</c:v>
                </c:pt>
                <c:pt idx="1807">
                  <c:v>0.58730158730158699</c:v>
                </c:pt>
                <c:pt idx="1808">
                  <c:v>0.58734939759036098</c:v>
                </c:pt>
                <c:pt idx="1809">
                  <c:v>0.58736059479553904</c:v>
                </c:pt>
                <c:pt idx="1810">
                  <c:v>0.58747993579454205</c:v>
                </c:pt>
                <c:pt idx="1811">
                  <c:v>0.58748615725359898</c:v>
                </c:pt>
                <c:pt idx="1812">
                  <c:v>0.58760107816711604</c:v>
                </c:pt>
                <c:pt idx="1813">
                  <c:v>0.58762886597938102</c:v>
                </c:pt>
                <c:pt idx="1814">
                  <c:v>0.58762886597938102</c:v>
                </c:pt>
                <c:pt idx="1815">
                  <c:v>0.58777633289986997</c:v>
                </c:pt>
                <c:pt idx="1816">
                  <c:v>0.58780709736123704</c:v>
                </c:pt>
                <c:pt idx="1817">
                  <c:v>0.58781362007168503</c:v>
                </c:pt>
                <c:pt idx="1818">
                  <c:v>0.58791480931154005</c:v>
                </c:pt>
                <c:pt idx="1819">
                  <c:v>0.587991718426501</c:v>
                </c:pt>
                <c:pt idx="1820">
                  <c:v>0.58805031446540901</c:v>
                </c:pt>
                <c:pt idx="1821">
                  <c:v>0.58823529411764697</c:v>
                </c:pt>
                <c:pt idx="1822">
                  <c:v>0.58833063209076197</c:v>
                </c:pt>
                <c:pt idx="1823">
                  <c:v>0.58836689038031298</c:v>
                </c:pt>
                <c:pt idx="1824">
                  <c:v>0.58853046594982095</c:v>
                </c:pt>
                <c:pt idx="1825">
                  <c:v>0.58863198458574195</c:v>
                </c:pt>
                <c:pt idx="1826">
                  <c:v>0.58876811594202905</c:v>
                </c:pt>
                <c:pt idx="1827">
                  <c:v>0.58879736408566696</c:v>
                </c:pt>
                <c:pt idx="1828">
                  <c:v>0.58885017421602803</c:v>
                </c:pt>
                <c:pt idx="1829">
                  <c:v>0.58888888888888902</c:v>
                </c:pt>
                <c:pt idx="1830">
                  <c:v>0.588910133843212</c:v>
                </c:pt>
                <c:pt idx="1831">
                  <c:v>0.58896797153024905</c:v>
                </c:pt>
                <c:pt idx="1832">
                  <c:v>0.58899082568807304</c:v>
                </c:pt>
                <c:pt idx="1833">
                  <c:v>0.58908341915550999</c:v>
                </c:pt>
                <c:pt idx="1834">
                  <c:v>0.58915537017726805</c:v>
                </c:pt>
                <c:pt idx="1835">
                  <c:v>0.58919803600654697</c:v>
                </c:pt>
                <c:pt idx="1836">
                  <c:v>0.58922155688622802</c:v>
                </c:pt>
                <c:pt idx="1837">
                  <c:v>0.589230769230769</c:v>
                </c:pt>
                <c:pt idx="1838">
                  <c:v>0.58928571428571397</c:v>
                </c:pt>
                <c:pt idx="1839">
                  <c:v>0.58934169278996895</c:v>
                </c:pt>
                <c:pt idx="1840">
                  <c:v>0.58936484490398799</c:v>
                </c:pt>
                <c:pt idx="1841">
                  <c:v>0.58955223880596996</c:v>
                </c:pt>
                <c:pt idx="1842">
                  <c:v>0.58969072164948499</c:v>
                </c:pt>
                <c:pt idx="1843">
                  <c:v>0.58969465648855002</c:v>
                </c:pt>
                <c:pt idx="1844">
                  <c:v>0.58974358974358998</c:v>
                </c:pt>
                <c:pt idx="1845">
                  <c:v>0.58980891719745199</c:v>
                </c:pt>
                <c:pt idx="1846">
                  <c:v>0.59002169197397003</c:v>
                </c:pt>
                <c:pt idx="1847">
                  <c:v>0.59004392386530002</c:v>
                </c:pt>
                <c:pt idx="1848">
                  <c:v>0.59010600706713801</c:v>
                </c:pt>
                <c:pt idx="1849">
                  <c:v>0.59016393442622905</c:v>
                </c:pt>
                <c:pt idx="1850">
                  <c:v>0.59038461538461495</c:v>
                </c:pt>
                <c:pt idx="1851">
                  <c:v>0.59038461538461495</c:v>
                </c:pt>
                <c:pt idx="1852">
                  <c:v>0.59050966608084399</c:v>
                </c:pt>
                <c:pt idx="1853">
                  <c:v>0.59060402684563795</c:v>
                </c:pt>
                <c:pt idx="1854">
                  <c:v>0.59071117561683595</c:v>
                </c:pt>
                <c:pt idx="1855">
                  <c:v>0.59090909090909105</c:v>
                </c:pt>
                <c:pt idx="1856">
                  <c:v>0.59090909090909105</c:v>
                </c:pt>
                <c:pt idx="1857">
                  <c:v>0.59113300492610799</c:v>
                </c:pt>
                <c:pt idx="1858">
                  <c:v>0.59124087591240904</c:v>
                </c:pt>
                <c:pt idx="1859">
                  <c:v>0.59125964010282805</c:v>
                </c:pt>
                <c:pt idx="1860">
                  <c:v>0.59126775381378205</c:v>
                </c:pt>
                <c:pt idx="1861">
                  <c:v>0.59128978224455597</c:v>
                </c:pt>
                <c:pt idx="1862">
                  <c:v>0.59141274238227104</c:v>
                </c:pt>
                <c:pt idx="1863">
                  <c:v>0.59146341463414598</c:v>
                </c:pt>
                <c:pt idx="1864">
                  <c:v>0.59150530918176103</c:v>
                </c:pt>
                <c:pt idx="1865">
                  <c:v>0.59157894736842098</c:v>
                </c:pt>
                <c:pt idx="1866">
                  <c:v>0.59162663006177096</c:v>
                </c:pt>
                <c:pt idx="1867">
                  <c:v>0.59164292497625803</c:v>
                </c:pt>
                <c:pt idx="1868">
                  <c:v>0.59167950693374405</c:v>
                </c:pt>
                <c:pt idx="1869">
                  <c:v>0.59186189889025898</c:v>
                </c:pt>
                <c:pt idx="1870">
                  <c:v>0.59190031152648004</c:v>
                </c:pt>
                <c:pt idx="1871">
                  <c:v>0.59196617336152202</c:v>
                </c:pt>
                <c:pt idx="1872">
                  <c:v>0.59197324414715702</c:v>
                </c:pt>
                <c:pt idx="1873">
                  <c:v>0.59210526315789502</c:v>
                </c:pt>
                <c:pt idx="1874">
                  <c:v>0.59217877094972105</c:v>
                </c:pt>
                <c:pt idx="1875">
                  <c:v>0.59217877094972105</c:v>
                </c:pt>
                <c:pt idx="1876">
                  <c:v>0.59223300970873805</c:v>
                </c:pt>
                <c:pt idx="1877">
                  <c:v>0.59225806451612895</c:v>
                </c:pt>
                <c:pt idx="1878">
                  <c:v>0.59226932668329202</c:v>
                </c:pt>
                <c:pt idx="1879">
                  <c:v>0.59231651376146799</c:v>
                </c:pt>
                <c:pt idx="1880">
                  <c:v>0.59233449477351896</c:v>
                </c:pt>
                <c:pt idx="1881">
                  <c:v>0.59235668789808904</c:v>
                </c:pt>
                <c:pt idx="1882">
                  <c:v>0.59253499222395001</c:v>
                </c:pt>
                <c:pt idx="1883">
                  <c:v>0.592592592592593</c:v>
                </c:pt>
                <c:pt idx="1884">
                  <c:v>0.59265442404006696</c:v>
                </c:pt>
                <c:pt idx="1885">
                  <c:v>0.59294871794871795</c:v>
                </c:pt>
                <c:pt idx="1886">
                  <c:v>0.59294871794871795</c:v>
                </c:pt>
                <c:pt idx="1887">
                  <c:v>0.592957746478873</c:v>
                </c:pt>
                <c:pt idx="1888">
                  <c:v>0.59298245614035106</c:v>
                </c:pt>
                <c:pt idx="1889">
                  <c:v>0.59300184162062597</c:v>
                </c:pt>
                <c:pt idx="1890">
                  <c:v>0.593029792017988</c:v>
                </c:pt>
                <c:pt idx="1891">
                  <c:v>0.59307764265668805</c:v>
                </c:pt>
                <c:pt idx="1892">
                  <c:v>0.59312839059674505</c:v>
                </c:pt>
                <c:pt idx="1893">
                  <c:v>0.59313725490196101</c:v>
                </c:pt>
                <c:pt idx="1894">
                  <c:v>0.59315068493150702</c:v>
                </c:pt>
                <c:pt idx="1895">
                  <c:v>0.59318996415770597</c:v>
                </c:pt>
                <c:pt idx="1896">
                  <c:v>0.59322033898305104</c:v>
                </c:pt>
                <c:pt idx="1897">
                  <c:v>0.59322033898305104</c:v>
                </c:pt>
                <c:pt idx="1898">
                  <c:v>0.59328358208955201</c:v>
                </c:pt>
                <c:pt idx="1899">
                  <c:v>0.59328537170263795</c:v>
                </c:pt>
                <c:pt idx="1900">
                  <c:v>0.59336099585062196</c:v>
                </c:pt>
                <c:pt idx="1901">
                  <c:v>0.59340659340659296</c:v>
                </c:pt>
                <c:pt idx="1902">
                  <c:v>0.59344894026974904</c:v>
                </c:pt>
                <c:pt idx="1903">
                  <c:v>0.59349593495935005</c:v>
                </c:pt>
                <c:pt idx="1904">
                  <c:v>0.59360730593607303</c:v>
                </c:pt>
                <c:pt idx="1905">
                  <c:v>0.59370960792761696</c:v>
                </c:pt>
                <c:pt idx="1906">
                  <c:v>0.59375</c:v>
                </c:pt>
                <c:pt idx="1907">
                  <c:v>0.59375</c:v>
                </c:pt>
                <c:pt idx="1908">
                  <c:v>0.59375</c:v>
                </c:pt>
                <c:pt idx="1909">
                  <c:v>0.59383033419023101</c:v>
                </c:pt>
                <c:pt idx="1910">
                  <c:v>0.59390243902438999</c:v>
                </c:pt>
                <c:pt idx="1911">
                  <c:v>0.59390363815142599</c:v>
                </c:pt>
                <c:pt idx="1912">
                  <c:v>0.59398496240601495</c:v>
                </c:pt>
                <c:pt idx="1913">
                  <c:v>0.59398496240601495</c:v>
                </c:pt>
                <c:pt idx="1914">
                  <c:v>0.59411764705882397</c:v>
                </c:pt>
                <c:pt idx="1915">
                  <c:v>0.59420289855072495</c:v>
                </c:pt>
                <c:pt idx="1916">
                  <c:v>0.59420289855072495</c:v>
                </c:pt>
                <c:pt idx="1917">
                  <c:v>0.59426627793974696</c:v>
                </c:pt>
                <c:pt idx="1918">
                  <c:v>0.59428571428571397</c:v>
                </c:pt>
                <c:pt idx="1919">
                  <c:v>0.59428571428571397</c:v>
                </c:pt>
                <c:pt idx="1920">
                  <c:v>0.594444444444444</c:v>
                </c:pt>
                <c:pt idx="1921">
                  <c:v>0.59447004608294896</c:v>
                </c:pt>
                <c:pt idx="1922">
                  <c:v>0.59452479338843001</c:v>
                </c:pt>
                <c:pt idx="1923">
                  <c:v>0.594543744120414</c:v>
                </c:pt>
                <c:pt idx="1924">
                  <c:v>0.59459459459459496</c:v>
                </c:pt>
                <c:pt idx="1925">
                  <c:v>0.594650205761317</c:v>
                </c:pt>
                <c:pt idx="1926">
                  <c:v>0.59479251423921897</c:v>
                </c:pt>
                <c:pt idx="1927">
                  <c:v>0.59487179487179498</c:v>
                </c:pt>
                <c:pt idx="1928">
                  <c:v>0.594936708860759</c:v>
                </c:pt>
                <c:pt idx="1929">
                  <c:v>0.59498207885304699</c:v>
                </c:pt>
                <c:pt idx="1930">
                  <c:v>0.59499999999999997</c:v>
                </c:pt>
                <c:pt idx="1931">
                  <c:v>0.59509536784741102</c:v>
                </c:pt>
                <c:pt idx="1932">
                  <c:v>0.59510567296996697</c:v>
                </c:pt>
                <c:pt idx="1933">
                  <c:v>0.59529065489330402</c:v>
                </c:pt>
                <c:pt idx="1934">
                  <c:v>0.59532163742690103</c:v>
                </c:pt>
                <c:pt idx="1935">
                  <c:v>0.59534883720930198</c:v>
                </c:pt>
                <c:pt idx="1936">
                  <c:v>0.59539969834087503</c:v>
                </c:pt>
                <c:pt idx="1937">
                  <c:v>0.59545454545454501</c:v>
                </c:pt>
                <c:pt idx="1938">
                  <c:v>0.59565217391304304</c:v>
                </c:pt>
                <c:pt idx="1939">
                  <c:v>0.59565217391304304</c:v>
                </c:pt>
                <c:pt idx="1940">
                  <c:v>0.59569377990430605</c:v>
                </c:pt>
                <c:pt idx="1941">
                  <c:v>0.59574468085106402</c:v>
                </c:pt>
                <c:pt idx="1942">
                  <c:v>0.59574468085106402</c:v>
                </c:pt>
                <c:pt idx="1943">
                  <c:v>0.59574468085106402</c:v>
                </c:pt>
                <c:pt idx="1944">
                  <c:v>0.595813204508857</c:v>
                </c:pt>
                <c:pt idx="1945">
                  <c:v>0.59587628865979403</c:v>
                </c:pt>
                <c:pt idx="1946">
                  <c:v>0.59602649006622499</c:v>
                </c:pt>
                <c:pt idx="1947">
                  <c:v>0.59605911330049299</c:v>
                </c:pt>
                <c:pt idx="1948">
                  <c:v>0.59615384615384603</c:v>
                </c:pt>
                <c:pt idx="1949">
                  <c:v>0.59620596205962095</c:v>
                </c:pt>
                <c:pt idx="1950">
                  <c:v>0.59633418584825204</c:v>
                </c:pt>
                <c:pt idx="1951">
                  <c:v>0.59636363636363598</c:v>
                </c:pt>
                <c:pt idx="1952">
                  <c:v>0.59644059644059599</c:v>
                </c:pt>
                <c:pt idx="1953">
                  <c:v>0.59656160458452701</c:v>
                </c:pt>
                <c:pt idx="1954">
                  <c:v>0.59659090909090895</c:v>
                </c:pt>
                <c:pt idx="1955">
                  <c:v>0.59659969088098896</c:v>
                </c:pt>
                <c:pt idx="1956">
                  <c:v>0.59663865546218497</c:v>
                </c:pt>
                <c:pt idx="1957">
                  <c:v>0.59667359667359698</c:v>
                </c:pt>
                <c:pt idx="1958">
                  <c:v>0.59683794466403195</c:v>
                </c:pt>
                <c:pt idx="1959">
                  <c:v>0.59684684684684697</c:v>
                </c:pt>
                <c:pt idx="1960">
                  <c:v>0.59684684684684697</c:v>
                </c:pt>
                <c:pt idx="1961">
                  <c:v>0.59689922480620095</c:v>
                </c:pt>
                <c:pt idx="1962">
                  <c:v>0.59689922480620095</c:v>
                </c:pt>
                <c:pt idx="1963">
                  <c:v>0.59691252144082296</c:v>
                </c:pt>
                <c:pt idx="1964">
                  <c:v>0.59701492537313405</c:v>
                </c:pt>
                <c:pt idx="1965">
                  <c:v>0.59703337453646499</c:v>
                </c:pt>
                <c:pt idx="1966">
                  <c:v>0.59704641350210996</c:v>
                </c:pt>
                <c:pt idx="1967">
                  <c:v>0.597074468085106</c:v>
                </c:pt>
                <c:pt idx="1968">
                  <c:v>0.59708737864077699</c:v>
                </c:pt>
                <c:pt idx="1969">
                  <c:v>0.59722222222222199</c:v>
                </c:pt>
                <c:pt idx="1970">
                  <c:v>0.59726962457337895</c:v>
                </c:pt>
                <c:pt idx="1971">
                  <c:v>0.59730538922155696</c:v>
                </c:pt>
                <c:pt idx="1972">
                  <c:v>0.59747434885556405</c:v>
                </c:pt>
                <c:pt idx="1973">
                  <c:v>0.59751037344398295</c:v>
                </c:pt>
                <c:pt idx="1974">
                  <c:v>0.59753593429158103</c:v>
                </c:pt>
                <c:pt idx="1975">
                  <c:v>0.59756097560975596</c:v>
                </c:pt>
                <c:pt idx="1976">
                  <c:v>0.59760273972602695</c:v>
                </c:pt>
                <c:pt idx="1977">
                  <c:v>0.59772296015180304</c:v>
                </c:pt>
                <c:pt idx="1978">
                  <c:v>0.59780219780219801</c:v>
                </c:pt>
                <c:pt idx="1979">
                  <c:v>0.59790209790209803</c:v>
                </c:pt>
                <c:pt idx="1980">
                  <c:v>0.59790979097909802</c:v>
                </c:pt>
                <c:pt idx="1981">
                  <c:v>0.597938144329897</c:v>
                </c:pt>
                <c:pt idx="1982">
                  <c:v>0.59799554565701596</c:v>
                </c:pt>
                <c:pt idx="1983">
                  <c:v>0.59806629834254099</c:v>
                </c:pt>
                <c:pt idx="1984">
                  <c:v>0.59811193526635198</c:v>
                </c:pt>
                <c:pt idx="1985">
                  <c:v>0.59811616954474101</c:v>
                </c:pt>
                <c:pt idx="1986">
                  <c:v>0.59813084112149495</c:v>
                </c:pt>
                <c:pt idx="1987">
                  <c:v>0.59816513761467904</c:v>
                </c:pt>
                <c:pt idx="1988">
                  <c:v>0.59819819819819797</c:v>
                </c:pt>
                <c:pt idx="1989">
                  <c:v>0.59821428571428603</c:v>
                </c:pt>
                <c:pt idx="1990">
                  <c:v>0.59829059829059805</c:v>
                </c:pt>
                <c:pt idx="1991">
                  <c:v>0.59830729166666696</c:v>
                </c:pt>
                <c:pt idx="1992">
                  <c:v>0.59836065573770503</c:v>
                </c:pt>
                <c:pt idx="1993">
                  <c:v>0.59860788863109005</c:v>
                </c:pt>
                <c:pt idx="1994">
                  <c:v>0.59871244635193099</c:v>
                </c:pt>
                <c:pt idx="1995">
                  <c:v>0.59899749373433597</c:v>
                </c:pt>
                <c:pt idx="1996">
                  <c:v>0.59900990099009899</c:v>
                </c:pt>
                <c:pt idx="1997">
                  <c:v>0.59905660377358505</c:v>
                </c:pt>
                <c:pt idx="1998">
                  <c:v>0.599088838268793</c:v>
                </c:pt>
                <c:pt idx="1999">
                  <c:v>0.59909909909909898</c:v>
                </c:pt>
                <c:pt idx="2000">
                  <c:v>0.59919232710752102</c:v>
                </c:pt>
                <c:pt idx="2001">
                  <c:v>0.59922680412371099</c:v>
                </c:pt>
                <c:pt idx="2002">
                  <c:v>0.59928762243989298</c:v>
                </c:pt>
                <c:pt idx="2003">
                  <c:v>0.59932088285229201</c:v>
                </c:pt>
                <c:pt idx="2004">
                  <c:v>0.59932659932659904</c:v>
                </c:pt>
                <c:pt idx="2005">
                  <c:v>0.59935117599351195</c:v>
                </c:pt>
                <c:pt idx="2006">
                  <c:v>0.59940652818991103</c:v>
                </c:pt>
                <c:pt idx="2007">
                  <c:v>0.6</c:v>
                </c:pt>
                <c:pt idx="2008">
                  <c:v>0.6</c:v>
                </c:pt>
                <c:pt idx="2009">
                  <c:v>0.6</c:v>
                </c:pt>
                <c:pt idx="2010">
                  <c:v>0.6</c:v>
                </c:pt>
                <c:pt idx="2011">
                  <c:v>0.6</c:v>
                </c:pt>
                <c:pt idx="2012">
                  <c:v>0.6</c:v>
                </c:pt>
                <c:pt idx="2013">
                  <c:v>0.6</c:v>
                </c:pt>
                <c:pt idx="2014">
                  <c:v>0.6</c:v>
                </c:pt>
                <c:pt idx="2015">
                  <c:v>0.6</c:v>
                </c:pt>
                <c:pt idx="2016">
                  <c:v>0.6</c:v>
                </c:pt>
                <c:pt idx="2017">
                  <c:v>0.60024009603841499</c:v>
                </c:pt>
                <c:pt idx="2018">
                  <c:v>0.60025220680958402</c:v>
                </c:pt>
                <c:pt idx="2019">
                  <c:v>0.60054844606947</c:v>
                </c:pt>
                <c:pt idx="2020">
                  <c:v>0.60066006600660105</c:v>
                </c:pt>
                <c:pt idx="2021">
                  <c:v>0.60068846815834798</c:v>
                </c:pt>
                <c:pt idx="2022">
                  <c:v>0.60071942446043203</c:v>
                </c:pt>
                <c:pt idx="2023">
                  <c:v>0.60076775431861795</c:v>
                </c:pt>
                <c:pt idx="2024">
                  <c:v>0.60089686098654704</c:v>
                </c:pt>
                <c:pt idx="2025">
                  <c:v>0.60091743119265995</c:v>
                </c:pt>
                <c:pt idx="2026">
                  <c:v>0.60093896713615003</c:v>
                </c:pt>
                <c:pt idx="2027">
                  <c:v>0.60096153846153799</c:v>
                </c:pt>
                <c:pt idx="2028">
                  <c:v>0.60101867572156198</c:v>
                </c:pt>
                <c:pt idx="2029">
                  <c:v>0.60107816711590301</c:v>
                </c:pt>
                <c:pt idx="2030">
                  <c:v>0.60109289617486295</c:v>
                </c:pt>
                <c:pt idx="2031">
                  <c:v>0.60110294117647001</c:v>
                </c:pt>
                <c:pt idx="2032">
                  <c:v>0.60123966942148799</c:v>
                </c:pt>
                <c:pt idx="2033">
                  <c:v>0.60128322639779996</c:v>
                </c:pt>
                <c:pt idx="2034">
                  <c:v>0.60137457044673504</c:v>
                </c:pt>
                <c:pt idx="2035">
                  <c:v>0.60137931034482806</c:v>
                </c:pt>
                <c:pt idx="2036">
                  <c:v>0.60139860139860102</c:v>
                </c:pt>
                <c:pt idx="2037">
                  <c:v>0.60146252285192003</c:v>
                </c:pt>
                <c:pt idx="2038">
                  <c:v>0.60162601626016299</c:v>
                </c:pt>
                <c:pt idx="2039">
                  <c:v>0.60178970917225905</c:v>
                </c:pt>
                <c:pt idx="2040">
                  <c:v>0.60180995475113097</c:v>
                </c:pt>
                <c:pt idx="2041">
                  <c:v>0.60187353629976603</c:v>
                </c:pt>
                <c:pt idx="2042">
                  <c:v>0.60188087774294696</c:v>
                </c:pt>
                <c:pt idx="2043">
                  <c:v>0.60194174757281504</c:v>
                </c:pt>
                <c:pt idx="2044">
                  <c:v>0.60200668896321097</c:v>
                </c:pt>
                <c:pt idx="2045">
                  <c:v>0.60219780219780195</c:v>
                </c:pt>
                <c:pt idx="2046">
                  <c:v>0.60220994475138101</c:v>
                </c:pt>
                <c:pt idx="2047">
                  <c:v>0.602316602316602</c:v>
                </c:pt>
                <c:pt idx="2048">
                  <c:v>0.602316602316602</c:v>
                </c:pt>
                <c:pt idx="2049">
                  <c:v>0.60232945091514101</c:v>
                </c:pt>
                <c:pt idx="2050">
                  <c:v>0.60249150622876502</c:v>
                </c:pt>
                <c:pt idx="2051">
                  <c:v>0.60251046025104604</c:v>
                </c:pt>
                <c:pt idx="2052">
                  <c:v>0.60267857142857095</c:v>
                </c:pt>
                <c:pt idx="2053">
                  <c:v>0.60270270270270299</c:v>
                </c:pt>
                <c:pt idx="2054">
                  <c:v>0.60283687943262398</c:v>
                </c:pt>
                <c:pt idx="2055">
                  <c:v>0.60283687943262398</c:v>
                </c:pt>
                <c:pt idx="2056">
                  <c:v>0.60285941223192996</c:v>
                </c:pt>
                <c:pt idx="2057">
                  <c:v>0.602870813397129</c:v>
                </c:pt>
                <c:pt idx="2058">
                  <c:v>0.60290742157612798</c:v>
                </c:pt>
                <c:pt idx="2059">
                  <c:v>0.60293288212069895</c:v>
                </c:pt>
                <c:pt idx="2060">
                  <c:v>0.60294117647058798</c:v>
                </c:pt>
                <c:pt idx="2061">
                  <c:v>0.60294117647058798</c:v>
                </c:pt>
                <c:pt idx="2062">
                  <c:v>0.60305343511450404</c:v>
                </c:pt>
                <c:pt idx="2063">
                  <c:v>0.60308502633559102</c:v>
                </c:pt>
                <c:pt idx="2064">
                  <c:v>0.60311958405545896</c:v>
                </c:pt>
                <c:pt idx="2065">
                  <c:v>0.60316319194823897</c:v>
                </c:pt>
                <c:pt idx="2066">
                  <c:v>0.60333006856023497</c:v>
                </c:pt>
                <c:pt idx="2067">
                  <c:v>0.60337552742615996</c:v>
                </c:pt>
                <c:pt idx="2068">
                  <c:v>0.60342857142857098</c:v>
                </c:pt>
                <c:pt idx="2069">
                  <c:v>0.60344003822264702</c:v>
                </c:pt>
                <c:pt idx="2070">
                  <c:v>0.60347826086956502</c:v>
                </c:pt>
                <c:pt idx="2071">
                  <c:v>0.603494623655914</c:v>
                </c:pt>
                <c:pt idx="2072">
                  <c:v>0.60351826792963403</c:v>
                </c:pt>
                <c:pt idx="2073">
                  <c:v>0.60354223433242504</c:v>
                </c:pt>
                <c:pt idx="2074">
                  <c:v>0.60365853658536595</c:v>
                </c:pt>
                <c:pt idx="2075">
                  <c:v>0.60373443983402497</c:v>
                </c:pt>
                <c:pt idx="2076">
                  <c:v>0.60377358490566002</c:v>
                </c:pt>
                <c:pt idx="2077">
                  <c:v>0.604010025062657</c:v>
                </c:pt>
                <c:pt idx="2078">
                  <c:v>0.60415610745058301</c:v>
                </c:pt>
                <c:pt idx="2079">
                  <c:v>0.60416666666666696</c:v>
                </c:pt>
                <c:pt idx="2080">
                  <c:v>0.60416666666666696</c:v>
                </c:pt>
                <c:pt idx="2081">
                  <c:v>0.60421940928270002</c:v>
                </c:pt>
                <c:pt idx="2082">
                  <c:v>0.60422960725075503</c:v>
                </c:pt>
                <c:pt idx="2083">
                  <c:v>0.60425531914893604</c:v>
                </c:pt>
                <c:pt idx="2084">
                  <c:v>0.60429722470904201</c:v>
                </c:pt>
                <c:pt idx="2085">
                  <c:v>0.60441426146010202</c:v>
                </c:pt>
                <c:pt idx="2086">
                  <c:v>0.60453400503778298</c:v>
                </c:pt>
                <c:pt idx="2087">
                  <c:v>0.60454545454545405</c:v>
                </c:pt>
                <c:pt idx="2088">
                  <c:v>0.60456273764258495</c:v>
                </c:pt>
                <c:pt idx="2089">
                  <c:v>0.60456784594715596</c:v>
                </c:pt>
                <c:pt idx="2090">
                  <c:v>0.60460652591170805</c:v>
                </c:pt>
                <c:pt idx="2091">
                  <c:v>0.60465116279069797</c:v>
                </c:pt>
                <c:pt idx="2092">
                  <c:v>0.60465116279069797</c:v>
                </c:pt>
                <c:pt idx="2093">
                  <c:v>0.60468750000000004</c:v>
                </c:pt>
                <c:pt idx="2094">
                  <c:v>0.60504201680672298</c:v>
                </c:pt>
                <c:pt idx="2095">
                  <c:v>0.60508369497830095</c:v>
                </c:pt>
                <c:pt idx="2096">
                  <c:v>0.60512820512820498</c:v>
                </c:pt>
                <c:pt idx="2097">
                  <c:v>0.60512820512820498</c:v>
                </c:pt>
                <c:pt idx="2098">
                  <c:v>0.605140186915888</c:v>
                </c:pt>
                <c:pt idx="2099">
                  <c:v>0.60515021459227503</c:v>
                </c:pt>
                <c:pt idx="2100">
                  <c:v>0.60519480519480495</c:v>
                </c:pt>
                <c:pt idx="2101">
                  <c:v>0.60524399126001505</c:v>
                </c:pt>
                <c:pt idx="2102">
                  <c:v>0.60524710189139697</c:v>
                </c:pt>
                <c:pt idx="2103">
                  <c:v>0.60526315789473695</c:v>
                </c:pt>
                <c:pt idx="2104">
                  <c:v>0.60526315789473695</c:v>
                </c:pt>
                <c:pt idx="2105">
                  <c:v>0.60526315789473695</c:v>
                </c:pt>
                <c:pt idx="2106">
                  <c:v>0.60526315789473695</c:v>
                </c:pt>
                <c:pt idx="2107">
                  <c:v>0.60539845758354804</c:v>
                </c:pt>
                <c:pt idx="2108">
                  <c:v>0.605413105413105</c:v>
                </c:pt>
                <c:pt idx="2109">
                  <c:v>0.60544217687074797</c:v>
                </c:pt>
                <c:pt idx="2110">
                  <c:v>0.60544217687074797</c:v>
                </c:pt>
                <c:pt idx="2111">
                  <c:v>0.60545193687231003</c:v>
                </c:pt>
                <c:pt idx="2112">
                  <c:v>0.60545308740978299</c:v>
                </c:pt>
                <c:pt idx="2113">
                  <c:v>0.60546541417591804</c:v>
                </c:pt>
                <c:pt idx="2114">
                  <c:v>0.60546875</c:v>
                </c:pt>
                <c:pt idx="2115">
                  <c:v>0.60557768924302802</c:v>
                </c:pt>
                <c:pt idx="2116">
                  <c:v>0.60557768924302802</c:v>
                </c:pt>
                <c:pt idx="2117">
                  <c:v>0.60563380281690105</c:v>
                </c:pt>
                <c:pt idx="2118">
                  <c:v>0.60567823343848604</c:v>
                </c:pt>
                <c:pt idx="2119">
                  <c:v>0.60569105691056901</c:v>
                </c:pt>
                <c:pt idx="2120">
                  <c:v>0.60576923076923095</c:v>
                </c:pt>
                <c:pt idx="2121">
                  <c:v>0.60580762250453701</c:v>
                </c:pt>
                <c:pt idx="2122">
                  <c:v>0.60597014925373105</c:v>
                </c:pt>
                <c:pt idx="2123">
                  <c:v>0.60597439544807996</c:v>
                </c:pt>
                <c:pt idx="2124">
                  <c:v>0.60597826086956497</c:v>
                </c:pt>
                <c:pt idx="2125">
                  <c:v>0.60606060606060597</c:v>
                </c:pt>
                <c:pt idx="2126">
                  <c:v>0.60606060606060597</c:v>
                </c:pt>
                <c:pt idx="2127">
                  <c:v>0.60606060606060597</c:v>
                </c:pt>
                <c:pt idx="2128">
                  <c:v>0.60612939841089697</c:v>
                </c:pt>
                <c:pt idx="2129">
                  <c:v>0.60617059891107095</c:v>
                </c:pt>
                <c:pt idx="2130">
                  <c:v>0.606223175965665</c:v>
                </c:pt>
                <c:pt idx="2131">
                  <c:v>0.60629921259842501</c:v>
                </c:pt>
                <c:pt idx="2132">
                  <c:v>0.606343283582089</c:v>
                </c:pt>
                <c:pt idx="2133">
                  <c:v>0.60638297872340396</c:v>
                </c:pt>
                <c:pt idx="2134">
                  <c:v>0.60638297872340396</c:v>
                </c:pt>
                <c:pt idx="2135">
                  <c:v>0.60646900269541804</c:v>
                </c:pt>
                <c:pt idx="2136">
                  <c:v>0.60648379052369095</c:v>
                </c:pt>
                <c:pt idx="2137">
                  <c:v>0.60659340659340599</c:v>
                </c:pt>
                <c:pt idx="2138">
                  <c:v>0.60661764705882304</c:v>
                </c:pt>
                <c:pt idx="2139">
                  <c:v>0.60664206642066398</c:v>
                </c:pt>
                <c:pt idx="2140">
                  <c:v>0.60674157303370801</c:v>
                </c:pt>
                <c:pt idx="2141">
                  <c:v>0.60678391959799005</c:v>
                </c:pt>
                <c:pt idx="2142">
                  <c:v>0.60678642714570896</c:v>
                </c:pt>
                <c:pt idx="2143">
                  <c:v>0.606822262118492</c:v>
                </c:pt>
                <c:pt idx="2144">
                  <c:v>0.60682680151706703</c:v>
                </c:pt>
                <c:pt idx="2145">
                  <c:v>0.60696517412935302</c:v>
                </c:pt>
                <c:pt idx="2146">
                  <c:v>0.60714285714285698</c:v>
                </c:pt>
                <c:pt idx="2147">
                  <c:v>0.60714285714285698</c:v>
                </c:pt>
                <c:pt idx="2148">
                  <c:v>0.60724779627815895</c:v>
                </c:pt>
                <c:pt idx="2149">
                  <c:v>0.60735009671179896</c:v>
                </c:pt>
                <c:pt idx="2150">
                  <c:v>0.60736196319018398</c:v>
                </c:pt>
                <c:pt idx="2151">
                  <c:v>0.60747663551401898</c:v>
                </c:pt>
                <c:pt idx="2152">
                  <c:v>0.60766961651917395</c:v>
                </c:pt>
                <c:pt idx="2153">
                  <c:v>0.60778128286014699</c:v>
                </c:pt>
                <c:pt idx="2154">
                  <c:v>0.60779220779220799</c:v>
                </c:pt>
                <c:pt idx="2155">
                  <c:v>0.60779816513761498</c:v>
                </c:pt>
                <c:pt idx="2156">
                  <c:v>0.60780984719864195</c:v>
                </c:pt>
                <c:pt idx="2157">
                  <c:v>0.60784313725490202</c:v>
                </c:pt>
                <c:pt idx="2158">
                  <c:v>0.60792951541850204</c:v>
                </c:pt>
                <c:pt idx="2159">
                  <c:v>0.60805860805860801</c:v>
                </c:pt>
                <c:pt idx="2160">
                  <c:v>0.60809248554913298</c:v>
                </c:pt>
                <c:pt idx="2161">
                  <c:v>0.608108108108108</c:v>
                </c:pt>
                <c:pt idx="2162">
                  <c:v>0.608108108108108</c:v>
                </c:pt>
                <c:pt idx="2163">
                  <c:v>0.60814606741572996</c:v>
                </c:pt>
                <c:pt idx="2164">
                  <c:v>0.608200455580865</c:v>
                </c:pt>
                <c:pt idx="2165">
                  <c:v>0.60822898032200301</c:v>
                </c:pt>
                <c:pt idx="2166">
                  <c:v>0.60824742268041199</c:v>
                </c:pt>
                <c:pt idx="2167">
                  <c:v>0.60834181078331595</c:v>
                </c:pt>
                <c:pt idx="2168">
                  <c:v>0.60847018150388898</c:v>
                </c:pt>
                <c:pt idx="2169">
                  <c:v>0.60852713178294604</c:v>
                </c:pt>
                <c:pt idx="2170">
                  <c:v>0.60854700854700805</c:v>
                </c:pt>
                <c:pt idx="2171">
                  <c:v>0.60869565217391297</c:v>
                </c:pt>
                <c:pt idx="2172">
                  <c:v>0.60869565217391297</c:v>
                </c:pt>
                <c:pt idx="2173">
                  <c:v>0.60869565217391297</c:v>
                </c:pt>
                <c:pt idx="2174">
                  <c:v>0.60869565217391297</c:v>
                </c:pt>
                <c:pt idx="2175">
                  <c:v>0.60875640428504896</c:v>
                </c:pt>
                <c:pt idx="2176">
                  <c:v>0.60875912408759103</c:v>
                </c:pt>
                <c:pt idx="2177">
                  <c:v>0.60879629629629595</c:v>
                </c:pt>
                <c:pt idx="2178">
                  <c:v>0.60880503144654097</c:v>
                </c:pt>
                <c:pt idx="2179">
                  <c:v>0.60887096774193505</c:v>
                </c:pt>
                <c:pt idx="2180">
                  <c:v>0.60891089108910901</c:v>
                </c:pt>
                <c:pt idx="2181">
                  <c:v>0.60902255639097702</c:v>
                </c:pt>
                <c:pt idx="2182">
                  <c:v>0.60914051841746197</c:v>
                </c:pt>
                <c:pt idx="2183">
                  <c:v>0.60919540229885105</c:v>
                </c:pt>
                <c:pt idx="2184">
                  <c:v>0.60921843687374699</c:v>
                </c:pt>
                <c:pt idx="2185">
                  <c:v>0.60925449871465298</c:v>
                </c:pt>
                <c:pt idx="2186">
                  <c:v>0.60926193921852401</c:v>
                </c:pt>
                <c:pt idx="2187">
                  <c:v>0.60927152317880795</c:v>
                </c:pt>
                <c:pt idx="2188">
                  <c:v>0.60944206008583701</c:v>
                </c:pt>
                <c:pt idx="2189">
                  <c:v>0.60956790123456805</c:v>
                </c:pt>
                <c:pt idx="2190">
                  <c:v>0.60962566844919797</c:v>
                </c:pt>
                <c:pt idx="2191">
                  <c:v>0.60972568578553599</c:v>
                </c:pt>
                <c:pt idx="2192">
                  <c:v>0.60975609756097604</c:v>
                </c:pt>
                <c:pt idx="2193">
                  <c:v>0.60975609756097604</c:v>
                </c:pt>
                <c:pt idx="2194">
                  <c:v>0.60978384527872598</c:v>
                </c:pt>
                <c:pt idx="2195">
                  <c:v>0.60979462875197499</c:v>
                </c:pt>
                <c:pt idx="2196">
                  <c:v>0.60984182776801399</c:v>
                </c:pt>
                <c:pt idx="2197">
                  <c:v>0.60994764397905699</c:v>
                </c:pt>
                <c:pt idx="2198">
                  <c:v>0.60999456816947295</c:v>
                </c:pt>
                <c:pt idx="2199">
                  <c:v>0.61005199306759095</c:v>
                </c:pt>
                <c:pt idx="2200">
                  <c:v>0.61009174311926595</c:v>
                </c:pt>
                <c:pt idx="2201">
                  <c:v>0.61016949152542399</c:v>
                </c:pt>
                <c:pt idx="2202">
                  <c:v>0.61023947151114799</c:v>
                </c:pt>
                <c:pt idx="2203">
                  <c:v>0.61024844720496896</c:v>
                </c:pt>
                <c:pt idx="2204">
                  <c:v>0.61034047919293799</c:v>
                </c:pt>
                <c:pt idx="2205">
                  <c:v>0.61038961038961004</c:v>
                </c:pt>
                <c:pt idx="2206">
                  <c:v>0.61042944785276099</c:v>
                </c:pt>
                <c:pt idx="2207">
                  <c:v>0.61044520547945202</c:v>
                </c:pt>
                <c:pt idx="2208">
                  <c:v>0.61061946902654896</c:v>
                </c:pt>
                <c:pt idx="2209">
                  <c:v>0.61063464837049697</c:v>
                </c:pt>
                <c:pt idx="2210">
                  <c:v>0.61066235864297203</c:v>
                </c:pt>
                <c:pt idx="2211">
                  <c:v>0.61084905660377298</c:v>
                </c:pt>
                <c:pt idx="2212">
                  <c:v>0.61087866108786604</c:v>
                </c:pt>
                <c:pt idx="2213">
                  <c:v>0.61111111111111105</c:v>
                </c:pt>
                <c:pt idx="2214">
                  <c:v>0.61111111111111105</c:v>
                </c:pt>
                <c:pt idx="2215">
                  <c:v>0.61127029608405004</c:v>
                </c:pt>
                <c:pt idx="2216">
                  <c:v>0.61128526645768</c:v>
                </c:pt>
                <c:pt idx="2217">
                  <c:v>0.61137820512820495</c:v>
                </c:pt>
                <c:pt idx="2218">
                  <c:v>0.61140819964349402</c:v>
                </c:pt>
                <c:pt idx="2219">
                  <c:v>0.61141516810007801</c:v>
                </c:pt>
                <c:pt idx="2220">
                  <c:v>0.61143523920653398</c:v>
                </c:pt>
                <c:pt idx="2221">
                  <c:v>0.611464968152866</c:v>
                </c:pt>
                <c:pt idx="2222">
                  <c:v>0.61152141802067905</c:v>
                </c:pt>
                <c:pt idx="2223">
                  <c:v>0.61153846153846103</c:v>
                </c:pt>
                <c:pt idx="2224">
                  <c:v>0.61154273029966699</c:v>
                </c:pt>
                <c:pt idx="2225">
                  <c:v>0.61157601115760096</c:v>
                </c:pt>
                <c:pt idx="2226">
                  <c:v>0.61163522012578597</c:v>
                </c:pt>
                <c:pt idx="2227">
                  <c:v>0.61164427383237396</c:v>
                </c:pt>
                <c:pt idx="2228">
                  <c:v>0.61171662125340598</c:v>
                </c:pt>
                <c:pt idx="2229">
                  <c:v>0.61176470588235299</c:v>
                </c:pt>
                <c:pt idx="2230">
                  <c:v>0.61176470588235299</c:v>
                </c:pt>
                <c:pt idx="2231">
                  <c:v>0.61176470588235299</c:v>
                </c:pt>
                <c:pt idx="2232">
                  <c:v>0.61182669789227195</c:v>
                </c:pt>
                <c:pt idx="2233">
                  <c:v>0.61183550651955898</c:v>
                </c:pt>
                <c:pt idx="2234">
                  <c:v>0.61184210526315796</c:v>
                </c:pt>
                <c:pt idx="2235">
                  <c:v>0.61188811188811199</c:v>
                </c:pt>
                <c:pt idx="2236">
                  <c:v>0.61199294532627901</c:v>
                </c:pt>
                <c:pt idx="2237">
                  <c:v>0.61210453920220098</c:v>
                </c:pt>
                <c:pt idx="2238">
                  <c:v>0.61214953271028005</c:v>
                </c:pt>
                <c:pt idx="2239">
                  <c:v>0.61219195849546004</c:v>
                </c:pt>
                <c:pt idx="2240">
                  <c:v>0.61219512195121895</c:v>
                </c:pt>
                <c:pt idx="2241">
                  <c:v>0.61224489795918402</c:v>
                </c:pt>
                <c:pt idx="2242">
                  <c:v>0.61224489795918402</c:v>
                </c:pt>
                <c:pt idx="2243">
                  <c:v>0.61235955056179803</c:v>
                </c:pt>
                <c:pt idx="2244">
                  <c:v>0.61241523213354199</c:v>
                </c:pt>
                <c:pt idx="2245">
                  <c:v>0.61241610738255003</c:v>
                </c:pt>
                <c:pt idx="2246">
                  <c:v>0.61255924170616105</c:v>
                </c:pt>
                <c:pt idx="2247">
                  <c:v>0.61259541984732802</c:v>
                </c:pt>
                <c:pt idx="2248">
                  <c:v>0.61278195488721798</c:v>
                </c:pt>
                <c:pt idx="2249">
                  <c:v>0.61284722222222199</c:v>
                </c:pt>
                <c:pt idx="2250">
                  <c:v>0.61286407766990303</c:v>
                </c:pt>
                <c:pt idx="2251">
                  <c:v>0.61290322580645196</c:v>
                </c:pt>
                <c:pt idx="2252">
                  <c:v>0.61302325581395301</c:v>
                </c:pt>
                <c:pt idx="2253">
                  <c:v>0.61303191489361697</c:v>
                </c:pt>
                <c:pt idx="2254">
                  <c:v>0.61304347826086902</c:v>
                </c:pt>
                <c:pt idx="2255">
                  <c:v>0.61305007587253402</c:v>
                </c:pt>
                <c:pt idx="2256">
                  <c:v>0.61306532663316604</c:v>
                </c:pt>
                <c:pt idx="2257">
                  <c:v>0.61307901907356899</c:v>
                </c:pt>
                <c:pt idx="2258">
                  <c:v>0.61316872427983504</c:v>
                </c:pt>
                <c:pt idx="2259">
                  <c:v>0.61320754716981096</c:v>
                </c:pt>
                <c:pt idx="2260">
                  <c:v>0.61323763955342903</c:v>
                </c:pt>
                <c:pt idx="2261">
                  <c:v>0.61338289962825299</c:v>
                </c:pt>
                <c:pt idx="2262">
                  <c:v>0.61340206185567003</c:v>
                </c:pt>
                <c:pt idx="2263">
                  <c:v>0.61342281879194605</c:v>
                </c:pt>
                <c:pt idx="2264">
                  <c:v>0.61344537815125999</c:v>
                </c:pt>
                <c:pt idx="2265">
                  <c:v>0.61349693251533699</c:v>
                </c:pt>
                <c:pt idx="2266">
                  <c:v>0.61351351351351302</c:v>
                </c:pt>
                <c:pt idx="2267">
                  <c:v>0.61354581673306796</c:v>
                </c:pt>
                <c:pt idx="2268">
                  <c:v>0.61355443403028098</c:v>
                </c:pt>
                <c:pt idx="2269">
                  <c:v>0.61355529131985698</c:v>
                </c:pt>
                <c:pt idx="2270">
                  <c:v>0.613592233009709</c:v>
                </c:pt>
                <c:pt idx="2271">
                  <c:v>0.61363636363636398</c:v>
                </c:pt>
                <c:pt idx="2272">
                  <c:v>0.61363636363636398</c:v>
                </c:pt>
                <c:pt idx="2273">
                  <c:v>0.61372812920592201</c:v>
                </c:pt>
                <c:pt idx="2274">
                  <c:v>0.613810741687979</c:v>
                </c:pt>
                <c:pt idx="2275">
                  <c:v>0.61386138613861396</c:v>
                </c:pt>
                <c:pt idx="2276">
                  <c:v>0.613924050632911</c:v>
                </c:pt>
                <c:pt idx="2277">
                  <c:v>0.61399397388684296</c:v>
                </c:pt>
                <c:pt idx="2278">
                  <c:v>0.61406249999999996</c:v>
                </c:pt>
                <c:pt idx="2279">
                  <c:v>0.61408450704225304</c:v>
                </c:pt>
                <c:pt idx="2280">
                  <c:v>0.61408882082695204</c:v>
                </c:pt>
                <c:pt idx="2281">
                  <c:v>0.614100185528757</c:v>
                </c:pt>
                <c:pt idx="2282">
                  <c:v>0.61416430594900795</c:v>
                </c:pt>
                <c:pt idx="2283">
                  <c:v>0.61418143899895705</c:v>
                </c:pt>
                <c:pt idx="2284">
                  <c:v>0.61421319796954299</c:v>
                </c:pt>
                <c:pt idx="2285">
                  <c:v>0.61421988150098705</c:v>
                </c:pt>
                <c:pt idx="2286">
                  <c:v>0.614222222222222</c:v>
                </c:pt>
                <c:pt idx="2287">
                  <c:v>0.61425576519916103</c:v>
                </c:pt>
                <c:pt idx="2288">
                  <c:v>0.61434977578475303</c:v>
                </c:pt>
                <c:pt idx="2289">
                  <c:v>0.61434977578475303</c:v>
                </c:pt>
                <c:pt idx="2290">
                  <c:v>0.61441441441441402</c:v>
                </c:pt>
                <c:pt idx="2291">
                  <c:v>0.61445783132530096</c:v>
                </c:pt>
                <c:pt idx="2292">
                  <c:v>0.61451247165532896</c:v>
                </c:pt>
                <c:pt idx="2293">
                  <c:v>0.61464088397789995</c:v>
                </c:pt>
                <c:pt idx="2294">
                  <c:v>0.61467889908256901</c:v>
                </c:pt>
                <c:pt idx="2295">
                  <c:v>0.61469933184855197</c:v>
                </c:pt>
                <c:pt idx="2296">
                  <c:v>0.61475409836065598</c:v>
                </c:pt>
                <c:pt idx="2297">
                  <c:v>0.61481481481481504</c:v>
                </c:pt>
                <c:pt idx="2298">
                  <c:v>0.61483594864479296</c:v>
                </c:pt>
                <c:pt idx="2299">
                  <c:v>0.61486486486486502</c:v>
                </c:pt>
                <c:pt idx="2300">
                  <c:v>0.61487603305785099</c:v>
                </c:pt>
                <c:pt idx="2301">
                  <c:v>0.61491317671092904</c:v>
                </c:pt>
                <c:pt idx="2302">
                  <c:v>0.61497326203208502</c:v>
                </c:pt>
                <c:pt idx="2303">
                  <c:v>0.61499999999999999</c:v>
                </c:pt>
                <c:pt idx="2304">
                  <c:v>0.61503759398496205</c:v>
                </c:pt>
                <c:pt idx="2305">
                  <c:v>0.61516853932584303</c:v>
                </c:pt>
                <c:pt idx="2306">
                  <c:v>0.61516853932584303</c:v>
                </c:pt>
                <c:pt idx="2307">
                  <c:v>0.61533626649905704</c:v>
                </c:pt>
                <c:pt idx="2308">
                  <c:v>0.61538461538461497</c:v>
                </c:pt>
                <c:pt idx="2309">
                  <c:v>0.61538461538461497</c:v>
                </c:pt>
                <c:pt idx="2310">
                  <c:v>0.61538461538461497</c:v>
                </c:pt>
                <c:pt idx="2311">
                  <c:v>0.61538461538461497</c:v>
                </c:pt>
                <c:pt idx="2312">
                  <c:v>0.61538461538461497</c:v>
                </c:pt>
                <c:pt idx="2313">
                  <c:v>0.61538461538461497</c:v>
                </c:pt>
                <c:pt idx="2314">
                  <c:v>0.61548643282594295</c:v>
                </c:pt>
                <c:pt idx="2315">
                  <c:v>0.61556791104050801</c:v>
                </c:pt>
                <c:pt idx="2316">
                  <c:v>0.61566966649020605</c:v>
                </c:pt>
                <c:pt idx="2317">
                  <c:v>0.61578266494178502</c:v>
                </c:pt>
                <c:pt idx="2318">
                  <c:v>0.615979381443299</c:v>
                </c:pt>
                <c:pt idx="2319">
                  <c:v>0.61598746081504696</c:v>
                </c:pt>
                <c:pt idx="2320">
                  <c:v>0.61599999999999999</c:v>
                </c:pt>
                <c:pt idx="2321">
                  <c:v>0.61608040201004999</c:v>
                </c:pt>
                <c:pt idx="2322">
                  <c:v>0.61609907120743002</c:v>
                </c:pt>
                <c:pt idx="2323">
                  <c:v>0.61611374407582897</c:v>
                </c:pt>
                <c:pt idx="2324">
                  <c:v>0.61616161616161602</c:v>
                </c:pt>
                <c:pt idx="2325">
                  <c:v>0.61632653061224496</c:v>
                </c:pt>
                <c:pt idx="2326">
                  <c:v>0.61638733705772797</c:v>
                </c:pt>
                <c:pt idx="2327">
                  <c:v>0.61643026004728096</c:v>
                </c:pt>
                <c:pt idx="2328">
                  <c:v>0.61643835616438303</c:v>
                </c:pt>
                <c:pt idx="2329">
                  <c:v>0.61643835616438303</c:v>
                </c:pt>
                <c:pt idx="2330">
                  <c:v>0.61646586345381504</c:v>
                </c:pt>
                <c:pt idx="2331">
                  <c:v>0.61647058823529399</c:v>
                </c:pt>
                <c:pt idx="2332">
                  <c:v>0.61651917404129797</c:v>
                </c:pt>
                <c:pt idx="2333">
                  <c:v>0.61661341853035101</c:v>
                </c:pt>
                <c:pt idx="2334">
                  <c:v>0.61666666666666703</c:v>
                </c:pt>
                <c:pt idx="2335">
                  <c:v>0.61666666666666703</c:v>
                </c:pt>
                <c:pt idx="2336">
                  <c:v>0.61670235546038499</c:v>
                </c:pt>
                <c:pt idx="2337">
                  <c:v>0.61671087533156499</c:v>
                </c:pt>
                <c:pt idx="2338">
                  <c:v>0.61680327868852403</c:v>
                </c:pt>
                <c:pt idx="2339">
                  <c:v>0.61686746987951802</c:v>
                </c:pt>
                <c:pt idx="2340">
                  <c:v>0.61688125894134505</c:v>
                </c:pt>
                <c:pt idx="2341">
                  <c:v>0.61688311688311703</c:v>
                </c:pt>
                <c:pt idx="2342">
                  <c:v>0.616915422885572</c:v>
                </c:pt>
                <c:pt idx="2343">
                  <c:v>0.61702127659574502</c:v>
                </c:pt>
                <c:pt idx="2344">
                  <c:v>0.617100371747212</c:v>
                </c:pt>
                <c:pt idx="2345">
                  <c:v>0.61715481171548103</c:v>
                </c:pt>
                <c:pt idx="2346">
                  <c:v>0.6171875</c:v>
                </c:pt>
                <c:pt idx="2347">
                  <c:v>0.61721068249258204</c:v>
                </c:pt>
                <c:pt idx="2348">
                  <c:v>0.61724137931034495</c:v>
                </c:pt>
                <c:pt idx="2349">
                  <c:v>0.61725663716814205</c:v>
                </c:pt>
                <c:pt idx="2350">
                  <c:v>0.61728395061728403</c:v>
                </c:pt>
                <c:pt idx="2351">
                  <c:v>0.61731843575418999</c:v>
                </c:pt>
                <c:pt idx="2352">
                  <c:v>0.61742424242424199</c:v>
                </c:pt>
                <c:pt idx="2353">
                  <c:v>0.61742424242424199</c:v>
                </c:pt>
                <c:pt idx="2354">
                  <c:v>0.61744583808437803</c:v>
                </c:pt>
                <c:pt idx="2355">
                  <c:v>0.61757425742574201</c:v>
                </c:pt>
                <c:pt idx="2356">
                  <c:v>0.61764705882352899</c:v>
                </c:pt>
                <c:pt idx="2357">
                  <c:v>0.61777150916784196</c:v>
                </c:pt>
                <c:pt idx="2358">
                  <c:v>0.61784897025171603</c:v>
                </c:pt>
                <c:pt idx="2359">
                  <c:v>0.61787905346187499</c:v>
                </c:pt>
                <c:pt idx="2360">
                  <c:v>0.61788617886178898</c:v>
                </c:pt>
                <c:pt idx="2361">
                  <c:v>0.61797752808988804</c:v>
                </c:pt>
                <c:pt idx="2362">
                  <c:v>0.61797752808988804</c:v>
                </c:pt>
                <c:pt idx="2363">
                  <c:v>0.61802575107296098</c:v>
                </c:pt>
                <c:pt idx="2364">
                  <c:v>0.61805555555555503</c:v>
                </c:pt>
                <c:pt idx="2365">
                  <c:v>0.61816192560174998</c:v>
                </c:pt>
                <c:pt idx="2366">
                  <c:v>0.61818181818181805</c:v>
                </c:pt>
                <c:pt idx="2367">
                  <c:v>0.61821086261980795</c:v>
                </c:pt>
                <c:pt idx="2368">
                  <c:v>0.61821366024518398</c:v>
                </c:pt>
                <c:pt idx="2369">
                  <c:v>0.61832061068702304</c:v>
                </c:pt>
                <c:pt idx="2370">
                  <c:v>0.61832061068702304</c:v>
                </c:pt>
                <c:pt idx="2371">
                  <c:v>0.61836045440589504</c:v>
                </c:pt>
                <c:pt idx="2372">
                  <c:v>0.61842105263157898</c:v>
                </c:pt>
                <c:pt idx="2373">
                  <c:v>0.61845607808340697</c:v>
                </c:pt>
                <c:pt idx="2374">
                  <c:v>0.61852433281004704</c:v>
                </c:pt>
                <c:pt idx="2375">
                  <c:v>0.61862917398945505</c:v>
                </c:pt>
                <c:pt idx="2376">
                  <c:v>0.61875000000000002</c:v>
                </c:pt>
                <c:pt idx="2377">
                  <c:v>0.61878881987577605</c:v>
                </c:pt>
                <c:pt idx="2378">
                  <c:v>0.61904761904761896</c:v>
                </c:pt>
                <c:pt idx="2379">
                  <c:v>0.61904761904761896</c:v>
                </c:pt>
                <c:pt idx="2380">
                  <c:v>0.61915887850467299</c:v>
                </c:pt>
                <c:pt idx="2381">
                  <c:v>0.61919999999999997</c:v>
                </c:pt>
                <c:pt idx="2382">
                  <c:v>0.61920903954802298</c:v>
                </c:pt>
                <c:pt idx="2383">
                  <c:v>0.61923076923076903</c:v>
                </c:pt>
                <c:pt idx="2384">
                  <c:v>0.61928934010152303</c:v>
                </c:pt>
                <c:pt idx="2385">
                  <c:v>0.61931187569367396</c:v>
                </c:pt>
                <c:pt idx="2386">
                  <c:v>0.61940298507462699</c:v>
                </c:pt>
                <c:pt idx="2387">
                  <c:v>0.619413407821229</c:v>
                </c:pt>
                <c:pt idx="2388">
                  <c:v>0.61945392491467599</c:v>
                </c:pt>
                <c:pt idx="2389">
                  <c:v>0.61952861952861904</c:v>
                </c:pt>
                <c:pt idx="2390">
                  <c:v>0.61956521739130399</c:v>
                </c:pt>
                <c:pt idx="2391">
                  <c:v>0.61964285714285705</c:v>
                </c:pt>
                <c:pt idx="2392">
                  <c:v>0.61968085106382997</c:v>
                </c:pt>
                <c:pt idx="2393">
                  <c:v>0.61969111969112001</c:v>
                </c:pt>
                <c:pt idx="2394">
                  <c:v>0.61971830985915499</c:v>
                </c:pt>
                <c:pt idx="2395">
                  <c:v>0.619785458879618</c:v>
                </c:pt>
                <c:pt idx="2396">
                  <c:v>0.61984196663740099</c:v>
                </c:pt>
                <c:pt idx="2397">
                  <c:v>0.61984282907662103</c:v>
                </c:pt>
                <c:pt idx="2398">
                  <c:v>0.61989649223691801</c:v>
                </c:pt>
                <c:pt idx="2399">
                  <c:v>0.61990950226244301</c:v>
                </c:pt>
                <c:pt idx="2400">
                  <c:v>0.619967793880837</c:v>
                </c:pt>
                <c:pt idx="2401">
                  <c:v>0.62007874015747999</c:v>
                </c:pt>
                <c:pt idx="2402">
                  <c:v>0.62008141112618698</c:v>
                </c:pt>
                <c:pt idx="2403">
                  <c:v>0.62009419152276302</c:v>
                </c:pt>
                <c:pt idx="2404">
                  <c:v>0.62011173184357504</c:v>
                </c:pt>
                <c:pt idx="2405">
                  <c:v>0.62015503875969002</c:v>
                </c:pt>
                <c:pt idx="2406">
                  <c:v>0.62037037037037002</c:v>
                </c:pt>
                <c:pt idx="2407">
                  <c:v>0.62038664323374304</c:v>
                </c:pt>
                <c:pt idx="2408">
                  <c:v>0.62043795620437903</c:v>
                </c:pt>
                <c:pt idx="2409">
                  <c:v>0.62043795620437903</c:v>
                </c:pt>
                <c:pt idx="2410">
                  <c:v>0.620577027762656</c:v>
                </c:pt>
                <c:pt idx="2411">
                  <c:v>0.62065934065934103</c:v>
                </c:pt>
                <c:pt idx="2412">
                  <c:v>0.62068965517241403</c:v>
                </c:pt>
                <c:pt idx="2413">
                  <c:v>0.62079510703363905</c:v>
                </c:pt>
                <c:pt idx="2414">
                  <c:v>0.62080443828016596</c:v>
                </c:pt>
                <c:pt idx="2415">
                  <c:v>0.62095238095238103</c:v>
                </c:pt>
                <c:pt idx="2416">
                  <c:v>0.62096774193548399</c:v>
                </c:pt>
                <c:pt idx="2417">
                  <c:v>0.620975609756097</c:v>
                </c:pt>
                <c:pt idx="2418">
                  <c:v>0.62102689486552598</c:v>
                </c:pt>
                <c:pt idx="2419">
                  <c:v>0.62105263157894697</c:v>
                </c:pt>
                <c:pt idx="2420">
                  <c:v>0.62105907560453</c:v>
                </c:pt>
                <c:pt idx="2421">
                  <c:v>0.62110311750599501</c:v>
                </c:pt>
                <c:pt idx="2422">
                  <c:v>0.62117950925527299</c:v>
                </c:pt>
                <c:pt idx="2423">
                  <c:v>0.62118780096308202</c:v>
                </c:pt>
                <c:pt idx="2424">
                  <c:v>0.62121212121212099</c:v>
                </c:pt>
                <c:pt idx="2425">
                  <c:v>0.62121212121212099</c:v>
                </c:pt>
                <c:pt idx="2426">
                  <c:v>0.62130177514792895</c:v>
                </c:pt>
                <c:pt idx="2427">
                  <c:v>0.62154696132596698</c:v>
                </c:pt>
                <c:pt idx="2428">
                  <c:v>0.62159624413145498</c:v>
                </c:pt>
                <c:pt idx="2429">
                  <c:v>0.62159934047815302</c:v>
                </c:pt>
                <c:pt idx="2430">
                  <c:v>0.62162162162162204</c:v>
                </c:pt>
                <c:pt idx="2431">
                  <c:v>0.62162162162162204</c:v>
                </c:pt>
                <c:pt idx="2432">
                  <c:v>0.62162162162162204</c:v>
                </c:pt>
                <c:pt idx="2433">
                  <c:v>0.62172284644194697</c:v>
                </c:pt>
                <c:pt idx="2434">
                  <c:v>0.62179121505989698</c:v>
                </c:pt>
                <c:pt idx="2435">
                  <c:v>0.62185199535063895</c:v>
                </c:pt>
                <c:pt idx="2436">
                  <c:v>0.62188099808061403</c:v>
                </c:pt>
                <c:pt idx="2437">
                  <c:v>0.62191780821917797</c:v>
                </c:pt>
                <c:pt idx="2438">
                  <c:v>0.62195121951219501</c:v>
                </c:pt>
                <c:pt idx="2439">
                  <c:v>0.62204724409448797</c:v>
                </c:pt>
                <c:pt idx="2440">
                  <c:v>0.62204724409448797</c:v>
                </c:pt>
                <c:pt idx="2441">
                  <c:v>0.62204724409448797</c:v>
                </c:pt>
                <c:pt idx="2442">
                  <c:v>0.62211981566820296</c:v>
                </c:pt>
                <c:pt idx="2443">
                  <c:v>0.62211981566820296</c:v>
                </c:pt>
                <c:pt idx="2444">
                  <c:v>0.62222222222222201</c:v>
                </c:pt>
                <c:pt idx="2445">
                  <c:v>0.62222222222222201</c:v>
                </c:pt>
                <c:pt idx="2446">
                  <c:v>0.62230215827338098</c:v>
                </c:pt>
                <c:pt idx="2447">
                  <c:v>0.62235067437379599</c:v>
                </c:pt>
                <c:pt idx="2448">
                  <c:v>0.62235649546827798</c:v>
                </c:pt>
                <c:pt idx="2449">
                  <c:v>0.62245989304812799</c:v>
                </c:pt>
                <c:pt idx="2450">
                  <c:v>0.622591362126246</c:v>
                </c:pt>
                <c:pt idx="2451">
                  <c:v>0.62260127931769704</c:v>
                </c:pt>
                <c:pt idx="2452">
                  <c:v>0.62261380323054305</c:v>
                </c:pt>
                <c:pt idx="2453">
                  <c:v>0.62261625961860101</c:v>
                </c:pt>
                <c:pt idx="2454">
                  <c:v>0.62262916939175905</c:v>
                </c:pt>
                <c:pt idx="2455">
                  <c:v>0.62264150943396201</c:v>
                </c:pt>
                <c:pt idx="2456">
                  <c:v>0.62273901808785503</c:v>
                </c:pt>
                <c:pt idx="2457">
                  <c:v>0.62275449101796398</c:v>
                </c:pt>
                <c:pt idx="2458">
                  <c:v>0.62287104622871003</c:v>
                </c:pt>
                <c:pt idx="2459">
                  <c:v>0.62295081967213095</c:v>
                </c:pt>
                <c:pt idx="2460">
                  <c:v>0.62295081967213095</c:v>
                </c:pt>
                <c:pt idx="2461">
                  <c:v>0.62299134734239803</c:v>
                </c:pt>
                <c:pt idx="2462">
                  <c:v>0.62302158273381303</c:v>
                </c:pt>
                <c:pt idx="2463">
                  <c:v>0.62306460224239202</c:v>
                </c:pt>
                <c:pt idx="2464">
                  <c:v>0.62311557788944705</c:v>
                </c:pt>
                <c:pt idx="2465">
                  <c:v>0.62327718223583495</c:v>
                </c:pt>
                <c:pt idx="2466">
                  <c:v>0.62328042328042299</c:v>
                </c:pt>
                <c:pt idx="2467">
                  <c:v>0.62337662337662303</c:v>
                </c:pt>
                <c:pt idx="2468">
                  <c:v>0.62337662337662303</c:v>
                </c:pt>
                <c:pt idx="2469">
                  <c:v>0.62344439983942201</c:v>
                </c:pt>
                <c:pt idx="2470">
                  <c:v>0.62344827586206897</c:v>
                </c:pt>
                <c:pt idx="2471">
                  <c:v>0.62350597609561698</c:v>
                </c:pt>
                <c:pt idx="2472">
                  <c:v>0.623529411764706</c:v>
                </c:pt>
                <c:pt idx="2473">
                  <c:v>0.62359550561797705</c:v>
                </c:pt>
                <c:pt idx="2474">
                  <c:v>0.62371134020618502</c:v>
                </c:pt>
                <c:pt idx="2475">
                  <c:v>0.62382445141065801</c:v>
                </c:pt>
                <c:pt idx="2476">
                  <c:v>0.62393162393162405</c:v>
                </c:pt>
                <c:pt idx="2477">
                  <c:v>0.62394603709949403</c:v>
                </c:pt>
                <c:pt idx="2478">
                  <c:v>0.62398921832884102</c:v>
                </c:pt>
                <c:pt idx="2479">
                  <c:v>0.624</c:v>
                </c:pt>
                <c:pt idx="2480">
                  <c:v>0.62403433476394798</c:v>
                </c:pt>
                <c:pt idx="2481">
                  <c:v>0.62409638554216895</c:v>
                </c:pt>
                <c:pt idx="2482">
                  <c:v>0.62416107382550301</c:v>
                </c:pt>
                <c:pt idx="2483">
                  <c:v>0.62419006479481598</c:v>
                </c:pt>
                <c:pt idx="2484">
                  <c:v>0.62419562419562402</c:v>
                </c:pt>
                <c:pt idx="2485">
                  <c:v>0.62422535211267605</c:v>
                </c:pt>
                <c:pt idx="2486">
                  <c:v>0.62424242424242404</c:v>
                </c:pt>
                <c:pt idx="2487">
                  <c:v>0.62429378531073398</c:v>
                </c:pt>
                <c:pt idx="2488">
                  <c:v>0.62429906542056102</c:v>
                </c:pt>
                <c:pt idx="2489">
                  <c:v>0.62432915921288001</c:v>
                </c:pt>
                <c:pt idx="2490">
                  <c:v>0.62439807383627599</c:v>
                </c:pt>
                <c:pt idx="2491">
                  <c:v>0.62441314553990601</c:v>
                </c:pt>
                <c:pt idx="2492">
                  <c:v>0.62441314553990601</c:v>
                </c:pt>
                <c:pt idx="2493">
                  <c:v>0.62448644207066595</c:v>
                </c:pt>
                <c:pt idx="2494">
                  <c:v>0.62451361867704303</c:v>
                </c:pt>
                <c:pt idx="2495">
                  <c:v>0.62453684643886398</c:v>
                </c:pt>
                <c:pt idx="2496">
                  <c:v>0.62462462462462498</c:v>
                </c:pt>
                <c:pt idx="2497">
                  <c:v>0.624733475479744</c:v>
                </c:pt>
                <c:pt idx="2498">
                  <c:v>0.62474437627811896</c:v>
                </c:pt>
                <c:pt idx="2499">
                  <c:v>0.62479155086158999</c:v>
                </c:pt>
                <c:pt idx="2500">
                  <c:v>0.62479608482871096</c:v>
                </c:pt>
                <c:pt idx="2501">
                  <c:v>0.62481315396113601</c:v>
                </c:pt>
                <c:pt idx="2502">
                  <c:v>0.62491716368455896</c:v>
                </c:pt>
                <c:pt idx="2503">
                  <c:v>0.625</c:v>
                </c:pt>
                <c:pt idx="2504">
                  <c:v>0.625</c:v>
                </c:pt>
                <c:pt idx="2505">
                  <c:v>0.625</c:v>
                </c:pt>
                <c:pt idx="2506">
                  <c:v>0.625</c:v>
                </c:pt>
                <c:pt idx="2507">
                  <c:v>0.625</c:v>
                </c:pt>
                <c:pt idx="2508">
                  <c:v>0.625</c:v>
                </c:pt>
                <c:pt idx="2509">
                  <c:v>0.625</c:v>
                </c:pt>
                <c:pt idx="2510">
                  <c:v>0.625</c:v>
                </c:pt>
                <c:pt idx="2511">
                  <c:v>0.625</c:v>
                </c:pt>
                <c:pt idx="2512">
                  <c:v>0.625</c:v>
                </c:pt>
                <c:pt idx="2513">
                  <c:v>0.625</c:v>
                </c:pt>
                <c:pt idx="2514">
                  <c:v>0.625126646403242</c:v>
                </c:pt>
                <c:pt idx="2515">
                  <c:v>0.62515883100381198</c:v>
                </c:pt>
                <c:pt idx="2516">
                  <c:v>0.62525737817433102</c:v>
                </c:pt>
                <c:pt idx="2517">
                  <c:v>0.62527716186252802</c:v>
                </c:pt>
                <c:pt idx="2518">
                  <c:v>0.62534626038781205</c:v>
                </c:pt>
                <c:pt idx="2519">
                  <c:v>0.62541806020066903</c:v>
                </c:pt>
                <c:pt idx="2520">
                  <c:v>0.62544169611307399</c:v>
                </c:pt>
                <c:pt idx="2521">
                  <c:v>0.62545454545454504</c:v>
                </c:pt>
                <c:pt idx="2522">
                  <c:v>0.62546816479400702</c:v>
                </c:pt>
                <c:pt idx="2523">
                  <c:v>0.62548262548262501</c:v>
                </c:pt>
                <c:pt idx="2524">
                  <c:v>0.62553191489361704</c:v>
                </c:pt>
                <c:pt idx="2525">
                  <c:v>0.625633598841419</c:v>
                </c:pt>
                <c:pt idx="2526">
                  <c:v>0.62570315880571203</c:v>
                </c:pt>
                <c:pt idx="2527">
                  <c:v>0.62572254335260102</c:v>
                </c:pt>
                <c:pt idx="2528">
                  <c:v>0.62573099415204703</c:v>
                </c:pt>
                <c:pt idx="2529">
                  <c:v>0.62573964497041401</c:v>
                </c:pt>
                <c:pt idx="2530">
                  <c:v>0.62578464509898601</c:v>
                </c:pt>
                <c:pt idx="2531">
                  <c:v>0.62583271650629202</c:v>
                </c:pt>
                <c:pt idx="2532">
                  <c:v>0.62586206896551699</c:v>
                </c:pt>
                <c:pt idx="2533">
                  <c:v>0.62599469496021198</c:v>
                </c:pt>
                <c:pt idx="2534">
                  <c:v>0.626</c:v>
                </c:pt>
                <c:pt idx="2535">
                  <c:v>0.62601626016260103</c:v>
                </c:pt>
                <c:pt idx="2536">
                  <c:v>0.62602739726027401</c:v>
                </c:pt>
                <c:pt idx="2537">
                  <c:v>0.62604340567612704</c:v>
                </c:pt>
                <c:pt idx="2538">
                  <c:v>0.62616822429906505</c:v>
                </c:pt>
                <c:pt idx="2539">
                  <c:v>0.62619808306709301</c:v>
                </c:pt>
                <c:pt idx="2540">
                  <c:v>0.626349892008639</c:v>
                </c:pt>
                <c:pt idx="2541">
                  <c:v>0.62635100360267604</c:v>
                </c:pt>
                <c:pt idx="2542">
                  <c:v>0.62641509433962295</c:v>
                </c:pt>
                <c:pt idx="2543">
                  <c:v>0.62646566164154105</c:v>
                </c:pt>
                <c:pt idx="2544">
                  <c:v>0.62654320987654299</c:v>
                </c:pt>
                <c:pt idx="2545">
                  <c:v>0.62676056338028197</c:v>
                </c:pt>
                <c:pt idx="2546">
                  <c:v>0.62686567164179097</c:v>
                </c:pt>
                <c:pt idx="2547">
                  <c:v>0.62686567164179097</c:v>
                </c:pt>
                <c:pt idx="2548">
                  <c:v>0.62686567164179097</c:v>
                </c:pt>
                <c:pt idx="2549">
                  <c:v>0.62689585439838202</c:v>
                </c:pt>
                <c:pt idx="2550">
                  <c:v>0.62689804772234303</c:v>
                </c:pt>
                <c:pt idx="2551">
                  <c:v>0.62698412698412698</c:v>
                </c:pt>
                <c:pt idx="2552">
                  <c:v>0.62698412698412698</c:v>
                </c:pt>
                <c:pt idx="2553">
                  <c:v>0.62699822380106596</c:v>
                </c:pt>
                <c:pt idx="2554">
                  <c:v>0.627</c:v>
                </c:pt>
                <c:pt idx="2555">
                  <c:v>0.62704471101417703</c:v>
                </c:pt>
                <c:pt idx="2556">
                  <c:v>0.62707535121328195</c:v>
                </c:pt>
                <c:pt idx="2557">
                  <c:v>0.62709030100334395</c:v>
                </c:pt>
                <c:pt idx="2558">
                  <c:v>0.62711864406779705</c:v>
                </c:pt>
                <c:pt idx="2559">
                  <c:v>0.62713178294573602</c:v>
                </c:pt>
                <c:pt idx="2560">
                  <c:v>0.62718204488777995</c:v>
                </c:pt>
                <c:pt idx="2561">
                  <c:v>0.62719812426729205</c:v>
                </c:pt>
                <c:pt idx="2562">
                  <c:v>0.627265563435776</c:v>
                </c:pt>
                <c:pt idx="2563">
                  <c:v>0.62729124236252498</c:v>
                </c:pt>
                <c:pt idx="2564">
                  <c:v>0.62736842105263102</c:v>
                </c:pt>
                <c:pt idx="2565">
                  <c:v>0.62739726027397202</c:v>
                </c:pt>
                <c:pt idx="2566">
                  <c:v>0.62745098039215697</c:v>
                </c:pt>
                <c:pt idx="2567">
                  <c:v>0.62745098039215697</c:v>
                </c:pt>
                <c:pt idx="2568">
                  <c:v>0.62755102040816302</c:v>
                </c:pt>
                <c:pt idx="2569">
                  <c:v>0.62760971452918601</c:v>
                </c:pt>
                <c:pt idx="2570">
                  <c:v>0.62763466042154603</c:v>
                </c:pt>
                <c:pt idx="2571">
                  <c:v>0.62765957446808496</c:v>
                </c:pt>
                <c:pt idx="2572">
                  <c:v>0.62782401902496998</c:v>
                </c:pt>
                <c:pt idx="2573">
                  <c:v>0.62808349146109999</c:v>
                </c:pt>
                <c:pt idx="2574">
                  <c:v>0.62811028917283096</c:v>
                </c:pt>
                <c:pt idx="2575">
                  <c:v>0.62815884476534301</c:v>
                </c:pt>
                <c:pt idx="2576">
                  <c:v>0.628164556962025</c:v>
                </c:pt>
                <c:pt idx="2577">
                  <c:v>0.628235294117647</c:v>
                </c:pt>
                <c:pt idx="2578">
                  <c:v>0.62829736211031195</c:v>
                </c:pt>
                <c:pt idx="2579">
                  <c:v>0.62831858407079599</c:v>
                </c:pt>
                <c:pt idx="2580">
                  <c:v>0.62831858407079599</c:v>
                </c:pt>
                <c:pt idx="2581">
                  <c:v>0.62831858407079599</c:v>
                </c:pt>
                <c:pt idx="2582">
                  <c:v>0.62840466926070004</c:v>
                </c:pt>
                <c:pt idx="2583">
                  <c:v>0.62841530054644801</c:v>
                </c:pt>
                <c:pt idx="2584">
                  <c:v>0.62842190016103106</c:v>
                </c:pt>
                <c:pt idx="2585">
                  <c:v>0.62847555129434296</c:v>
                </c:pt>
                <c:pt idx="2586">
                  <c:v>0.62850467289719603</c:v>
                </c:pt>
                <c:pt idx="2587">
                  <c:v>0.62850971922246202</c:v>
                </c:pt>
                <c:pt idx="2588">
                  <c:v>0.628571428571428</c:v>
                </c:pt>
                <c:pt idx="2589">
                  <c:v>0.62866242038216502</c:v>
                </c:pt>
                <c:pt idx="2590">
                  <c:v>0.62869198312236296</c:v>
                </c:pt>
                <c:pt idx="2591">
                  <c:v>0.62871287128712905</c:v>
                </c:pt>
                <c:pt idx="2592">
                  <c:v>0.62871287128712905</c:v>
                </c:pt>
                <c:pt idx="2593">
                  <c:v>0.62874251497005995</c:v>
                </c:pt>
                <c:pt idx="2594">
                  <c:v>0.62877155172413801</c:v>
                </c:pt>
                <c:pt idx="2595">
                  <c:v>0.62884615384615405</c:v>
                </c:pt>
                <c:pt idx="2596">
                  <c:v>0.62888888888888905</c:v>
                </c:pt>
                <c:pt idx="2597">
                  <c:v>0.62891207153502204</c:v>
                </c:pt>
                <c:pt idx="2598">
                  <c:v>0.62893081761006298</c:v>
                </c:pt>
                <c:pt idx="2599">
                  <c:v>0.62897526501766798</c:v>
                </c:pt>
                <c:pt idx="2600">
                  <c:v>0.62899050905953402</c:v>
                </c:pt>
                <c:pt idx="2601">
                  <c:v>0.62903225806451601</c:v>
                </c:pt>
                <c:pt idx="2602">
                  <c:v>0.62917063870352696</c:v>
                </c:pt>
                <c:pt idx="2603">
                  <c:v>0.62927496580027398</c:v>
                </c:pt>
                <c:pt idx="2604">
                  <c:v>0.62928082191780799</c:v>
                </c:pt>
                <c:pt idx="2605">
                  <c:v>0.629411764705882</c:v>
                </c:pt>
                <c:pt idx="2606">
                  <c:v>0.629411764705882</c:v>
                </c:pt>
                <c:pt idx="2607">
                  <c:v>0.629411764705882</c:v>
                </c:pt>
                <c:pt idx="2608">
                  <c:v>0.62946428571428603</c:v>
                </c:pt>
                <c:pt idx="2609">
                  <c:v>0.62962962962962998</c:v>
                </c:pt>
                <c:pt idx="2610">
                  <c:v>0.62962962962962998</c:v>
                </c:pt>
                <c:pt idx="2611">
                  <c:v>0.62970106075217003</c:v>
                </c:pt>
                <c:pt idx="2612">
                  <c:v>0.62972292191435797</c:v>
                </c:pt>
                <c:pt idx="2613">
                  <c:v>0.62982273201251304</c:v>
                </c:pt>
                <c:pt idx="2614">
                  <c:v>0.62982456140350895</c:v>
                </c:pt>
                <c:pt idx="2615">
                  <c:v>0.62982456140350895</c:v>
                </c:pt>
                <c:pt idx="2616">
                  <c:v>0.62985685071574604</c:v>
                </c:pt>
                <c:pt idx="2617">
                  <c:v>0.62992125984252001</c:v>
                </c:pt>
                <c:pt idx="2618">
                  <c:v>0.62995951417004004</c:v>
                </c:pt>
                <c:pt idx="2619">
                  <c:v>0.62996941896024505</c:v>
                </c:pt>
                <c:pt idx="2620">
                  <c:v>0.63008631319358799</c:v>
                </c:pt>
                <c:pt idx="2621">
                  <c:v>0.63013698630137005</c:v>
                </c:pt>
                <c:pt idx="2622">
                  <c:v>0.63018867924528299</c:v>
                </c:pt>
                <c:pt idx="2623">
                  <c:v>0.63031423290203303</c:v>
                </c:pt>
                <c:pt idx="2624">
                  <c:v>0.63032919589854297</c:v>
                </c:pt>
                <c:pt idx="2625">
                  <c:v>0.63039014373716595</c:v>
                </c:pt>
                <c:pt idx="2626">
                  <c:v>0.63045586808923404</c:v>
                </c:pt>
                <c:pt idx="2627">
                  <c:v>0.63048016701461396</c:v>
                </c:pt>
                <c:pt idx="2628">
                  <c:v>0.63051897753679298</c:v>
                </c:pt>
                <c:pt idx="2629">
                  <c:v>0.63052208835341395</c:v>
                </c:pt>
                <c:pt idx="2630">
                  <c:v>0.63054187192118205</c:v>
                </c:pt>
                <c:pt idx="2631">
                  <c:v>0.63054187192118205</c:v>
                </c:pt>
                <c:pt idx="2632">
                  <c:v>0.63063063063063096</c:v>
                </c:pt>
                <c:pt idx="2633">
                  <c:v>0.63065326633165797</c:v>
                </c:pt>
                <c:pt idx="2634">
                  <c:v>0.63069544364508401</c:v>
                </c:pt>
                <c:pt idx="2635">
                  <c:v>0.63072378138847895</c:v>
                </c:pt>
                <c:pt idx="2636">
                  <c:v>0.63076923076923097</c:v>
                </c:pt>
                <c:pt idx="2637">
                  <c:v>0.63079777365491596</c:v>
                </c:pt>
                <c:pt idx="2638">
                  <c:v>0.63095238095238104</c:v>
                </c:pt>
                <c:pt idx="2639">
                  <c:v>0.63095238095238104</c:v>
                </c:pt>
                <c:pt idx="2640">
                  <c:v>0.63100775193798397</c:v>
                </c:pt>
                <c:pt idx="2641">
                  <c:v>0.63128491620111704</c:v>
                </c:pt>
                <c:pt idx="2642">
                  <c:v>0.63144963144963095</c:v>
                </c:pt>
                <c:pt idx="2643">
                  <c:v>0.63147792706334005</c:v>
                </c:pt>
                <c:pt idx="2644">
                  <c:v>0.63157894736842102</c:v>
                </c:pt>
                <c:pt idx="2645">
                  <c:v>0.63157894736842102</c:v>
                </c:pt>
                <c:pt idx="2646">
                  <c:v>0.63157894736842102</c:v>
                </c:pt>
                <c:pt idx="2647">
                  <c:v>0.63157894736842102</c:v>
                </c:pt>
                <c:pt idx="2648">
                  <c:v>0.63157894736842102</c:v>
                </c:pt>
                <c:pt idx="2649">
                  <c:v>0.63157894736842102</c:v>
                </c:pt>
                <c:pt idx="2650">
                  <c:v>0.63166397415185804</c:v>
                </c:pt>
                <c:pt idx="2651">
                  <c:v>0.63166397415185804</c:v>
                </c:pt>
                <c:pt idx="2652">
                  <c:v>0.63166397415185804</c:v>
                </c:pt>
                <c:pt idx="2653">
                  <c:v>0.63183279742765297</c:v>
                </c:pt>
                <c:pt idx="2654">
                  <c:v>0.63183279742765297</c:v>
                </c:pt>
                <c:pt idx="2655">
                  <c:v>0.63187588152327201</c:v>
                </c:pt>
                <c:pt idx="2656">
                  <c:v>0.63190184049079701</c:v>
                </c:pt>
                <c:pt idx="2657">
                  <c:v>0.63194444444444398</c:v>
                </c:pt>
                <c:pt idx="2658">
                  <c:v>0.63197026022304803</c:v>
                </c:pt>
                <c:pt idx="2659">
                  <c:v>0.631975867269985</c:v>
                </c:pt>
                <c:pt idx="2660">
                  <c:v>0.63205828779599305</c:v>
                </c:pt>
                <c:pt idx="2661">
                  <c:v>0.63210227272727304</c:v>
                </c:pt>
                <c:pt idx="2662">
                  <c:v>0.63218390804597702</c:v>
                </c:pt>
                <c:pt idx="2663">
                  <c:v>0.63222416812609505</c:v>
                </c:pt>
                <c:pt idx="2664">
                  <c:v>0.63224637681159401</c:v>
                </c:pt>
                <c:pt idx="2665">
                  <c:v>0.63225806451612898</c:v>
                </c:pt>
                <c:pt idx="2666">
                  <c:v>0.63246268656716398</c:v>
                </c:pt>
                <c:pt idx="2667">
                  <c:v>0.63251366120218599</c:v>
                </c:pt>
                <c:pt idx="2668">
                  <c:v>0.63260025873221204</c:v>
                </c:pt>
                <c:pt idx="2669">
                  <c:v>0.63279132791327897</c:v>
                </c:pt>
                <c:pt idx="2670">
                  <c:v>0.63279445727482697</c:v>
                </c:pt>
                <c:pt idx="2671">
                  <c:v>0.63279445727482697</c:v>
                </c:pt>
                <c:pt idx="2672">
                  <c:v>0.63282937365010805</c:v>
                </c:pt>
                <c:pt idx="2673">
                  <c:v>0.632841328413284</c:v>
                </c:pt>
                <c:pt idx="2674">
                  <c:v>0.63286713286713303</c:v>
                </c:pt>
                <c:pt idx="2675">
                  <c:v>0.63289280469897202</c:v>
                </c:pt>
                <c:pt idx="2676">
                  <c:v>0.632911392405063</c:v>
                </c:pt>
                <c:pt idx="2677">
                  <c:v>0.63302752293578002</c:v>
                </c:pt>
                <c:pt idx="2678">
                  <c:v>0.63309352517985595</c:v>
                </c:pt>
                <c:pt idx="2679">
                  <c:v>0.633136094674556</c:v>
                </c:pt>
                <c:pt idx="2680">
                  <c:v>0.63320463320463305</c:v>
                </c:pt>
                <c:pt idx="2681">
                  <c:v>0.63325183374083105</c:v>
                </c:pt>
                <c:pt idx="2682">
                  <c:v>0.63333333333333297</c:v>
                </c:pt>
                <c:pt idx="2683">
                  <c:v>0.63333333333333297</c:v>
                </c:pt>
                <c:pt idx="2684">
                  <c:v>0.63333333333333297</c:v>
                </c:pt>
                <c:pt idx="2685">
                  <c:v>0.63333333333333297</c:v>
                </c:pt>
                <c:pt idx="2686">
                  <c:v>0.63336566440349196</c:v>
                </c:pt>
                <c:pt idx="2687">
                  <c:v>0.63344594594594605</c:v>
                </c:pt>
                <c:pt idx="2688">
                  <c:v>0.63345195729537396</c:v>
                </c:pt>
                <c:pt idx="2689">
                  <c:v>0.63348416289592702</c:v>
                </c:pt>
                <c:pt idx="2690">
                  <c:v>0.63348416289592702</c:v>
                </c:pt>
                <c:pt idx="2691">
                  <c:v>0.63352044907778704</c:v>
                </c:pt>
                <c:pt idx="2692">
                  <c:v>0.63354037267080698</c:v>
                </c:pt>
                <c:pt idx="2693">
                  <c:v>0.63364055299539201</c:v>
                </c:pt>
                <c:pt idx="2694">
                  <c:v>0.633663366336634</c:v>
                </c:pt>
                <c:pt idx="2695">
                  <c:v>0.633677991137371</c:v>
                </c:pt>
                <c:pt idx="2696">
                  <c:v>0.63371356147021496</c:v>
                </c:pt>
                <c:pt idx="2697">
                  <c:v>0.63389830508474598</c:v>
                </c:pt>
                <c:pt idx="2698">
                  <c:v>0.63392857142857095</c:v>
                </c:pt>
                <c:pt idx="2699">
                  <c:v>0.63392857142857095</c:v>
                </c:pt>
                <c:pt idx="2700">
                  <c:v>0.63404255319148894</c:v>
                </c:pt>
                <c:pt idx="2701">
                  <c:v>0.63410301953818804</c:v>
                </c:pt>
                <c:pt idx="2702">
                  <c:v>0.63412228796844206</c:v>
                </c:pt>
                <c:pt idx="2703">
                  <c:v>0.63414634146341498</c:v>
                </c:pt>
                <c:pt idx="2704">
                  <c:v>0.63414634146341498</c:v>
                </c:pt>
                <c:pt idx="2705">
                  <c:v>0.63421828908554601</c:v>
                </c:pt>
                <c:pt idx="2706">
                  <c:v>0.63437500000000002</c:v>
                </c:pt>
                <c:pt idx="2707">
                  <c:v>0.63440860215053796</c:v>
                </c:pt>
                <c:pt idx="2708">
                  <c:v>0.63442069741282303</c:v>
                </c:pt>
                <c:pt idx="2709">
                  <c:v>0.63455149501661101</c:v>
                </c:pt>
                <c:pt idx="2710">
                  <c:v>0.63458110516933997</c:v>
                </c:pt>
                <c:pt idx="2711">
                  <c:v>0.63461538461538403</c:v>
                </c:pt>
                <c:pt idx="2712">
                  <c:v>0.63461538461538403</c:v>
                </c:pt>
                <c:pt idx="2713">
                  <c:v>0.63465783664459197</c:v>
                </c:pt>
                <c:pt idx="2714">
                  <c:v>0.63475177304964503</c:v>
                </c:pt>
                <c:pt idx="2715">
                  <c:v>0.63478260869565195</c:v>
                </c:pt>
                <c:pt idx="2716">
                  <c:v>0.63482414242292695</c:v>
                </c:pt>
                <c:pt idx="2717">
                  <c:v>0.634848484848485</c:v>
                </c:pt>
                <c:pt idx="2718">
                  <c:v>0.63495145631067995</c:v>
                </c:pt>
                <c:pt idx="2719">
                  <c:v>0.63499604117181296</c:v>
                </c:pt>
                <c:pt idx="2720">
                  <c:v>0.63522012578616305</c:v>
                </c:pt>
                <c:pt idx="2721">
                  <c:v>0.63529411764705901</c:v>
                </c:pt>
                <c:pt idx="2722">
                  <c:v>0.63535911602209905</c:v>
                </c:pt>
                <c:pt idx="2723">
                  <c:v>0.63535911602209905</c:v>
                </c:pt>
                <c:pt idx="2724">
                  <c:v>0.63546798029556595</c:v>
                </c:pt>
                <c:pt idx="2725">
                  <c:v>0.63556280587275704</c:v>
                </c:pt>
                <c:pt idx="2726">
                  <c:v>0.63563829787234005</c:v>
                </c:pt>
                <c:pt idx="2727">
                  <c:v>0.635673624288425</c:v>
                </c:pt>
                <c:pt idx="2728">
                  <c:v>0.63571428571428601</c:v>
                </c:pt>
                <c:pt idx="2729">
                  <c:v>0.63571428571428601</c:v>
                </c:pt>
                <c:pt idx="2730">
                  <c:v>0.63575042158516004</c:v>
                </c:pt>
                <c:pt idx="2731">
                  <c:v>0.63578274760383402</c:v>
                </c:pt>
                <c:pt idx="2732">
                  <c:v>0.63589076723016902</c:v>
                </c:pt>
                <c:pt idx="2733">
                  <c:v>0.63592233009708699</c:v>
                </c:pt>
                <c:pt idx="2734">
                  <c:v>0.63592233009708699</c:v>
                </c:pt>
                <c:pt idx="2735">
                  <c:v>0.63593750000000004</c:v>
                </c:pt>
                <c:pt idx="2736">
                  <c:v>0.63596491228070196</c:v>
                </c:pt>
                <c:pt idx="2737">
                  <c:v>0.63596491228070196</c:v>
                </c:pt>
                <c:pt idx="2738">
                  <c:v>0.63605442176870697</c:v>
                </c:pt>
                <c:pt idx="2739">
                  <c:v>0.636065573770492</c:v>
                </c:pt>
                <c:pt idx="2740">
                  <c:v>0.63612217795484705</c:v>
                </c:pt>
                <c:pt idx="2741">
                  <c:v>0.63619047619047597</c:v>
                </c:pt>
                <c:pt idx="2742">
                  <c:v>0.63629574309185899</c:v>
                </c:pt>
                <c:pt idx="2743">
                  <c:v>0.63636363636363602</c:v>
                </c:pt>
                <c:pt idx="2744">
                  <c:v>0.63636363636363602</c:v>
                </c:pt>
                <c:pt idx="2745">
                  <c:v>0.63636363636363602</c:v>
                </c:pt>
                <c:pt idx="2746">
                  <c:v>0.63636363636363602</c:v>
                </c:pt>
                <c:pt idx="2747">
                  <c:v>0.63636363636363602</c:v>
                </c:pt>
                <c:pt idx="2748">
                  <c:v>0.63636363636363602</c:v>
                </c:pt>
                <c:pt idx="2749">
                  <c:v>0.63636363636363602</c:v>
                </c:pt>
                <c:pt idx="2750">
                  <c:v>0.63636363636363602</c:v>
                </c:pt>
                <c:pt idx="2751">
                  <c:v>0.63636363636363602</c:v>
                </c:pt>
                <c:pt idx="2752">
                  <c:v>0.63636363636363602</c:v>
                </c:pt>
                <c:pt idx="2753">
                  <c:v>0.63643040763863401</c:v>
                </c:pt>
                <c:pt idx="2754">
                  <c:v>0.63646659116647797</c:v>
                </c:pt>
                <c:pt idx="2755">
                  <c:v>0.63650546021840904</c:v>
                </c:pt>
                <c:pt idx="2756">
                  <c:v>0.63653483992466997</c:v>
                </c:pt>
                <c:pt idx="2757">
                  <c:v>0.63664596273291896</c:v>
                </c:pt>
                <c:pt idx="2758">
                  <c:v>0.63667232597623102</c:v>
                </c:pt>
                <c:pt idx="2759">
                  <c:v>0.63669064748201398</c:v>
                </c:pt>
                <c:pt idx="2760">
                  <c:v>0.63677130044843</c:v>
                </c:pt>
                <c:pt idx="2761">
                  <c:v>0.63681592039801005</c:v>
                </c:pt>
                <c:pt idx="2762">
                  <c:v>0.63684559310801803</c:v>
                </c:pt>
                <c:pt idx="2763">
                  <c:v>0.63709677419354804</c:v>
                </c:pt>
                <c:pt idx="2764">
                  <c:v>0.63711151736745897</c:v>
                </c:pt>
                <c:pt idx="2765">
                  <c:v>0.63717171717171694</c:v>
                </c:pt>
                <c:pt idx="2766">
                  <c:v>0.63725490196078405</c:v>
                </c:pt>
                <c:pt idx="2767">
                  <c:v>0.63736263736263699</c:v>
                </c:pt>
                <c:pt idx="2768">
                  <c:v>0.63749999999999996</c:v>
                </c:pt>
                <c:pt idx="2769">
                  <c:v>0.63754512635379001</c:v>
                </c:pt>
                <c:pt idx="2770">
                  <c:v>0.63758389261744997</c:v>
                </c:pt>
                <c:pt idx="2771">
                  <c:v>0.63758389261744997</c:v>
                </c:pt>
                <c:pt idx="2772">
                  <c:v>0.63758841360727503</c:v>
                </c:pt>
                <c:pt idx="2773">
                  <c:v>0.63770053475935795</c:v>
                </c:pt>
                <c:pt idx="2774">
                  <c:v>0.63770794824399202</c:v>
                </c:pt>
                <c:pt idx="2775">
                  <c:v>0.63774104683195598</c:v>
                </c:pt>
                <c:pt idx="2776">
                  <c:v>0.63775510204081598</c:v>
                </c:pt>
                <c:pt idx="2777">
                  <c:v>0.63783783783783798</c:v>
                </c:pt>
                <c:pt idx="2778">
                  <c:v>0.637865311308767</c:v>
                </c:pt>
                <c:pt idx="2779">
                  <c:v>0.63800000000000001</c:v>
                </c:pt>
                <c:pt idx="2780">
                  <c:v>0.63805104408352697</c:v>
                </c:pt>
                <c:pt idx="2781">
                  <c:v>0.63806552262090499</c:v>
                </c:pt>
                <c:pt idx="2782">
                  <c:v>0.63807890222984598</c:v>
                </c:pt>
                <c:pt idx="2783">
                  <c:v>0.63810015487867799</c:v>
                </c:pt>
                <c:pt idx="2784">
                  <c:v>0.63813229571984398</c:v>
                </c:pt>
                <c:pt idx="2785">
                  <c:v>0.63822525597269597</c:v>
                </c:pt>
                <c:pt idx="2786">
                  <c:v>0.63829787234042501</c:v>
                </c:pt>
                <c:pt idx="2787">
                  <c:v>0.63849765258215996</c:v>
                </c:pt>
                <c:pt idx="2788">
                  <c:v>0.63852556480380496</c:v>
                </c:pt>
                <c:pt idx="2789">
                  <c:v>0.63862179487179505</c:v>
                </c:pt>
                <c:pt idx="2790">
                  <c:v>0.63866305329719997</c:v>
                </c:pt>
                <c:pt idx="2791">
                  <c:v>0.63868613138686103</c:v>
                </c:pt>
                <c:pt idx="2792">
                  <c:v>0.63869863013698602</c:v>
                </c:pt>
                <c:pt idx="2793">
                  <c:v>0.63888888888888895</c:v>
                </c:pt>
                <c:pt idx="2794">
                  <c:v>0.63890654799745705</c:v>
                </c:pt>
                <c:pt idx="2795">
                  <c:v>0.63893249607535296</c:v>
                </c:pt>
                <c:pt idx="2796">
                  <c:v>0.63902439024390201</c:v>
                </c:pt>
                <c:pt idx="2797">
                  <c:v>0.63902439024390201</c:v>
                </c:pt>
                <c:pt idx="2798">
                  <c:v>0.63903281519861799</c:v>
                </c:pt>
                <c:pt idx="2799">
                  <c:v>0.63905325443786998</c:v>
                </c:pt>
                <c:pt idx="2800">
                  <c:v>0.63919821826280598</c:v>
                </c:pt>
                <c:pt idx="2801">
                  <c:v>0.63929146537842196</c:v>
                </c:pt>
                <c:pt idx="2802">
                  <c:v>0.63932448733413705</c:v>
                </c:pt>
                <c:pt idx="2803">
                  <c:v>0.63934426229508201</c:v>
                </c:pt>
                <c:pt idx="2804">
                  <c:v>0.63945578231292499</c:v>
                </c:pt>
                <c:pt idx="2805">
                  <c:v>0.63953488372093004</c:v>
                </c:pt>
                <c:pt idx="2806">
                  <c:v>0.63953488372093004</c:v>
                </c:pt>
                <c:pt idx="2807">
                  <c:v>0.63953488372093004</c:v>
                </c:pt>
                <c:pt idx="2808">
                  <c:v>0.63959390862944199</c:v>
                </c:pt>
                <c:pt idx="2809">
                  <c:v>0.63962264150943404</c:v>
                </c:pt>
                <c:pt idx="2810">
                  <c:v>0.63972484952708497</c:v>
                </c:pt>
                <c:pt idx="2811">
                  <c:v>0.639791183294663</c:v>
                </c:pt>
                <c:pt idx="2812">
                  <c:v>0.63983050847457601</c:v>
                </c:pt>
                <c:pt idx="2813">
                  <c:v>0.63992042440318297</c:v>
                </c:pt>
                <c:pt idx="2814">
                  <c:v>0.64003673094582203</c:v>
                </c:pt>
                <c:pt idx="2815">
                  <c:v>0.64008179959100198</c:v>
                </c:pt>
                <c:pt idx="2816">
                  <c:v>0.64015904572564597</c:v>
                </c:pt>
                <c:pt idx="2817">
                  <c:v>0.64025869037995098</c:v>
                </c:pt>
                <c:pt idx="2818">
                  <c:v>0.64029666254635298</c:v>
                </c:pt>
                <c:pt idx="2819">
                  <c:v>0.64042553191489404</c:v>
                </c:pt>
                <c:pt idx="2820">
                  <c:v>0.64046242774566498</c:v>
                </c:pt>
                <c:pt idx="2821">
                  <c:v>0.64050235478806905</c:v>
                </c:pt>
                <c:pt idx="2822">
                  <c:v>0.64055944055944003</c:v>
                </c:pt>
                <c:pt idx="2823">
                  <c:v>0.64056939501779397</c:v>
                </c:pt>
                <c:pt idx="2824">
                  <c:v>0.64057971014492698</c:v>
                </c:pt>
                <c:pt idx="2825">
                  <c:v>0.64066496163682896</c:v>
                </c:pt>
                <c:pt idx="2826">
                  <c:v>0.64069264069264098</c:v>
                </c:pt>
                <c:pt idx="2827">
                  <c:v>0.64070351758793997</c:v>
                </c:pt>
                <c:pt idx="2828">
                  <c:v>0.64074479737130297</c:v>
                </c:pt>
                <c:pt idx="2829">
                  <c:v>0.64101717305151895</c:v>
                </c:pt>
                <c:pt idx="2830">
                  <c:v>0.64102564102564097</c:v>
                </c:pt>
                <c:pt idx="2831">
                  <c:v>0.64102564102564097</c:v>
                </c:pt>
                <c:pt idx="2832">
                  <c:v>0.64102564102564097</c:v>
                </c:pt>
                <c:pt idx="2833">
                  <c:v>0.64111111111111097</c:v>
                </c:pt>
                <c:pt idx="2834">
                  <c:v>0.64122635355512103</c:v>
                </c:pt>
                <c:pt idx="2835">
                  <c:v>0.64126790612618101</c:v>
                </c:pt>
                <c:pt idx="2836">
                  <c:v>0.64127423822714702</c:v>
                </c:pt>
                <c:pt idx="2837">
                  <c:v>0.64135702746365097</c:v>
                </c:pt>
                <c:pt idx="2838">
                  <c:v>0.64140480591497195</c:v>
                </c:pt>
                <c:pt idx="2839">
                  <c:v>0.64144736842105299</c:v>
                </c:pt>
                <c:pt idx="2840">
                  <c:v>0.64150943396226401</c:v>
                </c:pt>
                <c:pt idx="2841">
                  <c:v>0.64150943396226401</c:v>
                </c:pt>
                <c:pt idx="2842">
                  <c:v>0.64150943396226401</c:v>
                </c:pt>
                <c:pt idx="2843">
                  <c:v>0.64153439153439096</c:v>
                </c:pt>
                <c:pt idx="2844">
                  <c:v>0.64157706093189903</c:v>
                </c:pt>
                <c:pt idx="2845">
                  <c:v>0.64160401002506295</c:v>
                </c:pt>
                <c:pt idx="2846">
                  <c:v>0.64161849710982599</c:v>
                </c:pt>
                <c:pt idx="2847">
                  <c:v>0.64163822525597303</c:v>
                </c:pt>
                <c:pt idx="2848">
                  <c:v>0.64164648910411604</c:v>
                </c:pt>
                <c:pt idx="2849">
                  <c:v>0.64171122994652396</c:v>
                </c:pt>
                <c:pt idx="2850">
                  <c:v>0.64171974522292996</c:v>
                </c:pt>
                <c:pt idx="2851">
                  <c:v>0.64179104477611904</c:v>
                </c:pt>
                <c:pt idx="2852">
                  <c:v>0.64197530864197505</c:v>
                </c:pt>
                <c:pt idx="2853">
                  <c:v>0.64201335387776104</c:v>
                </c:pt>
                <c:pt idx="2854">
                  <c:v>0.642027455121436</c:v>
                </c:pt>
                <c:pt idx="2855">
                  <c:v>0.64214046822742499</c:v>
                </c:pt>
                <c:pt idx="2856">
                  <c:v>0.64229471316085496</c:v>
                </c:pt>
                <c:pt idx="2857">
                  <c:v>0.64231354642313498</c:v>
                </c:pt>
                <c:pt idx="2858">
                  <c:v>0.64231738035264496</c:v>
                </c:pt>
                <c:pt idx="2859">
                  <c:v>0.64233576642335799</c:v>
                </c:pt>
                <c:pt idx="2860">
                  <c:v>0.64251207729468596</c:v>
                </c:pt>
                <c:pt idx="2861">
                  <c:v>0.64252336448598102</c:v>
                </c:pt>
                <c:pt idx="2862">
                  <c:v>0.64253393665158398</c:v>
                </c:pt>
                <c:pt idx="2863">
                  <c:v>0.64270876609887795</c:v>
                </c:pt>
                <c:pt idx="2864">
                  <c:v>0.64285714285714302</c:v>
                </c:pt>
                <c:pt idx="2865">
                  <c:v>0.64285714285714302</c:v>
                </c:pt>
                <c:pt idx="2866">
                  <c:v>0.64285714285714302</c:v>
                </c:pt>
                <c:pt idx="2867">
                  <c:v>0.64285714285714302</c:v>
                </c:pt>
                <c:pt idx="2868">
                  <c:v>0.64285714285714302</c:v>
                </c:pt>
                <c:pt idx="2869">
                  <c:v>0.64301075268817198</c:v>
                </c:pt>
                <c:pt idx="2870">
                  <c:v>0.64308681672025703</c:v>
                </c:pt>
                <c:pt idx="2871">
                  <c:v>0.64308681672025703</c:v>
                </c:pt>
                <c:pt idx="2872">
                  <c:v>0.64312267657992594</c:v>
                </c:pt>
                <c:pt idx="2873">
                  <c:v>0.64316239316239299</c:v>
                </c:pt>
                <c:pt idx="2874">
                  <c:v>0.64319248826291098</c:v>
                </c:pt>
                <c:pt idx="2875">
                  <c:v>0.64319248826291098</c:v>
                </c:pt>
                <c:pt idx="2876">
                  <c:v>0.64322469982847297</c:v>
                </c:pt>
                <c:pt idx="2877">
                  <c:v>0.643243243243243</c:v>
                </c:pt>
                <c:pt idx="2878">
                  <c:v>0.64336661911554904</c:v>
                </c:pt>
                <c:pt idx="2879">
                  <c:v>0.64337349397590404</c:v>
                </c:pt>
                <c:pt idx="2880">
                  <c:v>0.64343163538874004</c:v>
                </c:pt>
                <c:pt idx="2881">
                  <c:v>0.64347826086956506</c:v>
                </c:pt>
                <c:pt idx="2882">
                  <c:v>0.64363636363636401</c:v>
                </c:pt>
                <c:pt idx="2883">
                  <c:v>0.64372469635627505</c:v>
                </c:pt>
                <c:pt idx="2884">
                  <c:v>0.64381520119225</c:v>
                </c:pt>
                <c:pt idx="2885">
                  <c:v>0.64387464387464399</c:v>
                </c:pt>
                <c:pt idx="2886">
                  <c:v>0.64388243335611794</c:v>
                </c:pt>
                <c:pt idx="2887">
                  <c:v>0.64389233954451297</c:v>
                </c:pt>
                <c:pt idx="2888">
                  <c:v>0.64393939393939403</c:v>
                </c:pt>
                <c:pt idx="2889">
                  <c:v>0.64395886889460097</c:v>
                </c:pt>
                <c:pt idx="2890">
                  <c:v>0.64396284829721395</c:v>
                </c:pt>
                <c:pt idx="2891">
                  <c:v>0.64397905759162299</c:v>
                </c:pt>
                <c:pt idx="2892">
                  <c:v>0.64417989417989396</c:v>
                </c:pt>
                <c:pt idx="2893">
                  <c:v>0.64423076923076905</c:v>
                </c:pt>
                <c:pt idx="2894">
                  <c:v>0.644295302013423</c:v>
                </c:pt>
                <c:pt idx="2895">
                  <c:v>0.644295302013423</c:v>
                </c:pt>
                <c:pt idx="2896">
                  <c:v>0.64434574649812104</c:v>
                </c:pt>
                <c:pt idx="2897">
                  <c:v>0.64435146443514602</c:v>
                </c:pt>
                <c:pt idx="2898">
                  <c:v>0.64444444444444404</c:v>
                </c:pt>
                <c:pt idx="2899">
                  <c:v>0.64446952595936802</c:v>
                </c:pt>
                <c:pt idx="2900">
                  <c:v>0.64453524004085805</c:v>
                </c:pt>
                <c:pt idx="2901">
                  <c:v>0.64462809917355401</c:v>
                </c:pt>
                <c:pt idx="2902">
                  <c:v>0.64464285714285696</c:v>
                </c:pt>
                <c:pt idx="2903">
                  <c:v>0.644817073170732</c:v>
                </c:pt>
                <c:pt idx="2904">
                  <c:v>0.644859813084112</c:v>
                </c:pt>
                <c:pt idx="2905">
                  <c:v>0.64492753623188404</c:v>
                </c:pt>
                <c:pt idx="2906">
                  <c:v>0.64494382022471897</c:v>
                </c:pt>
                <c:pt idx="2907">
                  <c:v>0.64497716894977197</c:v>
                </c:pt>
                <c:pt idx="2908">
                  <c:v>0.64516129032258096</c:v>
                </c:pt>
                <c:pt idx="2909">
                  <c:v>0.64533333333333298</c:v>
                </c:pt>
                <c:pt idx="2910">
                  <c:v>0.64534883720930203</c:v>
                </c:pt>
                <c:pt idx="2911">
                  <c:v>0.64536082474226797</c:v>
                </c:pt>
                <c:pt idx="2912">
                  <c:v>0.64539007092198597</c:v>
                </c:pt>
                <c:pt idx="2913">
                  <c:v>0.64539521392313304</c:v>
                </c:pt>
                <c:pt idx="2914">
                  <c:v>0.64540495174150203</c:v>
                </c:pt>
                <c:pt idx="2915">
                  <c:v>0.64542936288088604</c:v>
                </c:pt>
                <c:pt idx="2916">
                  <c:v>0.64543663821405095</c:v>
                </c:pt>
                <c:pt idx="2917">
                  <c:v>0.64550264550264502</c:v>
                </c:pt>
                <c:pt idx="2918">
                  <c:v>0.64551724137930999</c:v>
                </c:pt>
                <c:pt idx="2919">
                  <c:v>0.64558184451955603</c:v>
                </c:pt>
                <c:pt idx="2920">
                  <c:v>0.64562118126272905</c:v>
                </c:pt>
                <c:pt idx="2921">
                  <c:v>0.64564007421150305</c:v>
                </c:pt>
                <c:pt idx="2922">
                  <c:v>0.64566929133858297</c:v>
                </c:pt>
                <c:pt idx="2923">
                  <c:v>0.64570230607966494</c:v>
                </c:pt>
                <c:pt idx="2924">
                  <c:v>0.64571428571428602</c:v>
                </c:pt>
                <c:pt idx="2925">
                  <c:v>0.645756457564576</c:v>
                </c:pt>
                <c:pt idx="2926">
                  <c:v>0.64578005115089498</c:v>
                </c:pt>
                <c:pt idx="2927">
                  <c:v>0.64583333333333304</c:v>
                </c:pt>
                <c:pt idx="2928">
                  <c:v>0.64583333333333304</c:v>
                </c:pt>
                <c:pt idx="2929">
                  <c:v>0.64583333333333304</c:v>
                </c:pt>
                <c:pt idx="2930">
                  <c:v>0.64589235127478695</c:v>
                </c:pt>
                <c:pt idx="2931">
                  <c:v>0.645951035781544</c:v>
                </c:pt>
                <c:pt idx="2932">
                  <c:v>0.64596273291925499</c:v>
                </c:pt>
                <c:pt idx="2933">
                  <c:v>0.64600715137067899</c:v>
                </c:pt>
                <c:pt idx="2934">
                  <c:v>0.64603365384615397</c:v>
                </c:pt>
                <c:pt idx="2935">
                  <c:v>0.64605137963843995</c:v>
                </c:pt>
                <c:pt idx="2936">
                  <c:v>0.64607097591888496</c:v>
                </c:pt>
                <c:pt idx="2937">
                  <c:v>0.64608294930875598</c:v>
                </c:pt>
                <c:pt idx="2938">
                  <c:v>0.64620938628158797</c:v>
                </c:pt>
                <c:pt idx="2939">
                  <c:v>0.64620938628158797</c:v>
                </c:pt>
                <c:pt idx="2940">
                  <c:v>0.64625850340136004</c:v>
                </c:pt>
                <c:pt idx="2941">
                  <c:v>0.64625850340136004</c:v>
                </c:pt>
                <c:pt idx="2942">
                  <c:v>0.64643799472295504</c:v>
                </c:pt>
                <c:pt idx="2943">
                  <c:v>0.64646464646464596</c:v>
                </c:pt>
                <c:pt idx="2944">
                  <c:v>0.64646464646464596</c:v>
                </c:pt>
                <c:pt idx="2945">
                  <c:v>0.64665127020785196</c:v>
                </c:pt>
                <c:pt idx="2946">
                  <c:v>0.64670658682634696</c:v>
                </c:pt>
                <c:pt idx="2947">
                  <c:v>0.64676616915422902</c:v>
                </c:pt>
                <c:pt idx="2948">
                  <c:v>0.64685714285714302</c:v>
                </c:pt>
                <c:pt idx="2949">
                  <c:v>0.64685908319185004</c:v>
                </c:pt>
                <c:pt idx="2950">
                  <c:v>0.64686468646864703</c:v>
                </c:pt>
                <c:pt idx="2951">
                  <c:v>0.64689265536723195</c:v>
                </c:pt>
                <c:pt idx="2952">
                  <c:v>0.64694082246740203</c:v>
                </c:pt>
                <c:pt idx="2953">
                  <c:v>0.64696853415195699</c:v>
                </c:pt>
                <c:pt idx="2954">
                  <c:v>0.64705882352941202</c:v>
                </c:pt>
                <c:pt idx="2955">
                  <c:v>0.64705882352941202</c:v>
                </c:pt>
                <c:pt idx="2956">
                  <c:v>0.64716312056737602</c:v>
                </c:pt>
                <c:pt idx="2957">
                  <c:v>0.64719358533791504</c:v>
                </c:pt>
                <c:pt idx="2958">
                  <c:v>0.64724919093851097</c:v>
                </c:pt>
                <c:pt idx="2959">
                  <c:v>0.647272727272727</c:v>
                </c:pt>
                <c:pt idx="2960">
                  <c:v>0.64727954971857404</c:v>
                </c:pt>
                <c:pt idx="2961">
                  <c:v>0.64730290456431505</c:v>
                </c:pt>
                <c:pt idx="2962">
                  <c:v>0.64733542319749204</c:v>
                </c:pt>
                <c:pt idx="2963">
                  <c:v>0.64736842105263104</c:v>
                </c:pt>
                <c:pt idx="2964">
                  <c:v>0.64740740740740699</c:v>
                </c:pt>
                <c:pt idx="2965">
                  <c:v>0.64754098360655699</c:v>
                </c:pt>
                <c:pt idx="2966">
                  <c:v>0.64754098360655699</c:v>
                </c:pt>
                <c:pt idx="2967">
                  <c:v>0.64767932489451496</c:v>
                </c:pt>
                <c:pt idx="2968">
                  <c:v>0.64772054470100604</c:v>
                </c:pt>
                <c:pt idx="2969">
                  <c:v>0.64772727272727304</c:v>
                </c:pt>
                <c:pt idx="2970">
                  <c:v>0.64775413711583896</c:v>
                </c:pt>
                <c:pt idx="2971">
                  <c:v>0.64801444043321299</c:v>
                </c:pt>
                <c:pt idx="2972">
                  <c:v>0.64806866952789699</c:v>
                </c:pt>
                <c:pt idx="2973">
                  <c:v>0.64809384164222905</c:v>
                </c:pt>
                <c:pt idx="2974">
                  <c:v>0.64810690423162598</c:v>
                </c:pt>
                <c:pt idx="2975">
                  <c:v>0.64814814814814803</c:v>
                </c:pt>
                <c:pt idx="2976">
                  <c:v>0.64814814814814803</c:v>
                </c:pt>
                <c:pt idx="2977">
                  <c:v>0.64818024263431495</c:v>
                </c:pt>
                <c:pt idx="2978">
                  <c:v>0.64820143884892101</c:v>
                </c:pt>
                <c:pt idx="2979">
                  <c:v>0.64824120603015101</c:v>
                </c:pt>
                <c:pt idx="2980">
                  <c:v>0.64827586206896504</c:v>
                </c:pt>
                <c:pt idx="2981">
                  <c:v>0.64830508474576298</c:v>
                </c:pt>
                <c:pt idx="2982">
                  <c:v>0.64831804281345595</c:v>
                </c:pt>
                <c:pt idx="2983">
                  <c:v>0.64834123222748796</c:v>
                </c:pt>
                <c:pt idx="2984">
                  <c:v>0.64835858585858597</c:v>
                </c:pt>
                <c:pt idx="2985">
                  <c:v>0.64836325237592396</c:v>
                </c:pt>
                <c:pt idx="2986">
                  <c:v>0.64840989399293303</c:v>
                </c:pt>
                <c:pt idx="2987">
                  <c:v>0.64841498559077804</c:v>
                </c:pt>
                <c:pt idx="2988">
                  <c:v>0.64841498559077804</c:v>
                </c:pt>
                <c:pt idx="2989">
                  <c:v>0.64841498559077804</c:v>
                </c:pt>
                <c:pt idx="2990">
                  <c:v>0.6484375</c:v>
                </c:pt>
                <c:pt idx="2991">
                  <c:v>0.64856230031948903</c:v>
                </c:pt>
                <c:pt idx="2992">
                  <c:v>0.64857142857142802</c:v>
                </c:pt>
                <c:pt idx="2993">
                  <c:v>0.64857881136950901</c:v>
                </c:pt>
                <c:pt idx="2994">
                  <c:v>0.64859437751004001</c:v>
                </c:pt>
                <c:pt idx="2995">
                  <c:v>0.64864864864864902</c:v>
                </c:pt>
                <c:pt idx="2996">
                  <c:v>0.64869281045751603</c:v>
                </c:pt>
                <c:pt idx="2997">
                  <c:v>0.648745519713262</c:v>
                </c:pt>
                <c:pt idx="2998">
                  <c:v>0.64891304347826095</c:v>
                </c:pt>
                <c:pt idx="2999">
                  <c:v>0.64893617021276595</c:v>
                </c:pt>
                <c:pt idx="3000">
                  <c:v>0.64893617021276595</c:v>
                </c:pt>
                <c:pt idx="3001">
                  <c:v>0.64896073903002305</c:v>
                </c:pt>
                <c:pt idx="3002">
                  <c:v>0.64918497519489704</c:v>
                </c:pt>
                <c:pt idx="3003">
                  <c:v>0.64925373134328301</c:v>
                </c:pt>
                <c:pt idx="3004">
                  <c:v>0.64928909952606595</c:v>
                </c:pt>
                <c:pt idx="3005">
                  <c:v>0.64930555555555503</c:v>
                </c:pt>
                <c:pt idx="3006">
                  <c:v>0.64935064935064901</c:v>
                </c:pt>
                <c:pt idx="3007">
                  <c:v>0.64935064935064901</c:v>
                </c:pt>
                <c:pt idx="3008">
                  <c:v>0.64937993235625702</c:v>
                </c:pt>
                <c:pt idx="3009">
                  <c:v>0.64942528735632199</c:v>
                </c:pt>
                <c:pt idx="3010">
                  <c:v>0.64942528735632199</c:v>
                </c:pt>
                <c:pt idx="3011">
                  <c:v>0.64942528735632199</c:v>
                </c:pt>
                <c:pt idx="3012">
                  <c:v>0.64947089947089898</c:v>
                </c:pt>
                <c:pt idx="3013">
                  <c:v>0.64954682779456197</c:v>
                </c:pt>
                <c:pt idx="3014">
                  <c:v>0.64957264957264904</c:v>
                </c:pt>
                <c:pt idx="3015">
                  <c:v>0.64968152866242002</c:v>
                </c:pt>
                <c:pt idx="3016">
                  <c:v>0.64975845410627997</c:v>
                </c:pt>
                <c:pt idx="3017">
                  <c:v>0.64975845410627997</c:v>
                </c:pt>
                <c:pt idx="3018">
                  <c:v>0.64976958525345596</c:v>
                </c:pt>
                <c:pt idx="3019">
                  <c:v>0.64981036662452596</c:v>
                </c:pt>
                <c:pt idx="3020">
                  <c:v>0.64984227129337502</c:v>
                </c:pt>
                <c:pt idx="3021">
                  <c:v>0.64985163204747798</c:v>
                </c:pt>
                <c:pt idx="3022">
                  <c:v>0.64985994397759095</c:v>
                </c:pt>
                <c:pt idx="3023">
                  <c:v>0.64994298745724</c:v>
                </c:pt>
                <c:pt idx="3024">
                  <c:v>0.65</c:v>
                </c:pt>
                <c:pt idx="3025">
                  <c:v>0.65</c:v>
                </c:pt>
                <c:pt idx="3026">
                  <c:v>0.65</c:v>
                </c:pt>
                <c:pt idx="3027">
                  <c:v>0.65012886597938102</c:v>
                </c:pt>
                <c:pt idx="3028">
                  <c:v>0.65013774104683197</c:v>
                </c:pt>
                <c:pt idx="3029">
                  <c:v>0.65013966480446905</c:v>
                </c:pt>
                <c:pt idx="3030">
                  <c:v>0.65014577259475204</c:v>
                </c:pt>
                <c:pt idx="3031">
                  <c:v>0.65020297699593999</c:v>
                </c:pt>
                <c:pt idx="3032">
                  <c:v>0.65020576131687202</c:v>
                </c:pt>
                <c:pt idx="3033">
                  <c:v>0.65034965034964998</c:v>
                </c:pt>
                <c:pt idx="3034">
                  <c:v>0.65037593984962405</c:v>
                </c:pt>
                <c:pt idx="3035">
                  <c:v>0.65040650406504097</c:v>
                </c:pt>
                <c:pt idx="3036">
                  <c:v>0.65040650406504097</c:v>
                </c:pt>
                <c:pt idx="3037">
                  <c:v>0.65040650406504097</c:v>
                </c:pt>
                <c:pt idx="3038">
                  <c:v>0.65044247787610598</c:v>
                </c:pt>
                <c:pt idx="3039">
                  <c:v>0.65047021943573702</c:v>
                </c:pt>
                <c:pt idx="3040">
                  <c:v>0.65048543689320404</c:v>
                </c:pt>
                <c:pt idx="3041">
                  <c:v>0.65053322395406099</c:v>
                </c:pt>
                <c:pt idx="3042">
                  <c:v>0.65055762081784396</c:v>
                </c:pt>
                <c:pt idx="3043">
                  <c:v>0.65056818181818199</c:v>
                </c:pt>
                <c:pt idx="3044">
                  <c:v>0.65056818181818199</c:v>
                </c:pt>
                <c:pt idx="3045">
                  <c:v>0.65059445178335495</c:v>
                </c:pt>
                <c:pt idx="3046">
                  <c:v>0.65061633281972298</c:v>
                </c:pt>
                <c:pt idx="3047">
                  <c:v>0.65061898211829405</c:v>
                </c:pt>
                <c:pt idx="3048">
                  <c:v>0.65066225165562896</c:v>
                </c:pt>
                <c:pt idx="3049">
                  <c:v>0.65071770334928203</c:v>
                </c:pt>
                <c:pt idx="3050">
                  <c:v>0.65073041168658696</c:v>
                </c:pt>
                <c:pt idx="3051">
                  <c:v>0.65079365079365104</c:v>
                </c:pt>
                <c:pt idx="3052">
                  <c:v>0.65085511455308198</c:v>
                </c:pt>
                <c:pt idx="3053">
                  <c:v>0.65089877010406805</c:v>
                </c:pt>
                <c:pt idx="3054">
                  <c:v>0.65098634294385405</c:v>
                </c:pt>
                <c:pt idx="3055">
                  <c:v>0.65100671140939603</c:v>
                </c:pt>
                <c:pt idx="3056">
                  <c:v>0.65115034777956105</c:v>
                </c:pt>
                <c:pt idx="3057">
                  <c:v>0.65116279069767402</c:v>
                </c:pt>
                <c:pt idx="3058">
                  <c:v>0.65116279069767402</c:v>
                </c:pt>
                <c:pt idx="3059">
                  <c:v>0.65116279069767402</c:v>
                </c:pt>
                <c:pt idx="3060">
                  <c:v>0.65123456790123402</c:v>
                </c:pt>
                <c:pt idx="3061">
                  <c:v>0.65124555160142295</c:v>
                </c:pt>
                <c:pt idx="3062">
                  <c:v>0.65136054421768697</c:v>
                </c:pt>
                <c:pt idx="3063">
                  <c:v>0.65140845070422504</c:v>
                </c:pt>
                <c:pt idx="3064">
                  <c:v>0.65141113653699501</c:v>
                </c:pt>
                <c:pt idx="3065">
                  <c:v>0.65142857142857102</c:v>
                </c:pt>
                <c:pt idx="3066">
                  <c:v>0.65145228215767603</c:v>
                </c:pt>
                <c:pt idx="3067">
                  <c:v>0.65151515151515105</c:v>
                </c:pt>
                <c:pt idx="3068">
                  <c:v>0.65157750342935505</c:v>
                </c:pt>
                <c:pt idx="3069">
                  <c:v>0.65159128978224401</c:v>
                </c:pt>
                <c:pt idx="3070">
                  <c:v>0.65161290322580601</c:v>
                </c:pt>
                <c:pt idx="3071">
                  <c:v>0.651685393258427</c:v>
                </c:pt>
                <c:pt idx="3072">
                  <c:v>0.65175718849840203</c:v>
                </c:pt>
                <c:pt idx="3073">
                  <c:v>0.65177195685670297</c:v>
                </c:pt>
                <c:pt idx="3074">
                  <c:v>0.65178571428571397</c:v>
                </c:pt>
                <c:pt idx="3075">
                  <c:v>0.65182829888712202</c:v>
                </c:pt>
                <c:pt idx="3076">
                  <c:v>0.65189466923571004</c:v>
                </c:pt>
                <c:pt idx="3077">
                  <c:v>0.651904340124003</c:v>
                </c:pt>
                <c:pt idx="3078">
                  <c:v>0.651913875598086</c:v>
                </c:pt>
                <c:pt idx="3079">
                  <c:v>0.65196078431372495</c:v>
                </c:pt>
                <c:pt idx="3080">
                  <c:v>0.65201465201465203</c:v>
                </c:pt>
                <c:pt idx="3081">
                  <c:v>0.65217391304347805</c:v>
                </c:pt>
                <c:pt idx="3082">
                  <c:v>0.65217391304347805</c:v>
                </c:pt>
                <c:pt idx="3083">
                  <c:v>0.65217391304347805</c:v>
                </c:pt>
                <c:pt idx="3084">
                  <c:v>0.65217391304347805</c:v>
                </c:pt>
                <c:pt idx="3085">
                  <c:v>0.65217391304347805</c:v>
                </c:pt>
                <c:pt idx="3086">
                  <c:v>0.65221318879855505</c:v>
                </c:pt>
                <c:pt idx="3087">
                  <c:v>0.65229885057471204</c:v>
                </c:pt>
                <c:pt idx="3088">
                  <c:v>0.65238095238095195</c:v>
                </c:pt>
                <c:pt idx="3089">
                  <c:v>0.65240641711229896</c:v>
                </c:pt>
                <c:pt idx="3090">
                  <c:v>0.65240641711229896</c:v>
                </c:pt>
                <c:pt idx="3091">
                  <c:v>0.65242165242165195</c:v>
                </c:pt>
                <c:pt idx="3092">
                  <c:v>0.65243902439024404</c:v>
                </c:pt>
                <c:pt idx="3093">
                  <c:v>0.65250965250965198</c:v>
                </c:pt>
                <c:pt idx="3094">
                  <c:v>0.65254237288135597</c:v>
                </c:pt>
                <c:pt idx="3095">
                  <c:v>0.65258215962441302</c:v>
                </c:pt>
                <c:pt idx="3096">
                  <c:v>0.65259117082533602</c:v>
                </c:pt>
                <c:pt idx="3097">
                  <c:v>0.65263157894736801</c:v>
                </c:pt>
                <c:pt idx="3098">
                  <c:v>0.65265760197775002</c:v>
                </c:pt>
                <c:pt idx="3099">
                  <c:v>0.65271317829457398</c:v>
                </c:pt>
                <c:pt idx="3100">
                  <c:v>0.65275459098497501</c:v>
                </c:pt>
                <c:pt idx="3101">
                  <c:v>0.65277777777777801</c:v>
                </c:pt>
                <c:pt idx="3102">
                  <c:v>0.65280289330922203</c:v>
                </c:pt>
                <c:pt idx="3103">
                  <c:v>0.65296803652968005</c:v>
                </c:pt>
                <c:pt idx="3104">
                  <c:v>0.65298507462686595</c:v>
                </c:pt>
                <c:pt idx="3105">
                  <c:v>0.65298507462686595</c:v>
                </c:pt>
                <c:pt idx="3106">
                  <c:v>0.65306122448979598</c:v>
                </c:pt>
                <c:pt idx="3107">
                  <c:v>0.65306122448979598</c:v>
                </c:pt>
                <c:pt idx="3108">
                  <c:v>0.65306122448979598</c:v>
                </c:pt>
                <c:pt idx="3109">
                  <c:v>0.65306122448979598</c:v>
                </c:pt>
                <c:pt idx="3110">
                  <c:v>0.65309200603318196</c:v>
                </c:pt>
                <c:pt idx="3111">
                  <c:v>0.65322580645161299</c:v>
                </c:pt>
                <c:pt idx="3112">
                  <c:v>0.65326633165829096</c:v>
                </c:pt>
                <c:pt idx="3113">
                  <c:v>0.653306613226453</c:v>
                </c:pt>
                <c:pt idx="3114">
                  <c:v>0.65333333333333299</c:v>
                </c:pt>
                <c:pt idx="3115">
                  <c:v>0.65333333333333299</c:v>
                </c:pt>
                <c:pt idx="3116">
                  <c:v>0.65334717176959001</c:v>
                </c:pt>
                <c:pt idx="3117">
                  <c:v>0.65340179717586599</c:v>
                </c:pt>
                <c:pt idx="3118">
                  <c:v>0.65353159851301101</c:v>
                </c:pt>
                <c:pt idx="3119">
                  <c:v>0.65373961218836596</c:v>
                </c:pt>
                <c:pt idx="3120">
                  <c:v>0.65382262996941898</c:v>
                </c:pt>
                <c:pt idx="3121">
                  <c:v>0.65384615384615397</c:v>
                </c:pt>
                <c:pt idx="3122">
                  <c:v>0.65384615384615397</c:v>
                </c:pt>
                <c:pt idx="3123">
                  <c:v>0.65384615384615397</c:v>
                </c:pt>
                <c:pt idx="3124">
                  <c:v>0.65393258426966305</c:v>
                </c:pt>
                <c:pt idx="3125">
                  <c:v>0.653954802259887</c:v>
                </c:pt>
                <c:pt idx="3126">
                  <c:v>0.65402843601895699</c:v>
                </c:pt>
                <c:pt idx="3127">
                  <c:v>0.65402843601895699</c:v>
                </c:pt>
                <c:pt idx="3128">
                  <c:v>0.654066437571592</c:v>
                </c:pt>
                <c:pt idx="3129">
                  <c:v>0.65410958904109595</c:v>
                </c:pt>
                <c:pt idx="3130">
                  <c:v>0.654161781946073</c:v>
                </c:pt>
                <c:pt idx="3131">
                  <c:v>0.65416666666666701</c:v>
                </c:pt>
                <c:pt idx="3132">
                  <c:v>0.65416666666666701</c:v>
                </c:pt>
                <c:pt idx="3133">
                  <c:v>0.65417867435158505</c:v>
                </c:pt>
                <c:pt idx="3134">
                  <c:v>0.65420560747663503</c:v>
                </c:pt>
                <c:pt idx="3135">
                  <c:v>0.65424430641821896</c:v>
                </c:pt>
                <c:pt idx="3136">
                  <c:v>0.65425531914893598</c:v>
                </c:pt>
                <c:pt idx="3137">
                  <c:v>0.65432098765432101</c:v>
                </c:pt>
                <c:pt idx="3138">
                  <c:v>0.65432098765432101</c:v>
                </c:pt>
                <c:pt idx="3139">
                  <c:v>0.65432098765432101</c:v>
                </c:pt>
                <c:pt idx="3140">
                  <c:v>0.65441176470588203</c:v>
                </c:pt>
                <c:pt idx="3141">
                  <c:v>0.65445026178010501</c:v>
                </c:pt>
                <c:pt idx="3142">
                  <c:v>0.654485049833887</c:v>
                </c:pt>
                <c:pt idx="3143">
                  <c:v>0.65454545454545399</c:v>
                </c:pt>
                <c:pt idx="3144">
                  <c:v>0.65454545454545399</c:v>
                </c:pt>
                <c:pt idx="3145">
                  <c:v>0.65454545454545399</c:v>
                </c:pt>
                <c:pt idx="3146">
                  <c:v>0.65454545454545399</c:v>
                </c:pt>
                <c:pt idx="3147">
                  <c:v>0.65461847389558203</c:v>
                </c:pt>
                <c:pt idx="3148">
                  <c:v>0.65464770095931202</c:v>
                </c:pt>
                <c:pt idx="3149">
                  <c:v>0.65465669612508504</c:v>
                </c:pt>
                <c:pt idx="3150">
                  <c:v>0.65466101694915202</c:v>
                </c:pt>
                <c:pt idx="3151">
                  <c:v>0.65472695243687595</c:v>
                </c:pt>
                <c:pt idx="3152">
                  <c:v>0.65476190476190499</c:v>
                </c:pt>
                <c:pt idx="3153">
                  <c:v>0.65478119935170198</c:v>
                </c:pt>
                <c:pt idx="3154">
                  <c:v>0.65492957746478897</c:v>
                </c:pt>
                <c:pt idx="3155">
                  <c:v>0.65493646138807404</c:v>
                </c:pt>
                <c:pt idx="3156">
                  <c:v>0.65510948905109501</c:v>
                </c:pt>
                <c:pt idx="3157">
                  <c:v>0.65517241379310298</c:v>
                </c:pt>
                <c:pt idx="3158">
                  <c:v>0.65517241379310298</c:v>
                </c:pt>
                <c:pt idx="3159">
                  <c:v>0.65517241379310298</c:v>
                </c:pt>
                <c:pt idx="3160">
                  <c:v>0.65517241379310298</c:v>
                </c:pt>
                <c:pt idx="3161">
                  <c:v>0.65534804753819997</c:v>
                </c:pt>
                <c:pt idx="3162">
                  <c:v>0.65536723163841804</c:v>
                </c:pt>
                <c:pt idx="3163">
                  <c:v>0.65545493747304895</c:v>
                </c:pt>
                <c:pt idx="3164">
                  <c:v>0.65546218487394903</c:v>
                </c:pt>
                <c:pt idx="3165">
                  <c:v>0.65548780487804903</c:v>
                </c:pt>
                <c:pt idx="3166">
                  <c:v>0.65551839464882899</c:v>
                </c:pt>
                <c:pt idx="3167">
                  <c:v>0.65564738292011004</c:v>
                </c:pt>
                <c:pt idx="3168">
                  <c:v>0.65569347004857004</c:v>
                </c:pt>
                <c:pt idx="3169">
                  <c:v>0.65571975916803504</c:v>
                </c:pt>
                <c:pt idx="3170">
                  <c:v>0.65573770491803296</c:v>
                </c:pt>
                <c:pt idx="3171">
                  <c:v>0.65577596266044302</c:v>
                </c:pt>
                <c:pt idx="3172">
                  <c:v>0.65578635014836795</c:v>
                </c:pt>
                <c:pt idx="3173">
                  <c:v>0.65579878900791799</c:v>
                </c:pt>
                <c:pt idx="3174">
                  <c:v>0.65580541532813197</c:v>
                </c:pt>
                <c:pt idx="3175">
                  <c:v>0.65584415584415601</c:v>
                </c:pt>
                <c:pt idx="3176">
                  <c:v>0.65588235294117603</c:v>
                </c:pt>
                <c:pt idx="3177">
                  <c:v>0.65591397849462396</c:v>
                </c:pt>
                <c:pt idx="3178">
                  <c:v>0.65591397849462396</c:v>
                </c:pt>
                <c:pt idx="3179">
                  <c:v>0.65594855305466204</c:v>
                </c:pt>
                <c:pt idx="3180">
                  <c:v>0.65594855305466204</c:v>
                </c:pt>
                <c:pt idx="3181">
                  <c:v>0.65600000000000003</c:v>
                </c:pt>
                <c:pt idx="3182">
                  <c:v>0.65605095541401304</c:v>
                </c:pt>
                <c:pt idx="3183">
                  <c:v>0.65610142630744805</c:v>
                </c:pt>
                <c:pt idx="3184">
                  <c:v>0.65610859728506798</c:v>
                </c:pt>
                <c:pt idx="3185">
                  <c:v>0.65620094191522704</c:v>
                </c:pt>
                <c:pt idx="3186">
                  <c:v>0.65625</c:v>
                </c:pt>
                <c:pt idx="3187">
                  <c:v>0.65625</c:v>
                </c:pt>
                <c:pt idx="3188">
                  <c:v>0.65631469979296098</c:v>
                </c:pt>
                <c:pt idx="3189">
                  <c:v>0.65631691648822299</c:v>
                </c:pt>
                <c:pt idx="3190">
                  <c:v>0.65639269406392697</c:v>
                </c:pt>
                <c:pt idx="3191">
                  <c:v>0.65641025641025597</c:v>
                </c:pt>
                <c:pt idx="3192">
                  <c:v>0.65642458100558598</c:v>
                </c:pt>
                <c:pt idx="3193">
                  <c:v>0.65659340659340604</c:v>
                </c:pt>
                <c:pt idx="3194">
                  <c:v>0.656626506024096</c:v>
                </c:pt>
                <c:pt idx="3195">
                  <c:v>0.65671641791044799</c:v>
                </c:pt>
                <c:pt idx="3196">
                  <c:v>0.65674334686513303</c:v>
                </c:pt>
                <c:pt idx="3197">
                  <c:v>0.65683646112600502</c:v>
                </c:pt>
                <c:pt idx="3198">
                  <c:v>0.65691056910569101</c:v>
                </c:pt>
                <c:pt idx="3199">
                  <c:v>0.65695792880258896</c:v>
                </c:pt>
                <c:pt idx="3200">
                  <c:v>0.65703971119133597</c:v>
                </c:pt>
                <c:pt idx="3201">
                  <c:v>0.65705128205128205</c:v>
                </c:pt>
                <c:pt idx="3202">
                  <c:v>0.65708418891170395</c:v>
                </c:pt>
                <c:pt idx="3203">
                  <c:v>0.65714285714285703</c:v>
                </c:pt>
                <c:pt idx="3204">
                  <c:v>0.65716547901821099</c:v>
                </c:pt>
                <c:pt idx="3205">
                  <c:v>0.65718067504963595</c:v>
                </c:pt>
                <c:pt idx="3206">
                  <c:v>0.65721040189125302</c:v>
                </c:pt>
                <c:pt idx="3207">
                  <c:v>0.65721040189125302</c:v>
                </c:pt>
                <c:pt idx="3208">
                  <c:v>0.65723270440251602</c:v>
                </c:pt>
                <c:pt idx="3209">
                  <c:v>0.65726375176304597</c:v>
                </c:pt>
                <c:pt idx="3210">
                  <c:v>0.65727699530516404</c:v>
                </c:pt>
                <c:pt idx="3211">
                  <c:v>0.65730337078651702</c:v>
                </c:pt>
                <c:pt idx="3212">
                  <c:v>0.65734265734265696</c:v>
                </c:pt>
                <c:pt idx="3213">
                  <c:v>0.65736434108527098</c:v>
                </c:pt>
                <c:pt idx="3214">
                  <c:v>0.65737051792828705</c:v>
                </c:pt>
                <c:pt idx="3215">
                  <c:v>0.657407407407407</c:v>
                </c:pt>
                <c:pt idx="3216">
                  <c:v>0.65743944636678198</c:v>
                </c:pt>
                <c:pt idx="3217">
                  <c:v>0.65753424657534199</c:v>
                </c:pt>
                <c:pt idx="3218">
                  <c:v>0.65757575757575704</c:v>
                </c:pt>
                <c:pt idx="3219">
                  <c:v>0.65765765765765805</c:v>
                </c:pt>
                <c:pt idx="3220">
                  <c:v>0.65771812080536896</c:v>
                </c:pt>
                <c:pt idx="3221">
                  <c:v>0.65785381026438605</c:v>
                </c:pt>
                <c:pt idx="3222">
                  <c:v>0.65791393143690702</c:v>
                </c:pt>
                <c:pt idx="3223">
                  <c:v>0.65792431622330505</c:v>
                </c:pt>
                <c:pt idx="3224">
                  <c:v>0.65794392523364498</c:v>
                </c:pt>
                <c:pt idx="3225">
                  <c:v>0.65803108808290101</c:v>
                </c:pt>
                <c:pt idx="3226">
                  <c:v>0.658119658119658</c:v>
                </c:pt>
                <c:pt idx="3227">
                  <c:v>0.658119658119658</c:v>
                </c:pt>
                <c:pt idx="3228">
                  <c:v>0.658137882018479</c:v>
                </c:pt>
                <c:pt idx="3229">
                  <c:v>0.65816326530612201</c:v>
                </c:pt>
                <c:pt idx="3230">
                  <c:v>0.65827338129496404</c:v>
                </c:pt>
                <c:pt idx="3231">
                  <c:v>0.65836298932384296</c:v>
                </c:pt>
                <c:pt idx="3232">
                  <c:v>0.658371040723982</c:v>
                </c:pt>
                <c:pt idx="3233">
                  <c:v>0.65843023255813904</c:v>
                </c:pt>
                <c:pt idx="3234">
                  <c:v>0.65843621399176899</c:v>
                </c:pt>
                <c:pt idx="3235">
                  <c:v>0.65845464725643899</c:v>
                </c:pt>
                <c:pt idx="3236">
                  <c:v>0.65848871442590795</c:v>
                </c:pt>
                <c:pt idx="3237">
                  <c:v>0.65849056603773604</c:v>
                </c:pt>
                <c:pt idx="3238">
                  <c:v>0.65853658536585402</c:v>
                </c:pt>
                <c:pt idx="3239">
                  <c:v>0.65853658536585402</c:v>
                </c:pt>
                <c:pt idx="3240">
                  <c:v>0.65853658536585402</c:v>
                </c:pt>
                <c:pt idx="3241">
                  <c:v>0.65865384615384603</c:v>
                </c:pt>
                <c:pt idx="3242">
                  <c:v>0.65865782932891503</c:v>
                </c:pt>
                <c:pt idx="3243">
                  <c:v>0.65876777251184804</c:v>
                </c:pt>
                <c:pt idx="3244">
                  <c:v>0.65889212827988297</c:v>
                </c:pt>
                <c:pt idx="3245">
                  <c:v>0.65891472868217005</c:v>
                </c:pt>
                <c:pt idx="3246">
                  <c:v>0.65893271461716896</c:v>
                </c:pt>
                <c:pt idx="3247">
                  <c:v>0.65893271461716896</c:v>
                </c:pt>
                <c:pt idx="3248">
                  <c:v>0.65894039735099297</c:v>
                </c:pt>
                <c:pt idx="3249">
                  <c:v>0.65899501342539302</c:v>
                </c:pt>
                <c:pt idx="3250">
                  <c:v>0.65902578796561595</c:v>
                </c:pt>
                <c:pt idx="3251">
                  <c:v>0.65909090909090895</c:v>
                </c:pt>
                <c:pt idx="3252">
                  <c:v>0.65909090909090895</c:v>
                </c:pt>
                <c:pt idx="3253">
                  <c:v>0.65913370998116805</c:v>
                </c:pt>
                <c:pt idx="3254">
                  <c:v>0.65914489311163904</c:v>
                </c:pt>
                <c:pt idx="3255">
                  <c:v>0.65922920892494896</c:v>
                </c:pt>
                <c:pt idx="3256">
                  <c:v>0.65923344947735196</c:v>
                </c:pt>
                <c:pt idx="3257">
                  <c:v>0.659340659340659</c:v>
                </c:pt>
                <c:pt idx="3258">
                  <c:v>0.65935672514619903</c:v>
                </c:pt>
                <c:pt idx="3259">
                  <c:v>0.65935919055649195</c:v>
                </c:pt>
                <c:pt idx="3260">
                  <c:v>0.65937072503420002</c:v>
                </c:pt>
                <c:pt idx="3261">
                  <c:v>0.65940054495912803</c:v>
                </c:pt>
                <c:pt idx="3262">
                  <c:v>0.65942536790469497</c:v>
                </c:pt>
                <c:pt idx="3263">
                  <c:v>0.659498207885305</c:v>
                </c:pt>
                <c:pt idx="3264">
                  <c:v>0.65953307392996097</c:v>
                </c:pt>
                <c:pt idx="3265">
                  <c:v>0.65968586387434502</c:v>
                </c:pt>
                <c:pt idx="3266">
                  <c:v>0.65972720746590097</c:v>
                </c:pt>
                <c:pt idx="3267">
                  <c:v>0.65975103734439799</c:v>
                </c:pt>
                <c:pt idx="3268">
                  <c:v>0.659773182121414</c:v>
                </c:pt>
                <c:pt idx="3269">
                  <c:v>0.65995975855130795</c:v>
                </c:pt>
                <c:pt idx="3270">
                  <c:v>0.65996649916247896</c:v>
                </c:pt>
                <c:pt idx="3271">
                  <c:v>0.65996649916247896</c:v>
                </c:pt>
                <c:pt idx="3272">
                  <c:v>0.65997229916897504</c:v>
                </c:pt>
                <c:pt idx="3273">
                  <c:v>0.65997322623828603</c:v>
                </c:pt>
                <c:pt idx="3274">
                  <c:v>0.66007653061224503</c:v>
                </c:pt>
                <c:pt idx="3275">
                  <c:v>0.66007905138339895</c:v>
                </c:pt>
                <c:pt idx="3276">
                  <c:v>0.66013071895424802</c:v>
                </c:pt>
                <c:pt idx="3277">
                  <c:v>0.66018596787827499</c:v>
                </c:pt>
                <c:pt idx="3278">
                  <c:v>0.66022099447513805</c:v>
                </c:pt>
                <c:pt idx="3279">
                  <c:v>0.66024759284731804</c:v>
                </c:pt>
                <c:pt idx="3280">
                  <c:v>0.66033254156769605</c:v>
                </c:pt>
                <c:pt idx="3281">
                  <c:v>0.66033254156769605</c:v>
                </c:pt>
                <c:pt idx="3282">
                  <c:v>0.660377358490566</c:v>
                </c:pt>
                <c:pt idx="3283">
                  <c:v>0.66044776119403004</c:v>
                </c:pt>
                <c:pt idx="3284">
                  <c:v>0.66046511627907001</c:v>
                </c:pt>
                <c:pt idx="3285">
                  <c:v>0.66051660516605204</c:v>
                </c:pt>
                <c:pt idx="3286">
                  <c:v>0.66059602649006599</c:v>
                </c:pt>
                <c:pt idx="3287">
                  <c:v>0.66063348416289602</c:v>
                </c:pt>
                <c:pt idx="3288">
                  <c:v>0.66064981949458501</c:v>
                </c:pt>
                <c:pt idx="3289">
                  <c:v>0.66067726330338605</c:v>
                </c:pt>
                <c:pt idx="3290">
                  <c:v>0.66071428571428603</c:v>
                </c:pt>
                <c:pt idx="3291">
                  <c:v>0.66084788029925201</c:v>
                </c:pt>
                <c:pt idx="3292">
                  <c:v>0.66086956521739104</c:v>
                </c:pt>
                <c:pt idx="3293">
                  <c:v>0.660886319845857</c:v>
                </c:pt>
                <c:pt idx="3294">
                  <c:v>0.66091954022988497</c:v>
                </c:pt>
                <c:pt idx="3295">
                  <c:v>0.66097560975609704</c:v>
                </c:pt>
                <c:pt idx="3296">
                  <c:v>0.661007957559682</c:v>
                </c:pt>
                <c:pt idx="3297">
                  <c:v>0.66102941176470598</c:v>
                </c:pt>
                <c:pt idx="3298">
                  <c:v>0.66110183639399001</c:v>
                </c:pt>
                <c:pt idx="3299">
                  <c:v>0.661157024793388</c:v>
                </c:pt>
                <c:pt idx="3300">
                  <c:v>0.66125290023201799</c:v>
                </c:pt>
                <c:pt idx="3301">
                  <c:v>0.66129032258064502</c:v>
                </c:pt>
                <c:pt idx="3302">
                  <c:v>0.66129032258064502</c:v>
                </c:pt>
                <c:pt idx="3303">
                  <c:v>0.66129032258064502</c:v>
                </c:pt>
                <c:pt idx="3304">
                  <c:v>0.66132264529058105</c:v>
                </c:pt>
                <c:pt idx="3305">
                  <c:v>0.66144200626959204</c:v>
                </c:pt>
                <c:pt idx="3306">
                  <c:v>0.66150870406189499</c:v>
                </c:pt>
                <c:pt idx="3307">
                  <c:v>0.66151545363908304</c:v>
                </c:pt>
                <c:pt idx="3308">
                  <c:v>0.66166666666666696</c:v>
                </c:pt>
                <c:pt idx="3309">
                  <c:v>0.66172106824925803</c:v>
                </c:pt>
                <c:pt idx="3310">
                  <c:v>0.66172839506172798</c:v>
                </c:pt>
                <c:pt idx="3311">
                  <c:v>0.66191446028513201</c:v>
                </c:pt>
                <c:pt idx="3312">
                  <c:v>0.66200000000000003</c:v>
                </c:pt>
                <c:pt idx="3313">
                  <c:v>0.66200466200466201</c:v>
                </c:pt>
                <c:pt idx="3314">
                  <c:v>0.66206301251618505</c:v>
                </c:pt>
                <c:pt idx="3315">
                  <c:v>0.66207627118644097</c:v>
                </c:pt>
                <c:pt idx="3316">
                  <c:v>0.66208791208791196</c:v>
                </c:pt>
                <c:pt idx="3317">
                  <c:v>0.662121212121212</c:v>
                </c:pt>
                <c:pt idx="3318">
                  <c:v>0.66223175965665204</c:v>
                </c:pt>
                <c:pt idx="3319">
                  <c:v>0.66235632183908</c:v>
                </c:pt>
                <c:pt idx="3320">
                  <c:v>0.66239813736903397</c:v>
                </c:pt>
                <c:pt idx="3321">
                  <c:v>0.66246056782334395</c:v>
                </c:pt>
                <c:pt idx="3322">
                  <c:v>0.66249999999999998</c:v>
                </c:pt>
                <c:pt idx="3323">
                  <c:v>0.66251944012441699</c:v>
                </c:pt>
                <c:pt idx="3324">
                  <c:v>0.66256590509666102</c:v>
                </c:pt>
                <c:pt idx="3325">
                  <c:v>0.662632375189107</c:v>
                </c:pt>
                <c:pt idx="3326">
                  <c:v>0.66265060240963802</c:v>
                </c:pt>
                <c:pt idx="3327">
                  <c:v>0.66265060240963802</c:v>
                </c:pt>
                <c:pt idx="3328">
                  <c:v>0.66266666666666696</c:v>
                </c:pt>
                <c:pt idx="3329">
                  <c:v>0.66267942583731998</c:v>
                </c:pt>
                <c:pt idx="3330">
                  <c:v>0.66269165247018702</c:v>
                </c:pt>
                <c:pt idx="3331">
                  <c:v>0.66275954454119201</c:v>
                </c:pt>
                <c:pt idx="3332">
                  <c:v>0.66276803118908401</c:v>
                </c:pt>
                <c:pt idx="3333">
                  <c:v>0.66281652598844898</c:v>
                </c:pt>
                <c:pt idx="3334">
                  <c:v>0.66283987915407905</c:v>
                </c:pt>
                <c:pt idx="3335">
                  <c:v>0.66284680337756297</c:v>
                </c:pt>
                <c:pt idx="3336">
                  <c:v>0.66284987277353702</c:v>
                </c:pt>
                <c:pt idx="3337">
                  <c:v>0.66291291291291299</c:v>
                </c:pt>
                <c:pt idx="3338">
                  <c:v>0.66298342541436495</c:v>
                </c:pt>
                <c:pt idx="3339">
                  <c:v>0.66300940438871503</c:v>
                </c:pt>
                <c:pt idx="3340">
                  <c:v>0.66304347826086896</c:v>
                </c:pt>
                <c:pt idx="3341">
                  <c:v>0.66305525460454995</c:v>
                </c:pt>
                <c:pt idx="3342">
                  <c:v>0.66306306306306295</c:v>
                </c:pt>
                <c:pt idx="3343">
                  <c:v>0.66308724832214805</c:v>
                </c:pt>
                <c:pt idx="3344">
                  <c:v>0.66315789473684195</c:v>
                </c:pt>
                <c:pt idx="3345">
                  <c:v>0.66318926974664705</c:v>
                </c:pt>
                <c:pt idx="3346">
                  <c:v>0.66319444444444398</c:v>
                </c:pt>
                <c:pt idx="3347">
                  <c:v>0.66329479768786104</c:v>
                </c:pt>
                <c:pt idx="3348">
                  <c:v>0.66334661354581703</c:v>
                </c:pt>
                <c:pt idx="3349">
                  <c:v>0.66346153846153799</c:v>
                </c:pt>
                <c:pt idx="3350">
                  <c:v>0.66349206349206302</c:v>
                </c:pt>
                <c:pt idx="3351">
                  <c:v>0.66351118760757299</c:v>
                </c:pt>
                <c:pt idx="3352">
                  <c:v>0.66352201257861598</c:v>
                </c:pt>
                <c:pt idx="3353">
                  <c:v>0.66355140186915895</c:v>
                </c:pt>
                <c:pt idx="3354">
                  <c:v>0.66365688487584595</c:v>
                </c:pt>
                <c:pt idx="3355">
                  <c:v>0.66369047619047605</c:v>
                </c:pt>
                <c:pt idx="3356">
                  <c:v>0.66378689704823601</c:v>
                </c:pt>
                <c:pt idx="3357">
                  <c:v>0.66382252559726995</c:v>
                </c:pt>
                <c:pt idx="3358">
                  <c:v>0.66382460414129096</c:v>
                </c:pt>
                <c:pt idx="3359">
                  <c:v>0.66384658770445604</c:v>
                </c:pt>
                <c:pt idx="3360">
                  <c:v>0.66386554621848703</c:v>
                </c:pt>
                <c:pt idx="3361">
                  <c:v>0.66386554621848703</c:v>
                </c:pt>
                <c:pt idx="3362">
                  <c:v>0.66396542409508397</c:v>
                </c:pt>
                <c:pt idx="3363">
                  <c:v>0.66396761133603199</c:v>
                </c:pt>
                <c:pt idx="3364">
                  <c:v>0.66400000000000003</c:v>
                </c:pt>
                <c:pt idx="3365">
                  <c:v>0.66400000000000003</c:v>
                </c:pt>
                <c:pt idx="3366">
                  <c:v>0.664086687306501</c:v>
                </c:pt>
                <c:pt idx="3367">
                  <c:v>0.66411378555798695</c:v>
                </c:pt>
                <c:pt idx="3368">
                  <c:v>0.66423357664233595</c:v>
                </c:pt>
                <c:pt idx="3369">
                  <c:v>0.66428571428571404</c:v>
                </c:pt>
                <c:pt idx="3370">
                  <c:v>0.66435506241331499</c:v>
                </c:pt>
                <c:pt idx="3371">
                  <c:v>0.66435986159169502</c:v>
                </c:pt>
                <c:pt idx="3372">
                  <c:v>0.66438356164383605</c:v>
                </c:pt>
                <c:pt idx="3373">
                  <c:v>0.66438356164383605</c:v>
                </c:pt>
                <c:pt idx="3374">
                  <c:v>0.66442953020134199</c:v>
                </c:pt>
                <c:pt idx="3375">
                  <c:v>0.66442953020134199</c:v>
                </c:pt>
                <c:pt idx="3376">
                  <c:v>0.66445182724252505</c:v>
                </c:pt>
                <c:pt idx="3377">
                  <c:v>0.66447368421052599</c:v>
                </c:pt>
                <c:pt idx="3378">
                  <c:v>0.66447368421052599</c:v>
                </c:pt>
                <c:pt idx="3379">
                  <c:v>0.66452991452991395</c:v>
                </c:pt>
                <c:pt idx="3380">
                  <c:v>0.66459627329192505</c:v>
                </c:pt>
                <c:pt idx="3381">
                  <c:v>0.66460268317853399</c:v>
                </c:pt>
                <c:pt idx="3382">
                  <c:v>0.66466346153846101</c:v>
                </c:pt>
                <c:pt idx="3383">
                  <c:v>0.66469428007889497</c:v>
                </c:pt>
                <c:pt idx="3384">
                  <c:v>0.66470588235294104</c:v>
                </c:pt>
                <c:pt idx="3385">
                  <c:v>0.66480446927374304</c:v>
                </c:pt>
                <c:pt idx="3386">
                  <c:v>0.66485647788983704</c:v>
                </c:pt>
                <c:pt idx="3387">
                  <c:v>0.66488413547237102</c:v>
                </c:pt>
                <c:pt idx="3388">
                  <c:v>0.66496163682864395</c:v>
                </c:pt>
                <c:pt idx="3389">
                  <c:v>0.66504854368931998</c:v>
                </c:pt>
                <c:pt idx="3390">
                  <c:v>0.66509433962264097</c:v>
                </c:pt>
                <c:pt idx="3391">
                  <c:v>0.66510695187165803</c:v>
                </c:pt>
                <c:pt idx="3392">
                  <c:v>0.66513761467889898</c:v>
                </c:pt>
                <c:pt idx="3393">
                  <c:v>0.66515837104072395</c:v>
                </c:pt>
                <c:pt idx="3394">
                  <c:v>0.66519174041297902</c:v>
                </c:pt>
                <c:pt idx="3395">
                  <c:v>0.66522366522366505</c:v>
                </c:pt>
                <c:pt idx="3396">
                  <c:v>0.66526845637583898</c:v>
                </c:pt>
                <c:pt idx="3397">
                  <c:v>0.66535433070866101</c:v>
                </c:pt>
                <c:pt idx="3398">
                  <c:v>0.66538461538461502</c:v>
                </c:pt>
                <c:pt idx="3399">
                  <c:v>0.66538461538461502</c:v>
                </c:pt>
                <c:pt idx="3400">
                  <c:v>0.66541353383458601</c:v>
                </c:pt>
                <c:pt idx="3401">
                  <c:v>0.66542473919523104</c:v>
                </c:pt>
                <c:pt idx="3402">
                  <c:v>0.66546762589927999</c:v>
                </c:pt>
                <c:pt idx="3403">
                  <c:v>0.66547406082289795</c:v>
                </c:pt>
                <c:pt idx="3404">
                  <c:v>0.66550522648083599</c:v>
                </c:pt>
                <c:pt idx="3405">
                  <c:v>0.66551724137931001</c:v>
                </c:pt>
                <c:pt idx="3406">
                  <c:v>0.66563944530046204</c:v>
                </c:pt>
                <c:pt idx="3407">
                  <c:v>0.66568047337278102</c:v>
                </c:pt>
                <c:pt idx="3408">
                  <c:v>0.66571428571428604</c:v>
                </c:pt>
                <c:pt idx="3409">
                  <c:v>0.66584766584766597</c:v>
                </c:pt>
                <c:pt idx="3410">
                  <c:v>0.66594360086767901</c:v>
                </c:pt>
                <c:pt idx="3411">
                  <c:v>0.666015625</c:v>
                </c:pt>
                <c:pt idx="3412">
                  <c:v>0.66601941747572801</c:v>
                </c:pt>
                <c:pt idx="3413">
                  <c:v>0.66606982990152197</c:v>
                </c:pt>
                <c:pt idx="3414">
                  <c:v>0.66610169491525395</c:v>
                </c:pt>
                <c:pt idx="3415">
                  <c:v>0.66617538688282996</c:v>
                </c:pt>
                <c:pt idx="3416">
                  <c:v>0.66632962588473199</c:v>
                </c:pt>
                <c:pt idx="3417">
                  <c:v>0.66652001759788804</c:v>
                </c:pt>
                <c:pt idx="3418">
                  <c:v>0.66666666666666696</c:v>
                </c:pt>
                <c:pt idx="3419">
                  <c:v>0.66666666666666696</c:v>
                </c:pt>
                <c:pt idx="3420">
                  <c:v>0.66666666666666696</c:v>
                </c:pt>
                <c:pt idx="3421">
                  <c:v>0.66666666666666696</c:v>
                </c:pt>
                <c:pt idx="3422">
                  <c:v>0.66666666666666696</c:v>
                </c:pt>
                <c:pt idx="3423">
                  <c:v>0.66666666666666696</c:v>
                </c:pt>
                <c:pt idx="3424">
                  <c:v>0.66666666666666696</c:v>
                </c:pt>
                <c:pt idx="3425">
                  <c:v>0.66666666666666696</c:v>
                </c:pt>
                <c:pt idx="3426">
                  <c:v>0.66666666666666696</c:v>
                </c:pt>
                <c:pt idx="3427">
                  <c:v>0.66666666666666696</c:v>
                </c:pt>
                <c:pt idx="3428">
                  <c:v>0.66666666666666696</c:v>
                </c:pt>
                <c:pt idx="3429">
                  <c:v>0.66666666666666696</c:v>
                </c:pt>
                <c:pt idx="3430">
                  <c:v>0.66666666666666696</c:v>
                </c:pt>
                <c:pt idx="3431">
                  <c:v>0.66666666666666696</c:v>
                </c:pt>
                <c:pt idx="3432">
                  <c:v>0.66666666666666696</c:v>
                </c:pt>
                <c:pt idx="3433">
                  <c:v>0.66666666666666696</c:v>
                </c:pt>
                <c:pt idx="3434">
                  <c:v>0.66666666666666696</c:v>
                </c:pt>
                <c:pt idx="3435">
                  <c:v>0.66666666666666696</c:v>
                </c:pt>
                <c:pt idx="3436">
                  <c:v>0.66666666666666696</c:v>
                </c:pt>
                <c:pt idx="3437">
                  <c:v>0.66666666666666696</c:v>
                </c:pt>
                <c:pt idx="3438">
                  <c:v>0.66666666666666696</c:v>
                </c:pt>
                <c:pt idx="3439">
                  <c:v>0.66666666666666696</c:v>
                </c:pt>
                <c:pt idx="3440">
                  <c:v>0.66666666666666696</c:v>
                </c:pt>
                <c:pt idx="3441">
                  <c:v>0.66666666666666696</c:v>
                </c:pt>
                <c:pt idx="3442">
                  <c:v>0.66666666666666696</c:v>
                </c:pt>
                <c:pt idx="3443">
                  <c:v>0.66666666666666696</c:v>
                </c:pt>
                <c:pt idx="3444">
                  <c:v>0.66666666666666696</c:v>
                </c:pt>
                <c:pt idx="3445">
                  <c:v>0.66666666666666696</c:v>
                </c:pt>
                <c:pt idx="3446">
                  <c:v>0.66695205479452002</c:v>
                </c:pt>
                <c:pt idx="3447">
                  <c:v>0.66698292220113797</c:v>
                </c:pt>
                <c:pt idx="3448">
                  <c:v>0.667004048582996</c:v>
                </c:pt>
                <c:pt idx="3449">
                  <c:v>0.66714015151515105</c:v>
                </c:pt>
                <c:pt idx="3450">
                  <c:v>0.66714082503556205</c:v>
                </c:pt>
                <c:pt idx="3451">
                  <c:v>0.66714905933429802</c:v>
                </c:pt>
                <c:pt idx="3452">
                  <c:v>0.66718750000000004</c:v>
                </c:pt>
                <c:pt idx="3453">
                  <c:v>0.66718995290423899</c:v>
                </c:pt>
                <c:pt idx="3454">
                  <c:v>0.66723452583759202</c:v>
                </c:pt>
                <c:pt idx="3455">
                  <c:v>0.66724436741767801</c:v>
                </c:pt>
                <c:pt idx="3456">
                  <c:v>0.66742081447963797</c:v>
                </c:pt>
                <c:pt idx="3457">
                  <c:v>0.66744006187161597</c:v>
                </c:pt>
                <c:pt idx="3458">
                  <c:v>0.66748499727223098</c:v>
                </c:pt>
                <c:pt idx="3459">
                  <c:v>0.66752910737386795</c:v>
                </c:pt>
                <c:pt idx="3460">
                  <c:v>0.66753926701570698</c:v>
                </c:pt>
                <c:pt idx="3461">
                  <c:v>0.66754617414247996</c:v>
                </c:pt>
                <c:pt idx="3462">
                  <c:v>0.66759259259259296</c:v>
                </c:pt>
                <c:pt idx="3463">
                  <c:v>0.66763005780346796</c:v>
                </c:pt>
                <c:pt idx="3464">
                  <c:v>0.66765140324963101</c:v>
                </c:pt>
                <c:pt idx="3465">
                  <c:v>0.667655786350148</c:v>
                </c:pt>
                <c:pt idx="3466">
                  <c:v>0.66767143933685003</c:v>
                </c:pt>
                <c:pt idx="3467">
                  <c:v>0.66769706336939705</c:v>
                </c:pt>
                <c:pt idx="3468">
                  <c:v>0.66776315789473695</c:v>
                </c:pt>
                <c:pt idx="3469">
                  <c:v>0.66798941798941802</c:v>
                </c:pt>
                <c:pt idx="3470">
                  <c:v>0.66800000000000004</c:v>
                </c:pt>
                <c:pt idx="3471">
                  <c:v>0.66801437556154497</c:v>
                </c:pt>
                <c:pt idx="3472">
                  <c:v>0.668024439918533</c:v>
                </c:pt>
                <c:pt idx="3473">
                  <c:v>0.66808510638297902</c:v>
                </c:pt>
                <c:pt idx="3474">
                  <c:v>0.66812705366922198</c:v>
                </c:pt>
                <c:pt idx="3475">
                  <c:v>0.66812865497076002</c:v>
                </c:pt>
                <c:pt idx="3476">
                  <c:v>0.66822429906542002</c:v>
                </c:pt>
                <c:pt idx="3477">
                  <c:v>0.66823529411764704</c:v>
                </c:pt>
                <c:pt idx="3478">
                  <c:v>0.668261562998405</c:v>
                </c:pt>
                <c:pt idx="3479">
                  <c:v>0.66837857666911205</c:v>
                </c:pt>
                <c:pt idx="3480">
                  <c:v>0.66838046272493601</c:v>
                </c:pt>
                <c:pt idx="3481">
                  <c:v>0.66842105263157903</c:v>
                </c:pt>
                <c:pt idx="3482">
                  <c:v>0.66842105263157903</c:v>
                </c:pt>
                <c:pt idx="3483">
                  <c:v>0.66842800528401602</c:v>
                </c:pt>
                <c:pt idx="3484">
                  <c:v>0.66844919786096202</c:v>
                </c:pt>
                <c:pt idx="3485">
                  <c:v>0.66849315068493098</c:v>
                </c:pt>
                <c:pt idx="3486">
                  <c:v>0.66859344894026995</c:v>
                </c:pt>
                <c:pt idx="3487">
                  <c:v>0.66861826697892301</c:v>
                </c:pt>
                <c:pt idx="3488">
                  <c:v>0.66863905325443795</c:v>
                </c:pt>
                <c:pt idx="3489">
                  <c:v>0.66867469879518104</c:v>
                </c:pt>
                <c:pt idx="3490">
                  <c:v>0.66871165644171804</c:v>
                </c:pt>
                <c:pt idx="3491">
                  <c:v>0.66876310272536699</c:v>
                </c:pt>
                <c:pt idx="3492">
                  <c:v>0.66881324747010096</c:v>
                </c:pt>
                <c:pt idx="3493">
                  <c:v>0.668831168831169</c:v>
                </c:pt>
                <c:pt idx="3494">
                  <c:v>0.66885245901639301</c:v>
                </c:pt>
                <c:pt idx="3495">
                  <c:v>0.66886543535620002</c:v>
                </c:pt>
                <c:pt idx="3496">
                  <c:v>0.668896321070234</c:v>
                </c:pt>
                <c:pt idx="3497">
                  <c:v>0.66890982503364704</c:v>
                </c:pt>
                <c:pt idx="3498">
                  <c:v>0.66891891891891897</c:v>
                </c:pt>
                <c:pt idx="3499">
                  <c:v>0.66891891891891897</c:v>
                </c:pt>
                <c:pt idx="3500">
                  <c:v>0.66895238095238096</c:v>
                </c:pt>
                <c:pt idx="3501">
                  <c:v>0.66897285790313998</c:v>
                </c:pt>
                <c:pt idx="3502">
                  <c:v>0.66903914590747304</c:v>
                </c:pt>
                <c:pt idx="3503">
                  <c:v>0.66915052160953803</c:v>
                </c:pt>
                <c:pt idx="3504">
                  <c:v>0.66917808219178099</c:v>
                </c:pt>
                <c:pt idx="3505">
                  <c:v>0.669191919191919</c:v>
                </c:pt>
                <c:pt idx="3506">
                  <c:v>0.66920152091254703</c:v>
                </c:pt>
                <c:pt idx="3507">
                  <c:v>0.66924066924066905</c:v>
                </c:pt>
                <c:pt idx="3508">
                  <c:v>0.66929133858267698</c:v>
                </c:pt>
                <c:pt idx="3509">
                  <c:v>0.66929133858267698</c:v>
                </c:pt>
                <c:pt idx="3510">
                  <c:v>0.669316375198728</c:v>
                </c:pt>
                <c:pt idx="3511">
                  <c:v>0.66936790923824996</c:v>
                </c:pt>
                <c:pt idx="3512">
                  <c:v>0.66940339354132505</c:v>
                </c:pt>
                <c:pt idx="3513">
                  <c:v>0.669421487603306</c:v>
                </c:pt>
                <c:pt idx="3514">
                  <c:v>0.66943521594684396</c:v>
                </c:pt>
                <c:pt idx="3515">
                  <c:v>0.669498069498069</c:v>
                </c:pt>
                <c:pt idx="3516">
                  <c:v>0.669612508497621</c:v>
                </c:pt>
                <c:pt idx="3517">
                  <c:v>0.66962305986696202</c:v>
                </c:pt>
                <c:pt idx="3518">
                  <c:v>0.66963151207115601</c:v>
                </c:pt>
                <c:pt idx="3519">
                  <c:v>0.66966966966967001</c:v>
                </c:pt>
                <c:pt idx="3520">
                  <c:v>0.66968325791855199</c:v>
                </c:pt>
                <c:pt idx="3521">
                  <c:v>0.66972477064220204</c:v>
                </c:pt>
                <c:pt idx="3522">
                  <c:v>0.66973886328724996</c:v>
                </c:pt>
                <c:pt idx="3523">
                  <c:v>0.66975881261595505</c:v>
                </c:pt>
                <c:pt idx="3524">
                  <c:v>0.66977611940298498</c:v>
                </c:pt>
                <c:pt idx="3525">
                  <c:v>0.66981132075471705</c:v>
                </c:pt>
                <c:pt idx="3526">
                  <c:v>0.66987179487179505</c:v>
                </c:pt>
                <c:pt idx="3527">
                  <c:v>0.66995073891625601</c:v>
                </c:pt>
                <c:pt idx="3528">
                  <c:v>0.669957686882934</c:v>
                </c:pt>
                <c:pt idx="3529">
                  <c:v>0.67013888888888895</c:v>
                </c:pt>
                <c:pt idx="3530">
                  <c:v>0.67019027484143801</c:v>
                </c:pt>
                <c:pt idx="3531">
                  <c:v>0.67021276595744705</c:v>
                </c:pt>
                <c:pt idx="3532">
                  <c:v>0.670241286863271</c:v>
                </c:pt>
                <c:pt idx="3533">
                  <c:v>0.67035398230088505</c:v>
                </c:pt>
                <c:pt idx="3534">
                  <c:v>0.67036011080332403</c:v>
                </c:pt>
                <c:pt idx="3535">
                  <c:v>0.67039106145251404</c:v>
                </c:pt>
                <c:pt idx="3536">
                  <c:v>0.67039800995024901</c:v>
                </c:pt>
                <c:pt idx="3537">
                  <c:v>0.67054908485856901</c:v>
                </c:pt>
                <c:pt idx="3538">
                  <c:v>0.67058823529411804</c:v>
                </c:pt>
                <c:pt idx="3539">
                  <c:v>0.670694864048338</c:v>
                </c:pt>
                <c:pt idx="3540">
                  <c:v>0.67073170731707299</c:v>
                </c:pt>
                <c:pt idx="3541">
                  <c:v>0.67079303675048296</c:v>
                </c:pt>
                <c:pt idx="3542">
                  <c:v>0.67083206339530599</c:v>
                </c:pt>
                <c:pt idx="3543">
                  <c:v>0.670886075949367</c:v>
                </c:pt>
                <c:pt idx="3544">
                  <c:v>0.670886075949367</c:v>
                </c:pt>
                <c:pt idx="3545">
                  <c:v>0.67091681845780204</c:v>
                </c:pt>
                <c:pt idx="3546">
                  <c:v>0.671023965141612</c:v>
                </c:pt>
                <c:pt idx="3547">
                  <c:v>0.67105263157894701</c:v>
                </c:pt>
                <c:pt idx="3548">
                  <c:v>0.67105263157894701</c:v>
                </c:pt>
                <c:pt idx="3549">
                  <c:v>0.67114093959731502</c:v>
                </c:pt>
                <c:pt idx="3550">
                  <c:v>0.67114093959731502</c:v>
                </c:pt>
                <c:pt idx="3551">
                  <c:v>0.67115902964959595</c:v>
                </c:pt>
                <c:pt idx="3552">
                  <c:v>0.67129629629629595</c:v>
                </c:pt>
                <c:pt idx="3553">
                  <c:v>0.67132867132867102</c:v>
                </c:pt>
                <c:pt idx="3554">
                  <c:v>0.67132867132867102</c:v>
                </c:pt>
                <c:pt idx="3555">
                  <c:v>0.67138193688792203</c:v>
                </c:pt>
                <c:pt idx="3556">
                  <c:v>0.67148014440433201</c:v>
                </c:pt>
                <c:pt idx="3557">
                  <c:v>0.67149220489977701</c:v>
                </c:pt>
                <c:pt idx="3558">
                  <c:v>0.67164179104477595</c:v>
                </c:pt>
                <c:pt idx="3559">
                  <c:v>0.67166042446941299</c:v>
                </c:pt>
                <c:pt idx="3560">
                  <c:v>0.67166474432910395</c:v>
                </c:pt>
                <c:pt idx="3561">
                  <c:v>0.67168262653898803</c:v>
                </c:pt>
                <c:pt idx="3562">
                  <c:v>0.67169811320754702</c:v>
                </c:pt>
                <c:pt idx="3563">
                  <c:v>0.67170626349892004</c:v>
                </c:pt>
                <c:pt idx="3564">
                  <c:v>0.67175572519084004</c:v>
                </c:pt>
                <c:pt idx="3565">
                  <c:v>0.67177304964538997</c:v>
                </c:pt>
                <c:pt idx="3566">
                  <c:v>0.67179487179487196</c:v>
                </c:pt>
                <c:pt idx="3567">
                  <c:v>0.67180094786729905</c:v>
                </c:pt>
                <c:pt idx="3568">
                  <c:v>0.67183098591549295</c:v>
                </c:pt>
                <c:pt idx="3569">
                  <c:v>0.67183462532299698</c:v>
                </c:pt>
                <c:pt idx="3570">
                  <c:v>0.671875</c:v>
                </c:pt>
                <c:pt idx="3571">
                  <c:v>0.67195767195767198</c:v>
                </c:pt>
                <c:pt idx="3572">
                  <c:v>0.67198838896952096</c:v>
                </c:pt>
                <c:pt idx="3573">
                  <c:v>0.67204301075268802</c:v>
                </c:pt>
                <c:pt idx="3574">
                  <c:v>0.67213114754098302</c:v>
                </c:pt>
                <c:pt idx="3575">
                  <c:v>0.67213114754098302</c:v>
                </c:pt>
                <c:pt idx="3576">
                  <c:v>0.67222222222222205</c:v>
                </c:pt>
                <c:pt idx="3577">
                  <c:v>0.67235494880546098</c:v>
                </c:pt>
                <c:pt idx="3578">
                  <c:v>0.67241379310344795</c:v>
                </c:pt>
                <c:pt idx="3579">
                  <c:v>0.67244094488188999</c:v>
                </c:pt>
                <c:pt idx="3580">
                  <c:v>0.67244701348747604</c:v>
                </c:pt>
                <c:pt idx="3581">
                  <c:v>0.67253521126760596</c:v>
                </c:pt>
                <c:pt idx="3582">
                  <c:v>0.67254408060453397</c:v>
                </c:pt>
                <c:pt idx="3583">
                  <c:v>0.672619047619048</c:v>
                </c:pt>
                <c:pt idx="3584">
                  <c:v>0.67276887871853497</c:v>
                </c:pt>
                <c:pt idx="3585">
                  <c:v>0.67276887871853497</c:v>
                </c:pt>
                <c:pt idx="3586">
                  <c:v>0.67282321899736097</c:v>
                </c:pt>
                <c:pt idx="3587">
                  <c:v>0.67295597484276704</c:v>
                </c:pt>
                <c:pt idx="3588">
                  <c:v>0.67295597484276704</c:v>
                </c:pt>
                <c:pt idx="3589">
                  <c:v>0.67299864314789704</c:v>
                </c:pt>
                <c:pt idx="3590">
                  <c:v>0.67302798982188305</c:v>
                </c:pt>
                <c:pt idx="3591">
                  <c:v>0.67302798982188305</c:v>
                </c:pt>
                <c:pt idx="3592">
                  <c:v>0.673139158576052</c:v>
                </c:pt>
                <c:pt idx="3593">
                  <c:v>0.67315716272600801</c:v>
                </c:pt>
                <c:pt idx="3594">
                  <c:v>0.673170731707317</c:v>
                </c:pt>
                <c:pt idx="3595">
                  <c:v>0.67322834645669305</c:v>
                </c:pt>
                <c:pt idx="3596">
                  <c:v>0.67325056433408603</c:v>
                </c:pt>
                <c:pt idx="3597">
                  <c:v>0.67326732673267298</c:v>
                </c:pt>
                <c:pt idx="3598">
                  <c:v>0.67330677290836605</c:v>
                </c:pt>
                <c:pt idx="3599">
                  <c:v>0.67333333333333301</c:v>
                </c:pt>
                <c:pt idx="3600">
                  <c:v>0.67335562987736897</c:v>
                </c:pt>
                <c:pt idx="3601">
                  <c:v>0.67338709677419295</c:v>
                </c:pt>
                <c:pt idx="3602">
                  <c:v>0.673400673400673</c:v>
                </c:pt>
                <c:pt idx="3603">
                  <c:v>0.67346938775510201</c:v>
                </c:pt>
                <c:pt idx="3604">
                  <c:v>0.67346938775510201</c:v>
                </c:pt>
                <c:pt idx="3605">
                  <c:v>0.67357512953367904</c:v>
                </c:pt>
                <c:pt idx="3606">
                  <c:v>0.67359050445103896</c:v>
                </c:pt>
                <c:pt idx="3607">
                  <c:v>0.673684210526316</c:v>
                </c:pt>
                <c:pt idx="3608">
                  <c:v>0.67371202113606299</c:v>
                </c:pt>
                <c:pt idx="3609">
                  <c:v>0.67391304347826098</c:v>
                </c:pt>
                <c:pt idx="3610">
                  <c:v>0.67424242424242398</c:v>
                </c:pt>
                <c:pt idx="3611">
                  <c:v>0.67425320056898996</c:v>
                </c:pt>
                <c:pt idx="3612">
                  <c:v>0.67426273458444996</c:v>
                </c:pt>
                <c:pt idx="3613">
                  <c:v>0.67441860465116299</c:v>
                </c:pt>
                <c:pt idx="3614">
                  <c:v>0.67441860465116299</c:v>
                </c:pt>
                <c:pt idx="3615">
                  <c:v>0.67448275862068996</c:v>
                </c:pt>
                <c:pt idx="3616">
                  <c:v>0.67449664429530198</c:v>
                </c:pt>
                <c:pt idx="3617">
                  <c:v>0.67452830188679203</c:v>
                </c:pt>
                <c:pt idx="3618">
                  <c:v>0.67458432304037996</c:v>
                </c:pt>
                <c:pt idx="3619">
                  <c:v>0.67460317460317498</c:v>
                </c:pt>
                <c:pt idx="3620">
                  <c:v>0.67464788732394398</c:v>
                </c:pt>
                <c:pt idx="3621">
                  <c:v>0.67467652495378905</c:v>
                </c:pt>
                <c:pt idx="3622">
                  <c:v>0.67480719794344501</c:v>
                </c:pt>
                <c:pt idx="3623">
                  <c:v>0.67482517482517501</c:v>
                </c:pt>
                <c:pt idx="3624">
                  <c:v>0.67486033519553101</c:v>
                </c:pt>
                <c:pt idx="3625">
                  <c:v>0.67489986648865097</c:v>
                </c:pt>
                <c:pt idx="3626">
                  <c:v>0.67495126705652997</c:v>
                </c:pt>
                <c:pt idx="3627">
                  <c:v>0.67500000000000004</c:v>
                </c:pt>
                <c:pt idx="3628">
                  <c:v>0.67500000000000004</c:v>
                </c:pt>
                <c:pt idx="3629">
                  <c:v>0.67500000000000004</c:v>
                </c:pt>
                <c:pt idx="3630">
                  <c:v>0.67500000000000004</c:v>
                </c:pt>
                <c:pt idx="3631">
                  <c:v>0.67504835589942003</c:v>
                </c:pt>
                <c:pt idx="3632">
                  <c:v>0.67507418397626096</c:v>
                </c:pt>
                <c:pt idx="3633">
                  <c:v>0.67511312217194597</c:v>
                </c:pt>
                <c:pt idx="3634">
                  <c:v>0.67513200905204895</c:v>
                </c:pt>
                <c:pt idx="3635">
                  <c:v>0.67515923566878999</c:v>
                </c:pt>
                <c:pt idx="3636">
                  <c:v>0.67524115755627001</c:v>
                </c:pt>
                <c:pt idx="3637">
                  <c:v>0.67524317540006296</c:v>
                </c:pt>
                <c:pt idx="3638">
                  <c:v>0.67525195968645002</c:v>
                </c:pt>
                <c:pt idx="3639">
                  <c:v>0.67527675276752797</c:v>
                </c:pt>
                <c:pt idx="3640">
                  <c:v>0.67529411764705904</c:v>
                </c:pt>
                <c:pt idx="3641">
                  <c:v>0.67532467532467499</c:v>
                </c:pt>
                <c:pt idx="3642">
                  <c:v>0.67532467532467499</c:v>
                </c:pt>
                <c:pt idx="3643">
                  <c:v>0.67532467532467499</c:v>
                </c:pt>
                <c:pt idx="3644">
                  <c:v>0.67534456355283301</c:v>
                </c:pt>
                <c:pt idx="3645">
                  <c:v>0.67538461538461503</c:v>
                </c:pt>
                <c:pt idx="3646">
                  <c:v>0.67543859649122795</c:v>
                </c:pt>
                <c:pt idx="3647">
                  <c:v>0.67543859649122795</c:v>
                </c:pt>
                <c:pt idx="3648">
                  <c:v>0.67543859649122795</c:v>
                </c:pt>
                <c:pt idx="3649">
                  <c:v>0.67549668874172197</c:v>
                </c:pt>
                <c:pt idx="3650">
                  <c:v>0.67553191489361697</c:v>
                </c:pt>
                <c:pt idx="3651">
                  <c:v>0.67557932263814602</c:v>
                </c:pt>
                <c:pt idx="3652">
                  <c:v>0.675585284280936</c:v>
                </c:pt>
                <c:pt idx="3653">
                  <c:v>0.67567567567567599</c:v>
                </c:pt>
                <c:pt idx="3654">
                  <c:v>0.67567567567567599</c:v>
                </c:pt>
                <c:pt idx="3655">
                  <c:v>0.67567567567567599</c:v>
                </c:pt>
                <c:pt idx="3656">
                  <c:v>0.67567567567567599</c:v>
                </c:pt>
                <c:pt idx="3657">
                  <c:v>0.67573696145124695</c:v>
                </c:pt>
                <c:pt idx="3658">
                  <c:v>0.67574257425742601</c:v>
                </c:pt>
                <c:pt idx="3659">
                  <c:v>0.675757575757576</c:v>
                </c:pt>
                <c:pt idx="3660">
                  <c:v>0.67582417582417598</c:v>
                </c:pt>
                <c:pt idx="3661">
                  <c:v>0.67586206896551704</c:v>
                </c:pt>
                <c:pt idx="3662">
                  <c:v>0.67588325652841796</c:v>
                </c:pt>
                <c:pt idx="3663">
                  <c:v>0.67599067599067597</c:v>
                </c:pt>
                <c:pt idx="3664">
                  <c:v>0.67610062893081702</c:v>
                </c:pt>
                <c:pt idx="3665">
                  <c:v>0.67613636363636398</c:v>
                </c:pt>
                <c:pt idx="3666">
                  <c:v>0.67619047619047601</c:v>
                </c:pt>
                <c:pt idx="3667">
                  <c:v>0.67622950819672101</c:v>
                </c:pt>
                <c:pt idx="3668">
                  <c:v>0.67625133120340797</c:v>
                </c:pt>
                <c:pt idx="3669">
                  <c:v>0.676345004269855</c:v>
                </c:pt>
                <c:pt idx="3670">
                  <c:v>0.67637540453074396</c:v>
                </c:pt>
                <c:pt idx="3671">
                  <c:v>0.67638483965014595</c:v>
                </c:pt>
                <c:pt idx="3672">
                  <c:v>0.67647058823529405</c:v>
                </c:pt>
                <c:pt idx="3673">
                  <c:v>0.67647058823529405</c:v>
                </c:pt>
                <c:pt idx="3674">
                  <c:v>0.67655786350148395</c:v>
                </c:pt>
                <c:pt idx="3675">
                  <c:v>0.67656415694591698</c:v>
                </c:pt>
                <c:pt idx="3676">
                  <c:v>0.67659574468085104</c:v>
                </c:pt>
                <c:pt idx="3677">
                  <c:v>0.67661691542288604</c:v>
                </c:pt>
                <c:pt idx="3678">
                  <c:v>0.67661691542288604</c:v>
                </c:pt>
                <c:pt idx="3679">
                  <c:v>0.67661691542288604</c:v>
                </c:pt>
                <c:pt idx="3680">
                  <c:v>0.67670011148272002</c:v>
                </c:pt>
                <c:pt idx="3681">
                  <c:v>0.67670682730923704</c:v>
                </c:pt>
                <c:pt idx="3682">
                  <c:v>0.67676767676767702</c:v>
                </c:pt>
                <c:pt idx="3683">
                  <c:v>0.67682926829268297</c:v>
                </c:pt>
                <c:pt idx="3684">
                  <c:v>0.67684021543985595</c:v>
                </c:pt>
                <c:pt idx="3685">
                  <c:v>0.67692307692307696</c:v>
                </c:pt>
                <c:pt idx="3686">
                  <c:v>0.67692307692307696</c:v>
                </c:pt>
                <c:pt idx="3687">
                  <c:v>0.67708333333333304</c:v>
                </c:pt>
                <c:pt idx="3688">
                  <c:v>0.67709497206703895</c:v>
                </c:pt>
                <c:pt idx="3689">
                  <c:v>0.67723342939481301</c:v>
                </c:pt>
                <c:pt idx="3690">
                  <c:v>0.67724867724867699</c:v>
                </c:pt>
                <c:pt idx="3691">
                  <c:v>0.67728882144663605</c:v>
                </c:pt>
                <c:pt idx="3692">
                  <c:v>0.67730337078651703</c:v>
                </c:pt>
                <c:pt idx="3693">
                  <c:v>0.67736339982653904</c:v>
                </c:pt>
                <c:pt idx="3694">
                  <c:v>0.67741935483870996</c:v>
                </c:pt>
                <c:pt idx="3695">
                  <c:v>0.67741935483870996</c:v>
                </c:pt>
                <c:pt idx="3696">
                  <c:v>0.67746913580246904</c:v>
                </c:pt>
                <c:pt idx="3697">
                  <c:v>0.67747914735866499</c:v>
                </c:pt>
                <c:pt idx="3698">
                  <c:v>0.67753960857409101</c:v>
                </c:pt>
                <c:pt idx="3699">
                  <c:v>0.67767767767767795</c:v>
                </c:pt>
                <c:pt idx="3700">
                  <c:v>0.67768595041322299</c:v>
                </c:pt>
                <c:pt idx="3701">
                  <c:v>0.67768595041322299</c:v>
                </c:pt>
                <c:pt idx="3702">
                  <c:v>0.67769607843137203</c:v>
                </c:pt>
                <c:pt idx="3703">
                  <c:v>0.67770034843205595</c:v>
                </c:pt>
                <c:pt idx="3704">
                  <c:v>0.67772511848341199</c:v>
                </c:pt>
                <c:pt idx="3705">
                  <c:v>0.67775831873905401</c:v>
                </c:pt>
                <c:pt idx="3706">
                  <c:v>0.67777777777777803</c:v>
                </c:pt>
                <c:pt idx="3707">
                  <c:v>0.67786259541984695</c:v>
                </c:pt>
                <c:pt idx="3708">
                  <c:v>0.67793240556659995</c:v>
                </c:pt>
                <c:pt idx="3709">
                  <c:v>0.677966101694915</c:v>
                </c:pt>
                <c:pt idx="3710">
                  <c:v>0.677966101694915</c:v>
                </c:pt>
                <c:pt idx="3711">
                  <c:v>0.677966101694915</c:v>
                </c:pt>
                <c:pt idx="3712">
                  <c:v>0.67800000000000005</c:v>
                </c:pt>
                <c:pt idx="3713">
                  <c:v>0.67803030303030298</c:v>
                </c:pt>
                <c:pt idx="3714">
                  <c:v>0.67806267806267795</c:v>
                </c:pt>
                <c:pt idx="3715">
                  <c:v>0.67814371257484996</c:v>
                </c:pt>
                <c:pt idx="3716">
                  <c:v>0.67816091954022995</c:v>
                </c:pt>
                <c:pt idx="3717">
                  <c:v>0.67816091954022995</c:v>
                </c:pt>
                <c:pt idx="3718">
                  <c:v>0.67819297267150003</c:v>
                </c:pt>
                <c:pt idx="3719">
                  <c:v>0.67819548872180402</c:v>
                </c:pt>
                <c:pt idx="3720">
                  <c:v>0.67823765020026705</c:v>
                </c:pt>
                <c:pt idx="3721">
                  <c:v>0.67826086956521703</c:v>
                </c:pt>
                <c:pt idx="3722">
                  <c:v>0.67826086956521703</c:v>
                </c:pt>
                <c:pt idx="3723">
                  <c:v>0.67828418230563003</c:v>
                </c:pt>
                <c:pt idx="3724">
                  <c:v>0.678321678321678</c:v>
                </c:pt>
                <c:pt idx="3725">
                  <c:v>0.678321678321678</c:v>
                </c:pt>
                <c:pt idx="3726">
                  <c:v>0.67836257309941494</c:v>
                </c:pt>
                <c:pt idx="3727">
                  <c:v>0.678378378378378</c:v>
                </c:pt>
                <c:pt idx="3728">
                  <c:v>0.678378378378378</c:v>
                </c:pt>
                <c:pt idx="3729">
                  <c:v>0.67853509664292999</c:v>
                </c:pt>
                <c:pt idx="3730">
                  <c:v>0.67857142857142905</c:v>
                </c:pt>
                <c:pt idx="3731">
                  <c:v>0.67857142857142905</c:v>
                </c:pt>
                <c:pt idx="3732">
                  <c:v>0.67858407079645999</c:v>
                </c:pt>
                <c:pt idx="3733">
                  <c:v>0.67868852459016404</c:v>
                </c:pt>
                <c:pt idx="3734">
                  <c:v>0.67871485943775101</c:v>
                </c:pt>
                <c:pt idx="3735">
                  <c:v>0.67876588021778606</c:v>
                </c:pt>
                <c:pt idx="3736">
                  <c:v>0.678776290630975</c:v>
                </c:pt>
                <c:pt idx="3737">
                  <c:v>0.67887323943662004</c:v>
                </c:pt>
                <c:pt idx="3738">
                  <c:v>0.67889908256880704</c:v>
                </c:pt>
                <c:pt idx="3739">
                  <c:v>0.67889908256880704</c:v>
                </c:pt>
                <c:pt idx="3740">
                  <c:v>0.67889908256880704</c:v>
                </c:pt>
                <c:pt idx="3741">
                  <c:v>0.67894736842105297</c:v>
                </c:pt>
                <c:pt idx="3742">
                  <c:v>0.67894736842105297</c:v>
                </c:pt>
                <c:pt idx="3743">
                  <c:v>0.67897623400365603</c:v>
                </c:pt>
                <c:pt idx="3744">
                  <c:v>0.678983833718245</c:v>
                </c:pt>
                <c:pt idx="3745">
                  <c:v>0.67899408284023699</c:v>
                </c:pt>
                <c:pt idx="3746">
                  <c:v>0.67901234567901203</c:v>
                </c:pt>
                <c:pt idx="3747">
                  <c:v>0.67901234567901203</c:v>
                </c:pt>
                <c:pt idx="3748">
                  <c:v>0.67901234567901203</c:v>
                </c:pt>
                <c:pt idx="3749">
                  <c:v>0.67916999201915396</c:v>
                </c:pt>
                <c:pt idx="3750">
                  <c:v>0.67917369308600295</c:v>
                </c:pt>
                <c:pt idx="3751">
                  <c:v>0.67919799498746902</c:v>
                </c:pt>
                <c:pt idx="3752">
                  <c:v>0.679245283018868</c:v>
                </c:pt>
                <c:pt idx="3753">
                  <c:v>0.67926565874730005</c:v>
                </c:pt>
                <c:pt idx="3754">
                  <c:v>0.67936507936507895</c:v>
                </c:pt>
                <c:pt idx="3755">
                  <c:v>0.67938931297709904</c:v>
                </c:pt>
                <c:pt idx="3756">
                  <c:v>0.67946577629382299</c:v>
                </c:pt>
                <c:pt idx="3757">
                  <c:v>0.67948717948717896</c:v>
                </c:pt>
                <c:pt idx="3758">
                  <c:v>0.67948717948717896</c:v>
                </c:pt>
                <c:pt idx="3759">
                  <c:v>0.67948717948717896</c:v>
                </c:pt>
                <c:pt idx="3760">
                  <c:v>0.67948717948717896</c:v>
                </c:pt>
                <c:pt idx="3761">
                  <c:v>0.67954911433172305</c:v>
                </c:pt>
                <c:pt idx="3762">
                  <c:v>0.67961165048543704</c:v>
                </c:pt>
                <c:pt idx="3763">
                  <c:v>0.67961165048543704</c:v>
                </c:pt>
                <c:pt idx="3764">
                  <c:v>0.67961165048543704</c:v>
                </c:pt>
                <c:pt idx="3765">
                  <c:v>0.67961165048543704</c:v>
                </c:pt>
                <c:pt idx="3766">
                  <c:v>0.67961165048543704</c:v>
                </c:pt>
                <c:pt idx="3767">
                  <c:v>0.67971014492753601</c:v>
                </c:pt>
                <c:pt idx="3768">
                  <c:v>0.67971530249110301</c:v>
                </c:pt>
                <c:pt idx="3769">
                  <c:v>0.67972027972028004</c:v>
                </c:pt>
                <c:pt idx="3770">
                  <c:v>0.67972350230414702</c:v>
                </c:pt>
                <c:pt idx="3771">
                  <c:v>0.67973856209150296</c:v>
                </c:pt>
                <c:pt idx="3772">
                  <c:v>0.679824561403509</c:v>
                </c:pt>
                <c:pt idx="3773">
                  <c:v>0.68</c:v>
                </c:pt>
                <c:pt idx="3774">
                  <c:v>0.68</c:v>
                </c:pt>
                <c:pt idx="3775">
                  <c:v>0.68008363826450602</c:v>
                </c:pt>
                <c:pt idx="3776">
                  <c:v>0.68017366136034696</c:v>
                </c:pt>
                <c:pt idx="3777">
                  <c:v>0.68018018018018001</c:v>
                </c:pt>
                <c:pt idx="3778">
                  <c:v>0.68019480519480502</c:v>
                </c:pt>
                <c:pt idx="3779">
                  <c:v>0.68023255813953498</c:v>
                </c:pt>
                <c:pt idx="3780">
                  <c:v>0.68027210884353695</c:v>
                </c:pt>
                <c:pt idx="3781">
                  <c:v>0.68030690537084404</c:v>
                </c:pt>
                <c:pt idx="3782">
                  <c:v>0.68030690537084404</c:v>
                </c:pt>
                <c:pt idx="3783">
                  <c:v>0.68032786885245899</c:v>
                </c:pt>
                <c:pt idx="3784">
                  <c:v>0.68042526579111895</c:v>
                </c:pt>
                <c:pt idx="3785">
                  <c:v>0.68045112781954897</c:v>
                </c:pt>
                <c:pt idx="3786">
                  <c:v>0.68055555555555503</c:v>
                </c:pt>
                <c:pt idx="3787">
                  <c:v>0.68055555555555503</c:v>
                </c:pt>
                <c:pt idx="3788">
                  <c:v>0.68055555555555503</c:v>
                </c:pt>
                <c:pt idx="3789">
                  <c:v>0.68055555555555503</c:v>
                </c:pt>
                <c:pt idx="3790">
                  <c:v>0.68063872255489</c:v>
                </c:pt>
                <c:pt idx="3791">
                  <c:v>0.68070175438596503</c:v>
                </c:pt>
                <c:pt idx="3792">
                  <c:v>0.68079470198675496</c:v>
                </c:pt>
                <c:pt idx="3793">
                  <c:v>0.68085831062670299</c:v>
                </c:pt>
                <c:pt idx="3794">
                  <c:v>0.68095238095238098</c:v>
                </c:pt>
                <c:pt idx="3795">
                  <c:v>0.68097014925373101</c:v>
                </c:pt>
                <c:pt idx="3796">
                  <c:v>0.68101265822784796</c:v>
                </c:pt>
                <c:pt idx="3797">
                  <c:v>0.68106312292358795</c:v>
                </c:pt>
                <c:pt idx="3798">
                  <c:v>0.68114143920595505</c:v>
                </c:pt>
                <c:pt idx="3799">
                  <c:v>0.68115942028985499</c:v>
                </c:pt>
                <c:pt idx="3800">
                  <c:v>0.68125000000000002</c:v>
                </c:pt>
                <c:pt idx="3801">
                  <c:v>0.68126094570928197</c:v>
                </c:pt>
                <c:pt idx="3802">
                  <c:v>0.68128654970760205</c:v>
                </c:pt>
                <c:pt idx="3803">
                  <c:v>0.68128916741271295</c:v>
                </c:pt>
                <c:pt idx="3804">
                  <c:v>0.68135593220338997</c:v>
                </c:pt>
                <c:pt idx="3805">
                  <c:v>0.68142968142968097</c:v>
                </c:pt>
                <c:pt idx="3806">
                  <c:v>0.68147013782542099</c:v>
                </c:pt>
                <c:pt idx="3807">
                  <c:v>0.681506849315068</c:v>
                </c:pt>
                <c:pt idx="3808">
                  <c:v>0.68151447661469899</c:v>
                </c:pt>
                <c:pt idx="3809">
                  <c:v>0.68170426065162903</c:v>
                </c:pt>
                <c:pt idx="3810">
                  <c:v>0.68172043010752703</c:v>
                </c:pt>
                <c:pt idx="3811">
                  <c:v>0.681724845995893</c:v>
                </c:pt>
                <c:pt idx="3812">
                  <c:v>0.68174726989079504</c:v>
                </c:pt>
                <c:pt idx="3813">
                  <c:v>0.68181818181818199</c:v>
                </c:pt>
                <c:pt idx="3814">
                  <c:v>0.68181818181818199</c:v>
                </c:pt>
                <c:pt idx="3815">
                  <c:v>0.68181818181818199</c:v>
                </c:pt>
                <c:pt idx="3816">
                  <c:v>0.68195718654434201</c:v>
                </c:pt>
                <c:pt idx="3817">
                  <c:v>0.68196721311475395</c:v>
                </c:pt>
                <c:pt idx="3818">
                  <c:v>0.68214285714285705</c:v>
                </c:pt>
                <c:pt idx="3819">
                  <c:v>0.68217054263565902</c:v>
                </c:pt>
                <c:pt idx="3820">
                  <c:v>0.682210708117444</c:v>
                </c:pt>
                <c:pt idx="3821">
                  <c:v>0.682318415260455</c:v>
                </c:pt>
                <c:pt idx="3822">
                  <c:v>0.68240343347639498</c:v>
                </c:pt>
                <c:pt idx="3823">
                  <c:v>0.68241758241758199</c:v>
                </c:pt>
                <c:pt idx="3824">
                  <c:v>0.68243243243243201</c:v>
                </c:pt>
                <c:pt idx="3825">
                  <c:v>0.68249258160237403</c:v>
                </c:pt>
                <c:pt idx="3826">
                  <c:v>0.68258426966292096</c:v>
                </c:pt>
                <c:pt idx="3827">
                  <c:v>0.68262653898768799</c:v>
                </c:pt>
                <c:pt idx="3828">
                  <c:v>0.68263473053892199</c:v>
                </c:pt>
                <c:pt idx="3829">
                  <c:v>0.68265682656826598</c:v>
                </c:pt>
                <c:pt idx="3830">
                  <c:v>0.68273092369477895</c:v>
                </c:pt>
                <c:pt idx="3831">
                  <c:v>0.68275862068965498</c:v>
                </c:pt>
                <c:pt idx="3832">
                  <c:v>0.68291139240506304</c:v>
                </c:pt>
                <c:pt idx="3833">
                  <c:v>0.68292682926829296</c:v>
                </c:pt>
                <c:pt idx="3834">
                  <c:v>0.68292682926829296</c:v>
                </c:pt>
                <c:pt idx="3835">
                  <c:v>0.68298969072164895</c:v>
                </c:pt>
                <c:pt idx="3836">
                  <c:v>0.68300653594771199</c:v>
                </c:pt>
                <c:pt idx="3837">
                  <c:v>0.68300653594771199</c:v>
                </c:pt>
                <c:pt idx="3838">
                  <c:v>0.68302257114818399</c:v>
                </c:pt>
                <c:pt idx="3839">
                  <c:v>0.68305304010349299</c:v>
                </c:pt>
                <c:pt idx="3840">
                  <c:v>0.68306010928961702</c:v>
                </c:pt>
                <c:pt idx="3841">
                  <c:v>0.68313458262350901</c:v>
                </c:pt>
                <c:pt idx="3842">
                  <c:v>0.68313953488372103</c:v>
                </c:pt>
                <c:pt idx="3843">
                  <c:v>0.683168316831683</c:v>
                </c:pt>
                <c:pt idx="3844">
                  <c:v>0.68325791855203599</c:v>
                </c:pt>
                <c:pt idx="3845">
                  <c:v>0.68327974276527303</c:v>
                </c:pt>
                <c:pt idx="3846">
                  <c:v>0.68327974276527303</c:v>
                </c:pt>
                <c:pt idx="3847">
                  <c:v>0.68328840970350402</c:v>
                </c:pt>
                <c:pt idx="3848">
                  <c:v>0.68339100346020798</c:v>
                </c:pt>
                <c:pt idx="3849">
                  <c:v>0.68339768339768303</c:v>
                </c:pt>
                <c:pt idx="3850">
                  <c:v>0.68342644320297896</c:v>
                </c:pt>
                <c:pt idx="3851">
                  <c:v>0.68345323741007202</c:v>
                </c:pt>
                <c:pt idx="3852">
                  <c:v>0.68346774193548399</c:v>
                </c:pt>
                <c:pt idx="3853">
                  <c:v>0.68350168350168305</c:v>
                </c:pt>
                <c:pt idx="3854">
                  <c:v>0.683544303797468</c:v>
                </c:pt>
                <c:pt idx="3855">
                  <c:v>0.68356750152718404</c:v>
                </c:pt>
                <c:pt idx="3856">
                  <c:v>0.68367346938775497</c:v>
                </c:pt>
                <c:pt idx="3857">
                  <c:v>0.68369028006589805</c:v>
                </c:pt>
                <c:pt idx="3858">
                  <c:v>0.68369829683698302</c:v>
                </c:pt>
                <c:pt idx="3859">
                  <c:v>0.68369829683698302</c:v>
                </c:pt>
                <c:pt idx="3860">
                  <c:v>0.68373493975903599</c:v>
                </c:pt>
                <c:pt idx="3861">
                  <c:v>0.68381897086174803</c:v>
                </c:pt>
                <c:pt idx="3862">
                  <c:v>0.68384879725085901</c:v>
                </c:pt>
                <c:pt idx="3863">
                  <c:v>0.68404907975460105</c:v>
                </c:pt>
                <c:pt idx="3864">
                  <c:v>0.68408551068883605</c:v>
                </c:pt>
                <c:pt idx="3865">
                  <c:v>0.68421052631578905</c:v>
                </c:pt>
                <c:pt idx="3866">
                  <c:v>0.68421052631578905</c:v>
                </c:pt>
                <c:pt idx="3867">
                  <c:v>0.68421052631578905</c:v>
                </c:pt>
                <c:pt idx="3868">
                  <c:v>0.68421052631578905</c:v>
                </c:pt>
                <c:pt idx="3869">
                  <c:v>0.68421052631578905</c:v>
                </c:pt>
                <c:pt idx="3870">
                  <c:v>0.68421052631578905</c:v>
                </c:pt>
                <c:pt idx="3871">
                  <c:v>0.68421052631578905</c:v>
                </c:pt>
                <c:pt idx="3872">
                  <c:v>0.68432203389830504</c:v>
                </c:pt>
                <c:pt idx="3873">
                  <c:v>0.68434343434343403</c:v>
                </c:pt>
                <c:pt idx="3874">
                  <c:v>0.68434343434343403</c:v>
                </c:pt>
                <c:pt idx="3875">
                  <c:v>0.68442622950819698</c:v>
                </c:pt>
                <c:pt idx="3876">
                  <c:v>0.684486373165618</c:v>
                </c:pt>
                <c:pt idx="3877">
                  <c:v>0.68451519536903005</c:v>
                </c:pt>
                <c:pt idx="3878">
                  <c:v>0.68453105968331296</c:v>
                </c:pt>
                <c:pt idx="3879">
                  <c:v>0.68456375838926198</c:v>
                </c:pt>
                <c:pt idx="3880">
                  <c:v>0.68456947996589901</c:v>
                </c:pt>
                <c:pt idx="3881">
                  <c:v>0.684579439252336</c:v>
                </c:pt>
                <c:pt idx="3882">
                  <c:v>0.68464730290456399</c:v>
                </c:pt>
                <c:pt idx="3883">
                  <c:v>0.68468468468468502</c:v>
                </c:pt>
                <c:pt idx="3884">
                  <c:v>0.68470588235294105</c:v>
                </c:pt>
                <c:pt idx="3885">
                  <c:v>0.684782608695652</c:v>
                </c:pt>
                <c:pt idx="3886">
                  <c:v>0.68484848484848504</c:v>
                </c:pt>
                <c:pt idx="3887">
                  <c:v>0.68493150684931503</c:v>
                </c:pt>
                <c:pt idx="3888">
                  <c:v>0.68493150684931503</c:v>
                </c:pt>
                <c:pt idx="3889">
                  <c:v>0.68505079825834503</c:v>
                </c:pt>
                <c:pt idx="3890">
                  <c:v>0.68505079825834503</c:v>
                </c:pt>
                <c:pt idx="3891">
                  <c:v>0.685057471264368</c:v>
                </c:pt>
                <c:pt idx="3892">
                  <c:v>0.68513513513513502</c:v>
                </c:pt>
                <c:pt idx="3893">
                  <c:v>0.68516833484986295</c:v>
                </c:pt>
                <c:pt idx="3894">
                  <c:v>0.68518518518518501</c:v>
                </c:pt>
                <c:pt idx="3895">
                  <c:v>0.68521954236239901</c:v>
                </c:pt>
                <c:pt idx="3896">
                  <c:v>0.68525896414342602</c:v>
                </c:pt>
                <c:pt idx="3897">
                  <c:v>0.68530020703933703</c:v>
                </c:pt>
                <c:pt idx="3898">
                  <c:v>0.68531889290012005</c:v>
                </c:pt>
                <c:pt idx="3899">
                  <c:v>0.68534482758620696</c:v>
                </c:pt>
                <c:pt idx="3900">
                  <c:v>0.68534482758620696</c:v>
                </c:pt>
                <c:pt idx="3901">
                  <c:v>0.68541080912214902</c:v>
                </c:pt>
                <c:pt idx="3902">
                  <c:v>0.68548387096774199</c:v>
                </c:pt>
                <c:pt idx="3903">
                  <c:v>0.68556701030927802</c:v>
                </c:pt>
                <c:pt idx="3904">
                  <c:v>0.68556701030927802</c:v>
                </c:pt>
                <c:pt idx="3905">
                  <c:v>0.68558951965065495</c:v>
                </c:pt>
                <c:pt idx="3906">
                  <c:v>0.68566493955094998</c:v>
                </c:pt>
                <c:pt idx="3907">
                  <c:v>0.68571428571428605</c:v>
                </c:pt>
                <c:pt idx="3908">
                  <c:v>0.68571428571428605</c:v>
                </c:pt>
                <c:pt idx="3909">
                  <c:v>0.68571428571428605</c:v>
                </c:pt>
                <c:pt idx="3910">
                  <c:v>0.68571428571428605</c:v>
                </c:pt>
                <c:pt idx="3911">
                  <c:v>0.68571428571428605</c:v>
                </c:pt>
                <c:pt idx="3912">
                  <c:v>0.68571428571428605</c:v>
                </c:pt>
                <c:pt idx="3913">
                  <c:v>0.68571428571428605</c:v>
                </c:pt>
                <c:pt idx="3914">
                  <c:v>0.68574766355140204</c:v>
                </c:pt>
                <c:pt idx="3915">
                  <c:v>0.68581081081081097</c:v>
                </c:pt>
                <c:pt idx="3916">
                  <c:v>0.68585365853658498</c:v>
                </c:pt>
                <c:pt idx="3917">
                  <c:v>0.68589743589743601</c:v>
                </c:pt>
                <c:pt idx="3918">
                  <c:v>0.68589743589743601</c:v>
                </c:pt>
                <c:pt idx="3919">
                  <c:v>0.68595041322313999</c:v>
                </c:pt>
                <c:pt idx="3920">
                  <c:v>0.68609865470852005</c:v>
                </c:pt>
                <c:pt idx="3921">
                  <c:v>0.68613138686131403</c:v>
                </c:pt>
                <c:pt idx="3922">
                  <c:v>0.68615984405458097</c:v>
                </c:pt>
                <c:pt idx="3923">
                  <c:v>0.686162624821683</c:v>
                </c:pt>
                <c:pt idx="3924">
                  <c:v>0.68620037807183398</c:v>
                </c:pt>
                <c:pt idx="3925">
                  <c:v>0.68621700879765402</c:v>
                </c:pt>
                <c:pt idx="3926">
                  <c:v>0.68623481781376505</c:v>
                </c:pt>
                <c:pt idx="3927">
                  <c:v>0.68627450980392102</c:v>
                </c:pt>
                <c:pt idx="3928">
                  <c:v>0.68630136986301404</c:v>
                </c:pt>
                <c:pt idx="3929">
                  <c:v>0.686351706036745</c:v>
                </c:pt>
                <c:pt idx="3930">
                  <c:v>0.68641114982578399</c:v>
                </c:pt>
                <c:pt idx="3931">
                  <c:v>0.68644067796610198</c:v>
                </c:pt>
                <c:pt idx="3932">
                  <c:v>0.68644067796610198</c:v>
                </c:pt>
                <c:pt idx="3933">
                  <c:v>0.68647764449291204</c:v>
                </c:pt>
                <c:pt idx="3934">
                  <c:v>0.68656716417910402</c:v>
                </c:pt>
                <c:pt idx="3935">
                  <c:v>0.68660287081339699</c:v>
                </c:pt>
                <c:pt idx="3936">
                  <c:v>0.68661971830985902</c:v>
                </c:pt>
                <c:pt idx="3937">
                  <c:v>0.68663594470046097</c:v>
                </c:pt>
                <c:pt idx="3938">
                  <c:v>0.68670309653916195</c:v>
                </c:pt>
                <c:pt idx="3939">
                  <c:v>0.68676545733265204</c:v>
                </c:pt>
                <c:pt idx="3940">
                  <c:v>0.68677042801556398</c:v>
                </c:pt>
                <c:pt idx="3941">
                  <c:v>0.68681983071342201</c:v>
                </c:pt>
                <c:pt idx="3942">
                  <c:v>0.686878727634195</c:v>
                </c:pt>
                <c:pt idx="3943">
                  <c:v>0.68694550063371296</c:v>
                </c:pt>
                <c:pt idx="3944">
                  <c:v>0.68697478991596606</c:v>
                </c:pt>
                <c:pt idx="3945">
                  <c:v>0.68707172224760105</c:v>
                </c:pt>
                <c:pt idx="3946">
                  <c:v>0.68717948717948696</c:v>
                </c:pt>
                <c:pt idx="3947">
                  <c:v>0.68720379146919397</c:v>
                </c:pt>
                <c:pt idx="3948">
                  <c:v>0.68722466960352402</c:v>
                </c:pt>
                <c:pt idx="3949">
                  <c:v>0.68722466960352402</c:v>
                </c:pt>
                <c:pt idx="3950">
                  <c:v>0.687242798353909</c:v>
                </c:pt>
                <c:pt idx="3951">
                  <c:v>0.687242798353909</c:v>
                </c:pt>
                <c:pt idx="3952">
                  <c:v>0.68727705112960702</c:v>
                </c:pt>
                <c:pt idx="3953">
                  <c:v>0.68738229755178903</c:v>
                </c:pt>
                <c:pt idx="3954">
                  <c:v>0.68741291221551304</c:v>
                </c:pt>
                <c:pt idx="3955">
                  <c:v>0.6875</c:v>
                </c:pt>
                <c:pt idx="3956">
                  <c:v>0.6875</c:v>
                </c:pt>
                <c:pt idx="3957">
                  <c:v>0.6875</c:v>
                </c:pt>
                <c:pt idx="3958">
                  <c:v>0.6875</c:v>
                </c:pt>
                <c:pt idx="3959">
                  <c:v>0.68759811616954503</c:v>
                </c:pt>
                <c:pt idx="3960">
                  <c:v>0.68763102725366898</c:v>
                </c:pt>
                <c:pt idx="3961">
                  <c:v>0.68764568764568801</c:v>
                </c:pt>
                <c:pt idx="3962">
                  <c:v>0.68783068783068801</c:v>
                </c:pt>
                <c:pt idx="3963">
                  <c:v>0.68788598574821802</c:v>
                </c:pt>
                <c:pt idx="3964">
                  <c:v>0.68794326241134696</c:v>
                </c:pt>
                <c:pt idx="3965">
                  <c:v>0.68799999999999994</c:v>
                </c:pt>
                <c:pt idx="3966">
                  <c:v>0.68803176403857003</c:v>
                </c:pt>
                <c:pt idx="3967">
                  <c:v>0.68804159445407298</c:v>
                </c:pt>
                <c:pt idx="3968">
                  <c:v>0.68806699232379598</c:v>
                </c:pt>
                <c:pt idx="3969">
                  <c:v>0.68807707747892399</c:v>
                </c:pt>
                <c:pt idx="3970">
                  <c:v>0.68814432989690699</c:v>
                </c:pt>
                <c:pt idx="3971">
                  <c:v>0.68815331010452996</c:v>
                </c:pt>
                <c:pt idx="3972">
                  <c:v>0.68815592203898002</c:v>
                </c:pt>
                <c:pt idx="3973">
                  <c:v>0.68817204301075297</c:v>
                </c:pt>
                <c:pt idx="3974">
                  <c:v>0.68822328114363496</c:v>
                </c:pt>
                <c:pt idx="3975">
                  <c:v>0.68823529411764695</c:v>
                </c:pt>
                <c:pt idx="3976">
                  <c:v>0.688271604938271</c:v>
                </c:pt>
                <c:pt idx="3977">
                  <c:v>0.68827930174563601</c:v>
                </c:pt>
                <c:pt idx="3978">
                  <c:v>0.68831168831168799</c:v>
                </c:pt>
                <c:pt idx="3979">
                  <c:v>0.68831168831168799</c:v>
                </c:pt>
                <c:pt idx="3980">
                  <c:v>0.688405797101449</c:v>
                </c:pt>
                <c:pt idx="3981">
                  <c:v>0.68844221105527603</c:v>
                </c:pt>
                <c:pt idx="3982">
                  <c:v>0.68846153846153801</c:v>
                </c:pt>
                <c:pt idx="3983">
                  <c:v>0.688555347091932</c:v>
                </c:pt>
                <c:pt idx="3984">
                  <c:v>0.68860759493670898</c:v>
                </c:pt>
                <c:pt idx="3985">
                  <c:v>0.68869936034115098</c:v>
                </c:pt>
                <c:pt idx="3986">
                  <c:v>0.68884892086330896</c:v>
                </c:pt>
                <c:pt idx="3987">
                  <c:v>0.68885191347753705</c:v>
                </c:pt>
                <c:pt idx="3988">
                  <c:v>0.68888888888888899</c:v>
                </c:pt>
                <c:pt idx="3989">
                  <c:v>0.68893528183716102</c:v>
                </c:pt>
                <c:pt idx="3990">
                  <c:v>0.68901989683124498</c:v>
                </c:pt>
                <c:pt idx="3991">
                  <c:v>0.68902439024390205</c:v>
                </c:pt>
                <c:pt idx="3992">
                  <c:v>0.68905950095969304</c:v>
                </c:pt>
                <c:pt idx="3993">
                  <c:v>0.68917018284106901</c:v>
                </c:pt>
                <c:pt idx="3994">
                  <c:v>0.68918918918918903</c:v>
                </c:pt>
                <c:pt idx="3995">
                  <c:v>0.68920282542886002</c:v>
                </c:pt>
                <c:pt idx="3996">
                  <c:v>0.68923076923076898</c:v>
                </c:pt>
                <c:pt idx="3997">
                  <c:v>0.68929503916449097</c:v>
                </c:pt>
                <c:pt idx="3998">
                  <c:v>0.68948035487959403</c:v>
                </c:pt>
                <c:pt idx="3999">
                  <c:v>0.68949044585987296</c:v>
                </c:pt>
                <c:pt idx="4000">
                  <c:v>0.689526184538653</c:v>
                </c:pt>
                <c:pt idx="4001">
                  <c:v>0.68953687821612297</c:v>
                </c:pt>
                <c:pt idx="4002">
                  <c:v>0.68955223880597005</c:v>
                </c:pt>
                <c:pt idx="4003">
                  <c:v>0.68955223880597005</c:v>
                </c:pt>
                <c:pt idx="4004">
                  <c:v>0.68956849602010895</c:v>
                </c:pt>
                <c:pt idx="4005">
                  <c:v>0.68960165545783703</c:v>
                </c:pt>
                <c:pt idx="4006">
                  <c:v>0.68965517241379304</c:v>
                </c:pt>
                <c:pt idx="4007">
                  <c:v>0.68965517241379304</c:v>
                </c:pt>
                <c:pt idx="4008">
                  <c:v>0.68969696969697003</c:v>
                </c:pt>
                <c:pt idx="4009">
                  <c:v>0.68974943052391802</c:v>
                </c:pt>
                <c:pt idx="4010">
                  <c:v>0.68975468975469001</c:v>
                </c:pt>
                <c:pt idx="4011">
                  <c:v>0.68993839835728898</c:v>
                </c:pt>
                <c:pt idx="4012">
                  <c:v>0.69007263922518103</c:v>
                </c:pt>
                <c:pt idx="4013">
                  <c:v>0.69009584664536705</c:v>
                </c:pt>
                <c:pt idx="4014">
                  <c:v>0.69010629599345896</c:v>
                </c:pt>
                <c:pt idx="4015">
                  <c:v>0.69014084507042195</c:v>
                </c:pt>
                <c:pt idx="4016">
                  <c:v>0.69014084507042195</c:v>
                </c:pt>
                <c:pt idx="4017">
                  <c:v>0.69019607843137198</c:v>
                </c:pt>
                <c:pt idx="4018">
                  <c:v>0.69020172910662803</c:v>
                </c:pt>
                <c:pt idx="4019">
                  <c:v>0.690217391304348</c:v>
                </c:pt>
                <c:pt idx="4020">
                  <c:v>0.69026548672566401</c:v>
                </c:pt>
                <c:pt idx="4021">
                  <c:v>0.69035087719298205</c:v>
                </c:pt>
                <c:pt idx="4022">
                  <c:v>0.69035532994923798</c:v>
                </c:pt>
                <c:pt idx="4023">
                  <c:v>0.69047619047619002</c:v>
                </c:pt>
                <c:pt idx="4024">
                  <c:v>0.69047619047619002</c:v>
                </c:pt>
                <c:pt idx="4025">
                  <c:v>0.69049098819142296</c:v>
                </c:pt>
                <c:pt idx="4026">
                  <c:v>0.69054441260745003</c:v>
                </c:pt>
                <c:pt idx="4027">
                  <c:v>0.69054441260745003</c:v>
                </c:pt>
                <c:pt idx="4028">
                  <c:v>0.69058295964125505</c:v>
                </c:pt>
                <c:pt idx="4029">
                  <c:v>0.69064748201438797</c:v>
                </c:pt>
                <c:pt idx="4030">
                  <c:v>0.69075144508670505</c:v>
                </c:pt>
                <c:pt idx="4031">
                  <c:v>0.69077306733167099</c:v>
                </c:pt>
                <c:pt idx="4032">
                  <c:v>0.69090909090909103</c:v>
                </c:pt>
                <c:pt idx="4033">
                  <c:v>0.69090909090909103</c:v>
                </c:pt>
                <c:pt idx="4034">
                  <c:v>0.69094138543516903</c:v>
                </c:pt>
                <c:pt idx="4035">
                  <c:v>0.69097222222222199</c:v>
                </c:pt>
                <c:pt idx="4036">
                  <c:v>0.69105691056910601</c:v>
                </c:pt>
                <c:pt idx="4037">
                  <c:v>0.69109947643978997</c:v>
                </c:pt>
                <c:pt idx="4038">
                  <c:v>0.69117647058823495</c:v>
                </c:pt>
                <c:pt idx="4039">
                  <c:v>0.69117647058823495</c:v>
                </c:pt>
                <c:pt idx="4040">
                  <c:v>0.69117647058823495</c:v>
                </c:pt>
                <c:pt idx="4041">
                  <c:v>0.69121813031161505</c:v>
                </c:pt>
                <c:pt idx="4042">
                  <c:v>0.69135802469135799</c:v>
                </c:pt>
                <c:pt idx="4043">
                  <c:v>0.69135802469135799</c:v>
                </c:pt>
                <c:pt idx="4044">
                  <c:v>0.69148936170212805</c:v>
                </c:pt>
                <c:pt idx="4045">
                  <c:v>0.69149952244508095</c:v>
                </c:pt>
                <c:pt idx="4046">
                  <c:v>0.69152542372881298</c:v>
                </c:pt>
                <c:pt idx="4047">
                  <c:v>0.691542288557214</c:v>
                </c:pt>
                <c:pt idx="4048">
                  <c:v>0.69160231660231697</c:v>
                </c:pt>
                <c:pt idx="4049">
                  <c:v>0.69161676646706605</c:v>
                </c:pt>
                <c:pt idx="4050">
                  <c:v>0.69169960474308301</c:v>
                </c:pt>
                <c:pt idx="4051">
                  <c:v>0.69171779141104295</c:v>
                </c:pt>
                <c:pt idx="4052">
                  <c:v>0.69180327868852398</c:v>
                </c:pt>
                <c:pt idx="4053">
                  <c:v>0.69182389937106903</c:v>
                </c:pt>
                <c:pt idx="4054">
                  <c:v>0.69182389937106903</c:v>
                </c:pt>
                <c:pt idx="4055">
                  <c:v>0.69190600522193202</c:v>
                </c:pt>
                <c:pt idx="4056">
                  <c:v>0.69196428571428603</c:v>
                </c:pt>
                <c:pt idx="4057">
                  <c:v>0.69199999999999995</c:v>
                </c:pt>
                <c:pt idx="4058">
                  <c:v>0.69204152249134898</c:v>
                </c:pt>
                <c:pt idx="4059">
                  <c:v>0.69207317073170704</c:v>
                </c:pt>
                <c:pt idx="4060">
                  <c:v>0.69215686274509802</c:v>
                </c:pt>
                <c:pt idx="4061">
                  <c:v>0.69215876089061001</c:v>
                </c:pt>
                <c:pt idx="4062">
                  <c:v>0.69230769230769196</c:v>
                </c:pt>
                <c:pt idx="4063">
                  <c:v>0.69230769230769196</c:v>
                </c:pt>
                <c:pt idx="4064">
                  <c:v>0.69230769230769196</c:v>
                </c:pt>
                <c:pt idx="4065">
                  <c:v>0.69230769230769196</c:v>
                </c:pt>
                <c:pt idx="4066">
                  <c:v>0.69230769230769196</c:v>
                </c:pt>
                <c:pt idx="4067">
                  <c:v>0.69230769230769196</c:v>
                </c:pt>
                <c:pt idx="4068">
                  <c:v>0.69230769230769196</c:v>
                </c:pt>
                <c:pt idx="4069">
                  <c:v>0.69240196078431404</c:v>
                </c:pt>
                <c:pt idx="4070">
                  <c:v>0.69244288224956096</c:v>
                </c:pt>
                <c:pt idx="4071">
                  <c:v>0.69248826291079801</c:v>
                </c:pt>
                <c:pt idx="4072">
                  <c:v>0.69251336898395699</c:v>
                </c:pt>
                <c:pt idx="4073">
                  <c:v>0.69277108433734902</c:v>
                </c:pt>
                <c:pt idx="4074">
                  <c:v>0.69281585466556495</c:v>
                </c:pt>
                <c:pt idx="4075">
                  <c:v>0.69283276450511899</c:v>
                </c:pt>
                <c:pt idx="4076">
                  <c:v>0.69284467713787101</c:v>
                </c:pt>
                <c:pt idx="4077">
                  <c:v>0.69285714285714295</c:v>
                </c:pt>
                <c:pt idx="4078">
                  <c:v>0.69285714285714295</c:v>
                </c:pt>
                <c:pt idx="4079">
                  <c:v>0.69288389513108595</c:v>
                </c:pt>
                <c:pt idx="4080">
                  <c:v>0.69288389513108595</c:v>
                </c:pt>
                <c:pt idx="4081">
                  <c:v>0.69298245614035103</c:v>
                </c:pt>
                <c:pt idx="4082">
                  <c:v>0.69298245614035103</c:v>
                </c:pt>
                <c:pt idx="4083">
                  <c:v>0.69301712779973601</c:v>
                </c:pt>
                <c:pt idx="4084">
                  <c:v>0.69302325581395297</c:v>
                </c:pt>
                <c:pt idx="4085">
                  <c:v>0.693029490616622</c:v>
                </c:pt>
                <c:pt idx="4086">
                  <c:v>0.69307976756471201</c:v>
                </c:pt>
                <c:pt idx="4087">
                  <c:v>0.693086003372681</c:v>
                </c:pt>
                <c:pt idx="4088">
                  <c:v>0.693150684931507</c:v>
                </c:pt>
                <c:pt idx="4089">
                  <c:v>0.69321533923303802</c:v>
                </c:pt>
                <c:pt idx="4090">
                  <c:v>0.69323843416370101</c:v>
                </c:pt>
                <c:pt idx="4091">
                  <c:v>0.69325153374233095</c:v>
                </c:pt>
                <c:pt idx="4092">
                  <c:v>0.69327731092436995</c:v>
                </c:pt>
                <c:pt idx="4093">
                  <c:v>0.69330855018587301</c:v>
                </c:pt>
                <c:pt idx="4094">
                  <c:v>0.69337016574585597</c:v>
                </c:pt>
                <c:pt idx="4095">
                  <c:v>0.69337442218798095</c:v>
                </c:pt>
                <c:pt idx="4096">
                  <c:v>0.69339272457312495</c:v>
                </c:pt>
                <c:pt idx="4097">
                  <c:v>0.69341894060995202</c:v>
                </c:pt>
                <c:pt idx="4098">
                  <c:v>0.69349845201238403</c:v>
                </c:pt>
                <c:pt idx="4099">
                  <c:v>0.69350649350649296</c:v>
                </c:pt>
                <c:pt idx="4100">
                  <c:v>0.69354838709677402</c:v>
                </c:pt>
                <c:pt idx="4101">
                  <c:v>0.69354838709677402</c:v>
                </c:pt>
                <c:pt idx="4102">
                  <c:v>0.69358974358974301</c:v>
                </c:pt>
                <c:pt idx="4103">
                  <c:v>0.69360902255639101</c:v>
                </c:pt>
                <c:pt idx="4104">
                  <c:v>0.69366197183098599</c:v>
                </c:pt>
                <c:pt idx="4105">
                  <c:v>0.69374999999999998</c:v>
                </c:pt>
                <c:pt idx="4106">
                  <c:v>0.69376693766937703</c:v>
                </c:pt>
                <c:pt idx="4107">
                  <c:v>0.69377162629757805</c:v>
                </c:pt>
                <c:pt idx="4108">
                  <c:v>0.69379014989293397</c:v>
                </c:pt>
                <c:pt idx="4109">
                  <c:v>0.69382273948075202</c:v>
                </c:pt>
                <c:pt idx="4110">
                  <c:v>0.69382863990413401</c:v>
                </c:pt>
                <c:pt idx="4111">
                  <c:v>0.69387755102040805</c:v>
                </c:pt>
                <c:pt idx="4112">
                  <c:v>0.69387755102040805</c:v>
                </c:pt>
                <c:pt idx="4113">
                  <c:v>0.69387755102040805</c:v>
                </c:pt>
                <c:pt idx="4114">
                  <c:v>0.69393939393939397</c:v>
                </c:pt>
                <c:pt idx="4115">
                  <c:v>0.69401709401709399</c:v>
                </c:pt>
                <c:pt idx="4116">
                  <c:v>0.69407008086253397</c:v>
                </c:pt>
                <c:pt idx="4117">
                  <c:v>0.69411764705882295</c:v>
                </c:pt>
                <c:pt idx="4118">
                  <c:v>0.69419642857142805</c:v>
                </c:pt>
                <c:pt idx="4119">
                  <c:v>0.69420035149384896</c:v>
                </c:pt>
                <c:pt idx="4120">
                  <c:v>0.69421487603305798</c:v>
                </c:pt>
                <c:pt idx="4121">
                  <c:v>0.69422572178477704</c:v>
                </c:pt>
                <c:pt idx="4122">
                  <c:v>0.69425087108013905</c:v>
                </c:pt>
                <c:pt idx="4123">
                  <c:v>0.69426751592356695</c:v>
                </c:pt>
                <c:pt idx="4124">
                  <c:v>0.69431279620853104</c:v>
                </c:pt>
                <c:pt idx="4125">
                  <c:v>0.69444444444444398</c:v>
                </c:pt>
                <c:pt idx="4126">
                  <c:v>0.69444444444444398</c:v>
                </c:pt>
                <c:pt idx="4127">
                  <c:v>0.69444444444444398</c:v>
                </c:pt>
                <c:pt idx="4128">
                  <c:v>0.69449081803004997</c:v>
                </c:pt>
                <c:pt idx="4129">
                  <c:v>0.69454545454545402</c:v>
                </c:pt>
                <c:pt idx="4130">
                  <c:v>0.69458762886597902</c:v>
                </c:pt>
                <c:pt idx="4131">
                  <c:v>0.69465960048919695</c:v>
                </c:pt>
                <c:pt idx="4132">
                  <c:v>0.69471947194719497</c:v>
                </c:pt>
                <c:pt idx="4133">
                  <c:v>0.69473684210526299</c:v>
                </c:pt>
                <c:pt idx="4134">
                  <c:v>0.69481132075471697</c:v>
                </c:pt>
                <c:pt idx="4135">
                  <c:v>0.69482173174872697</c:v>
                </c:pt>
                <c:pt idx="4136">
                  <c:v>0.69483870967741901</c:v>
                </c:pt>
                <c:pt idx="4137">
                  <c:v>0.69487750556792904</c:v>
                </c:pt>
                <c:pt idx="4138">
                  <c:v>0.69509043927648595</c:v>
                </c:pt>
                <c:pt idx="4139">
                  <c:v>0.69512966476913296</c:v>
                </c:pt>
                <c:pt idx="4140">
                  <c:v>0.69514237855946404</c:v>
                </c:pt>
                <c:pt idx="4141">
                  <c:v>0.6953125</c:v>
                </c:pt>
                <c:pt idx="4142">
                  <c:v>0.69540229885057503</c:v>
                </c:pt>
                <c:pt idx="4143">
                  <c:v>0.69546436285097202</c:v>
                </c:pt>
                <c:pt idx="4144">
                  <c:v>0.69565217391304301</c:v>
                </c:pt>
                <c:pt idx="4145">
                  <c:v>0.69565217391304301</c:v>
                </c:pt>
                <c:pt idx="4146">
                  <c:v>0.69565217391304301</c:v>
                </c:pt>
                <c:pt idx="4147">
                  <c:v>0.69572649572649603</c:v>
                </c:pt>
                <c:pt idx="4148">
                  <c:v>0.69581190301249096</c:v>
                </c:pt>
                <c:pt idx="4149">
                  <c:v>0.69584109248913695</c:v>
                </c:pt>
                <c:pt idx="4150">
                  <c:v>0.69585253456221197</c:v>
                </c:pt>
                <c:pt idx="4151">
                  <c:v>0.69587109768378597</c:v>
                </c:pt>
                <c:pt idx="4152">
                  <c:v>0.69592476489028199</c:v>
                </c:pt>
                <c:pt idx="4153">
                  <c:v>0.69594594594594605</c:v>
                </c:pt>
                <c:pt idx="4154">
                  <c:v>0.69599999999999995</c:v>
                </c:pt>
                <c:pt idx="4155">
                  <c:v>0.69602763385146804</c:v>
                </c:pt>
                <c:pt idx="4156">
                  <c:v>0.69603524229074898</c:v>
                </c:pt>
                <c:pt idx="4157">
                  <c:v>0.69604863221884505</c:v>
                </c:pt>
                <c:pt idx="4158">
                  <c:v>0.69614299153339598</c:v>
                </c:pt>
                <c:pt idx="4159">
                  <c:v>0.69616519174041303</c:v>
                </c:pt>
                <c:pt idx="4160">
                  <c:v>0.69620253164557</c:v>
                </c:pt>
                <c:pt idx="4161">
                  <c:v>0.69626168224299101</c:v>
                </c:pt>
                <c:pt idx="4162">
                  <c:v>0.69626168224299101</c:v>
                </c:pt>
                <c:pt idx="4163">
                  <c:v>0.69629629629629597</c:v>
                </c:pt>
                <c:pt idx="4164">
                  <c:v>0.69637462235649505</c:v>
                </c:pt>
                <c:pt idx="4165">
                  <c:v>0.69642857142857095</c:v>
                </c:pt>
                <c:pt idx="4166">
                  <c:v>0.69651741293532299</c:v>
                </c:pt>
                <c:pt idx="4167">
                  <c:v>0.69657364888731899</c:v>
                </c:pt>
                <c:pt idx="4168">
                  <c:v>0.69662921348314599</c:v>
                </c:pt>
                <c:pt idx="4169">
                  <c:v>0.69662921348314599</c:v>
                </c:pt>
                <c:pt idx="4170">
                  <c:v>0.69672678690714795</c:v>
                </c:pt>
                <c:pt idx="4171">
                  <c:v>0.69683481701285799</c:v>
                </c:pt>
                <c:pt idx="4172">
                  <c:v>0.69689737470167101</c:v>
                </c:pt>
                <c:pt idx="4173">
                  <c:v>0.69692058346839503</c:v>
                </c:pt>
                <c:pt idx="4174">
                  <c:v>0.69696969696969702</c:v>
                </c:pt>
                <c:pt idx="4175">
                  <c:v>0.69696969696969702</c:v>
                </c:pt>
                <c:pt idx="4176">
                  <c:v>0.69696969696969702</c:v>
                </c:pt>
                <c:pt idx="4177">
                  <c:v>0.69696969696969702</c:v>
                </c:pt>
                <c:pt idx="4178">
                  <c:v>0.69706498951782003</c:v>
                </c:pt>
                <c:pt idx="4179">
                  <c:v>0.69714285714285695</c:v>
                </c:pt>
                <c:pt idx="4180">
                  <c:v>0.69716599190283401</c:v>
                </c:pt>
                <c:pt idx="4181">
                  <c:v>0.69722557297949295</c:v>
                </c:pt>
                <c:pt idx="4182">
                  <c:v>0.69722814498933905</c:v>
                </c:pt>
                <c:pt idx="4183">
                  <c:v>0.69723018147086901</c:v>
                </c:pt>
                <c:pt idx="4184">
                  <c:v>0.69724770642201805</c:v>
                </c:pt>
                <c:pt idx="4185">
                  <c:v>0.69727891156462596</c:v>
                </c:pt>
                <c:pt idx="4186">
                  <c:v>0.69734151329243299</c:v>
                </c:pt>
                <c:pt idx="4187">
                  <c:v>0.69736842105263097</c:v>
                </c:pt>
                <c:pt idx="4188">
                  <c:v>0.69738562091503298</c:v>
                </c:pt>
                <c:pt idx="4189">
                  <c:v>0.69742198100407005</c:v>
                </c:pt>
                <c:pt idx="4190">
                  <c:v>0.69745222929936301</c:v>
                </c:pt>
                <c:pt idx="4191">
                  <c:v>0.69745454545454499</c:v>
                </c:pt>
                <c:pt idx="4192">
                  <c:v>0.69747899159663895</c:v>
                </c:pt>
                <c:pt idx="4193">
                  <c:v>0.69756097560975605</c:v>
                </c:pt>
                <c:pt idx="4194">
                  <c:v>0.69761029411764697</c:v>
                </c:pt>
                <c:pt idx="4195">
                  <c:v>0.69768786127167604</c:v>
                </c:pt>
                <c:pt idx="4196">
                  <c:v>0.69769503546099298</c:v>
                </c:pt>
                <c:pt idx="4197">
                  <c:v>0.69772727272727297</c:v>
                </c:pt>
                <c:pt idx="4198">
                  <c:v>0.69774288518155003</c:v>
                </c:pt>
                <c:pt idx="4199">
                  <c:v>0.69780219780219799</c:v>
                </c:pt>
                <c:pt idx="4200">
                  <c:v>0.69780219780219799</c:v>
                </c:pt>
                <c:pt idx="4201">
                  <c:v>0.69784172661870503</c:v>
                </c:pt>
                <c:pt idx="4202">
                  <c:v>0.69791666666666696</c:v>
                </c:pt>
                <c:pt idx="4203">
                  <c:v>0.69796170475602204</c:v>
                </c:pt>
                <c:pt idx="4204">
                  <c:v>0.69797859690844199</c:v>
                </c:pt>
                <c:pt idx="4205">
                  <c:v>0.69798657718120805</c:v>
                </c:pt>
                <c:pt idx="4206">
                  <c:v>0.69805194805194803</c:v>
                </c:pt>
                <c:pt idx="4207">
                  <c:v>0.698074974670719</c:v>
                </c:pt>
                <c:pt idx="4208">
                  <c:v>0.698083067092652</c:v>
                </c:pt>
                <c:pt idx="4209">
                  <c:v>0.69811320754716999</c:v>
                </c:pt>
                <c:pt idx="4210">
                  <c:v>0.69822485207100604</c:v>
                </c:pt>
                <c:pt idx="4211">
                  <c:v>0.69825436408977504</c:v>
                </c:pt>
                <c:pt idx="4212">
                  <c:v>0.69826224328594</c:v>
                </c:pt>
                <c:pt idx="4213">
                  <c:v>0.69834087481146301</c:v>
                </c:pt>
                <c:pt idx="4214">
                  <c:v>0.698375870069605</c:v>
                </c:pt>
                <c:pt idx="4215">
                  <c:v>0.69838056680161897</c:v>
                </c:pt>
                <c:pt idx="4216">
                  <c:v>0.69838709677419297</c:v>
                </c:pt>
                <c:pt idx="4217">
                  <c:v>0.69847328244274798</c:v>
                </c:pt>
                <c:pt idx="4218">
                  <c:v>0.69847715736040605</c:v>
                </c:pt>
                <c:pt idx="4219">
                  <c:v>0.69860064585575898</c:v>
                </c:pt>
                <c:pt idx="4220">
                  <c:v>0.69863013698630105</c:v>
                </c:pt>
                <c:pt idx="4221">
                  <c:v>0.69868995633187803</c:v>
                </c:pt>
                <c:pt idx="4222">
                  <c:v>0.69871794871794901</c:v>
                </c:pt>
                <c:pt idx="4223">
                  <c:v>0.69874476987447698</c:v>
                </c:pt>
                <c:pt idx="4224">
                  <c:v>0.69875424688561705</c:v>
                </c:pt>
                <c:pt idx="4225">
                  <c:v>0.69877049180327899</c:v>
                </c:pt>
                <c:pt idx="4226">
                  <c:v>0.69885433715220902</c:v>
                </c:pt>
                <c:pt idx="4227">
                  <c:v>0.69894099848714097</c:v>
                </c:pt>
                <c:pt idx="4228">
                  <c:v>0.698972099853157</c:v>
                </c:pt>
                <c:pt idx="4229">
                  <c:v>0.69917355371900802</c:v>
                </c:pt>
                <c:pt idx="4230">
                  <c:v>0.69922879177377895</c:v>
                </c:pt>
                <c:pt idx="4231">
                  <c:v>0.69929078014184398</c:v>
                </c:pt>
                <c:pt idx="4232">
                  <c:v>0.69931034482758603</c:v>
                </c:pt>
                <c:pt idx="4233">
                  <c:v>0.69942748091603002</c:v>
                </c:pt>
                <c:pt idx="4234">
                  <c:v>0.699438202247191</c:v>
                </c:pt>
                <c:pt idx="4235">
                  <c:v>0.69944341372912799</c:v>
                </c:pt>
                <c:pt idx="4236">
                  <c:v>0.69944751381215498</c:v>
                </c:pt>
                <c:pt idx="4237">
                  <c:v>0.69948186528497402</c:v>
                </c:pt>
                <c:pt idx="4238">
                  <c:v>0.69950248756218902</c:v>
                </c:pt>
                <c:pt idx="4239">
                  <c:v>0.69953775038520805</c:v>
                </c:pt>
                <c:pt idx="4240">
                  <c:v>0.69958847736625496</c:v>
                </c:pt>
                <c:pt idx="4241">
                  <c:v>0.69964664310953995</c:v>
                </c:pt>
                <c:pt idx="4242">
                  <c:v>0.69968051118210794</c:v>
                </c:pt>
                <c:pt idx="4243">
                  <c:v>0.69969040247678005</c:v>
                </c:pt>
                <c:pt idx="4244">
                  <c:v>0.69977426636568796</c:v>
                </c:pt>
                <c:pt idx="4245">
                  <c:v>0.69983948635633997</c:v>
                </c:pt>
                <c:pt idx="4246">
                  <c:v>0.69991617770326897</c:v>
                </c:pt>
                <c:pt idx="4247">
                  <c:v>0.7</c:v>
                </c:pt>
                <c:pt idx="4248">
                  <c:v>0.7</c:v>
                </c:pt>
                <c:pt idx="4249">
                  <c:v>0.7</c:v>
                </c:pt>
                <c:pt idx="4250">
                  <c:v>0.7</c:v>
                </c:pt>
                <c:pt idx="4251">
                  <c:v>0.7</c:v>
                </c:pt>
                <c:pt idx="4252">
                  <c:v>0.7</c:v>
                </c:pt>
                <c:pt idx="4253">
                  <c:v>0.7</c:v>
                </c:pt>
                <c:pt idx="4254">
                  <c:v>0.7</c:v>
                </c:pt>
                <c:pt idx="4255">
                  <c:v>0.70025188916876602</c:v>
                </c:pt>
                <c:pt idx="4256">
                  <c:v>0.70037453183520604</c:v>
                </c:pt>
                <c:pt idx="4257">
                  <c:v>0.70040485829959498</c:v>
                </c:pt>
                <c:pt idx="4258">
                  <c:v>0.70042796005706098</c:v>
                </c:pt>
                <c:pt idx="4259">
                  <c:v>0.70046082949308697</c:v>
                </c:pt>
                <c:pt idx="4260">
                  <c:v>0.70048309178743995</c:v>
                </c:pt>
                <c:pt idx="4261">
                  <c:v>0.70052083333333304</c:v>
                </c:pt>
                <c:pt idx="4262">
                  <c:v>0.70056497175141197</c:v>
                </c:pt>
                <c:pt idx="4263">
                  <c:v>0.70059215396003005</c:v>
                </c:pt>
                <c:pt idx="4264">
                  <c:v>0.70063694267515897</c:v>
                </c:pt>
                <c:pt idx="4265">
                  <c:v>0.70063694267515897</c:v>
                </c:pt>
                <c:pt idx="4266">
                  <c:v>0.70068965517241399</c:v>
                </c:pt>
                <c:pt idx="4267">
                  <c:v>0.70075757575757602</c:v>
                </c:pt>
                <c:pt idx="4268">
                  <c:v>0.70081967213114704</c:v>
                </c:pt>
                <c:pt idx="4269">
                  <c:v>0.70081967213114704</c:v>
                </c:pt>
                <c:pt idx="4270">
                  <c:v>0.700831024930748</c:v>
                </c:pt>
                <c:pt idx="4271">
                  <c:v>0.70087336244541498</c:v>
                </c:pt>
                <c:pt idx="4272">
                  <c:v>0.70087976539589403</c:v>
                </c:pt>
                <c:pt idx="4273">
                  <c:v>0.700953961012028</c:v>
                </c:pt>
                <c:pt idx="4274">
                  <c:v>0.70098039215686303</c:v>
                </c:pt>
                <c:pt idx="4275">
                  <c:v>0.70103092783505105</c:v>
                </c:pt>
                <c:pt idx="4276">
                  <c:v>0.70109066121336105</c:v>
                </c:pt>
                <c:pt idx="4277">
                  <c:v>0.70114942528735602</c:v>
                </c:pt>
                <c:pt idx="4278">
                  <c:v>0.70117647058823496</c:v>
                </c:pt>
                <c:pt idx="4279">
                  <c:v>0.70118845500848903</c:v>
                </c:pt>
                <c:pt idx="4280">
                  <c:v>0.70121951219512202</c:v>
                </c:pt>
                <c:pt idx="4281">
                  <c:v>0.70121951219512202</c:v>
                </c:pt>
                <c:pt idx="4282">
                  <c:v>0.70129870129870098</c:v>
                </c:pt>
                <c:pt idx="4283">
                  <c:v>0.70133333333333303</c:v>
                </c:pt>
                <c:pt idx="4284">
                  <c:v>0.70140280561122204</c:v>
                </c:pt>
                <c:pt idx="4285">
                  <c:v>0.70140965399402</c:v>
                </c:pt>
                <c:pt idx="4286">
                  <c:v>0.70149253731343297</c:v>
                </c:pt>
                <c:pt idx="4287">
                  <c:v>0.70155038759689903</c:v>
                </c:pt>
                <c:pt idx="4288">
                  <c:v>0.70158730158730098</c:v>
                </c:pt>
                <c:pt idx="4289">
                  <c:v>0.70164609053497895</c:v>
                </c:pt>
                <c:pt idx="4290">
                  <c:v>0.70166666666666699</c:v>
                </c:pt>
                <c:pt idx="4291">
                  <c:v>0.70173833485818804</c:v>
                </c:pt>
                <c:pt idx="4292">
                  <c:v>0.70175438596491202</c:v>
                </c:pt>
                <c:pt idx="4293">
                  <c:v>0.70186335403726696</c:v>
                </c:pt>
                <c:pt idx="4294">
                  <c:v>0.70189431704885297</c:v>
                </c:pt>
                <c:pt idx="4295">
                  <c:v>0.70192307692307698</c:v>
                </c:pt>
                <c:pt idx="4296">
                  <c:v>0.70193740685544004</c:v>
                </c:pt>
                <c:pt idx="4297">
                  <c:v>0.70205479452054798</c:v>
                </c:pt>
                <c:pt idx="4298">
                  <c:v>0.702247191011236</c:v>
                </c:pt>
                <c:pt idx="4299">
                  <c:v>0.702380952380952</c:v>
                </c:pt>
                <c:pt idx="4300">
                  <c:v>0.70241286863270802</c:v>
                </c:pt>
                <c:pt idx="4301">
                  <c:v>0.70246085011185699</c:v>
                </c:pt>
                <c:pt idx="4302">
                  <c:v>0.70253164556962</c:v>
                </c:pt>
                <c:pt idx="4303">
                  <c:v>0.70254110612855003</c:v>
                </c:pt>
                <c:pt idx="4304">
                  <c:v>0.70256410256410196</c:v>
                </c:pt>
                <c:pt idx="4305">
                  <c:v>0.702572347266881</c:v>
                </c:pt>
                <c:pt idx="4306">
                  <c:v>0.70260223048327097</c:v>
                </c:pt>
                <c:pt idx="4307">
                  <c:v>0.70264765784114103</c:v>
                </c:pt>
                <c:pt idx="4308">
                  <c:v>0.70270270270270296</c:v>
                </c:pt>
                <c:pt idx="4309">
                  <c:v>0.70270270270270296</c:v>
                </c:pt>
                <c:pt idx="4310">
                  <c:v>0.70281124497991998</c:v>
                </c:pt>
                <c:pt idx="4311">
                  <c:v>0.70287958115183202</c:v>
                </c:pt>
                <c:pt idx="4312">
                  <c:v>0.70289855072463803</c:v>
                </c:pt>
                <c:pt idx="4313">
                  <c:v>0.70297029702970304</c:v>
                </c:pt>
                <c:pt idx="4314">
                  <c:v>0.70300751879699197</c:v>
                </c:pt>
                <c:pt idx="4315">
                  <c:v>0.703125</c:v>
                </c:pt>
                <c:pt idx="4316">
                  <c:v>0.703125</c:v>
                </c:pt>
                <c:pt idx="4317">
                  <c:v>0.703125</c:v>
                </c:pt>
                <c:pt idx="4318">
                  <c:v>0.70315789473684198</c:v>
                </c:pt>
                <c:pt idx="4319">
                  <c:v>0.70320855614973299</c:v>
                </c:pt>
                <c:pt idx="4320">
                  <c:v>0.70322580645161303</c:v>
                </c:pt>
                <c:pt idx="4321">
                  <c:v>0.70329670329670302</c:v>
                </c:pt>
                <c:pt idx="4322">
                  <c:v>0.70329670329670302</c:v>
                </c:pt>
                <c:pt idx="4323">
                  <c:v>0.70329670329670302</c:v>
                </c:pt>
                <c:pt idx="4324">
                  <c:v>0.70336787564766801</c:v>
                </c:pt>
                <c:pt idx="4325">
                  <c:v>0.70353982300884899</c:v>
                </c:pt>
                <c:pt idx="4326">
                  <c:v>0.70357142857142896</c:v>
                </c:pt>
                <c:pt idx="4327">
                  <c:v>0.70370370370370405</c:v>
                </c:pt>
                <c:pt idx="4328">
                  <c:v>0.70370370370370405</c:v>
                </c:pt>
                <c:pt idx="4329">
                  <c:v>0.70370370370370405</c:v>
                </c:pt>
                <c:pt idx="4330">
                  <c:v>0.70378151260504196</c:v>
                </c:pt>
                <c:pt idx="4331">
                  <c:v>0.70380434782608703</c:v>
                </c:pt>
                <c:pt idx="4332">
                  <c:v>0.70380434782608703</c:v>
                </c:pt>
                <c:pt idx="4333">
                  <c:v>0.70381231671554201</c:v>
                </c:pt>
                <c:pt idx="4334">
                  <c:v>0.70383275261323996</c:v>
                </c:pt>
                <c:pt idx="4335">
                  <c:v>0.70385126162018596</c:v>
                </c:pt>
                <c:pt idx="4336">
                  <c:v>0.70387243735763105</c:v>
                </c:pt>
                <c:pt idx="4337">
                  <c:v>0.70391061452514003</c:v>
                </c:pt>
                <c:pt idx="4338">
                  <c:v>0.70392749244713004</c:v>
                </c:pt>
                <c:pt idx="4339">
                  <c:v>0.70396600566572198</c:v>
                </c:pt>
                <c:pt idx="4340">
                  <c:v>0.70408163265306101</c:v>
                </c:pt>
                <c:pt idx="4341">
                  <c:v>0.70408163265306101</c:v>
                </c:pt>
                <c:pt idx="4342">
                  <c:v>0.70410367170626298</c:v>
                </c:pt>
                <c:pt idx="4343">
                  <c:v>0.70414201183432001</c:v>
                </c:pt>
                <c:pt idx="4344">
                  <c:v>0.70418006430868196</c:v>
                </c:pt>
                <c:pt idx="4345">
                  <c:v>0.70422535211267601</c:v>
                </c:pt>
                <c:pt idx="4346">
                  <c:v>0.70425321463897095</c:v>
                </c:pt>
                <c:pt idx="4347">
                  <c:v>0.70428893905191903</c:v>
                </c:pt>
                <c:pt idx="4348">
                  <c:v>0.70438799076212499</c:v>
                </c:pt>
                <c:pt idx="4349">
                  <c:v>0.70440251572326995</c:v>
                </c:pt>
                <c:pt idx="4350">
                  <c:v>0.70443349753694595</c:v>
                </c:pt>
                <c:pt idx="4351">
                  <c:v>0.70450097847358095</c:v>
                </c:pt>
                <c:pt idx="4352">
                  <c:v>0.70454545454545503</c:v>
                </c:pt>
                <c:pt idx="4353">
                  <c:v>0.70454545454545503</c:v>
                </c:pt>
                <c:pt idx="4354">
                  <c:v>0.70454545454545503</c:v>
                </c:pt>
                <c:pt idx="4355">
                  <c:v>0.70454545454545503</c:v>
                </c:pt>
                <c:pt idx="4356">
                  <c:v>0.70464135021096996</c:v>
                </c:pt>
                <c:pt idx="4357">
                  <c:v>0.70474137931034497</c:v>
                </c:pt>
                <c:pt idx="4358">
                  <c:v>0.70479704797048004</c:v>
                </c:pt>
                <c:pt idx="4359">
                  <c:v>0.70497630331753602</c:v>
                </c:pt>
                <c:pt idx="4360">
                  <c:v>0.70509977827050996</c:v>
                </c:pt>
                <c:pt idx="4361">
                  <c:v>0.70512820512820495</c:v>
                </c:pt>
                <c:pt idx="4362">
                  <c:v>0.70512820512820495</c:v>
                </c:pt>
                <c:pt idx="4363">
                  <c:v>0.70524017467248901</c:v>
                </c:pt>
                <c:pt idx="4364">
                  <c:v>0.70524691358024705</c:v>
                </c:pt>
                <c:pt idx="4365">
                  <c:v>0.70526315789473704</c:v>
                </c:pt>
                <c:pt idx="4366">
                  <c:v>0.70529595015576296</c:v>
                </c:pt>
                <c:pt idx="4367">
                  <c:v>0.70532915360501602</c:v>
                </c:pt>
                <c:pt idx="4368">
                  <c:v>0.70532915360501602</c:v>
                </c:pt>
                <c:pt idx="4369">
                  <c:v>0.70539419087136901</c:v>
                </c:pt>
                <c:pt idx="4370">
                  <c:v>0.70542635658914699</c:v>
                </c:pt>
                <c:pt idx="4371">
                  <c:v>0.70547945205479401</c:v>
                </c:pt>
                <c:pt idx="4372">
                  <c:v>0.70547945205479401</c:v>
                </c:pt>
                <c:pt idx="4373">
                  <c:v>0.70549738219895297</c:v>
                </c:pt>
                <c:pt idx="4374">
                  <c:v>0.70552147239263796</c:v>
                </c:pt>
                <c:pt idx="4375">
                  <c:v>0.70560747663551404</c:v>
                </c:pt>
                <c:pt idx="4376">
                  <c:v>0.70573566084787998</c:v>
                </c:pt>
                <c:pt idx="4377">
                  <c:v>0.70575221238938102</c:v>
                </c:pt>
                <c:pt idx="4378">
                  <c:v>0.70588235294117596</c:v>
                </c:pt>
                <c:pt idx="4379">
                  <c:v>0.70588235294117596</c:v>
                </c:pt>
                <c:pt idx="4380">
                  <c:v>0.70588235294117596</c:v>
                </c:pt>
                <c:pt idx="4381">
                  <c:v>0.70588235294117596</c:v>
                </c:pt>
                <c:pt idx="4382">
                  <c:v>0.70609318996415804</c:v>
                </c:pt>
                <c:pt idx="4383">
                  <c:v>0.70610687022900798</c:v>
                </c:pt>
                <c:pt idx="4384">
                  <c:v>0.70610687022900798</c:v>
                </c:pt>
                <c:pt idx="4385">
                  <c:v>0.70612244897959198</c:v>
                </c:pt>
                <c:pt idx="4386">
                  <c:v>0.70617149098853105</c:v>
                </c:pt>
                <c:pt idx="4387">
                  <c:v>0.70621468926553699</c:v>
                </c:pt>
                <c:pt idx="4388">
                  <c:v>0.70622059592263497</c:v>
                </c:pt>
                <c:pt idx="4389">
                  <c:v>0.70622796709753199</c:v>
                </c:pt>
                <c:pt idx="4390">
                  <c:v>0.70624571036376105</c:v>
                </c:pt>
                <c:pt idx="4391">
                  <c:v>0.70625000000000004</c:v>
                </c:pt>
                <c:pt idx="4392">
                  <c:v>0.70628768303186895</c:v>
                </c:pt>
                <c:pt idx="4393">
                  <c:v>0.70642201834862395</c:v>
                </c:pt>
                <c:pt idx="4394">
                  <c:v>0.70652173913043503</c:v>
                </c:pt>
                <c:pt idx="4395">
                  <c:v>0.70652173913043503</c:v>
                </c:pt>
                <c:pt idx="4396">
                  <c:v>0.70656370656370704</c:v>
                </c:pt>
                <c:pt idx="4397">
                  <c:v>0.70658682634730496</c:v>
                </c:pt>
                <c:pt idx="4398">
                  <c:v>0.70658682634730496</c:v>
                </c:pt>
                <c:pt idx="4399">
                  <c:v>0.70658682634730496</c:v>
                </c:pt>
                <c:pt idx="4400">
                  <c:v>0.70663811563169199</c:v>
                </c:pt>
                <c:pt idx="4401">
                  <c:v>0.706666666666667</c:v>
                </c:pt>
                <c:pt idx="4402">
                  <c:v>0.70670391061452498</c:v>
                </c:pt>
                <c:pt idx="4403">
                  <c:v>0.70675105485232104</c:v>
                </c:pt>
                <c:pt idx="4404">
                  <c:v>0.706779661016949</c:v>
                </c:pt>
                <c:pt idx="4405">
                  <c:v>0.706806282722513</c:v>
                </c:pt>
                <c:pt idx="4406">
                  <c:v>0.706806282722513</c:v>
                </c:pt>
                <c:pt idx="4407">
                  <c:v>0.70682730923694803</c:v>
                </c:pt>
                <c:pt idx="4408">
                  <c:v>0.70689655172413801</c:v>
                </c:pt>
                <c:pt idx="4409">
                  <c:v>0.70689655172413801</c:v>
                </c:pt>
                <c:pt idx="4410">
                  <c:v>0.70692717584369402</c:v>
                </c:pt>
                <c:pt idx="4411">
                  <c:v>0.70700636942675099</c:v>
                </c:pt>
                <c:pt idx="4412">
                  <c:v>0.70702702702702702</c:v>
                </c:pt>
                <c:pt idx="4413">
                  <c:v>0.70712401055409002</c:v>
                </c:pt>
                <c:pt idx="4414">
                  <c:v>0.70717131474103601</c:v>
                </c:pt>
                <c:pt idx="4415">
                  <c:v>0.70718232044198903</c:v>
                </c:pt>
                <c:pt idx="4416">
                  <c:v>0.70718232044198903</c:v>
                </c:pt>
                <c:pt idx="4417">
                  <c:v>0.70727432077125296</c:v>
                </c:pt>
                <c:pt idx="4418">
                  <c:v>0.707317073170732</c:v>
                </c:pt>
                <c:pt idx="4419">
                  <c:v>0.707317073170732</c:v>
                </c:pt>
                <c:pt idx="4420">
                  <c:v>0.707317073170732</c:v>
                </c:pt>
                <c:pt idx="4421">
                  <c:v>0.707317073170732</c:v>
                </c:pt>
                <c:pt idx="4422">
                  <c:v>0.707317073170732</c:v>
                </c:pt>
                <c:pt idx="4423">
                  <c:v>0.70740305522914204</c:v>
                </c:pt>
                <c:pt idx="4424">
                  <c:v>0.70747217806041296</c:v>
                </c:pt>
                <c:pt idx="4425">
                  <c:v>0.70749395648670399</c:v>
                </c:pt>
                <c:pt idx="4426">
                  <c:v>0.70754716981132104</c:v>
                </c:pt>
                <c:pt idx="4427">
                  <c:v>0.70757180156657995</c:v>
                </c:pt>
                <c:pt idx="4428">
                  <c:v>0.70758122743682295</c:v>
                </c:pt>
                <c:pt idx="4429">
                  <c:v>0.70779220779220797</c:v>
                </c:pt>
                <c:pt idx="4430">
                  <c:v>0.70802919708029199</c:v>
                </c:pt>
                <c:pt idx="4431">
                  <c:v>0.70804059328649505</c:v>
                </c:pt>
                <c:pt idx="4432">
                  <c:v>0.70809792843691099</c:v>
                </c:pt>
                <c:pt idx="4433">
                  <c:v>0.70814814814814797</c:v>
                </c:pt>
                <c:pt idx="4434">
                  <c:v>0.70822622107969102</c:v>
                </c:pt>
                <c:pt idx="4435">
                  <c:v>0.70826010544815499</c:v>
                </c:pt>
                <c:pt idx="4436">
                  <c:v>0.70827679782903696</c:v>
                </c:pt>
                <c:pt idx="4437">
                  <c:v>0.708296557811121</c:v>
                </c:pt>
                <c:pt idx="4438">
                  <c:v>0.70833333333333304</c:v>
                </c:pt>
                <c:pt idx="4439">
                  <c:v>0.70836653386454196</c:v>
                </c:pt>
                <c:pt idx="4440">
                  <c:v>0.70839064649243499</c:v>
                </c:pt>
                <c:pt idx="4441">
                  <c:v>0.708554857419043</c:v>
                </c:pt>
                <c:pt idx="4442">
                  <c:v>0.70859337493998997</c:v>
                </c:pt>
                <c:pt idx="4443">
                  <c:v>0.70866141732283505</c:v>
                </c:pt>
                <c:pt idx="4444">
                  <c:v>0.70866141732283505</c:v>
                </c:pt>
                <c:pt idx="4445">
                  <c:v>0.70873786407767003</c:v>
                </c:pt>
                <c:pt idx="4446">
                  <c:v>0.708860759493671</c:v>
                </c:pt>
                <c:pt idx="4447">
                  <c:v>0.708860759493671</c:v>
                </c:pt>
                <c:pt idx="4448">
                  <c:v>0.70889894419306199</c:v>
                </c:pt>
                <c:pt idx="4449">
                  <c:v>0.70890410958904104</c:v>
                </c:pt>
                <c:pt idx="4450">
                  <c:v>0.70897832817337503</c:v>
                </c:pt>
                <c:pt idx="4451">
                  <c:v>0.70901639344262302</c:v>
                </c:pt>
                <c:pt idx="4452">
                  <c:v>0.70903954802259905</c:v>
                </c:pt>
                <c:pt idx="4453">
                  <c:v>0.70905923344947697</c:v>
                </c:pt>
                <c:pt idx="4454">
                  <c:v>0.70909090909090899</c:v>
                </c:pt>
                <c:pt idx="4455">
                  <c:v>0.70909090909090899</c:v>
                </c:pt>
                <c:pt idx="4456">
                  <c:v>0.70909090909090899</c:v>
                </c:pt>
                <c:pt idx="4457">
                  <c:v>0.70909090909090899</c:v>
                </c:pt>
                <c:pt idx="4458">
                  <c:v>0.70918367346938804</c:v>
                </c:pt>
                <c:pt idx="4459">
                  <c:v>0.70918367346938804</c:v>
                </c:pt>
                <c:pt idx="4460">
                  <c:v>0.70919881305638</c:v>
                </c:pt>
                <c:pt idx="4461">
                  <c:v>0.70930232558139505</c:v>
                </c:pt>
                <c:pt idx="4462">
                  <c:v>0.70930232558139505</c:v>
                </c:pt>
                <c:pt idx="4463">
                  <c:v>0.70932754880694104</c:v>
                </c:pt>
                <c:pt idx="4464">
                  <c:v>0.70935960591132996</c:v>
                </c:pt>
                <c:pt idx="4465">
                  <c:v>0.70937499999999998</c:v>
                </c:pt>
                <c:pt idx="4466">
                  <c:v>0.70940170940170899</c:v>
                </c:pt>
                <c:pt idx="4467">
                  <c:v>0.70943396226415101</c:v>
                </c:pt>
                <c:pt idx="4468">
                  <c:v>0.70945945945945899</c:v>
                </c:pt>
                <c:pt idx="4469">
                  <c:v>0.709523809523809</c:v>
                </c:pt>
                <c:pt idx="4470">
                  <c:v>0.70960698689956303</c:v>
                </c:pt>
                <c:pt idx="4471">
                  <c:v>0.70962962962963005</c:v>
                </c:pt>
                <c:pt idx="4472">
                  <c:v>0.70967741935483897</c:v>
                </c:pt>
                <c:pt idx="4473">
                  <c:v>0.70967741935483897</c:v>
                </c:pt>
                <c:pt idx="4474">
                  <c:v>0.70967741935483897</c:v>
                </c:pt>
                <c:pt idx="4475">
                  <c:v>0.70975056689342397</c:v>
                </c:pt>
                <c:pt idx="4476">
                  <c:v>0.70975918884664102</c:v>
                </c:pt>
                <c:pt idx="4477">
                  <c:v>0.70990990990990999</c:v>
                </c:pt>
                <c:pt idx="4478">
                  <c:v>0.70992366412213703</c:v>
                </c:pt>
                <c:pt idx="4479">
                  <c:v>0.70993117010816098</c:v>
                </c:pt>
                <c:pt idx="4480">
                  <c:v>0.71</c:v>
                </c:pt>
                <c:pt idx="4481">
                  <c:v>0.71002132196162004</c:v>
                </c:pt>
                <c:pt idx="4482">
                  <c:v>0.71003717472118899</c:v>
                </c:pt>
                <c:pt idx="4483">
                  <c:v>0.71005917159763299</c:v>
                </c:pt>
                <c:pt idx="4484">
                  <c:v>0.71006711409395995</c:v>
                </c:pt>
                <c:pt idx="4485">
                  <c:v>0.71007751937984498</c:v>
                </c:pt>
                <c:pt idx="4486">
                  <c:v>0.71008403361344496</c:v>
                </c:pt>
                <c:pt idx="4487">
                  <c:v>0.71009174311926604</c:v>
                </c:pt>
                <c:pt idx="4488">
                  <c:v>0.71016691957511402</c:v>
                </c:pt>
                <c:pt idx="4489">
                  <c:v>0.71019108280254795</c:v>
                </c:pt>
                <c:pt idx="4490">
                  <c:v>0.71020408163265303</c:v>
                </c:pt>
                <c:pt idx="4491">
                  <c:v>0.71026490066225201</c:v>
                </c:pt>
                <c:pt idx="4492">
                  <c:v>0.71038251366120198</c:v>
                </c:pt>
                <c:pt idx="4493">
                  <c:v>0.71047794117647001</c:v>
                </c:pt>
                <c:pt idx="4494">
                  <c:v>0.71052631578947401</c:v>
                </c:pt>
                <c:pt idx="4495">
                  <c:v>0.71052631578947401</c:v>
                </c:pt>
                <c:pt idx="4496">
                  <c:v>0.71052631578947401</c:v>
                </c:pt>
                <c:pt idx="4497">
                  <c:v>0.71052631578947401</c:v>
                </c:pt>
                <c:pt idx="4498">
                  <c:v>0.71055276381909505</c:v>
                </c:pt>
                <c:pt idx="4499">
                  <c:v>0.71069182389937102</c:v>
                </c:pt>
                <c:pt idx="4500">
                  <c:v>0.71071953010278999</c:v>
                </c:pt>
                <c:pt idx="4501">
                  <c:v>0.71074380165289197</c:v>
                </c:pt>
                <c:pt idx="4502">
                  <c:v>0.71079136690647504</c:v>
                </c:pt>
                <c:pt idx="4503">
                  <c:v>0.71079192546583803</c:v>
                </c:pt>
                <c:pt idx="4504">
                  <c:v>0.71084337349397597</c:v>
                </c:pt>
                <c:pt idx="4505">
                  <c:v>0.71084337349397597</c:v>
                </c:pt>
                <c:pt idx="4506">
                  <c:v>0.71084337349397597</c:v>
                </c:pt>
                <c:pt idx="4507">
                  <c:v>0.71091445427728595</c:v>
                </c:pt>
                <c:pt idx="4508">
                  <c:v>0.7109375</c:v>
                </c:pt>
                <c:pt idx="4509">
                  <c:v>0.71096023278370502</c:v>
                </c:pt>
                <c:pt idx="4510">
                  <c:v>0.71096345514950199</c:v>
                </c:pt>
                <c:pt idx="4511">
                  <c:v>0.71107266435986205</c:v>
                </c:pt>
                <c:pt idx="4512">
                  <c:v>0.71111111111111103</c:v>
                </c:pt>
                <c:pt idx="4513">
                  <c:v>0.71111111111111103</c:v>
                </c:pt>
                <c:pt idx="4514">
                  <c:v>0.71111111111111103</c:v>
                </c:pt>
                <c:pt idx="4515">
                  <c:v>0.71112440191387605</c:v>
                </c:pt>
                <c:pt idx="4516">
                  <c:v>0.71120689655172398</c:v>
                </c:pt>
                <c:pt idx="4517">
                  <c:v>0.71122994652406402</c:v>
                </c:pt>
                <c:pt idx="4518">
                  <c:v>0.71128107074569802</c:v>
                </c:pt>
                <c:pt idx="4519">
                  <c:v>0.71128608923884495</c:v>
                </c:pt>
                <c:pt idx="4520">
                  <c:v>0.71128608923884495</c:v>
                </c:pt>
                <c:pt idx="4521">
                  <c:v>0.71134020618556704</c:v>
                </c:pt>
                <c:pt idx="4522">
                  <c:v>0.71134020618556704</c:v>
                </c:pt>
                <c:pt idx="4523">
                  <c:v>0.71137026239067103</c:v>
                </c:pt>
                <c:pt idx="4524">
                  <c:v>0.711409395973154</c:v>
                </c:pt>
                <c:pt idx="4525">
                  <c:v>0.711433756805808</c:v>
                </c:pt>
                <c:pt idx="4526">
                  <c:v>0.71146245059288504</c:v>
                </c:pt>
                <c:pt idx="4527">
                  <c:v>0.71148184494602495</c:v>
                </c:pt>
                <c:pt idx="4528">
                  <c:v>0.71149674620390502</c:v>
                </c:pt>
                <c:pt idx="4529">
                  <c:v>0.71150442477876097</c:v>
                </c:pt>
                <c:pt idx="4530">
                  <c:v>0.71153846153846101</c:v>
                </c:pt>
                <c:pt idx="4531">
                  <c:v>0.71161825726141104</c:v>
                </c:pt>
                <c:pt idx="4532">
                  <c:v>0.71165644171779097</c:v>
                </c:pt>
                <c:pt idx="4533">
                  <c:v>0.71168437025796705</c:v>
                </c:pt>
                <c:pt idx="4534">
                  <c:v>0.71169686985172997</c:v>
                </c:pt>
                <c:pt idx="4535">
                  <c:v>0.71172962226640202</c:v>
                </c:pt>
                <c:pt idx="4536">
                  <c:v>0.71177944862155396</c:v>
                </c:pt>
                <c:pt idx="4537">
                  <c:v>0.711832061068702</c:v>
                </c:pt>
                <c:pt idx="4538">
                  <c:v>0.71186440677966101</c:v>
                </c:pt>
                <c:pt idx="4539">
                  <c:v>0.71186440677966101</c:v>
                </c:pt>
                <c:pt idx="4540">
                  <c:v>0.71188340807174899</c:v>
                </c:pt>
                <c:pt idx="4541">
                  <c:v>0.71188576228475398</c:v>
                </c:pt>
                <c:pt idx="4542">
                  <c:v>0.71189591078066905</c:v>
                </c:pt>
                <c:pt idx="4543">
                  <c:v>0.71195297191378204</c:v>
                </c:pt>
                <c:pt idx="4544">
                  <c:v>0.71195652173913004</c:v>
                </c:pt>
                <c:pt idx="4545">
                  <c:v>0.71205357142857095</c:v>
                </c:pt>
                <c:pt idx="4546">
                  <c:v>0.71219187208527601</c:v>
                </c:pt>
                <c:pt idx="4547">
                  <c:v>0.712212817412334</c:v>
                </c:pt>
                <c:pt idx="4548">
                  <c:v>0.71230342275670699</c:v>
                </c:pt>
                <c:pt idx="4549">
                  <c:v>0.71232876712328796</c:v>
                </c:pt>
                <c:pt idx="4550">
                  <c:v>0.712643678160919</c:v>
                </c:pt>
                <c:pt idx="4551">
                  <c:v>0.71270036991368702</c:v>
                </c:pt>
                <c:pt idx="4552">
                  <c:v>0.71270718232044195</c:v>
                </c:pt>
                <c:pt idx="4553">
                  <c:v>0.71273122959738799</c:v>
                </c:pt>
                <c:pt idx="4554">
                  <c:v>0.71276595744680804</c:v>
                </c:pt>
                <c:pt idx="4555">
                  <c:v>0.71276595744680804</c:v>
                </c:pt>
                <c:pt idx="4556">
                  <c:v>0.712830957230142</c:v>
                </c:pt>
                <c:pt idx="4557">
                  <c:v>0.71290322580645205</c:v>
                </c:pt>
                <c:pt idx="4558">
                  <c:v>0.71293103448275896</c:v>
                </c:pt>
                <c:pt idx="4559">
                  <c:v>0.71293375394321801</c:v>
                </c:pt>
                <c:pt idx="4560">
                  <c:v>0.71296296296296302</c:v>
                </c:pt>
                <c:pt idx="4561">
                  <c:v>0.71296296296296302</c:v>
                </c:pt>
                <c:pt idx="4562">
                  <c:v>0.71300448430493302</c:v>
                </c:pt>
                <c:pt idx="4563">
                  <c:v>0.71302428256070605</c:v>
                </c:pt>
                <c:pt idx="4564">
                  <c:v>0.713043478260869</c:v>
                </c:pt>
                <c:pt idx="4565">
                  <c:v>0.71308016877637104</c:v>
                </c:pt>
                <c:pt idx="4566">
                  <c:v>0.71309771309771297</c:v>
                </c:pt>
                <c:pt idx="4567">
                  <c:v>0.71327433628318604</c:v>
                </c:pt>
                <c:pt idx="4568">
                  <c:v>0.71330275229357798</c:v>
                </c:pt>
                <c:pt idx="4569">
                  <c:v>0.713307532003572</c:v>
                </c:pt>
                <c:pt idx="4570">
                  <c:v>0.71333333333333304</c:v>
                </c:pt>
                <c:pt idx="4571">
                  <c:v>0.71333333333333304</c:v>
                </c:pt>
                <c:pt idx="4572">
                  <c:v>0.71337579617834401</c:v>
                </c:pt>
                <c:pt idx="4573">
                  <c:v>0.713450292397661</c:v>
                </c:pt>
                <c:pt idx="4574">
                  <c:v>0.71348314606741603</c:v>
                </c:pt>
                <c:pt idx="4575">
                  <c:v>0.71359223300970898</c:v>
                </c:pt>
                <c:pt idx="4576">
                  <c:v>0.713607594936709</c:v>
                </c:pt>
                <c:pt idx="4577">
                  <c:v>0.71361502347417805</c:v>
                </c:pt>
                <c:pt idx="4578">
                  <c:v>0.71361502347417805</c:v>
                </c:pt>
                <c:pt idx="4579">
                  <c:v>0.71363636363636396</c:v>
                </c:pt>
                <c:pt idx="4580">
                  <c:v>0.71363636363636396</c:v>
                </c:pt>
                <c:pt idx="4581">
                  <c:v>0.71367521367521403</c:v>
                </c:pt>
                <c:pt idx="4582">
                  <c:v>0.71370143149284204</c:v>
                </c:pt>
                <c:pt idx="4583">
                  <c:v>0.71396648044692701</c:v>
                </c:pt>
                <c:pt idx="4584">
                  <c:v>0.71403812824956703</c:v>
                </c:pt>
                <c:pt idx="4585">
                  <c:v>0.71405492730209996</c:v>
                </c:pt>
                <c:pt idx="4586">
                  <c:v>0.71407016220294195</c:v>
                </c:pt>
                <c:pt idx="4587">
                  <c:v>0.71416666666666695</c:v>
                </c:pt>
                <c:pt idx="4588">
                  <c:v>0.71428571428571397</c:v>
                </c:pt>
                <c:pt idx="4589">
                  <c:v>0.71428571428571397</c:v>
                </c:pt>
                <c:pt idx="4590">
                  <c:v>0.71428571428571397</c:v>
                </c:pt>
                <c:pt idx="4591">
                  <c:v>0.71428571428571397</c:v>
                </c:pt>
                <c:pt idx="4592">
                  <c:v>0.71428571428571397</c:v>
                </c:pt>
                <c:pt idx="4593">
                  <c:v>0.71428571428571397</c:v>
                </c:pt>
                <c:pt idx="4594">
                  <c:v>0.71428571428571397</c:v>
                </c:pt>
                <c:pt idx="4595">
                  <c:v>0.71428571428571397</c:v>
                </c:pt>
                <c:pt idx="4596">
                  <c:v>0.71428571428571397</c:v>
                </c:pt>
                <c:pt idx="4597">
                  <c:v>0.71428571428571397</c:v>
                </c:pt>
                <c:pt idx="4598">
                  <c:v>0.71428571428571397</c:v>
                </c:pt>
                <c:pt idx="4599">
                  <c:v>0.71428571428571397</c:v>
                </c:pt>
                <c:pt idx="4600">
                  <c:v>0.71428571428571397</c:v>
                </c:pt>
                <c:pt idx="4601">
                  <c:v>0.71428571428571397</c:v>
                </c:pt>
                <c:pt idx="4602">
                  <c:v>0.71433256805510004</c:v>
                </c:pt>
                <c:pt idx="4603">
                  <c:v>0.71438547486033499</c:v>
                </c:pt>
                <c:pt idx="4604">
                  <c:v>0.71444823663253698</c:v>
                </c:pt>
                <c:pt idx="4605">
                  <c:v>0.71446229913473402</c:v>
                </c:pt>
                <c:pt idx="4606">
                  <c:v>0.71446384039900201</c:v>
                </c:pt>
                <c:pt idx="4607">
                  <c:v>0.71446700507614203</c:v>
                </c:pt>
                <c:pt idx="4608">
                  <c:v>0.71450208254449099</c:v>
                </c:pt>
                <c:pt idx="4609">
                  <c:v>0.71454880294659295</c:v>
                </c:pt>
                <c:pt idx="4610">
                  <c:v>0.71455938697318</c:v>
                </c:pt>
                <c:pt idx="4611">
                  <c:v>0.71466666666666701</c:v>
                </c:pt>
                <c:pt idx="4612">
                  <c:v>0.71484375</c:v>
                </c:pt>
                <c:pt idx="4613">
                  <c:v>0.71489621489621502</c:v>
                </c:pt>
                <c:pt idx="4614">
                  <c:v>0.71496437054631801</c:v>
                </c:pt>
                <c:pt idx="4615">
                  <c:v>0.71498257839721302</c:v>
                </c:pt>
                <c:pt idx="4616">
                  <c:v>0.71499999999999997</c:v>
                </c:pt>
                <c:pt idx="4617">
                  <c:v>0.71503957783641203</c:v>
                </c:pt>
                <c:pt idx="4618">
                  <c:v>0.71508379888268203</c:v>
                </c:pt>
                <c:pt idx="4619">
                  <c:v>0.71521035598705496</c:v>
                </c:pt>
                <c:pt idx="4620">
                  <c:v>0.71525679758308203</c:v>
                </c:pt>
                <c:pt idx="4621">
                  <c:v>0.71538461538461495</c:v>
                </c:pt>
                <c:pt idx="4622">
                  <c:v>0.71540469973890297</c:v>
                </c:pt>
                <c:pt idx="4623">
                  <c:v>0.71543086172344705</c:v>
                </c:pt>
                <c:pt idx="4624">
                  <c:v>0.715451577801959</c:v>
                </c:pt>
                <c:pt idx="4625">
                  <c:v>0.71549893842887502</c:v>
                </c:pt>
                <c:pt idx="4626">
                  <c:v>0.71551724137931005</c:v>
                </c:pt>
                <c:pt idx="4627">
                  <c:v>0.71551724137931005</c:v>
                </c:pt>
                <c:pt idx="4628">
                  <c:v>0.71554993678887502</c:v>
                </c:pt>
                <c:pt idx="4629">
                  <c:v>0.71556473829201095</c:v>
                </c:pt>
                <c:pt idx="4630">
                  <c:v>0.71557562076749404</c:v>
                </c:pt>
                <c:pt idx="4631">
                  <c:v>0.71557971014492705</c:v>
                </c:pt>
                <c:pt idx="4632">
                  <c:v>0.71563981042654001</c:v>
                </c:pt>
                <c:pt idx="4633">
                  <c:v>0.71573604060913698</c:v>
                </c:pt>
                <c:pt idx="4634">
                  <c:v>0.71577217962760098</c:v>
                </c:pt>
                <c:pt idx="4635">
                  <c:v>0.71580741371964196</c:v>
                </c:pt>
                <c:pt idx="4636">
                  <c:v>0.715817694369973</c:v>
                </c:pt>
                <c:pt idx="4637">
                  <c:v>0.715935334872979</c:v>
                </c:pt>
                <c:pt idx="4638">
                  <c:v>0.715935334872979</c:v>
                </c:pt>
                <c:pt idx="4639">
                  <c:v>0.71600688468158302</c:v>
                </c:pt>
                <c:pt idx="4640">
                  <c:v>0.71604938271604901</c:v>
                </c:pt>
                <c:pt idx="4641">
                  <c:v>0.71604938271604901</c:v>
                </c:pt>
                <c:pt idx="4642">
                  <c:v>0.71608832807570999</c:v>
                </c:pt>
                <c:pt idx="4643">
                  <c:v>0.71614429331756402</c:v>
                </c:pt>
                <c:pt idx="4644">
                  <c:v>0.71634615384615397</c:v>
                </c:pt>
                <c:pt idx="4645">
                  <c:v>0.71641791044776104</c:v>
                </c:pt>
                <c:pt idx="4646">
                  <c:v>0.71641791044776104</c:v>
                </c:pt>
                <c:pt idx="4647">
                  <c:v>0.716444444444444</c:v>
                </c:pt>
                <c:pt idx="4648">
                  <c:v>0.71649484536082497</c:v>
                </c:pt>
                <c:pt idx="4649">
                  <c:v>0.71656050955413997</c:v>
                </c:pt>
                <c:pt idx="4650">
                  <c:v>0.71664651350261999</c:v>
                </c:pt>
                <c:pt idx="4651">
                  <c:v>0.71666666666666701</c:v>
                </c:pt>
                <c:pt idx="4652">
                  <c:v>0.71670702179176804</c:v>
                </c:pt>
                <c:pt idx="4653">
                  <c:v>0.71674876847290603</c:v>
                </c:pt>
                <c:pt idx="4654">
                  <c:v>0.71678321678321699</c:v>
                </c:pt>
                <c:pt idx="4655">
                  <c:v>0.71691176470588203</c:v>
                </c:pt>
                <c:pt idx="4656">
                  <c:v>0.716923076923077</c:v>
                </c:pt>
                <c:pt idx="4657">
                  <c:v>0.71692745376955902</c:v>
                </c:pt>
                <c:pt idx="4658">
                  <c:v>0.71713147410358602</c:v>
                </c:pt>
                <c:pt idx="4659">
                  <c:v>0.71717171717171702</c:v>
                </c:pt>
                <c:pt idx="4660">
                  <c:v>0.71718749999999998</c:v>
                </c:pt>
                <c:pt idx="4661">
                  <c:v>0.71729957805907196</c:v>
                </c:pt>
                <c:pt idx="4662">
                  <c:v>0.71739130434782605</c:v>
                </c:pt>
                <c:pt idx="4663">
                  <c:v>0.71739130434782605</c:v>
                </c:pt>
                <c:pt idx="4664">
                  <c:v>0.71753986332574005</c:v>
                </c:pt>
                <c:pt idx="4665">
                  <c:v>0.717592592592592</c:v>
                </c:pt>
                <c:pt idx="4666">
                  <c:v>0.71762208067940503</c:v>
                </c:pt>
                <c:pt idx="4667">
                  <c:v>0.71777844853606998</c:v>
                </c:pt>
                <c:pt idx="4668">
                  <c:v>0.71778350515463896</c:v>
                </c:pt>
                <c:pt idx="4669">
                  <c:v>0.71779141104294497</c:v>
                </c:pt>
                <c:pt idx="4670">
                  <c:v>0.71779141104294497</c:v>
                </c:pt>
                <c:pt idx="4671">
                  <c:v>0.71785028790786898</c:v>
                </c:pt>
                <c:pt idx="4672">
                  <c:v>0.71794871794871795</c:v>
                </c:pt>
                <c:pt idx="4673">
                  <c:v>0.71801566579634502</c:v>
                </c:pt>
                <c:pt idx="4674">
                  <c:v>0.71806167400881105</c:v>
                </c:pt>
                <c:pt idx="4675">
                  <c:v>0.718152866242038</c:v>
                </c:pt>
                <c:pt idx="4676">
                  <c:v>0.71821305841924399</c:v>
                </c:pt>
                <c:pt idx="4677">
                  <c:v>0.71825396825396803</c:v>
                </c:pt>
                <c:pt idx="4678">
                  <c:v>0.71830985915492995</c:v>
                </c:pt>
                <c:pt idx="4679">
                  <c:v>0.71830985915492995</c:v>
                </c:pt>
                <c:pt idx="4680">
                  <c:v>0.71846153846153804</c:v>
                </c:pt>
                <c:pt idx="4681">
                  <c:v>0.718518518518518</c:v>
                </c:pt>
                <c:pt idx="4682">
                  <c:v>0.718518518518518</c:v>
                </c:pt>
                <c:pt idx="4683">
                  <c:v>0.718518518518518</c:v>
                </c:pt>
                <c:pt idx="4684">
                  <c:v>0.71853614995536996</c:v>
                </c:pt>
                <c:pt idx="4685">
                  <c:v>0.71860816944024197</c:v>
                </c:pt>
                <c:pt idx="4686">
                  <c:v>0.71864009378663496</c:v>
                </c:pt>
                <c:pt idx="4687">
                  <c:v>0.71871202916160404</c:v>
                </c:pt>
                <c:pt idx="4688">
                  <c:v>0.71875</c:v>
                </c:pt>
                <c:pt idx="4689">
                  <c:v>0.71875</c:v>
                </c:pt>
                <c:pt idx="4690">
                  <c:v>0.71875</c:v>
                </c:pt>
                <c:pt idx="4691">
                  <c:v>0.71880492091388404</c:v>
                </c:pt>
                <c:pt idx="4692">
                  <c:v>0.71886120996441305</c:v>
                </c:pt>
                <c:pt idx="4693">
                  <c:v>0.71889400921658997</c:v>
                </c:pt>
                <c:pt idx="4694">
                  <c:v>0.71891891891891901</c:v>
                </c:pt>
                <c:pt idx="4695">
                  <c:v>0.71900826446280997</c:v>
                </c:pt>
                <c:pt idx="4696">
                  <c:v>0.71904761904761905</c:v>
                </c:pt>
                <c:pt idx="4697">
                  <c:v>0.71910112359550604</c:v>
                </c:pt>
                <c:pt idx="4698">
                  <c:v>0.71910112359550604</c:v>
                </c:pt>
                <c:pt idx="4699">
                  <c:v>0.71911764705882297</c:v>
                </c:pt>
                <c:pt idx="4700">
                  <c:v>0.71913121094912202</c:v>
                </c:pt>
                <c:pt idx="4701">
                  <c:v>0.71914893617021303</c:v>
                </c:pt>
                <c:pt idx="4702">
                  <c:v>0.71917808219178103</c:v>
                </c:pt>
                <c:pt idx="4703">
                  <c:v>0.71924290220820197</c:v>
                </c:pt>
                <c:pt idx="4704">
                  <c:v>0.71927083333333297</c:v>
                </c:pt>
                <c:pt idx="4705">
                  <c:v>0.71929824561403499</c:v>
                </c:pt>
                <c:pt idx="4706">
                  <c:v>0.71932114882506504</c:v>
                </c:pt>
                <c:pt idx="4707">
                  <c:v>0.719387755102041</c:v>
                </c:pt>
                <c:pt idx="4708">
                  <c:v>0.71942446043165498</c:v>
                </c:pt>
                <c:pt idx="4709">
                  <c:v>0.71946308724832198</c:v>
                </c:pt>
                <c:pt idx="4710">
                  <c:v>0.71951219512195097</c:v>
                </c:pt>
                <c:pt idx="4711">
                  <c:v>0.71951219512195097</c:v>
                </c:pt>
                <c:pt idx="4712">
                  <c:v>0.71955028107432795</c:v>
                </c:pt>
                <c:pt idx="4713">
                  <c:v>0.71962616822429903</c:v>
                </c:pt>
                <c:pt idx="4714">
                  <c:v>0.71978021978022</c:v>
                </c:pt>
                <c:pt idx="4715">
                  <c:v>0.71981776765375804</c:v>
                </c:pt>
                <c:pt idx="4716">
                  <c:v>0.71988246816846202</c:v>
                </c:pt>
                <c:pt idx="4717">
                  <c:v>0.719893546240852</c:v>
                </c:pt>
                <c:pt idx="4718">
                  <c:v>0.71989528795811497</c:v>
                </c:pt>
                <c:pt idx="4719">
                  <c:v>0.72</c:v>
                </c:pt>
                <c:pt idx="4720">
                  <c:v>0.72</c:v>
                </c:pt>
                <c:pt idx="4721">
                  <c:v>0.72</c:v>
                </c:pt>
                <c:pt idx="4722">
                  <c:v>0.72006472491909401</c:v>
                </c:pt>
                <c:pt idx="4723">
                  <c:v>0.72008547008546997</c:v>
                </c:pt>
                <c:pt idx="4724">
                  <c:v>0.72010178117048296</c:v>
                </c:pt>
                <c:pt idx="4725">
                  <c:v>0.72010869565217395</c:v>
                </c:pt>
                <c:pt idx="4726">
                  <c:v>0.72023121387283195</c:v>
                </c:pt>
                <c:pt idx="4727">
                  <c:v>0.720268006700167</c:v>
                </c:pt>
                <c:pt idx="4728">
                  <c:v>0.72027972027971998</c:v>
                </c:pt>
                <c:pt idx="4729">
                  <c:v>0.72027972027971998</c:v>
                </c:pt>
                <c:pt idx="4730">
                  <c:v>0.72032520325203198</c:v>
                </c:pt>
                <c:pt idx="4731">
                  <c:v>0.72035794183445201</c:v>
                </c:pt>
                <c:pt idx="4732">
                  <c:v>0.72035794183445201</c:v>
                </c:pt>
                <c:pt idx="4733">
                  <c:v>0.72045454545454501</c:v>
                </c:pt>
                <c:pt idx="4734">
                  <c:v>0.72045454545454501</c:v>
                </c:pt>
                <c:pt idx="4735">
                  <c:v>0.72047244094488205</c:v>
                </c:pt>
                <c:pt idx="4736">
                  <c:v>0.72053872053872103</c:v>
                </c:pt>
                <c:pt idx="4737">
                  <c:v>0.72054088860270404</c:v>
                </c:pt>
                <c:pt idx="4738">
                  <c:v>0.72056921086675296</c:v>
                </c:pt>
                <c:pt idx="4739">
                  <c:v>0.72058823529411797</c:v>
                </c:pt>
                <c:pt idx="4740">
                  <c:v>0.72058823529411797</c:v>
                </c:pt>
                <c:pt idx="4741">
                  <c:v>0.72058823529411797</c:v>
                </c:pt>
                <c:pt idx="4742">
                  <c:v>0.72063492063492096</c:v>
                </c:pt>
                <c:pt idx="4743">
                  <c:v>0.72063758389261701</c:v>
                </c:pt>
                <c:pt idx="4744">
                  <c:v>0.720734908136483</c:v>
                </c:pt>
                <c:pt idx="4745">
                  <c:v>0.72074468085106402</c:v>
                </c:pt>
                <c:pt idx="4746">
                  <c:v>0.72078376487053897</c:v>
                </c:pt>
                <c:pt idx="4747">
                  <c:v>0.72079207920792099</c:v>
                </c:pt>
                <c:pt idx="4748">
                  <c:v>0.72093023255813904</c:v>
                </c:pt>
                <c:pt idx="4749">
                  <c:v>0.72096128170894502</c:v>
                </c:pt>
                <c:pt idx="4750">
                  <c:v>0.72101790763430695</c:v>
                </c:pt>
                <c:pt idx="4751">
                  <c:v>0.72105263157894695</c:v>
                </c:pt>
                <c:pt idx="4752">
                  <c:v>0.72105464272067199</c:v>
                </c:pt>
                <c:pt idx="4753">
                  <c:v>0.72108345534407003</c:v>
                </c:pt>
                <c:pt idx="4754">
                  <c:v>0.72108843537415002</c:v>
                </c:pt>
                <c:pt idx="4755">
                  <c:v>0.72108843537415002</c:v>
                </c:pt>
                <c:pt idx="4756">
                  <c:v>0.72118959107806702</c:v>
                </c:pt>
                <c:pt idx="4757">
                  <c:v>0.72121212121212097</c:v>
                </c:pt>
                <c:pt idx="4758">
                  <c:v>0.72125583368688995</c:v>
                </c:pt>
                <c:pt idx="4759">
                  <c:v>0.72128514056224902</c:v>
                </c:pt>
                <c:pt idx="4760">
                  <c:v>0.72139830508474601</c:v>
                </c:pt>
                <c:pt idx="4761">
                  <c:v>0.72140543234487897</c:v>
                </c:pt>
                <c:pt idx="4762">
                  <c:v>0.72146118721461205</c:v>
                </c:pt>
                <c:pt idx="4763">
                  <c:v>0.72150259067357503</c:v>
                </c:pt>
                <c:pt idx="4764">
                  <c:v>0.721518987341772</c:v>
                </c:pt>
                <c:pt idx="4765">
                  <c:v>0.721518987341772</c:v>
                </c:pt>
                <c:pt idx="4766">
                  <c:v>0.72160000000000002</c:v>
                </c:pt>
                <c:pt idx="4767">
                  <c:v>0.72160356347438703</c:v>
                </c:pt>
                <c:pt idx="4768">
                  <c:v>0.72169811320754695</c:v>
                </c:pt>
                <c:pt idx="4769">
                  <c:v>0.72170439414114496</c:v>
                </c:pt>
                <c:pt idx="4770">
                  <c:v>0.721830985915493</c:v>
                </c:pt>
                <c:pt idx="4771">
                  <c:v>0.72186642268984402</c:v>
                </c:pt>
                <c:pt idx="4772">
                  <c:v>0.72187500000000004</c:v>
                </c:pt>
                <c:pt idx="4773">
                  <c:v>0.72196261682243001</c:v>
                </c:pt>
                <c:pt idx="4774">
                  <c:v>0.72204472843450496</c:v>
                </c:pt>
                <c:pt idx="4775">
                  <c:v>0.72210526315789503</c:v>
                </c:pt>
                <c:pt idx="4776">
                  <c:v>0.72222222222222199</c:v>
                </c:pt>
                <c:pt idx="4777">
                  <c:v>0.72222222222222199</c:v>
                </c:pt>
                <c:pt idx="4778">
                  <c:v>0.72222222222222199</c:v>
                </c:pt>
                <c:pt idx="4779">
                  <c:v>0.72222222222222199</c:v>
                </c:pt>
                <c:pt idx="4780">
                  <c:v>0.72222222222222199</c:v>
                </c:pt>
                <c:pt idx="4781">
                  <c:v>0.72222222222222199</c:v>
                </c:pt>
                <c:pt idx="4782">
                  <c:v>0.72234762979683997</c:v>
                </c:pt>
                <c:pt idx="4783">
                  <c:v>0.72243639167309204</c:v>
                </c:pt>
                <c:pt idx="4784">
                  <c:v>0.72249388753056198</c:v>
                </c:pt>
                <c:pt idx="4785">
                  <c:v>0.72256097560975596</c:v>
                </c:pt>
                <c:pt idx="4786">
                  <c:v>0.72258064516128995</c:v>
                </c:pt>
                <c:pt idx="4787">
                  <c:v>0.72261072261072201</c:v>
                </c:pt>
                <c:pt idx="4788">
                  <c:v>0.72264150943396199</c:v>
                </c:pt>
                <c:pt idx="4789">
                  <c:v>0.72266666666666701</c:v>
                </c:pt>
                <c:pt idx="4790">
                  <c:v>0.72271386430678497</c:v>
                </c:pt>
                <c:pt idx="4791">
                  <c:v>0.722727272727273</c:v>
                </c:pt>
                <c:pt idx="4792">
                  <c:v>0.722727272727273</c:v>
                </c:pt>
                <c:pt idx="4793">
                  <c:v>0.72275862068965502</c:v>
                </c:pt>
                <c:pt idx="4794">
                  <c:v>0.72277227722772297</c:v>
                </c:pt>
                <c:pt idx="4795">
                  <c:v>0.72277227722772297</c:v>
                </c:pt>
                <c:pt idx="4796">
                  <c:v>0.72279260780287502</c:v>
                </c:pt>
                <c:pt idx="4797">
                  <c:v>0.72281776416539001</c:v>
                </c:pt>
                <c:pt idx="4798">
                  <c:v>0.72289156626506001</c:v>
                </c:pt>
                <c:pt idx="4799">
                  <c:v>0.72292191435768305</c:v>
                </c:pt>
                <c:pt idx="4800">
                  <c:v>0.72292191435768305</c:v>
                </c:pt>
                <c:pt idx="4801">
                  <c:v>0.72300469483568097</c:v>
                </c:pt>
                <c:pt idx="4802">
                  <c:v>0.723064644852354</c:v>
                </c:pt>
                <c:pt idx="4803">
                  <c:v>0.72307692307692295</c:v>
                </c:pt>
                <c:pt idx="4804">
                  <c:v>0.72311827956989205</c:v>
                </c:pt>
                <c:pt idx="4805">
                  <c:v>0.72312703583061899</c:v>
                </c:pt>
                <c:pt idx="4806">
                  <c:v>0.72314049586776896</c:v>
                </c:pt>
                <c:pt idx="4807">
                  <c:v>0.72321428571428603</c:v>
                </c:pt>
                <c:pt idx="4808">
                  <c:v>0.72321428571428603</c:v>
                </c:pt>
                <c:pt idx="4809">
                  <c:v>0.72321428571428603</c:v>
                </c:pt>
                <c:pt idx="4810">
                  <c:v>0.72327044025157206</c:v>
                </c:pt>
                <c:pt idx="4811">
                  <c:v>0.72327044025157206</c:v>
                </c:pt>
                <c:pt idx="4812">
                  <c:v>0.72333333333333305</c:v>
                </c:pt>
                <c:pt idx="4813">
                  <c:v>0.72336265884652995</c:v>
                </c:pt>
                <c:pt idx="4814">
                  <c:v>0.72343749999999996</c:v>
                </c:pt>
                <c:pt idx="4815">
                  <c:v>0.72347266881028904</c:v>
                </c:pt>
                <c:pt idx="4816">
                  <c:v>0.72352941176470598</c:v>
                </c:pt>
                <c:pt idx="4817">
                  <c:v>0.72364864864864897</c:v>
                </c:pt>
                <c:pt idx="4818">
                  <c:v>0.72368421052631604</c:v>
                </c:pt>
                <c:pt idx="4819">
                  <c:v>0.723699421965318</c:v>
                </c:pt>
                <c:pt idx="4820">
                  <c:v>0.723706176961603</c:v>
                </c:pt>
                <c:pt idx="4821">
                  <c:v>0.72372372372372396</c:v>
                </c:pt>
                <c:pt idx="4822">
                  <c:v>0.72373081463990496</c:v>
                </c:pt>
                <c:pt idx="4823">
                  <c:v>0.72380952380952401</c:v>
                </c:pt>
                <c:pt idx="4824">
                  <c:v>0.72380952380952401</c:v>
                </c:pt>
                <c:pt idx="4825">
                  <c:v>0.72384937238493696</c:v>
                </c:pt>
                <c:pt idx="4826">
                  <c:v>0.723856209150327</c:v>
                </c:pt>
                <c:pt idx="4827">
                  <c:v>0.72386058981233203</c:v>
                </c:pt>
                <c:pt idx="4828">
                  <c:v>0.72388059701492502</c:v>
                </c:pt>
                <c:pt idx="4829">
                  <c:v>0.72391017173051497</c:v>
                </c:pt>
                <c:pt idx="4830">
                  <c:v>0.72391304347826102</c:v>
                </c:pt>
                <c:pt idx="4831">
                  <c:v>0.723981900452489</c:v>
                </c:pt>
                <c:pt idx="4832">
                  <c:v>0.72400388726919296</c:v>
                </c:pt>
                <c:pt idx="4833">
                  <c:v>0.724007561436673</c:v>
                </c:pt>
                <c:pt idx="4834">
                  <c:v>0.72401433691756301</c:v>
                </c:pt>
                <c:pt idx="4835">
                  <c:v>0.72413793103448298</c:v>
                </c:pt>
                <c:pt idx="4836">
                  <c:v>0.72413793103448298</c:v>
                </c:pt>
                <c:pt idx="4837">
                  <c:v>0.72413793103448298</c:v>
                </c:pt>
                <c:pt idx="4838">
                  <c:v>0.72413793103448298</c:v>
                </c:pt>
                <c:pt idx="4839">
                  <c:v>0.72413793103448298</c:v>
                </c:pt>
                <c:pt idx="4840">
                  <c:v>0.72422062350119898</c:v>
                </c:pt>
                <c:pt idx="4841">
                  <c:v>0.72430830039525695</c:v>
                </c:pt>
                <c:pt idx="4842">
                  <c:v>0.72431077694235602</c:v>
                </c:pt>
                <c:pt idx="4843">
                  <c:v>0.72438162544169604</c:v>
                </c:pt>
                <c:pt idx="4844">
                  <c:v>0.72440944881889802</c:v>
                </c:pt>
                <c:pt idx="4845">
                  <c:v>0.724444444444444</c:v>
                </c:pt>
                <c:pt idx="4846">
                  <c:v>0.72448979591836704</c:v>
                </c:pt>
                <c:pt idx="4847">
                  <c:v>0.72451790633608804</c:v>
                </c:pt>
                <c:pt idx="4848">
                  <c:v>0.72452830188679196</c:v>
                </c:pt>
                <c:pt idx="4849">
                  <c:v>0.72458628841607597</c:v>
                </c:pt>
                <c:pt idx="4850">
                  <c:v>0.724609375</c:v>
                </c:pt>
                <c:pt idx="4851">
                  <c:v>0.72463768115941996</c:v>
                </c:pt>
                <c:pt idx="4852">
                  <c:v>0.72463768115941996</c:v>
                </c:pt>
                <c:pt idx="4853">
                  <c:v>0.72463768115941996</c:v>
                </c:pt>
                <c:pt idx="4854">
                  <c:v>0.72467532467532503</c:v>
                </c:pt>
                <c:pt idx="4855">
                  <c:v>0.72468619246861898</c:v>
                </c:pt>
                <c:pt idx="4856">
                  <c:v>0.72469635627530404</c:v>
                </c:pt>
                <c:pt idx="4857">
                  <c:v>0.72471910112359506</c:v>
                </c:pt>
                <c:pt idx="4858">
                  <c:v>0.72473867595818797</c:v>
                </c:pt>
                <c:pt idx="4859">
                  <c:v>0.72475027746947795</c:v>
                </c:pt>
                <c:pt idx="4860">
                  <c:v>0.72477064220183496</c:v>
                </c:pt>
                <c:pt idx="4861">
                  <c:v>0.72483221476510096</c:v>
                </c:pt>
                <c:pt idx="4862">
                  <c:v>0.72489082969432295</c:v>
                </c:pt>
                <c:pt idx="4863">
                  <c:v>0.72490706319702602</c:v>
                </c:pt>
                <c:pt idx="4864">
                  <c:v>0.72492401215805502</c:v>
                </c:pt>
                <c:pt idx="4865">
                  <c:v>0.72499999999999998</c:v>
                </c:pt>
                <c:pt idx="4866">
                  <c:v>0.72507042253521103</c:v>
                </c:pt>
                <c:pt idx="4867">
                  <c:v>0.72511848341232199</c:v>
                </c:pt>
                <c:pt idx="4868">
                  <c:v>0.72519083969465603</c:v>
                </c:pt>
                <c:pt idx="4869">
                  <c:v>0.72525252525252504</c:v>
                </c:pt>
                <c:pt idx="4870">
                  <c:v>0.72527472527472503</c:v>
                </c:pt>
                <c:pt idx="4871">
                  <c:v>0.72537313432835804</c:v>
                </c:pt>
                <c:pt idx="4872">
                  <c:v>0.72549019607843102</c:v>
                </c:pt>
                <c:pt idx="4873">
                  <c:v>0.72556390977443597</c:v>
                </c:pt>
                <c:pt idx="4874">
                  <c:v>0.72556390977443597</c:v>
                </c:pt>
                <c:pt idx="4875">
                  <c:v>0.72566371681415898</c:v>
                </c:pt>
                <c:pt idx="4876">
                  <c:v>0.72579505300353298</c:v>
                </c:pt>
                <c:pt idx="4877">
                  <c:v>0.72580645161290303</c:v>
                </c:pt>
                <c:pt idx="4878">
                  <c:v>0.72585227272727304</c:v>
                </c:pt>
                <c:pt idx="4879">
                  <c:v>0.725862931465733</c:v>
                </c:pt>
                <c:pt idx="4880">
                  <c:v>0.72588832487309596</c:v>
                </c:pt>
                <c:pt idx="4881">
                  <c:v>0.72588832487309596</c:v>
                </c:pt>
                <c:pt idx="4882">
                  <c:v>0.725895316804408</c:v>
                </c:pt>
                <c:pt idx="4883">
                  <c:v>0.72592592592592597</c:v>
                </c:pt>
                <c:pt idx="4884">
                  <c:v>0.72602739726027399</c:v>
                </c:pt>
                <c:pt idx="4885">
                  <c:v>0.72607260726072598</c:v>
                </c:pt>
                <c:pt idx="4886">
                  <c:v>0.72609400324149098</c:v>
                </c:pt>
                <c:pt idx="4887">
                  <c:v>0.72618588507520199</c:v>
                </c:pt>
                <c:pt idx="4888">
                  <c:v>0.72619047619047605</c:v>
                </c:pt>
                <c:pt idx="4889">
                  <c:v>0.72619047619047605</c:v>
                </c:pt>
                <c:pt idx="4890">
                  <c:v>0.72619047619047605</c:v>
                </c:pt>
                <c:pt idx="4891">
                  <c:v>0.72623574144486702</c:v>
                </c:pt>
                <c:pt idx="4892">
                  <c:v>0.72623574144486702</c:v>
                </c:pt>
                <c:pt idx="4893">
                  <c:v>0.72625698324022303</c:v>
                </c:pt>
                <c:pt idx="4894">
                  <c:v>0.72631578947368403</c:v>
                </c:pt>
                <c:pt idx="4895">
                  <c:v>0.72642857142857098</c:v>
                </c:pt>
                <c:pt idx="4896">
                  <c:v>0.726436781609195</c:v>
                </c:pt>
                <c:pt idx="4897">
                  <c:v>0.72661870503597104</c:v>
                </c:pt>
                <c:pt idx="4898">
                  <c:v>0.72666666666666702</c:v>
                </c:pt>
                <c:pt idx="4899">
                  <c:v>0.72674418604651203</c:v>
                </c:pt>
                <c:pt idx="4900">
                  <c:v>0.72680412371133996</c:v>
                </c:pt>
                <c:pt idx="4901">
                  <c:v>0.72694394213381497</c:v>
                </c:pt>
                <c:pt idx="4902">
                  <c:v>0.726962457337884</c:v>
                </c:pt>
                <c:pt idx="4903">
                  <c:v>0.72705882352941198</c:v>
                </c:pt>
                <c:pt idx="4904">
                  <c:v>0.72710951526032297</c:v>
                </c:pt>
                <c:pt idx="4905">
                  <c:v>0.72727272727272696</c:v>
                </c:pt>
                <c:pt idx="4906">
                  <c:v>0.72727272727272696</c:v>
                </c:pt>
                <c:pt idx="4907">
                  <c:v>0.72727272727272696</c:v>
                </c:pt>
                <c:pt idx="4908">
                  <c:v>0.72727272727272696</c:v>
                </c:pt>
                <c:pt idx="4909">
                  <c:v>0.72727272727272696</c:v>
                </c:pt>
                <c:pt idx="4910">
                  <c:v>0.72727272727272696</c:v>
                </c:pt>
                <c:pt idx="4911">
                  <c:v>0.72727272727272696</c:v>
                </c:pt>
                <c:pt idx="4912">
                  <c:v>0.72727272727272696</c:v>
                </c:pt>
                <c:pt idx="4913">
                  <c:v>0.72730148687124296</c:v>
                </c:pt>
                <c:pt idx="4914">
                  <c:v>0.72756410256410198</c:v>
                </c:pt>
                <c:pt idx="4915">
                  <c:v>0.727574750830565</c:v>
                </c:pt>
                <c:pt idx="4916">
                  <c:v>0.72763419483101399</c:v>
                </c:pt>
                <c:pt idx="4917">
                  <c:v>0.72768878718535501</c:v>
                </c:pt>
                <c:pt idx="4918">
                  <c:v>0.72772277227722804</c:v>
                </c:pt>
                <c:pt idx="4919">
                  <c:v>0.72773393461104796</c:v>
                </c:pt>
                <c:pt idx="4920">
                  <c:v>0.72773536895674296</c:v>
                </c:pt>
                <c:pt idx="4921">
                  <c:v>0.72774869109947604</c:v>
                </c:pt>
                <c:pt idx="4922">
                  <c:v>0.72777777777777797</c:v>
                </c:pt>
                <c:pt idx="4923">
                  <c:v>0.72781065088757402</c:v>
                </c:pt>
                <c:pt idx="4924">
                  <c:v>0.72782258064516103</c:v>
                </c:pt>
                <c:pt idx="4925">
                  <c:v>0.72789115646258495</c:v>
                </c:pt>
                <c:pt idx="4926">
                  <c:v>0.72797089733225495</c:v>
                </c:pt>
                <c:pt idx="4927">
                  <c:v>0.72804532577903702</c:v>
                </c:pt>
                <c:pt idx="4928">
                  <c:v>0.72807017543859598</c:v>
                </c:pt>
                <c:pt idx="4929">
                  <c:v>0.72808132147395199</c:v>
                </c:pt>
                <c:pt idx="4930">
                  <c:v>0.72815533980582503</c:v>
                </c:pt>
                <c:pt idx="4931">
                  <c:v>0.72819100091827405</c:v>
                </c:pt>
                <c:pt idx="4932">
                  <c:v>0.72820512820512795</c:v>
                </c:pt>
                <c:pt idx="4933">
                  <c:v>0.72821576763485496</c:v>
                </c:pt>
                <c:pt idx="4934">
                  <c:v>0.72826086956521696</c:v>
                </c:pt>
                <c:pt idx="4935">
                  <c:v>0.72826086956521696</c:v>
                </c:pt>
                <c:pt idx="4936">
                  <c:v>0.72829763246899704</c:v>
                </c:pt>
                <c:pt idx="4937">
                  <c:v>0.72839506172839497</c:v>
                </c:pt>
                <c:pt idx="4938">
                  <c:v>0.72842639593908598</c:v>
                </c:pt>
                <c:pt idx="4939">
                  <c:v>0.72843450479233196</c:v>
                </c:pt>
                <c:pt idx="4940">
                  <c:v>0.72844827586206895</c:v>
                </c:pt>
                <c:pt idx="4941">
                  <c:v>0.72845070422535196</c:v>
                </c:pt>
                <c:pt idx="4942">
                  <c:v>0.72847682119205304</c:v>
                </c:pt>
                <c:pt idx="4943">
                  <c:v>0.72855591748099902</c:v>
                </c:pt>
                <c:pt idx="4944">
                  <c:v>0.72857142857142798</c:v>
                </c:pt>
                <c:pt idx="4945">
                  <c:v>0.72857142857142798</c:v>
                </c:pt>
                <c:pt idx="4946">
                  <c:v>0.72881355932203395</c:v>
                </c:pt>
                <c:pt idx="4947">
                  <c:v>0.72881355932203395</c:v>
                </c:pt>
                <c:pt idx="4948">
                  <c:v>0.72881355932203395</c:v>
                </c:pt>
                <c:pt idx="4949">
                  <c:v>0.72888283378746599</c:v>
                </c:pt>
                <c:pt idx="4950">
                  <c:v>0.72889610389610404</c:v>
                </c:pt>
                <c:pt idx="4951">
                  <c:v>0.72890025575447603</c:v>
                </c:pt>
                <c:pt idx="4952">
                  <c:v>0.72901678657074298</c:v>
                </c:pt>
                <c:pt idx="4953">
                  <c:v>0.72901921132457004</c:v>
                </c:pt>
                <c:pt idx="4954">
                  <c:v>0.72904483430799205</c:v>
                </c:pt>
                <c:pt idx="4955">
                  <c:v>0.72908366533864499</c:v>
                </c:pt>
                <c:pt idx="4956">
                  <c:v>0.72923076923076902</c:v>
                </c:pt>
                <c:pt idx="4957">
                  <c:v>0.72924187725631795</c:v>
                </c:pt>
                <c:pt idx="4958">
                  <c:v>0.72926829268292703</c:v>
                </c:pt>
                <c:pt idx="4959">
                  <c:v>0.72928176795580102</c:v>
                </c:pt>
                <c:pt idx="4960">
                  <c:v>0.72929120409906101</c:v>
                </c:pt>
                <c:pt idx="4961">
                  <c:v>0.72941176470588198</c:v>
                </c:pt>
                <c:pt idx="4962">
                  <c:v>0.72944297082228104</c:v>
                </c:pt>
                <c:pt idx="4963">
                  <c:v>0.72950819672131095</c:v>
                </c:pt>
                <c:pt idx="4964">
                  <c:v>0.72951096121416503</c:v>
                </c:pt>
                <c:pt idx="4965">
                  <c:v>0.729528535980149</c:v>
                </c:pt>
                <c:pt idx="4966">
                  <c:v>0.72955974842767302</c:v>
                </c:pt>
                <c:pt idx="4967">
                  <c:v>0.72956909361069799</c:v>
                </c:pt>
                <c:pt idx="4968">
                  <c:v>0.72957198443579796</c:v>
                </c:pt>
                <c:pt idx="4969">
                  <c:v>0.72961373390557904</c:v>
                </c:pt>
                <c:pt idx="4970">
                  <c:v>0.72965517241379296</c:v>
                </c:pt>
                <c:pt idx="4971">
                  <c:v>0.72967032967032996</c:v>
                </c:pt>
                <c:pt idx="4972">
                  <c:v>0.72972972972973005</c:v>
                </c:pt>
                <c:pt idx="4973">
                  <c:v>0.72972972972973005</c:v>
                </c:pt>
                <c:pt idx="4974">
                  <c:v>0.72976338729763401</c:v>
                </c:pt>
                <c:pt idx="4975">
                  <c:v>0.72979493365500603</c:v>
                </c:pt>
                <c:pt idx="4976">
                  <c:v>0.72979797979798</c:v>
                </c:pt>
                <c:pt idx="4977">
                  <c:v>0.72985781990521303</c:v>
                </c:pt>
                <c:pt idx="4978">
                  <c:v>0.72989377845220005</c:v>
                </c:pt>
                <c:pt idx="4979">
                  <c:v>0.72989807474518698</c:v>
                </c:pt>
                <c:pt idx="4980">
                  <c:v>0.72998137802607099</c:v>
                </c:pt>
                <c:pt idx="4981">
                  <c:v>0.73001858736059499</c:v>
                </c:pt>
                <c:pt idx="4982">
                  <c:v>0.73006134969325098</c:v>
                </c:pt>
                <c:pt idx="4983">
                  <c:v>0.73008849557522104</c:v>
                </c:pt>
                <c:pt idx="4984">
                  <c:v>0.73015873015873001</c:v>
                </c:pt>
                <c:pt idx="4985">
                  <c:v>0.73015873015873001</c:v>
                </c:pt>
                <c:pt idx="4986">
                  <c:v>0.73015873015873001</c:v>
                </c:pt>
                <c:pt idx="4987">
                  <c:v>0.73023255813953503</c:v>
                </c:pt>
                <c:pt idx="4988">
                  <c:v>0.73035439137133995</c:v>
                </c:pt>
                <c:pt idx="4989">
                  <c:v>0.73039215686274495</c:v>
                </c:pt>
                <c:pt idx="4990">
                  <c:v>0.73041168658698497</c:v>
                </c:pt>
                <c:pt idx="4991">
                  <c:v>0.73043478260869599</c:v>
                </c:pt>
                <c:pt idx="4992">
                  <c:v>0.73051948051948001</c:v>
                </c:pt>
                <c:pt idx="4993">
                  <c:v>0.73060344827586199</c:v>
                </c:pt>
                <c:pt idx="4994">
                  <c:v>0.73063583815028899</c:v>
                </c:pt>
                <c:pt idx="4995">
                  <c:v>0.73076923076923095</c:v>
                </c:pt>
                <c:pt idx="4996">
                  <c:v>0.73076923076923095</c:v>
                </c:pt>
                <c:pt idx="4997">
                  <c:v>0.73076923076923095</c:v>
                </c:pt>
                <c:pt idx="4998">
                  <c:v>0.73092369477911601</c:v>
                </c:pt>
                <c:pt idx="4999">
                  <c:v>0.730941704035874</c:v>
                </c:pt>
                <c:pt idx="5000">
                  <c:v>0.730964467005076</c:v>
                </c:pt>
                <c:pt idx="5001">
                  <c:v>0.73098125689084903</c:v>
                </c:pt>
                <c:pt idx="5002">
                  <c:v>0.73102310231023104</c:v>
                </c:pt>
                <c:pt idx="5003">
                  <c:v>0.73111782477341403</c:v>
                </c:pt>
                <c:pt idx="5004">
                  <c:v>0.73111782477341403</c:v>
                </c:pt>
                <c:pt idx="5005">
                  <c:v>0.73114754098360601</c:v>
                </c:pt>
                <c:pt idx="5006">
                  <c:v>0.73118279569892497</c:v>
                </c:pt>
                <c:pt idx="5007">
                  <c:v>0.73126213592233003</c:v>
                </c:pt>
                <c:pt idx="5008">
                  <c:v>0.731343283582089</c:v>
                </c:pt>
                <c:pt idx="5009">
                  <c:v>0.731343283582089</c:v>
                </c:pt>
                <c:pt idx="5010">
                  <c:v>0.73136427566807305</c:v>
                </c:pt>
                <c:pt idx="5011">
                  <c:v>0.73141486810551604</c:v>
                </c:pt>
                <c:pt idx="5012">
                  <c:v>0.73146622734761102</c:v>
                </c:pt>
                <c:pt idx="5013">
                  <c:v>0.73148148148148096</c:v>
                </c:pt>
                <c:pt idx="5014">
                  <c:v>0.73148148148148096</c:v>
                </c:pt>
                <c:pt idx="5015">
                  <c:v>0.73154362416107399</c:v>
                </c:pt>
                <c:pt idx="5016">
                  <c:v>0.73163841807909602</c:v>
                </c:pt>
                <c:pt idx="5017">
                  <c:v>0.73164556962025296</c:v>
                </c:pt>
                <c:pt idx="5018">
                  <c:v>0.73170731707317105</c:v>
                </c:pt>
                <c:pt idx="5019">
                  <c:v>0.73170731707317105</c:v>
                </c:pt>
                <c:pt idx="5020">
                  <c:v>0.731755424063116</c:v>
                </c:pt>
                <c:pt idx="5021">
                  <c:v>0.73176865046102302</c:v>
                </c:pt>
                <c:pt idx="5022">
                  <c:v>0.73177842565597695</c:v>
                </c:pt>
                <c:pt idx="5023">
                  <c:v>0.73177842565597695</c:v>
                </c:pt>
                <c:pt idx="5024">
                  <c:v>0.73180076628352497</c:v>
                </c:pt>
                <c:pt idx="5025">
                  <c:v>0.73184357541899403</c:v>
                </c:pt>
                <c:pt idx="5026">
                  <c:v>0.73197781885397395</c:v>
                </c:pt>
                <c:pt idx="5027">
                  <c:v>0.73198847262247801</c:v>
                </c:pt>
                <c:pt idx="5028">
                  <c:v>0.73199329983249595</c:v>
                </c:pt>
                <c:pt idx="5029">
                  <c:v>0.73201692524682604</c:v>
                </c:pt>
                <c:pt idx="5030">
                  <c:v>0.73207036535859304</c:v>
                </c:pt>
                <c:pt idx="5031">
                  <c:v>0.73208722741432997</c:v>
                </c:pt>
                <c:pt idx="5032">
                  <c:v>0.73219373219373196</c:v>
                </c:pt>
                <c:pt idx="5033">
                  <c:v>0.73220338983050803</c:v>
                </c:pt>
                <c:pt idx="5034">
                  <c:v>0.73221757322175696</c:v>
                </c:pt>
                <c:pt idx="5035">
                  <c:v>0.73224043715846998</c:v>
                </c:pt>
                <c:pt idx="5036">
                  <c:v>0.73224043715846998</c:v>
                </c:pt>
                <c:pt idx="5037">
                  <c:v>0.73225806451612896</c:v>
                </c:pt>
                <c:pt idx="5038">
                  <c:v>0.73227206946454404</c:v>
                </c:pt>
                <c:pt idx="5039">
                  <c:v>0.73229070837166499</c:v>
                </c:pt>
                <c:pt idx="5040">
                  <c:v>0.73239436619718301</c:v>
                </c:pt>
                <c:pt idx="5041">
                  <c:v>0.73248407643312097</c:v>
                </c:pt>
                <c:pt idx="5042">
                  <c:v>0.73251942286348504</c:v>
                </c:pt>
                <c:pt idx="5043">
                  <c:v>0.73255813953488402</c:v>
                </c:pt>
                <c:pt idx="5044">
                  <c:v>0.73255813953488402</c:v>
                </c:pt>
                <c:pt idx="5045">
                  <c:v>0.73262032085561501</c:v>
                </c:pt>
                <c:pt idx="5046">
                  <c:v>0.73267326732673299</c:v>
                </c:pt>
                <c:pt idx="5047">
                  <c:v>0.73267326732673299</c:v>
                </c:pt>
                <c:pt idx="5048">
                  <c:v>0.73269689737470201</c:v>
                </c:pt>
                <c:pt idx="5049">
                  <c:v>0.73275862068965503</c:v>
                </c:pt>
                <c:pt idx="5050">
                  <c:v>0.73277661795407101</c:v>
                </c:pt>
                <c:pt idx="5051">
                  <c:v>0.73289902280130304</c:v>
                </c:pt>
                <c:pt idx="5052">
                  <c:v>0.73301886792452797</c:v>
                </c:pt>
                <c:pt idx="5053">
                  <c:v>0.73304263565891503</c:v>
                </c:pt>
                <c:pt idx="5054">
                  <c:v>0.73309608540925297</c:v>
                </c:pt>
                <c:pt idx="5055">
                  <c:v>0.733108108108108</c:v>
                </c:pt>
                <c:pt idx="5056">
                  <c:v>0.733307453416149</c:v>
                </c:pt>
                <c:pt idx="5057">
                  <c:v>0.73333333333333295</c:v>
                </c:pt>
                <c:pt idx="5058">
                  <c:v>0.73333333333333295</c:v>
                </c:pt>
                <c:pt idx="5059">
                  <c:v>0.73337998600419896</c:v>
                </c:pt>
                <c:pt idx="5060">
                  <c:v>0.73345935727788303</c:v>
                </c:pt>
                <c:pt idx="5061">
                  <c:v>0.73357664233576603</c:v>
                </c:pt>
                <c:pt idx="5062">
                  <c:v>0.73360655737704905</c:v>
                </c:pt>
                <c:pt idx="5063">
                  <c:v>0.73366477272727304</c:v>
                </c:pt>
                <c:pt idx="5064">
                  <c:v>0.73369565217391297</c:v>
                </c:pt>
                <c:pt idx="5065">
                  <c:v>0.73371104815863997</c:v>
                </c:pt>
                <c:pt idx="5066">
                  <c:v>0.73372781065088699</c:v>
                </c:pt>
                <c:pt idx="5067">
                  <c:v>0.73376623376623396</c:v>
                </c:pt>
                <c:pt idx="5068">
                  <c:v>0.73387096774193505</c:v>
                </c:pt>
                <c:pt idx="5069">
                  <c:v>0.73388773388773398</c:v>
                </c:pt>
                <c:pt idx="5070">
                  <c:v>0.734006734006734</c:v>
                </c:pt>
                <c:pt idx="5071">
                  <c:v>0.734006734006734</c:v>
                </c:pt>
                <c:pt idx="5072">
                  <c:v>0.73416289592760198</c:v>
                </c:pt>
                <c:pt idx="5073">
                  <c:v>0.734177215189873</c:v>
                </c:pt>
                <c:pt idx="5074">
                  <c:v>0.73422897196261705</c:v>
                </c:pt>
                <c:pt idx="5075">
                  <c:v>0.73424657534246596</c:v>
                </c:pt>
                <c:pt idx="5076">
                  <c:v>0.73427331887201697</c:v>
                </c:pt>
                <c:pt idx="5077">
                  <c:v>0.73429084380610399</c:v>
                </c:pt>
                <c:pt idx="5078">
                  <c:v>0.734317343173432</c:v>
                </c:pt>
                <c:pt idx="5079">
                  <c:v>0.734403669724771</c:v>
                </c:pt>
                <c:pt idx="5080">
                  <c:v>0.73443983402489599</c:v>
                </c:pt>
                <c:pt idx="5081">
                  <c:v>0.734486266531027</c:v>
                </c:pt>
                <c:pt idx="5082">
                  <c:v>0.73450134770889497</c:v>
                </c:pt>
                <c:pt idx="5083">
                  <c:v>0.734513274336283</c:v>
                </c:pt>
                <c:pt idx="5084">
                  <c:v>0.734513274336283</c:v>
                </c:pt>
                <c:pt idx="5085">
                  <c:v>0.734513274336283</c:v>
                </c:pt>
                <c:pt idx="5086">
                  <c:v>0.734615384615385</c:v>
                </c:pt>
                <c:pt idx="5087">
                  <c:v>0.73469387755102</c:v>
                </c:pt>
                <c:pt idx="5088">
                  <c:v>0.73469387755102</c:v>
                </c:pt>
                <c:pt idx="5089">
                  <c:v>0.734732824427481</c:v>
                </c:pt>
                <c:pt idx="5090">
                  <c:v>0.73473684210526302</c:v>
                </c:pt>
                <c:pt idx="5091">
                  <c:v>0.73497942386831305</c:v>
                </c:pt>
                <c:pt idx="5092">
                  <c:v>0.73509933774834402</c:v>
                </c:pt>
                <c:pt idx="5093">
                  <c:v>0.735119047619048</c:v>
                </c:pt>
                <c:pt idx="5094">
                  <c:v>0.73517126148705103</c:v>
                </c:pt>
                <c:pt idx="5095">
                  <c:v>0.73518518518518505</c:v>
                </c:pt>
                <c:pt idx="5096">
                  <c:v>0.73524150268336297</c:v>
                </c:pt>
                <c:pt idx="5097">
                  <c:v>0.73529411764705899</c:v>
                </c:pt>
                <c:pt idx="5098">
                  <c:v>0.73540856031128399</c:v>
                </c:pt>
                <c:pt idx="5099">
                  <c:v>0.73541305603697305</c:v>
                </c:pt>
                <c:pt idx="5100">
                  <c:v>0.73549257759784104</c:v>
                </c:pt>
                <c:pt idx="5101">
                  <c:v>0.73557692307692302</c:v>
                </c:pt>
                <c:pt idx="5102">
                  <c:v>0.73561811505507901</c:v>
                </c:pt>
                <c:pt idx="5103">
                  <c:v>0.73563218390804597</c:v>
                </c:pt>
                <c:pt idx="5104">
                  <c:v>0.73563218390804597</c:v>
                </c:pt>
                <c:pt idx="5105">
                  <c:v>0.73566878980891703</c:v>
                </c:pt>
                <c:pt idx="5106">
                  <c:v>0.73568281938325997</c:v>
                </c:pt>
                <c:pt idx="5107">
                  <c:v>0.73568281938325997</c:v>
                </c:pt>
                <c:pt idx="5108">
                  <c:v>0.73568281938325997</c:v>
                </c:pt>
                <c:pt idx="5109">
                  <c:v>0.73568281938325997</c:v>
                </c:pt>
                <c:pt idx="5110">
                  <c:v>0.73570898292501796</c:v>
                </c:pt>
                <c:pt idx="5111">
                  <c:v>0.73572744014733005</c:v>
                </c:pt>
                <c:pt idx="5112">
                  <c:v>0.73573573573573603</c:v>
                </c:pt>
                <c:pt idx="5113">
                  <c:v>0.73574144486691995</c:v>
                </c:pt>
                <c:pt idx="5114">
                  <c:v>0.73578595317725703</c:v>
                </c:pt>
                <c:pt idx="5115">
                  <c:v>0.73581847649918997</c:v>
                </c:pt>
                <c:pt idx="5116">
                  <c:v>0.73584905660377298</c:v>
                </c:pt>
                <c:pt idx="5117">
                  <c:v>0.73593073593073599</c:v>
                </c:pt>
                <c:pt idx="5118">
                  <c:v>0.73595505617977497</c:v>
                </c:pt>
                <c:pt idx="5119">
                  <c:v>0.73605947955390305</c:v>
                </c:pt>
                <c:pt idx="5120">
                  <c:v>0.73622047244094502</c:v>
                </c:pt>
                <c:pt idx="5121">
                  <c:v>0.73626373626373598</c:v>
                </c:pt>
                <c:pt idx="5122">
                  <c:v>0.73626373626373598</c:v>
                </c:pt>
                <c:pt idx="5123">
                  <c:v>0.73637264618434095</c:v>
                </c:pt>
                <c:pt idx="5124">
                  <c:v>0.736383442265795</c:v>
                </c:pt>
                <c:pt idx="5125">
                  <c:v>0.736389684813753</c:v>
                </c:pt>
                <c:pt idx="5126">
                  <c:v>0.73643410852713198</c:v>
                </c:pt>
                <c:pt idx="5127">
                  <c:v>0.73648648648648596</c:v>
                </c:pt>
                <c:pt idx="5128">
                  <c:v>0.73655913978494603</c:v>
                </c:pt>
                <c:pt idx="5129">
                  <c:v>0.73658830620855897</c:v>
                </c:pt>
                <c:pt idx="5130">
                  <c:v>0.73664122137404597</c:v>
                </c:pt>
                <c:pt idx="5131">
                  <c:v>0.73675496688741704</c:v>
                </c:pt>
                <c:pt idx="5132">
                  <c:v>0.73684210526315796</c:v>
                </c:pt>
                <c:pt idx="5133">
                  <c:v>0.73684210526315796</c:v>
                </c:pt>
                <c:pt idx="5134">
                  <c:v>0.73684210526315796</c:v>
                </c:pt>
                <c:pt idx="5135">
                  <c:v>0.73684210526315796</c:v>
                </c:pt>
                <c:pt idx="5136">
                  <c:v>0.73684210526315796</c:v>
                </c:pt>
                <c:pt idx="5137">
                  <c:v>0.73690476190476195</c:v>
                </c:pt>
                <c:pt idx="5138">
                  <c:v>0.736925515055467</c:v>
                </c:pt>
                <c:pt idx="5139">
                  <c:v>0.73703041144901604</c:v>
                </c:pt>
                <c:pt idx="5140">
                  <c:v>0.73710819009100104</c:v>
                </c:pt>
                <c:pt idx="5141">
                  <c:v>0.73713490959666195</c:v>
                </c:pt>
                <c:pt idx="5142">
                  <c:v>0.73718576558929105</c:v>
                </c:pt>
                <c:pt idx="5143">
                  <c:v>0.73726541554959801</c:v>
                </c:pt>
                <c:pt idx="5144">
                  <c:v>0.73731343283582096</c:v>
                </c:pt>
                <c:pt idx="5145">
                  <c:v>0.737349397590361</c:v>
                </c:pt>
                <c:pt idx="5146">
                  <c:v>0.73748473748473697</c:v>
                </c:pt>
                <c:pt idx="5147">
                  <c:v>0.73750000000000004</c:v>
                </c:pt>
                <c:pt idx="5148">
                  <c:v>0.737550471063257</c:v>
                </c:pt>
                <c:pt idx="5149">
                  <c:v>0.73757455268389704</c:v>
                </c:pt>
                <c:pt idx="5150">
                  <c:v>0.73761467889908305</c:v>
                </c:pt>
                <c:pt idx="5151">
                  <c:v>0.73761467889908305</c:v>
                </c:pt>
                <c:pt idx="5152">
                  <c:v>0.73770491803278704</c:v>
                </c:pt>
                <c:pt idx="5153">
                  <c:v>0.73770491803278704</c:v>
                </c:pt>
                <c:pt idx="5154">
                  <c:v>0.73777777777777798</c:v>
                </c:pt>
                <c:pt idx="5155">
                  <c:v>0.73778195488721798</c:v>
                </c:pt>
                <c:pt idx="5156">
                  <c:v>0.73791348600508899</c:v>
                </c:pt>
                <c:pt idx="5157">
                  <c:v>0.73799621928166304</c:v>
                </c:pt>
                <c:pt idx="5158">
                  <c:v>0.73820754716981096</c:v>
                </c:pt>
                <c:pt idx="5159">
                  <c:v>0.73825503355704702</c:v>
                </c:pt>
                <c:pt idx="5160">
                  <c:v>0.73828125</c:v>
                </c:pt>
                <c:pt idx="5161">
                  <c:v>0.73830409356725102</c:v>
                </c:pt>
                <c:pt idx="5162">
                  <c:v>0.73831775700934599</c:v>
                </c:pt>
                <c:pt idx="5163">
                  <c:v>0.73833671399594303</c:v>
                </c:pt>
                <c:pt idx="5164">
                  <c:v>0.73839009287925705</c:v>
                </c:pt>
                <c:pt idx="5165">
                  <c:v>0.73840078973346501</c:v>
                </c:pt>
                <c:pt idx="5166">
                  <c:v>0.73841554559043299</c:v>
                </c:pt>
                <c:pt idx="5167">
                  <c:v>0.73846153846153795</c:v>
                </c:pt>
                <c:pt idx="5168">
                  <c:v>0.73846153846153795</c:v>
                </c:pt>
                <c:pt idx="5169">
                  <c:v>0.73846153846153795</c:v>
                </c:pt>
                <c:pt idx="5170">
                  <c:v>0.73846153846153795</c:v>
                </c:pt>
                <c:pt idx="5171">
                  <c:v>0.73850574712643702</c:v>
                </c:pt>
                <c:pt idx="5172">
                  <c:v>0.73856209150326801</c:v>
                </c:pt>
                <c:pt idx="5173">
                  <c:v>0.73856912318450796</c:v>
                </c:pt>
                <c:pt idx="5174">
                  <c:v>0.73857868020304596</c:v>
                </c:pt>
                <c:pt idx="5175">
                  <c:v>0.73857868020304596</c:v>
                </c:pt>
                <c:pt idx="5176">
                  <c:v>0.73858921161825697</c:v>
                </c:pt>
                <c:pt idx="5177">
                  <c:v>0.73861386138613905</c:v>
                </c:pt>
                <c:pt idx="5178">
                  <c:v>0.73863636363636398</c:v>
                </c:pt>
                <c:pt idx="5179">
                  <c:v>0.73863636363636398</c:v>
                </c:pt>
                <c:pt idx="5180">
                  <c:v>0.73869346733668295</c:v>
                </c:pt>
                <c:pt idx="5181">
                  <c:v>0.73871409028727797</c:v>
                </c:pt>
                <c:pt idx="5182">
                  <c:v>0.738721804511278</c:v>
                </c:pt>
                <c:pt idx="5183">
                  <c:v>0.73873873873873896</c:v>
                </c:pt>
                <c:pt idx="5184">
                  <c:v>0.73873873873873896</c:v>
                </c:pt>
                <c:pt idx="5185">
                  <c:v>0.73873873873873896</c:v>
                </c:pt>
                <c:pt idx="5186">
                  <c:v>0.73878627968337696</c:v>
                </c:pt>
                <c:pt idx="5187">
                  <c:v>0.73878627968337696</c:v>
                </c:pt>
                <c:pt idx="5188">
                  <c:v>0.73878627968337696</c:v>
                </c:pt>
                <c:pt idx="5189">
                  <c:v>0.73883161512027495</c:v>
                </c:pt>
                <c:pt idx="5190">
                  <c:v>0.73883161512027495</c:v>
                </c:pt>
                <c:pt idx="5191">
                  <c:v>0.73892617449664399</c:v>
                </c:pt>
                <c:pt idx="5192">
                  <c:v>0.738927738927739</c:v>
                </c:pt>
                <c:pt idx="5193">
                  <c:v>0.73913043478260898</c:v>
                </c:pt>
                <c:pt idx="5194">
                  <c:v>0.73913043478260898</c:v>
                </c:pt>
                <c:pt idx="5195">
                  <c:v>0.739144419427469</c:v>
                </c:pt>
                <c:pt idx="5196">
                  <c:v>0.73927392739273901</c:v>
                </c:pt>
                <c:pt idx="5197">
                  <c:v>0.73933649289099501</c:v>
                </c:pt>
                <c:pt idx="5198">
                  <c:v>0.73945409429280395</c:v>
                </c:pt>
                <c:pt idx="5199">
                  <c:v>0.73946360153256696</c:v>
                </c:pt>
                <c:pt idx="5200">
                  <c:v>0.73949579831932799</c:v>
                </c:pt>
                <c:pt idx="5201">
                  <c:v>0.73949579831932799</c:v>
                </c:pt>
                <c:pt idx="5202">
                  <c:v>0.73951434878587197</c:v>
                </c:pt>
                <c:pt idx="5203">
                  <c:v>0.73958333333333304</c:v>
                </c:pt>
                <c:pt idx="5204">
                  <c:v>0.73960216998191697</c:v>
                </c:pt>
                <c:pt idx="5205">
                  <c:v>0.73961218836565101</c:v>
                </c:pt>
                <c:pt idx="5206">
                  <c:v>0.73962986598596003</c:v>
                </c:pt>
                <c:pt idx="5207">
                  <c:v>0.73972602739726001</c:v>
                </c:pt>
                <c:pt idx="5208">
                  <c:v>0.73972602739726001</c:v>
                </c:pt>
                <c:pt idx="5209">
                  <c:v>0.73975903614457805</c:v>
                </c:pt>
                <c:pt idx="5210">
                  <c:v>0.73975903614457805</c:v>
                </c:pt>
                <c:pt idx="5211">
                  <c:v>0.73976608187134496</c:v>
                </c:pt>
                <c:pt idx="5212">
                  <c:v>0.73979591836734704</c:v>
                </c:pt>
                <c:pt idx="5213">
                  <c:v>0.73979591836734704</c:v>
                </c:pt>
                <c:pt idx="5214">
                  <c:v>0.73980582524271798</c:v>
                </c:pt>
                <c:pt idx="5215">
                  <c:v>0.739884393063584</c:v>
                </c:pt>
                <c:pt idx="5216">
                  <c:v>0.73989898989898994</c:v>
                </c:pt>
                <c:pt idx="5217">
                  <c:v>0.73992673992673996</c:v>
                </c:pt>
                <c:pt idx="5218">
                  <c:v>0.73997233748271096</c:v>
                </c:pt>
                <c:pt idx="5219">
                  <c:v>0.74</c:v>
                </c:pt>
                <c:pt idx="5220">
                  <c:v>0.74</c:v>
                </c:pt>
                <c:pt idx="5221">
                  <c:v>0.74</c:v>
                </c:pt>
                <c:pt idx="5222">
                  <c:v>0.74007220216606495</c:v>
                </c:pt>
                <c:pt idx="5223">
                  <c:v>0.740088105726872</c:v>
                </c:pt>
                <c:pt idx="5224">
                  <c:v>0.74011299435028199</c:v>
                </c:pt>
                <c:pt idx="5225">
                  <c:v>0.74019607843137303</c:v>
                </c:pt>
                <c:pt idx="5226">
                  <c:v>0.74021352313167199</c:v>
                </c:pt>
                <c:pt idx="5227">
                  <c:v>0.740234375</c:v>
                </c:pt>
                <c:pt idx="5228">
                  <c:v>0.74025974025973995</c:v>
                </c:pt>
                <c:pt idx="5229">
                  <c:v>0.74041297935103201</c:v>
                </c:pt>
                <c:pt idx="5230">
                  <c:v>0.74045801526717603</c:v>
                </c:pt>
                <c:pt idx="5231">
                  <c:v>0.740629685157421</c:v>
                </c:pt>
                <c:pt idx="5232">
                  <c:v>0.74065420560747697</c:v>
                </c:pt>
                <c:pt idx="5233">
                  <c:v>0.74074074074074103</c:v>
                </c:pt>
                <c:pt idx="5234">
                  <c:v>0.74074074074074103</c:v>
                </c:pt>
                <c:pt idx="5235">
                  <c:v>0.74074074074074103</c:v>
                </c:pt>
                <c:pt idx="5236">
                  <c:v>0.74076655052264795</c:v>
                </c:pt>
                <c:pt idx="5237">
                  <c:v>0.74083769633507801</c:v>
                </c:pt>
                <c:pt idx="5238">
                  <c:v>0.740976645435244</c:v>
                </c:pt>
                <c:pt idx="5239">
                  <c:v>0.74108527131782898</c:v>
                </c:pt>
                <c:pt idx="5240">
                  <c:v>0.74109470026064295</c:v>
                </c:pt>
                <c:pt idx="5241">
                  <c:v>0.741127348643006</c:v>
                </c:pt>
                <c:pt idx="5242">
                  <c:v>0.74114441416893695</c:v>
                </c:pt>
                <c:pt idx="5243">
                  <c:v>0.74117647058823499</c:v>
                </c:pt>
                <c:pt idx="5244">
                  <c:v>0.74134245404018795</c:v>
                </c:pt>
                <c:pt idx="5245">
                  <c:v>0.74153846153846203</c:v>
                </c:pt>
                <c:pt idx="5246">
                  <c:v>0.74159292035398205</c:v>
                </c:pt>
                <c:pt idx="5247">
                  <c:v>0.74165341812400598</c:v>
                </c:pt>
                <c:pt idx="5248">
                  <c:v>0.74166666666666703</c:v>
                </c:pt>
                <c:pt idx="5249">
                  <c:v>0.74169741697417002</c:v>
                </c:pt>
                <c:pt idx="5250">
                  <c:v>0.741721854304636</c:v>
                </c:pt>
                <c:pt idx="5251">
                  <c:v>0.74175824175824201</c:v>
                </c:pt>
                <c:pt idx="5252">
                  <c:v>0.74177215189873402</c:v>
                </c:pt>
                <c:pt idx="5253">
                  <c:v>0.74177831912302095</c:v>
                </c:pt>
                <c:pt idx="5254">
                  <c:v>0.74178403755868505</c:v>
                </c:pt>
                <c:pt idx="5255">
                  <c:v>0.74179104477611901</c:v>
                </c:pt>
                <c:pt idx="5256">
                  <c:v>0.74188790560471995</c:v>
                </c:pt>
                <c:pt idx="5257">
                  <c:v>0.74193548387096797</c:v>
                </c:pt>
                <c:pt idx="5258">
                  <c:v>0.74193548387096797</c:v>
                </c:pt>
                <c:pt idx="5259">
                  <c:v>0.74193548387096797</c:v>
                </c:pt>
                <c:pt idx="5260">
                  <c:v>0.74193548387096797</c:v>
                </c:pt>
                <c:pt idx="5261">
                  <c:v>0.74197247706421998</c:v>
                </c:pt>
                <c:pt idx="5262">
                  <c:v>0.74201091192517499</c:v>
                </c:pt>
                <c:pt idx="5263">
                  <c:v>0.74205607476635504</c:v>
                </c:pt>
                <c:pt idx="5264">
                  <c:v>0.74230145867098896</c:v>
                </c:pt>
                <c:pt idx="5265">
                  <c:v>0.74234234234234198</c:v>
                </c:pt>
                <c:pt idx="5266">
                  <c:v>0.74235807860262004</c:v>
                </c:pt>
                <c:pt idx="5267">
                  <c:v>0.74235807860262004</c:v>
                </c:pt>
                <c:pt idx="5268">
                  <c:v>0.74242424242424199</c:v>
                </c:pt>
                <c:pt idx="5269">
                  <c:v>0.74242424242424199</c:v>
                </c:pt>
                <c:pt idx="5270">
                  <c:v>0.74251497005987999</c:v>
                </c:pt>
                <c:pt idx="5271">
                  <c:v>0.74257425742574201</c:v>
                </c:pt>
                <c:pt idx="5272">
                  <c:v>0.74257425742574201</c:v>
                </c:pt>
                <c:pt idx="5273">
                  <c:v>0.74263261296660099</c:v>
                </c:pt>
                <c:pt idx="5274">
                  <c:v>0.74265734265734296</c:v>
                </c:pt>
                <c:pt idx="5275">
                  <c:v>0.74267782426778195</c:v>
                </c:pt>
                <c:pt idx="5276">
                  <c:v>0.74271844660194197</c:v>
                </c:pt>
                <c:pt idx="5277">
                  <c:v>0.74275782155272296</c:v>
                </c:pt>
                <c:pt idx="5278">
                  <c:v>0.74277456647398798</c:v>
                </c:pt>
                <c:pt idx="5279">
                  <c:v>0.74285714285714299</c:v>
                </c:pt>
                <c:pt idx="5280">
                  <c:v>0.74285714285714299</c:v>
                </c:pt>
                <c:pt idx="5281">
                  <c:v>0.74285714285714299</c:v>
                </c:pt>
                <c:pt idx="5282">
                  <c:v>0.74285714285714299</c:v>
                </c:pt>
                <c:pt idx="5283">
                  <c:v>0.74285714285714299</c:v>
                </c:pt>
                <c:pt idx="5284">
                  <c:v>0.74285714285714299</c:v>
                </c:pt>
                <c:pt idx="5285">
                  <c:v>0.74295774647887303</c:v>
                </c:pt>
                <c:pt idx="5286">
                  <c:v>0.74295774647887303</c:v>
                </c:pt>
                <c:pt idx="5287">
                  <c:v>0.74309392265193397</c:v>
                </c:pt>
                <c:pt idx="5288">
                  <c:v>0.74324324324324298</c:v>
                </c:pt>
                <c:pt idx="5289">
                  <c:v>0.74327354260089695</c:v>
                </c:pt>
                <c:pt idx="5290">
                  <c:v>0.74333333333333296</c:v>
                </c:pt>
                <c:pt idx="5291">
                  <c:v>0.74336283185840701</c:v>
                </c:pt>
                <c:pt idx="5292">
                  <c:v>0.74336283185840701</c:v>
                </c:pt>
                <c:pt idx="5293">
                  <c:v>0.74337957124842402</c:v>
                </c:pt>
                <c:pt idx="5294">
                  <c:v>0.74342105263157898</c:v>
                </c:pt>
                <c:pt idx="5295">
                  <c:v>0.74344569288389495</c:v>
                </c:pt>
                <c:pt idx="5296">
                  <c:v>0.74347826086956503</c:v>
                </c:pt>
                <c:pt idx="5297">
                  <c:v>0.74358974358974395</c:v>
                </c:pt>
                <c:pt idx="5298">
                  <c:v>0.74358974358974395</c:v>
                </c:pt>
                <c:pt idx="5299">
                  <c:v>0.743654822335025</c:v>
                </c:pt>
                <c:pt idx="5300">
                  <c:v>0.74369747899159699</c:v>
                </c:pt>
                <c:pt idx="5301">
                  <c:v>0.74371859296482401</c:v>
                </c:pt>
                <c:pt idx="5302">
                  <c:v>0.74374680959673301</c:v>
                </c:pt>
                <c:pt idx="5303">
                  <c:v>0.743859649122807</c:v>
                </c:pt>
                <c:pt idx="5304">
                  <c:v>0.743859649122807</c:v>
                </c:pt>
                <c:pt idx="5305">
                  <c:v>0.74404761904761896</c:v>
                </c:pt>
                <c:pt idx="5306">
                  <c:v>0.74418604651162801</c:v>
                </c:pt>
                <c:pt idx="5307">
                  <c:v>0.74418604651162801</c:v>
                </c:pt>
                <c:pt idx="5308">
                  <c:v>0.74418604651162801</c:v>
                </c:pt>
                <c:pt idx="5309">
                  <c:v>0.74425287356321801</c:v>
                </c:pt>
                <c:pt idx="5310">
                  <c:v>0.744268077601411</c:v>
                </c:pt>
                <c:pt idx="5311">
                  <c:v>0.74430823117337996</c:v>
                </c:pt>
                <c:pt idx="5312">
                  <c:v>0.74432989690721596</c:v>
                </c:pt>
                <c:pt idx="5313">
                  <c:v>0.74436826640548504</c:v>
                </c:pt>
                <c:pt idx="5314">
                  <c:v>0.74437627811860896</c:v>
                </c:pt>
                <c:pt idx="5315">
                  <c:v>0.74442379182156104</c:v>
                </c:pt>
                <c:pt idx="5316">
                  <c:v>0.74444444444444402</c:v>
                </c:pt>
                <c:pt idx="5317">
                  <c:v>0.74449339207048504</c:v>
                </c:pt>
                <c:pt idx="5318">
                  <c:v>0.74452554744525501</c:v>
                </c:pt>
                <c:pt idx="5319">
                  <c:v>0.74452554744525501</c:v>
                </c:pt>
                <c:pt idx="5320">
                  <c:v>0.74454828660436101</c:v>
                </c:pt>
                <c:pt idx="5321">
                  <c:v>0.74456521739130399</c:v>
                </c:pt>
                <c:pt idx="5322">
                  <c:v>0.74456521739130399</c:v>
                </c:pt>
                <c:pt idx="5323">
                  <c:v>0.74462540716612402</c:v>
                </c:pt>
                <c:pt idx="5324">
                  <c:v>0.74463519313304705</c:v>
                </c:pt>
                <c:pt idx="5325">
                  <c:v>0.74468085106382997</c:v>
                </c:pt>
                <c:pt idx="5326">
                  <c:v>0.74468085106382997</c:v>
                </c:pt>
                <c:pt idx="5327">
                  <c:v>0.74474474474474495</c:v>
                </c:pt>
                <c:pt idx="5328">
                  <c:v>0.74484536082474195</c:v>
                </c:pt>
                <c:pt idx="5329">
                  <c:v>0.744881889763779</c:v>
                </c:pt>
                <c:pt idx="5330">
                  <c:v>0.74491392801251899</c:v>
                </c:pt>
                <c:pt idx="5331">
                  <c:v>0.74497991967871502</c:v>
                </c:pt>
                <c:pt idx="5332">
                  <c:v>0.745</c:v>
                </c:pt>
                <c:pt idx="5333">
                  <c:v>0.74504950495049505</c:v>
                </c:pt>
                <c:pt idx="5334">
                  <c:v>0.74509803921568596</c:v>
                </c:pt>
                <c:pt idx="5335">
                  <c:v>0.74509803921568596</c:v>
                </c:pt>
                <c:pt idx="5336">
                  <c:v>0.74509803921568596</c:v>
                </c:pt>
                <c:pt idx="5337">
                  <c:v>0.74528301886792403</c:v>
                </c:pt>
                <c:pt idx="5338">
                  <c:v>0.74528301886792403</c:v>
                </c:pt>
                <c:pt idx="5339">
                  <c:v>0.74534161490683204</c:v>
                </c:pt>
                <c:pt idx="5340">
                  <c:v>0.74542682926829296</c:v>
                </c:pt>
                <c:pt idx="5341">
                  <c:v>0.74545454545454504</c:v>
                </c:pt>
                <c:pt idx="5342">
                  <c:v>0.74545454545454504</c:v>
                </c:pt>
                <c:pt idx="5343">
                  <c:v>0.74545454545454504</c:v>
                </c:pt>
                <c:pt idx="5344">
                  <c:v>0.74546675621222303</c:v>
                </c:pt>
                <c:pt idx="5345">
                  <c:v>0.74550898203592797</c:v>
                </c:pt>
                <c:pt idx="5346">
                  <c:v>0.74558303886925803</c:v>
                </c:pt>
                <c:pt idx="5347">
                  <c:v>0.74570446735395202</c:v>
                </c:pt>
                <c:pt idx="5348">
                  <c:v>0.74576271186440701</c:v>
                </c:pt>
                <c:pt idx="5349">
                  <c:v>0.74580067189249699</c:v>
                </c:pt>
                <c:pt idx="5350">
                  <c:v>0.74581005586592197</c:v>
                </c:pt>
                <c:pt idx="5351">
                  <c:v>0.74590163934426201</c:v>
                </c:pt>
                <c:pt idx="5352">
                  <c:v>0.74590163934426201</c:v>
                </c:pt>
                <c:pt idx="5353">
                  <c:v>0.74592833876221498</c:v>
                </c:pt>
                <c:pt idx="5354">
                  <c:v>0.74598930481283399</c:v>
                </c:pt>
                <c:pt idx="5355">
                  <c:v>0.74603174603174605</c:v>
                </c:pt>
                <c:pt idx="5356">
                  <c:v>0.74607329842931902</c:v>
                </c:pt>
                <c:pt idx="5357">
                  <c:v>0.74621212121212099</c:v>
                </c:pt>
                <c:pt idx="5358">
                  <c:v>0.74626865671641796</c:v>
                </c:pt>
                <c:pt idx="5359">
                  <c:v>0.74628413411683403</c:v>
                </c:pt>
                <c:pt idx="5360">
                  <c:v>0.74630021141648994</c:v>
                </c:pt>
                <c:pt idx="5361">
                  <c:v>0.74634146341463403</c:v>
                </c:pt>
                <c:pt idx="5362">
                  <c:v>0.74637681159420299</c:v>
                </c:pt>
                <c:pt idx="5363">
                  <c:v>0.74647887323943696</c:v>
                </c:pt>
                <c:pt idx="5364">
                  <c:v>0.74647887323943696</c:v>
                </c:pt>
                <c:pt idx="5365">
                  <c:v>0.74647887323943696</c:v>
                </c:pt>
                <c:pt idx="5366">
                  <c:v>0.74652777777777801</c:v>
                </c:pt>
                <c:pt idx="5367">
                  <c:v>0.74657534246575297</c:v>
                </c:pt>
                <c:pt idx="5368">
                  <c:v>0.74657534246575297</c:v>
                </c:pt>
                <c:pt idx="5369">
                  <c:v>0.74666666666666703</c:v>
                </c:pt>
                <c:pt idx="5370">
                  <c:v>0.74671052631578905</c:v>
                </c:pt>
                <c:pt idx="5371">
                  <c:v>0.74696969696969695</c:v>
                </c:pt>
                <c:pt idx="5372">
                  <c:v>0.74698795180722899</c:v>
                </c:pt>
                <c:pt idx="5373">
                  <c:v>0.74698795180722899</c:v>
                </c:pt>
                <c:pt idx="5374">
                  <c:v>0.74698795180722899</c:v>
                </c:pt>
                <c:pt idx="5375">
                  <c:v>0.74698795180722899</c:v>
                </c:pt>
                <c:pt idx="5376">
                  <c:v>0.747058823529412</c:v>
                </c:pt>
                <c:pt idx="5377">
                  <c:v>0.74706413730804</c:v>
                </c:pt>
                <c:pt idx="5378">
                  <c:v>0.74712643678160895</c:v>
                </c:pt>
                <c:pt idx="5379">
                  <c:v>0.74713584288052404</c:v>
                </c:pt>
                <c:pt idx="5380">
                  <c:v>0.74715909090909105</c:v>
                </c:pt>
                <c:pt idx="5381">
                  <c:v>0.747282608695652</c:v>
                </c:pt>
                <c:pt idx="5382">
                  <c:v>0.74736842105263102</c:v>
                </c:pt>
                <c:pt idx="5383">
                  <c:v>0.74740484429065701</c:v>
                </c:pt>
                <c:pt idx="5384">
                  <c:v>0.747435897435897</c:v>
                </c:pt>
                <c:pt idx="5385">
                  <c:v>0.74745762711864405</c:v>
                </c:pt>
                <c:pt idx="5386">
                  <c:v>0.74757281553398103</c:v>
                </c:pt>
                <c:pt idx="5387">
                  <c:v>0.74757281553398103</c:v>
                </c:pt>
                <c:pt idx="5388">
                  <c:v>0.74761904761904796</c:v>
                </c:pt>
                <c:pt idx="5389">
                  <c:v>0.74767864352038804</c:v>
                </c:pt>
                <c:pt idx="5390">
                  <c:v>0.74773960216998203</c:v>
                </c:pt>
                <c:pt idx="5391">
                  <c:v>0.74780426599749095</c:v>
                </c:pt>
                <c:pt idx="5392">
                  <c:v>0.74782608695652197</c:v>
                </c:pt>
                <c:pt idx="5393">
                  <c:v>0.74782608695652197</c:v>
                </c:pt>
                <c:pt idx="5394">
                  <c:v>0.74782608695652197</c:v>
                </c:pt>
                <c:pt idx="5395">
                  <c:v>0.747899159663865</c:v>
                </c:pt>
                <c:pt idx="5396">
                  <c:v>0.74795081967213095</c:v>
                </c:pt>
                <c:pt idx="5397">
                  <c:v>0.74796084828711196</c:v>
                </c:pt>
                <c:pt idx="5398">
                  <c:v>0.748</c:v>
                </c:pt>
                <c:pt idx="5399">
                  <c:v>0.74803149606299202</c:v>
                </c:pt>
                <c:pt idx="5400">
                  <c:v>0.74803149606299202</c:v>
                </c:pt>
                <c:pt idx="5401">
                  <c:v>0.74803836094158704</c:v>
                </c:pt>
                <c:pt idx="5402">
                  <c:v>0.74806201550387597</c:v>
                </c:pt>
                <c:pt idx="5403">
                  <c:v>0.74814814814814801</c:v>
                </c:pt>
                <c:pt idx="5404">
                  <c:v>0.74820143884892099</c:v>
                </c:pt>
                <c:pt idx="5405">
                  <c:v>0.74828060522696005</c:v>
                </c:pt>
                <c:pt idx="5406">
                  <c:v>0.74829931972789099</c:v>
                </c:pt>
                <c:pt idx="5407">
                  <c:v>0.74832214765100702</c:v>
                </c:pt>
                <c:pt idx="5408">
                  <c:v>0.74845995893223805</c:v>
                </c:pt>
                <c:pt idx="5409">
                  <c:v>0.74852071005917198</c:v>
                </c:pt>
                <c:pt idx="5410">
                  <c:v>0.74853801169590595</c:v>
                </c:pt>
                <c:pt idx="5411">
                  <c:v>0.748571428571428</c:v>
                </c:pt>
                <c:pt idx="5412">
                  <c:v>0.74860335195530703</c:v>
                </c:pt>
                <c:pt idx="5413">
                  <c:v>0.74863883847549895</c:v>
                </c:pt>
                <c:pt idx="5414">
                  <c:v>0.74866310160427796</c:v>
                </c:pt>
                <c:pt idx="5415">
                  <c:v>0.74871794871794894</c:v>
                </c:pt>
                <c:pt idx="5416">
                  <c:v>0.74874371859296496</c:v>
                </c:pt>
                <c:pt idx="5417">
                  <c:v>0.74874371859296496</c:v>
                </c:pt>
                <c:pt idx="5418">
                  <c:v>0.74879227053140096</c:v>
                </c:pt>
                <c:pt idx="5419">
                  <c:v>0.74880382775119603</c:v>
                </c:pt>
                <c:pt idx="5420">
                  <c:v>0.74885844748858399</c:v>
                </c:pt>
                <c:pt idx="5421">
                  <c:v>0.74904214559386995</c:v>
                </c:pt>
                <c:pt idx="5422">
                  <c:v>0.74911032028469704</c:v>
                </c:pt>
                <c:pt idx="5423">
                  <c:v>0.74912648497554102</c:v>
                </c:pt>
                <c:pt idx="5424">
                  <c:v>0.74916387959866204</c:v>
                </c:pt>
                <c:pt idx="5425">
                  <c:v>0.74916387959866204</c:v>
                </c:pt>
                <c:pt idx="5426">
                  <c:v>0.74918032786885203</c:v>
                </c:pt>
                <c:pt idx="5427">
                  <c:v>0.749185667752443</c:v>
                </c:pt>
                <c:pt idx="5428">
                  <c:v>0.74919268030139896</c:v>
                </c:pt>
                <c:pt idx="5429">
                  <c:v>0.74920634920634899</c:v>
                </c:pt>
                <c:pt idx="5430">
                  <c:v>0.74921630094043901</c:v>
                </c:pt>
                <c:pt idx="5431">
                  <c:v>0.74932126696832602</c:v>
                </c:pt>
                <c:pt idx="5432">
                  <c:v>0.74938574938574898</c:v>
                </c:pt>
                <c:pt idx="5433">
                  <c:v>0.74948453608247401</c:v>
                </c:pt>
                <c:pt idx="5434">
                  <c:v>0.74954296160877498</c:v>
                </c:pt>
                <c:pt idx="5435">
                  <c:v>0.74962140333165095</c:v>
                </c:pt>
                <c:pt idx="5436">
                  <c:v>0.74968071519795598</c:v>
                </c:pt>
                <c:pt idx="5437">
                  <c:v>0.74975369458128105</c:v>
                </c:pt>
                <c:pt idx="5438">
                  <c:v>0.74979287489643698</c:v>
                </c:pt>
                <c:pt idx="5439">
                  <c:v>0.74984167194426798</c:v>
                </c:pt>
                <c:pt idx="5440">
                  <c:v>0.75</c:v>
                </c:pt>
                <c:pt idx="5441">
                  <c:v>0.75</c:v>
                </c:pt>
                <c:pt idx="5442">
                  <c:v>0.75</c:v>
                </c:pt>
                <c:pt idx="5443">
                  <c:v>0.75</c:v>
                </c:pt>
                <c:pt idx="5444">
                  <c:v>0.75</c:v>
                </c:pt>
                <c:pt idx="5445">
                  <c:v>0.75</c:v>
                </c:pt>
                <c:pt idx="5446">
                  <c:v>0.75</c:v>
                </c:pt>
                <c:pt idx="5447">
                  <c:v>0.75</c:v>
                </c:pt>
                <c:pt idx="5448">
                  <c:v>0.75</c:v>
                </c:pt>
                <c:pt idx="5449">
                  <c:v>0.75</c:v>
                </c:pt>
                <c:pt idx="5450">
                  <c:v>0.75</c:v>
                </c:pt>
                <c:pt idx="5451">
                  <c:v>0.75</c:v>
                </c:pt>
                <c:pt idx="5452">
                  <c:v>0.75</c:v>
                </c:pt>
                <c:pt idx="5453">
                  <c:v>0.75</c:v>
                </c:pt>
                <c:pt idx="5454">
                  <c:v>0.75</c:v>
                </c:pt>
                <c:pt idx="5455">
                  <c:v>0.75</c:v>
                </c:pt>
                <c:pt idx="5456">
                  <c:v>0.75</c:v>
                </c:pt>
                <c:pt idx="5457">
                  <c:v>0.75</c:v>
                </c:pt>
                <c:pt idx="5458">
                  <c:v>0.75</c:v>
                </c:pt>
                <c:pt idx="5459">
                  <c:v>0.75</c:v>
                </c:pt>
                <c:pt idx="5460">
                  <c:v>0.75</c:v>
                </c:pt>
                <c:pt idx="5461">
                  <c:v>0.75</c:v>
                </c:pt>
                <c:pt idx="5462">
                  <c:v>0.75</c:v>
                </c:pt>
                <c:pt idx="5463">
                  <c:v>0.75</c:v>
                </c:pt>
                <c:pt idx="5464">
                  <c:v>0.75</c:v>
                </c:pt>
                <c:pt idx="5465">
                  <c:v>0.75030699959066705</c:v>
                </c:pt>
                <c:pt idx="5466">
                  <c:v>0.750346740638003</c:v>
                </c:pt>
                <c:pt idx="5467">
                  <c:v>0.75036179450072404</c:v>
                </c:pt>
                <c:pt idx="5468">
                  <c:v>0.750385208012327</c:v>
                </c:pt>
                <c:pt idx="5469">
                  <c:v>0.75038759689922496</c:v>
                </c:pt>
                <c:pt idx="5470">
                  <c:v>0.75043327556325801</c:v>
                </c:pt>
                <c:pt idx="5471">
                  <c:v>0.750544662309368</c:v>
                </c:pt>
                <c:pt idx="5472">
                  <c:v>0.75059952038369304</c:v>
                </c:pt>
                <c:pt idx="5473">
                  <c:v>0.75064599483204097</c:v>
                </c:pt>
                <c:pt idx="5474">
                  <c:v>0.75066079295154198</c:v>
                </c:pt>
                <c:pt idx="5475">
                  <c:v>0.75071633237822299</c:v>
                </c:pt>
                <c:pt idx="5476">
                  <c:v>0.75072463768115905</c:v>
                </c:pt>
                <c:pt idx="5477">
                  <c:v>0.75073313782991202</c:v>
                </c:pt>
                <c:pt idx="5478">
                  <c:v>0.75075075075075104</c:v>
                </c:pt>
                <c:pt idx="5479">
                  <c:v>0.75080385852090004</c:v>
                </c:pt>
                <c:pt idx="5480">
                  <c:v>0.75081967213114698</c:v>
                </c:pt>
                <c:pt idx="5481">
                  <c:v>0.75083612040133796</c:v>
                </c:pt>
                <c:pt idx="5482">
                  <c:v>0.750977835723598</c:v>
                </c:pt>
                <c:pt idx="5483">
                  <c:v>0.75098814229249</c:v>
                </c:pt>
                <c:pt idx="5484">
                  <c:v>0.75103163686382401</c:v>
                </c:pt>
                <c:pt idx="5485">
                  <c:v>0.75105485232067504</c:v>
                </c:pt>
                <c:pt idx="5486">
                  <c:v>0.75105485232067504</c:v>
                </c:pt>
                <c:pt idx="5487">
                  <c:v>0.75107296137338997</c:v>
                </c:pt>
                <c:pt idx="5488">
                  <c:v>0.75107296137338997</c:v>
                </c:pt>
                <c:pt idx="5489">
                  <c:v>0.75109170305676798</c:v>
                </c:pt>
                <c:pt idx="5490">
                  <c:v>0.75109170305676798</c:v>
                </c:pt>
                <c:pt idx="5491">
                  <c:v>0.75109170305676798</c:v>
                </c:pt>
                <c:pt idx="5492">
                  <c:v>0.75114155251141501</c:v>
                </c:pt>
                <c:pt idx="5493">
                  <c:v>0.75115919629057204</c:v>
                </c:pt>
                <c:pt idx="5494">
                  <c:v>0.75117370892018798</c:v>
                </c:pt>
                <c:pt idx="5495">
                  <c:v>0.75132275132275095</c:v>
                </c:pt>
                <c:pt idx="5496">
                  <c:v>0.75138121546961301</c:v>
                </c:pt>
                <c:pt idx="5497">
                  <c:v>0.75142314990512304</c:v>
                </c:pt>
                <c:pt idx="5498">
                  <c:v>0.75144508670520205</c:v>
                </c:pt>
                <c:pt idx="5499">
                  <c:v>0.75144508670520205</c:v>
                </c:pt>
                <c:pt idx="5500">
                  <c:v>0.75151515151515103</c:v>
                </c:pt>
                <c:pt idx="5501">
                  <c:v>0.75152439024390205</c:v>
                </c:pt>
                <c:pt idx="5502">
                  <c:v>0.75159235668789803</c:v>
                </c:pt>
                <c:pt idx="5503">
                  <c:v>0.75159235668789803</c:v>
                </c:pt>
                <c:pt idx="5504">
                  <c:v>0.75161290322580598</c:v>
                </c:pt>
                <c:pt idx="5505">
                  <c:v>0.75163398692810401</c:v>
                </c:pt>
                <c:pt idx="5506">
                  <c:v>0.75163398692810401</c:v>
                </c:pt>
                <c:pt idx="5507">
                  <c:v>0.75167785234899298</c:v>
                </c:pt>
                <c:pt idx="5508">
                  <c:v>0.75167785234899298</c:v>
                </c:pt>
                <c:pt idx="5509">
                  <c:v>0.75172413793103399</c:v>
                </c:pt>
                <c:pt idx="5510">
                  <c:v>0.75174825174825199</c:v>
                </c:pt>
                <c:pt idx="5511">
                  <c:v>0.75174825174825199</c:v>
                </c:pt>
                <c:pt idx="5512">
                  <c:v>0.75177304964539005</c:v>
                </c:pt>
                <c:pt idx="5513">
                  <c:v>0.75182481751824803</c:v>
                </c:pt>
                <c:pt idx="5514">
                  <c:v>0.75185185185185199</c:v>
                </c:pt>
                <c:pt idx="5515">
                  <c:v>0.75189873417721498</c:v>
                </c:pt>
                <c:pt idx="5516">
                  <c:v>0.75196232339089497</c:v>
                </c:pt>
                <c:pt idx="5517">
                  <c:v>0.75197472353870398</c:v>
                </c:pt>
                <c:pt idx="5518">
                  <c:v>0.75205254515599296</c:v>
                </c:pt>
                <c:pt idx="5519">
                  <c:v>0.75209643605870002</c:v>
                </c:pt>
                <c:pt idx="5520">
                  <c:v>0.75210792580101204</c:v>
                </c:pt>
                <c:pt idx="5521">
                  <c:v>0.75211864406779705</c:v>
                </c:pt>
                <c:pt idx="5522">
                  <c:v>0.75213675213675202</c:v>
                </c:pt>
                <c:pt idx="5523">
                  <c:v>0.75220458553791902</c:v>
                </c:pt>
                <c:pt idx="5524">
                  <c:v>0.75221238938053103</c:v>
                </c:pt>
                <c:pt idx="5525">
                  <c:v>0.75231481481481499</c:v>
                </c:pt>
                <c:pt idx="5526">
                  <c:v>0.75232198142414897</c:v>
                </c:pt>
                <c:pt idx="5527">
                  <c:v>0.75239923224568095</c:v>
                </c:pt>
                <c:pt idx="5528">
                  <c:v>0.75245098039215697</c:v>
                </c:pt>
                <c:pt idx="5529">
                  <c:v>0.75263157894736799</c:v>
                </c:pt>
                <c:pt idx="5530">
                  <c:v>0.75265017667844503</c:v>
                </c:pt>
                <c:pt idx="5531">
                  <c:v>0.75268817204301097</c:v>
                </c:pt>
                <c:pt idx="5532">
                  <c:v>0.75274725274725296</c:v>
                </c:pt>
                <c:pt idx="5533">
                  <c:v>0.75284090909090895</c:v>
                </c:pt>
                <c:pt idx="5534">
                  <c:v>0.75287958115183196</c:v>
                </c:pt>
                <c:pt idx="5535">
                  <c:v>0.75288303130148304</c:v>
                </c:pt>
                <c:pt idx="5536">
                  <c:v>0.75291375291375295</c:v>
                </c:pt>
                <c:pt idx="5537">
                  <c:v>0.752941176470588</c:v>
                </c:pt>
                <c:pt idx="5538">
                  <c:v>0.75296912114014203</c:v>
                </c:pt>
                <c:pt idx="5539">
                  <c:v>0.75298804780876505</c:v>
                </c:pt>
                <c:pt idx="5540">
                  <c:v>0.75310834813499095</c:v>
                </c:pt>
                <c:pt idx="5541">
                  <c:v>0.75311203319502096</c:v>
                </c:pt>
                <c:pt idx="5542">
                  <c:v>0.75315048183839906</c:v>
                </c:pt>
                <c:pt idx="5543">
                  <c:v>0.75327510917030605</c:v>
                </c:pt>
                <c:pt idx="5544">
                  <c:v>0.75333333333333297</c:v>
                </c:pt>
                <c:pt idx="5545">
                  <c:v>0.75335775335775301</c:v>
                </c:pt>
                <c:pt idx="5546">
                  <c:v>0.75342465753424703</c:v>
                </c:pt>
                <c:pt idx="5547">
                  <c:v>0.75342465753424703</c:v>
                </c:pt>
                <c:pt idx="5548">
                  <c:v>0.75342465753424703</c:v>
                </c:pt>
                <c:pt idx="5549">
                  <c:v>0.75348273773470598</c:v>
                </c:pt>
                <c:pt idx="5550">
                  <c:v>0.75352112676056304</c:v>
                </c:pt>
                <c:pt idx="5551">
                  <c:v>0.75362318840579701</c:v>
                </c:pt>
                <c:pt idx="5552">
                  <c:v>0.75362318840579701</c:v>
                </c:pt>
                <c:pt idx="5553">
                  <c:v>0.75367647058823495</c:v>
                </c:pt>
                <c:pt idx="5554">
                  <c:v>0.75370121130551804</c:v>
                </c:pt>
                <c:pt idx="5555">
                  <c:v>0.75379426644182101</c:v>
                </c:pt>
                <c:pt idx="5556">
                  <c:v>0.75381679389313005</c:v>
                </c:pt>
                <c:pt idx="5557">
                  <c:v>0.75381679389313005</c:v>
                </c:pt>
                <c:pt idx="5558">
                  <c:v>0.75384615384615405</c:v>
                </c:pt>
                <c:pt idx="5559">
                  <c:v>0.75395033860045102</c:v>
                </c:pt>
                <c:pt idx="5560">
                  <c:v>0.75414364640884002</c:v>
                </c:pt>
                <c:pt idx="5561">
                  <c:v>0.75418994413407803</c:v>
                </c:pt>
                <c:pt idx="5562">
                  <c:v>0.75425790754257904</c:v>
                </c:pt>
                <c:pt idx="5563">
                  <c:v>0.75427350427350404</c:v>
                </c:pt>
                <c:pt idx="5564">
                  <c:v>0.75438596491228105</c:v>
                </c:pt>
                <c:pt idx="5565">
                  <c:v>0.75438596491228105</c:v>
                </c:pt>
                <c:pt idx="5566">
                  <c:v>0.75438596491228105</c:v>
                </c:pt>
                <c:pt idx="5567">
                  <c:v>0.75450450450450401</c:v>
                </c:pt>
                <c:pt idx="5568">
                  <c:v>0.75452196382428904</c:v>
                </c:pt>
                <c:pt idx="5569">
                  <c:v>0.75453047775947302</c:v>
                </c:pt>
                <c:pt idx="5570">
                  <c:v>0.75454545454545396</c:v>
                </c:pt>
                <c:pt idx="5571">
                  <c:v>0.75458248472505096</c:v>
                </c:pt>
                <c:pt idx="5572">
                  <c:v>0.75458308693081</c:v>
                </c:pt>
                <c:pt idx="5573">
                  <c:v>0.75464320625610903</c:v>
                </c:pt>
                <c:pt idx="5574">
                  <c:v>0.75471698113207497</c:v>
                </c:pt>
                <c:pt idx="5575">
                  <c:v>0.75478927203065105</c:v>
                </c:pt>
                <c:pt idx="5576">
                  <c:v>0.75480769230769196</c:v>
                </c:pt>
                <c:pt idx="5577">
                  <c:v>0.75480769230769196</c:v>
                </c:pt>
                <c:pt idx="5578">
                  <c:v>0.75483870967741895</c:v>
                </c:pt>
                <c:pt idx="5579">
                  <c:v>0.754874651810585</c:v>
                </c:pt>
                <c:pt idx="5580">
                  <c:v>0.75488454706927199</c:v>
                </c:pt>
                <c:pt idx="5581">
                  <c:v>0.75498575498575504</c:v>
                </c:pt>
                <c:pt idx="5582">
                  <c:v>0.75502392344497604</c:v>
                </c:pt>
                <c:pt idx="5583">
                  <c:v>0.75510204081632604</c:v>
                </c:pt>
                <c:pt idx="5584">
                  <c:v>0.75510204081632604</c:v>
                </c:pt>
                <c:pt idx="5585">
                  <c:v>0.75510204081632604</c:v>
                </c:pt>
                <c:pt idx="5586">
                  <c:v>0.75514018691588802</c:v>
                </c:pt>
                <c:pt idx="5587">
                  <c:v>0.75516224188790604</c:v>
                </c:pt>
                <c:pt idx="5588">
                  <c:v>0.755186721991701</c:v>
                </c:pt>
                <c:pt idx="5589">
                  <c:v>0.75525269733106204</c:v>
                </c:pt>
                <c:pt idx="5590">
                  <c:v>0.75528700906344404</c:v>
                </c:pt>
                <c:pt idx="5591">
                  <c:v>0.75530410183875496</c:v>
                </c:pt>
                <c:pt idx="5592">
                  <c:v>0.75531914893617003</c:v>
                </c:pt>
                <c:pt idx="5593">
                  <c:v>0.75537634408602095</c:v>
                </c:pt>
                <c:pt idx="5594">
                  <c:v>0.75541125541125498</c:v>
                </c:pt>
                <c:pt idx="5595">
                  <c:v>0.75541125541125498</c:v>
                </c:pt>
                <c:pt idx="5596">
                  <c:v>0.755424063116371</c:v>
                </c:pt>
                <c:pt idx="5597">
                  <c:v>0.75546719681908503</c:v>
                </c:pt>
                <c:pt idx="5598">
                  <c:v>0.75547445255474399</c:v>
                </c:pt>
                <c:pt idx="5599">
                  <c:v>0.75549450549450503</c:v>
                </c:pt>
                <c:pt idx="5600">
                  <c:v>0.75555555555555498</c:v>
                </c:pt>
                <c:pt idx="5601">
                  <c:v>0.75555555555555498</c:v>
                </c:pt>
                <c:pt idx="5602">
                  <c:v>0.75560081466395101</c:v>
                </c:pt>
                <c:pt idx="5603">
                  <c:v>0.75566150178784297</c:v>
                </c:pt>
                <c:pt idx="5604">
                  <c:v>0.75568181818181801</c:v>
                </c:pt>
                <c:pt idx="5605">
                  <c:v>0.75569494882799604</c:v>
                </c:pt>
                <c:pt idx="5606">
                  <c:v>0.75575447570332499</c:v>
                </c:pt>
                <c:pt idx="5607">
                  <c:v>0.75578406169665802</c:v>
                </c:pt>
                <c:pt idx="5608">
                  <c:v>0.75578406169665802</c:v>
                </c:pt>
                <c:pt idx="5609">
                  <c:v>0.75581395348837199</c:v>
                </c:pt>
                <c:pt idx="5610">
                  <c:v>0.75588865096359703</c:v>
                </c:pt>
                <c:pt idx="5611">
                  <c:v>0.75590551181102394</c:v>
                </c:pt>
                <c:pt idx="5612">
                  <c:v>0.75595238095238104</c:v>
                </c:pt>
                <c:pt idx="5613">
                  <c:v>0.75605460149713799</c:v>
                </c:pt>
                <c:pt idx="5614">
                  <c:v>0.75609756097560998</c:v>
                </c:pt>
                <c:pt idx="5615">
                  <c:v>0.75609756097560998</c:v>
                </c:pt>
                <c:pt idx="5616">
                  <c:v>0.75612472160356303</c:v>
                </c:pt>
                <c:pt idx="5617">
                  <c:v>0.75614366729678595</c:v>
                </c:pt>
                <c:pt idx="5618">
                  <c:v>0.75614366729678595</c:v>
                </c:pt>
                <c:pt idx="5619">
                  <c:v>0.75618374558303902</c:v>
                </c:pt>
                <c:pt idx="5620">
                  <c:v>0.75619047619047597</c:v>
                </c:pt>
                <c:pt idx="5621">
                  <c:v>0.75620689655172402</c:v>
                </c:pt>
                <c:pt idx="5622">
                  <c:v>0.75621890547263704</c:v>
                </c:pt>
                <c:pt idx="5623">
                  <c:v>0.75624999999999998</c:v>
                </c:pt>
                <c:pt idx="5624">
                  <c:v>0.75630252100840301</c:v>
                </c:pt>
                <c:pt idx="5625">
                  <c:v>0.75632183908046002</c:v>
                </c:pt>
                <c:pt idx="5626">
                  <c:v>0.75641025641025605</c:v>
                </c:pt>
                <c:pt idx="5627">
                  <c:v>0.75657894736842102</c:v>
                </c:pt>
                <c:pt idx="5628">
                  <c:v>0.75663716814159299</c:v>
                </c:pt>
                <c:pt idx="5629">
                  <c:v>0.75665399239543696</c:v>
                </c:pt>
                <c:pt idx="5630">
                  <c:v>0.75668449197860999</c:v>
                </c:pt>
                <c:pt idx="5631">
                  <c:v>0.75672877846790898</c:v>
                </c:pt>
                <c:pt idx="5632">
                  <c:v>0.75675675675675702</c:v>
                </c:pt>
                <c:pt idx="5633">
                  <c:v>0.75696202531645596</c:v>
                </c:pt>
                <c:pt idx="5634">
                  <c:v>0.75700934579439205</c:v>
                </c:pt>
                <c:pt idx="5635">
                  <c:v>0.75700934579439205</c:v>
                </c:pt>
                <c:pt idx="5636">
                  <c:v>0.75706214689265505</c:v>
                </c:pt>
                <c:pt idx="5637">
                  <c:v>0.75714285714285701</c:v>
                </c:pt>
                <c:pt idx="5638">
                  <c:v>0.75714285714285701</c:v>
                </c:pt>
                <c:pt idx="5639">
                  <c:v>0.75721153846153799</c:v>
                </c:pt>
                <c:pt idx="5640">
                  <c:v>0.75722543352601102</c:v>
                </c:pt>
                <c:pt idx="5641">
                  <c:v>0.75724637681159401</c:v>
                </c:pt>
                <c:pt idx="5642">
                  <c:v>0.75728155339805803</c:v>
                </c:pt>
                <c:pt idx="5643">
                  <c:v>0.75728155339805803</c:v>
                </c:pt>
                <c:pt idx="5644">
                  <c:v>0.75735294117647001</c:v>
                </c:pt>
                <c:pt idx="5645">
                  <c:v>0.75739644970414199</c:v>
                </c:pt>
                <c:pt idx="5646">
                  <c:v>0.75742971887550203</c:v>
                </c:pt>
                <c:pt idx="5647">
                  <c:v>0.75744680851063795</c:v>
                </c:pt>
                <c:pt idx="5648">
                  <c:v>0.75747508305647804</c:v>
                </c:pt>
                <c:pt idx="5649">
                  <c:v>0.75757575757575701</c:v>
                </c:pt>
                <c:pt idx="5650">
                  <c:v>0.75757575757575701</c:v>
                </c:pt>
                <c:pt idx="5651">
                  <c:v>0.75763546798029502</c:v>
                </c:pt>
                <c:pt idx="5652">
                  <c:v>0.757692307692308</c:v>
                </c:pt>
                <c:pt idx="5653">
                  <c:v>0.75770925110132203</c:v>
                </c:pt>
                <c:pt idx="5654">
                  <c:v>0.75775193798449603</c:v>
                </c:pt>
                <c:pt idx="5655">
                  <c:v>0.75776397515527905</c:v>
                </c:pt>
                <c:pt idx="5656">
                  <c:v>0.75776397515527905</c:v>
                </c:pt>
                <c:pt idx="5657">
                  <c:v>0.75782414307004498</c:v>
                </c:pt>
                <c:pt idx="5658">
                  <c:v>0.75789473684210495</c:v>
                </c:pt>
                <c:pt idx="5659">
                  <c:v>0.75789473684210495</c:v>
                </c:pt>
                <c:pt idx="5660">
                  <c:v>0.75794085432639602</c:v>
                </c:pt>
                <c:pt idx="5661">
                  <c:v>0.75796178343948994</c:v>
                </c:pt>
                <c:pt idx="5662">
                  <c:v>0.75799086757990897</c:v>
                </c:pt>
                <c:pt idx="5663">
                  <c:v>0.75811688311688297</c:v>
                </c:pt>
                <c:pt idx="5664">
                  <c:v>0.75812274368231003</c:v>
                </c:pt>
                <c:pt idx="5665">
                  <c:v>0.75813953488372099</c:v>
                </c:pt>
                <c:pt idx="5666">
                  <c:v>0.75820895522387999</c:v>
                </c:pt>
                <c:pt idx="5667">
                  <c:v>0.75824175824175799</c:v>
                </c:pt>
                <c:pt idx="5668">
                  <c:v>0.75824175824175799</c:v>
                </c:pt>
                <c:pt idx="5669">
                  <c:v>0.75826972010178095</c:v>
                </c:pt>
                <c:pt idx="5670">
                  <c:v>0.75830258302582998</c:v>
                </c:pt>
                <c:pt idx="5671">
                  <c:v>0.75830815709969801</c:v>
                </c:pt>
                <c:pt idx="5672">
                  <c:v>0.75830815709969801</c:v>
                </c:pt>
                <c:pt idx="5673">
                  <c:v>0.75831873905429104</c:v>
                </c:pt>
                <c:pt idx="5674">
                  <c:v>0.75836972343522502</c:v>
                </c:pt>
                <c:pt idx="5675">
                  <c:v>0.75838926174496601</c:v>
                </c:pt>
                <c:pt idx="5676">
                  <c:v>0.75851393188854499</c:v>
                </c:pt>
                <c:pt idx="5677">
                  <c:v>0.75853018372703396</c:v>
                </c:pt>
                <c:pt idx="5678">
                  <c:v>0.75853018372703396</c:v>
                </c:pt>
                <c:pt idx="5679">
                  <c:v>0.75862068965517204</c:v>
                </c:pt>
                <c:pt idx="5680">
                  <c:v>0.75866949752300095</c:v>
                </c:pt>
                <c:pt idx="5681">
                  <c:v>0.75867507886435304</c:v>
                </c:pt>
                <c:pt idx="5682">
                  <c:v>0.75874547647768398</c:v>
                </c:pt>
                <c:pt idx="5683">
                  <c:v>0.75890985324947602</c:v>
                </c:pt>
                <c:pt idx="5684">
                  <c:v>0.75892857142857095</c:v>
                </c:pt>
                <c:pt idx="5685">
                  <c:v>0.75892857142857095</c:v>
                </c:pt>
                <c:pt idx="5686">
                  <c:v>0.75892857142857095</c:v>
                </c:pt>
                <c:pt idx="5687">
                  <c:v>0.75903614457831303</c:v>
                </c:pt>
                <c:pt idx="5688">
                  <c:v>0.75903614457831303</c:v>
                </c:pt>
                <c:pt idx="5689">
                  <c:v>0.75903614457831303</c:v>
                </c:pt>
                <c:pt idx="5690">
                  <c:v>0.75906735751295296</c:v>
                </c:pt>
                <c:pt idx="5691">
                  <c:v>0.75909090909090904</c:v>
                </c:pt>
                <c:pt idx="5692">
                  <c:v>0.75925925925925897</c:v>
                </c:pt>
                <c:pt idx="5693">
                  <c:v>0.75925925925925897</c:v>
                </c:pt>
                <c:pt idx="5694">
                  <c:v>0.75925925925925897</c:v>
                </c:pt>
                <c:pt idx="5695">
                  <c:v>0.75929549902152604</c:v>
                </c:pt>
                <c:pt idx="5696">
                  <c:v>0.75934579439252303</c:v>
                </c:pt>
                <c:pt idx="5697">
                  <c:v>0.75937904269081502</c:v>
                </c:pt>
                <c:pt idx="5698">
                  <c:v>0.759439050701187</c:v>
                </c:pt>
                <c:pt idx="5699">
                  <c:v>0.75955678670360105</c:v>
                </c:pt>
                <c:pt idx="5700">
                  <c:v>0.75959079283887498</c:v>
                </c:pt>
                <c:pt idx="5701">
                  <c:v>0.75961538461538503</c:v>
                </c:pt>
                <c:pt idx="5702">
                  <c:v>0.75966850828729304</c:v>
                </c:pt>
                <c:pt idx="5703">
                  <c:v>0.75981524249422605</c:v>
                </c:pt>
                <c:pt idx="5704">
                  <c:v>0.75982532751091703</c:v>
                </c:pt>
                <c:pt idx="5705">
                  <c:v>0.75983436853002095</c:v>
                </c:pt>
                <c:pt idx="5706">
                  <c:v>0.759914255091104</c:v>
                </c:pt>
                <c:pt idx="5707">
                  <c:v>0.76</c:v>
                </c:pt>
                <c:pt idx="5708">
                  <c:v>0.76</c:v>
                </c:pt>
                <c:pt idx="5709">
                  <c:v>0.76</c:v>
                </c:pt>
                <c:pt idx="5710">
                  <c:v>0.76</c:v>
                </c:pt>
                <c:pt idx="5711">
                  <c:v>0.76010101010101006</c:v>
                </c:pt>
                <c:pt idx="5712">
                  <c:v>0.760170293282876</c:v>
                </c:pt>
                <c:pt idx="5713">
                  <c:v>0.76023391812865504</c:v>
                </c:pt>
                <c:pt idx="5714">
                  <c:v>0.76027397260273999</c:v>
                </c:pt>
                <c:pt idx="5715">
                  <c:v>0.76027397260273999</c:v>
                </c:pt>
                <c:pt idx="5716">
                  <c:v>0.76033057851239705</c:v>
                </c:pt>
                <c:pt idx="5717">
                  <c:v>0.76033057851239705</c:v>
                </c:pt>
                <c:pt idx="5718">
                  <c:v>0.76038338658146998</c:v>
                </c:pt>
                <c:pt idx="5719">
                  <c:v>0.76039603960395996</c:v>
                </c:pt>
                <c:pt idx="5720">
                  <c:v>0.76041666666666696</c:v>
                </c:pt>
                <c:pt idx="5721">
                  <c:v>0.76047430830039497</c:v>
                </c:pt>
                <c:pt idx="5722">
                  <c:v>0.760479041916168</c:v>
                </c:pt>
                <c:pt idx="5723">
                  <c:v>0.760479041916168</c:v>
                </c:pt>
                <c:pt idx="5724">
                  <c:v>0.76053215077605296</c:v>
                </c:pt>
                <c:pt idx="5725">
                  <c:v>0.76056338028169002</c:v>
                </c:pt>
                <c:pt idx="5726">
                  <c:v>0.76056338028169002</c:v>
                </c:pt>
                <c:pt idx="5727">
                  <c:v>0.76066199872692497</c:v>
                </c:pt>
                <c:pt idx="5728">
                  <c:v>0.76073619631901801</c:v>
                </c:pt>
                <c:pt idx="5729">
                  <c:v>0.76076555023923398</c:v>
                </c:pt>
                <c:pt idx="5730">
                  <c:v>0.76076555023923398</c:v>
                </c:pt>
                <c:pt idx="5731">
                  <c:v>0.76078431372549005</c:v>
                </c:pt>
                <c:pt idx="5732">
                  <c:v>0.76084538375973298</c:v>
                </c:pt>
                <c:pt idx="5733">
                  <c:v>0.76086956521739102</c:v>
                </c:pt>
                <c:pt idx="5734">
                  <c:v>0.76091476091476096</c:v>
                </c:pt>
                <c:pt idx="5735">
                  <c:v>0.76096997690531198</c:v>
                </c:pt>
                <c:pt idx="5736">
                  <c:v>0.761124121779859</c:v>
                </c:pt>
                <c:pt idx="5737">
                  <c:v>0.76116838487972505</c:v>
                </c:pt>
                <c:pt idx="5738">
                  <c:v>0.76126126126126104</c:v>
                </c:pt>
                <c:pt idx="5739">
                  <c:v>0.76136363636363602</c:v>
                </c:pt>
                <c:pt idx="5740">
                  <c:v>0.76136363636363602</c:v>
                </c:pt>
                <c:pt idx="5741">
                  <c:v>0.76144578313252997</c:v>
                </c:pt>
                <c:pt idx="5742">
                  <c:v>0.76146788990825698</c:v>
                </c:pt>
                <c:pt idx="5743">
                  <c:v>0.76153846153846105</c:v>
                </c:pt>
                <c:pt idx="5744">
                  <c:v>0.76180698151950699</c:v>
                </c:pt>
                <c:pt idx="5745">
                  <c:v>0.76182432432432401</c:v>
                </c:pt>
                <c:pt idx="5746">
                  <c:v>0.76190476190476197</c:v>
                </c:pt>
                <c:pt idx="5747">
                  <c:v>0.76190476190476197</c:v>
                </c:pt>
                <c:pt idx="5748">
                  <c:v>0.76190476190476197</c:v>
                </c:pt>
                <c:pt idx="5749">
                  <c:v>0.76195899772209597</c:v>
                </c:pt>
                <c:pt idx="5750">
                  <c:v>0.76207513416815698</c:v>
                </c:pt>
                <c:pt idx="5751">
                  <c:v>0.76213592233009697</c:v>
                </c:pt>
                <c:pt idx="5752">
                  <c:v>0.76213592233009697</c:v>
                </c:pt>
                <c:pt idx="5753">
                  <c:v>0.76213991769547296</c:v>
                </c:pt>
                <c:pt idx="5754">
                  <c:v>0.76215277777777801</c:v>
                </c:pt>
                <c:pt idx="5755">
                  <c:v>0.76223776223776196</c:v>
                </c:pt>
                <c:pt idx="5756">
                  <c:v>0.76237623762376205</c:v>
                </c:pt>
                <c:pt idx="5757">
                  <c:v>0.76237623762376205</c:v>
                </c:pt>
                <c:pt idx="5758">
                  <c:v>0.76237623762376205</c:v>
                </c:pt>
                <c:pt idx="5759">
                  <c:v>0.76237623762376205</c:v>
                </c:pt>
                <c:pt idx="5760">
                  <c:v>0.76239669421487599</c:v>
                </c:pt>
                <c:pt idx="5761">
                  <c:v>0.76244665718349902</c:v>
                </c:pt>
                <c:pt idx="5762">
                  <c:v>0.76247504990019999</c:v>
                </c:pt>
                <c:pt idx="5763">
                  <c:v>0.76254589963280295</c:v>
                </c:pt>
                <c:pt idx="5764">
                  <c:v>0.76255230125522999</c:v>
                </c:pt>
                <c:pt idx="5765">
                  <c:v>0.76255707762557101</c:v>
                </c:pt>
                <c:pt idx="5766">
                  <c:v>0.76260504201680701</c:v>
                </c:pt>
                <c:pt idx="5767">
                  <c:v>0.76271186440677996</c:v>
                </c:pt>
                <c:pt idx="5768">
                  <c:v>0.76274757690686901</c:v>
                </c:pt>
                <c:pt idx="5769">
                  <c:v>0.762820512820513</c:v>
                </c:pt>
                <c:pt idx="5770">
                  <c:v>0.76293103448275901</c:v>
                </c:pt>
                <c:pt idx="5771">
                  <c:v>0.76305970149253699</c:v>
                </c:pt>
                <c:pt idx="5772">
                  <c:v>0.76307796152548102</c:v>
                </c:pt>
                <c:pt idx="5773">
                  <c:v>0.76311605723370401</c:v>
                </c:pt>
                <c:pt idx="5774">
                  <c:v>0.76313181367690797</c:v>
                </c:pt>
                <c:pt idx="5775">
                  <c:v>0.76315789473684204</c:v>
                </c:pt>
                <c:pt idx="5776">
                  <c:v>0.76329331046312199</c:v>
                </c:pt>
                <c:pt idx="5777">
                  <c:v>0.76329331046312199</c:v>
                </c:pt>
                <c:pt idx="5778">
                  <c:v>0.76331360946745597</c:v>
                </c:pt>
                <c:pt idx="5779">
                  <c:v>0.76341463414634103</c:v>
                </c:pt>
                <c:pt idx="5780">
                  <c:v>0.76343381389252896</c:v>
                </c:pt>
                <c:pt idx="5781">
                  <c:v>0.76346604215456704</c:v>
                </c:pt>
                <c:pt idx="5782">
                  <c:v>0.76356589147286802</c:v>
                </c:pt>
                <c:pt idx="5783">
                  <c:v>0.76361386138613896</c:v>
                </c:pt>
                <c:pt idx="5784">
                  <c:v>0.76373626373626402</c:v>
                </c:pt>
                <c:pt idx="5785">
                  <c:v>0.76380368098159501</c:v>
                </c:pt>
                <c:pt idx="5786">
                  <c:v>0.76381909547738702</c:v>
                </c:pt>
                <c:pt idx="5787">
                  <c:v>0.76388888888888895</c:v>
                </c:pt>
                <c:pt idx="5788">
                  <c:v>0.76415094339622602</c:v>
                </c:pt>
                <c:pt idx="5789">
                  <c:v>0.76422764227642304</c:v>
                </c:pt>
                <c:pt idx="5790">
                  <c:v>0.76422764227642304</c:v>
                </c:pt>
                <c:pt idx="5791">
                  <c:v>0.76433121019108297</c:v>
                </c:pt>
                <c:pt idx="5792">
                  <c:v>0.76433121019108297</c:v>
                </c:pt>
                <c:pt idx="5793">
                  <c:v>0.76435045317220496</c:v>
                </c:pt>
                <c:pt idx="5794">
                  <c:v>0.76441917140536098</c:v>
                </c:pt>
                <c:pt idx="5795">
                  <c:v>0.76442307692307698</c:v>
                </c:pt>
                <c:pt idx="5796">
                  <c:v>0.76461038961038996</c:v>
                </c:pt>
                <c:pt idx="5797">
                  <c:v>0.76466480446927398</c:v>
                </c:pt>
                <c:pt idx="5798">
                  <c:v>0.76470588235294101</c:v>
                </c:pt>
                <c:pt idx="5799">
                  <c:v>0.76470588235294101</c:v>
                </c:pt>
                <c:pt idx="5800">
                  <c:v>0.76470588235294101</c:v>
                </c:pt>
                <c:pt idx="5801">
                  <c:v>0.76470588235294101</c:v>
                </c:pt>
                <c:pt idx="5802">
                  <c:v>0.76470588235294101</c:v>
                </c:pt>
                <c:pt idx="5803">
                  <c:v>0.76500000000000001</c:v>
                </c:pt>
                <c:pt idx="5804">
                  <c:v>0.765021459227468</c:v>
                </c:pt>
                <c:pt idx="5805">
                  <c:v>0.76506024096385505</c:v>
                </c:pt>
                <c:pt idx="5806">
                  <c:v>0.76507936507936503</c:v>
                </c:pt>
                <c:pt idx="5807">
                  <c:v>0.76512455516014199</c:v>
                </c:pt>
                <c:pt idx="5808">
                  <c:v>0.76515151515151503</c:v>
                </c:pt>
                <c:pt idx="5809">
                  <c:v>0.76521739130434796</c:v>
                </c:pt>
                <c:pt idx="5810">
                  <c:v>0.76521739130434796</c:v>
                </c:pt>
                <c:pt idx="5811">
                  <c:v>0.76524390243902396</c:v>
                </c:pt>
                <c:pt idx="5812">
                  <c:v>0.76527777777777795</c:v>
                </c:pt>
                <c:pt idx="5813">
                  <c:v>0.76529338327091101</c:v>
                </c:pt>
                <c:pt idx="5814">
                  <c:v>0.76543209876543195</c:v>
                </c:pt>
                <c:pt idx="5815">
                  <c:v>0.76551724137930999</c:v>
                </c:pt>
                <c:pt idx="5816">
                  <c:v>0.76551724137930999</c:v>
                </c:pt>
                <c:pt idx="5817">
                  <c:v>0.76559546313799598</c:v>
                </c:pt>
                <c:pt idx="5818">
                  <c:v>0.765625</c:v>
                </c:pt>
                <c:pt idx="5819">
                  <c:v>0.765625</c:v>
                </c:pt>
                <c:pt idx="5820">
                  <c:v>0.76569037656903804</c:v>
                </c:pt>
                <c:pt idx="5821">
                  <c:v>0.76569297700435002</c:v>
                </c:pt>
                <c:pt idx="5822">
                  <c:v>0.76572327044025101</c:v>
                </c:pt>
                <c:pt idx="5823">
                  <c:v>0.765822784810126</c:v>
                </c:pt>
                <c:pt idx="5824">
                  <c:v>0.76585365853658505</c:v>
                </c:pt>
                <c:pt idx="5825">
                  <c:v>0.76595744680851097</c:v>
                </c:pt>
                <c:pt idx="5826">
                  <c:v>0.76595744680851097</c:v>
                </c:pt>
                <c:pt idx="5827">
                  <c:v>0.76602564102564097</c:v>
                </c:pt>
                <c:pt idx="5828">
                  <c:v>0.76608629825889496</c:v>
                </c:pt>
                <c:pt idx="5829">
                  <c:v>0.76612480335605704</c:v>
                </c:pt>
                <c:pt idx="5830">
                  <c:v>0.76616915422885601</c:v>
                </c:pt>
                <c:pt idx="5831">
                  <c:v>0.76620370370370405</c:v>
                </c:pt>
                <c:pt idx="5832">
                  <c:v>0.76623376623376604</c:v>
                </c:pt>
                <c:pt idx="5833">
                  <c:v>0.76623376623376604</c:v>
                </c:pt>
                <c:pt idx="5834">
                  <c:v>0.76623376623376604</c:v>
                </c:pt>
                <c:pt idx="5835">
                  <c:v>0.76633663366336602</c:v>
                </c:pt>
                <c:pt idx="5836">
                  <c:v>0.76635514018691597</c:v>
                </c:pt>
                <c:pt idx="5837">
                  <c:v>0.76638655462184901</c:v>
                </c:pt>
                <c:pt idx="5838">
                  <c:v>0.76642335766423297</c:v>
                </c:pt>
                <c:pt idx="5839">
                  <c:v>0.76644736842105299</c:v>
                </c:pt>
                <c:pt idx="5840">
                  <c:v>0.76666666666666705</c:v>
                </c:pt>
                <c:pt idx="5841">
                  <c:v>0.76666666666666705</c:v>
                </c:pt>
                <c:pt idx="5842">
                  <c:v>0.76683937823834203</c:v>
                </c:pt>
                <c:pt idx="5843">
                  <c:v>0.76697736351531298</c:v>
                </c:pt>
                <c:pt idx="5844">
                  <c:v>0.76712328767123295</c:v>
                </c:pt>
                <c:pt idx="5845">
                  <c:v>0.76712328767123295</c:v>
                </c:pt>
                <c:pt idx="5846">
                  <c:v>0.76715686274509798</c:v>
                </c:pt>
                <c:pt idx="5847">
                  <c:v>0.767295597484277</c:v>
                </c:pt>
                <c:pt idx="5848">
                  <c:v>0.76732673267326701</c:v>
                </c:pt>
                <c:pt idx="5849">
                  <c:v>0.76744186046511598</c:v>
                </c:pt>
                <c:pt idx="5850">
                  <c:v>0.76744186046511598</c:v>
                </c:pt>
                <c:pt idx="5851">
                  <c:v>0.76744186046511598</c:v>
                </c:pt>
                <c:pt idx="5852">
                  <c:v>0.76748582230623796</c:v>
                </c:pt>
                <c:pt idx="5853">
                  <c:v>0.76750330250990695</c:v>
                </c:pt>
                <c:pt idx="5854">
                  <c:v>0.76756756756756805</c:v>
                </c:pt>
                <c:pt idx="5855">
                  <c:v>0.76760563380281699</c:v>
                </c:pt>
                <c:pt idx="5856">
                  <c:v>0.76760563380281699</c:v>
                </c:pt>
                <c:pt idx="5857">
                  <c:v>0.76764705882352902</c:v>
                </c:pt>
                <c:pt idx="5858">
                  <c:v>0.76767676767676796</c:v>
                </c:pt>
                <c:pt idx="5859">
                  <c:v>0.76777251184834105</c:v>
                </c:pt>
                <c:pt idx="5860">
                  <c:v>0.76785714285714302</c:v>
                </c:pt>
                <c:pt idx="5861">
                  <c:v>0.76785714285714302</c:v>
                </c:pt>
                <c:pt idx="5862">
                  <c:v>0.76790450928382004</c:v>
                </c:pt>
                <c:pt idx="5863">
                  <c:v>0.76800000000000002</c:v>
                </c:pt>
                <c:pt idx="5864">
                  <c:v>0.76801801801801795</c:v>
                </c:pt>
                <c:pt idx="5865">
                  <c:v>0.76802507836990597</c:v>
                </c:pt>
                <c:pt idx="5866">
                  <c:v>0.76811594202898503</c:v>
                </c:pt>
                <c:pt idx="5867">
                  <c:v>0.76816860465116299</c:v>
                </c:pt>
                <c:pt idx="5868">
                  <c:v>0.76829268292682895</c:v>
                </c:pt>
                <c:pt idx="5869">
                  <c:v>0.76833156216790599</c:v>
                </c:pt>
                <c:pt idx="5870">
                  <c:v>0.768421052631579</c:v>
                </c:pt>
                <c:pt idx="5871">
                  <c:v>0.76844783715012699</c:v>
                </c:pt>
                <c:pt idx="5872">
                  <c:v>0.76851851851851805</c:v>
                </c:pt>
                <c:pt idx="5873">
                  <c:v>0.76851851851851805</c:v>
                </c:pt>
                <c:pt idx="5874">
                  <c:v>0.76854599406528201</c:v>
                </c:pt>
                <c:pt idx="5875">
                  <c:v>0.76865671641791</c:v>
                </c:pt>
                <c:pt idx="5876">
                  <c:v>0.76870748299319702</c:v>
                </c:pt>
                <c:pt idx="5877">
                  <c:v>0.76876267748478699</c:v>
                </c:pt>
                <c:pt idx="5878">
                  <c:v>0.76876876876876898</c:v>
                </c:pt>
                <c:pt idx="5879">
                  <c:v>0.76878612716762995</c:v>
                </c:pt>
                <c:pt idx="5880">
                  <c:v>0.76913730255164003</c:v>
                </c:pt>
                <c:pt idx="5881">
                  <c:v>0.76918918918918899</c:v>
                </c:pt>
                <c:pt idx="5882">
                  <c:v>0.76923076923076905</c:v>
                </c:pt>
                <c:pt idx="5883">
                  <c:v>0.76923076923076905</c:v>
                </c:pt>
                <c:pt idx="5884">
                  <c:v>0.76923076923076905</c:v>
                </c:pt>
                <c:pt idx="5885">
                  <c:v>0.76923076923076905</c:v>
                </c:pt>
                <c:pt idx="5886">
                  <c:v>0.76923076923076905</c:v>
                </c:pt>
                <c:pt idx="5887">
                  <c:v>0.76923076923076905</c:v>
                </c:pt>
                <c:pt idx="5888">
                  <c:v>0.76923076923076905</c:v>
                </c:pt>
                <c:pt idx="5889">
                  <c:v>0.76929902395740901</c:v>
                </c:pt>
                <c:pt idx="5890">
                  <c:v>0.76935483870967702</c:v>
                </c:pt>
                <c:pt idx="5891">
                  <c:v>0.76937018577254201</c:v>
                </c:pt>
                <c:pt idx="5892">
                  <c:v>0.76944444444444404</c:v>
                </c:pt>
                <c:pt idx="5893">
                  <c:v>0.76946107784431095</c:v>
                </c:pt>
                <c:pt idx="5894">
                  <c:v>0.76953125</c:v>
                </c:pt>
                <c:pt idx="5895">
                  <c:v>0.769640479360852</c:v>
                </c:pt>
                <c:pt idx="5896">
                  <c:v>0.76966292134831504</c:v>
                </c:pt>
                <c:pt idx="5897">
                  <c:v>0.76967930029154497</c:v>
                </c:pt>
                <c:pt idx="5898">
                  <c:v>0.76973684210526305</c:v>
                </c:pt>
                <c:pt idx="5899">
                  <c:v>0.76973684210526305</c:v>
                </c:pt>
                <c:pt idx="5900">
                  <c:v>0.76982097186700804</c:v>
                </c:pt>
                <c:pt idx="5901">
                  <c:v>0.76992753623188404</c:v>
                </c:pt>
                <c:pt idx="5902">
                  <c:v>0.76993166287015902</c:v>
                </c:pt>
                <c:pt idx="5903">
                  <c:v>0.76993865030674802</c:v>
                </c:pt>
                <c:pt idx="5904">
                  <c:v>0.76995305164319205</c:v>
                </c:pt>
                <c:pt idx="5905">
                  <c:v>0.77003484320557503</c:v>
                </c:pt>
                <c:pt idx="5906">
                  <c:v>0.77008928571428603</c:v>
                </c:pt>
                <c:pt idx="5907">
                  <c:v>0.77011494252873602</c:v>
                </c:pt>
                <c:pt idx="5908">
                  <c:v>0.77013177159589996</c:v>
                </c:pt>
                <c:pt idx="5909">
                  <c:v>0.77015437392795905</c:v>
                </c:pt>
                <c:pt idx="5910">
                  <c:v>0.77018633540372705</c:v>
                </c:pt>
                <c:pt idx="5911">
                  <c:v>0.77018633540372705</c:v>
                </c:pt>
                <c:pt idx="5912">
                  <c:v>0.77030522503879995</c:v>
                </c:pt>
                <c:pt idx="5913">
                  <c:v>0.77033730158730196</c:v>
                </c:pt>
                <c:pt idx="5914">
                  <c:v>0.77034883720930203</c:v>
                </c:pt>
                <c:pt idx="5915">
                  <c:v>0.77035490605428003</c:v>
                </c:pt>
                <c:pt idx="5916">
                  <c:v>0.77036395147313697</c:v>
                </c:pt>
                <c:pt idx="5917">
                  <c:v>0.77040816326530603</c:v>
                </c:pt>
                <c:pt idx="5918">
                  <c:v>0.77042801556420204</c:v>
                </c:pt>
                <c:pt idx="5919">
                  <c:v>0.77042801556420204</c:v>
                </c:pt>
                <c:pt idx="5920">
                  <c:v>0.77049180327868805</c:v>
                </c:pt>
                <c:pt idx="5921">
                  <c:v>0.77049180327868805</c:v>
                </c:pt>
                <c:pt idx="5922">
                  <c:v>0.77049180327868805</c:v>
                </c:pt>
                <c:pt idx="5923">
                  <c:v>0.77053824362606205</c:v>
                </c:pt>
                <c:pt idx="5924">
                  <c:v>0.77055346587856</c:v>
                </c:pt>
                <c:pt idx="5925">
                  <c:v>0.77064220183486198</c:v>
                </c:pt>
                <c:pt idx="5926">
                  <c:v>0.77070063694267499</c:v>
                </c:pt>
                <c:pt idx="5927">
                  <c:v>0.77070063694267499</c:v>
                </c:pt>
                <c:pt idx="5928">
                  <c:v>0.77070063694267499</c:v>
                </c:pt>
                <c:pt idx="5929">
                  <c:v>0.77070063694267499</c:v>
                </c:pt>
                <c:pt idx="5930">
                  <c:v>0.77073170731707297</c:v>
                </c:pt>
                <c:pt idx="5931">
                  <c:v>0.77083333333333304</c:v>
                </c:pt>
                <c:pt idx="5932">
                  <c:v>0.77086092715231802</c:v>
                </c:pt>
                <c:pt idx="5933">
                  <c:v>0.77094972067039103</c:v>
                </c:pt>
                <c:pt idx="5934">
                  <c:v>0.77099236641221403</c:v>
                </c:pt>
                <c:pt idx="5935">
                  <c:v>0.77104642014162095</c:v>
                </c:pt>
                <c:pt idx="5936">
                  <c:v>0.77115987460815005</c:v>
                </c:pt>
                <c:pt idx="5937">
                  <c:v>0.77121067683508104</c:v>
                </c:pt>
                <c:pt idx="5938">
                  <c:v>0.77124183006535896</c:v>
                </c:pt>
                <c:pt idx="5939">
                  <c:v>0.77124183006535896</c:v>
                </c:pt>
                <c:pt idx="5940">
                  <c:v>0.77128116938950997</c:v>
                </c:pt>
                <c:pt idx="5941">
                  <c:v>0.77135171486213805</c:v>
                </c:pt>
                <c:pt idx="5942">
                  <c:v>0.77137870855148305</c:v>
                </c:pt>
                <c:pt idx="5943">
                  <c:v>0.77142857142857102</c:v>
                </c:pt>
                <c:pt idx="5944">
                  <c:v>0.771498771498771</c:v>
                </c:pt>
                <c:pt idx="5945">
                  <c:v>0.77153558052434401</c:v>
                </c:pt>
                <c:pt idx="5946">
                  <c:v>0.77158034528552399</c:v>
                </c:pt>
                <c:pt idx="5947">
                  <c:v>0.771612903225806</c:v>
                </c:pt>
                <c:pt idx="5948">
                  <c:v>0.77164366373902105</c:v>
                </c:pt>
                <c:pt idx="5949">
                  <c:v>0.77168949771689499</c:v>
                </c:pt>
                <c:pt idx="5950">
                  <c:v>0.77177914110429402</c:v>
                </c:pt>
                <c:pt idx="5951">
                  <c:v>0.772020725388601</c:v>
                </c:pt>
                <c:pt idx="5952">
                  <c:v>0.77205882352941202</c:v>
                </c:pt>
                <c:pt idx="5953">
                  <c:v>0.77207977207977196</c:v>
                </c:pt>
                <c:pt idx="5954">
                  <c:v>0.772151898734177</c:v>
                </c:pt>
                <c:pt idx="5955">
                  <c:v>0.77222222222222203</c:v>
                </c:pt>
                <c:pt idx="5956">
                  <c:v>0.77222222222222203</c:v>
                </c:pt>
                <c:pt idx="5957">
                  <c:v>0.77223427331887196</c:v>
                </c:pt>
                <c:pt idx="5958">
                  <c:v>0.77245508982035904</c:v>
                </c:pt>
                <c:pt idx="5959">
                  <c:v>0.772486772486772</c:v>
                </c:pt>
                <c:pt idx="5960">
                  <c:v>0.77251184834123199</c:v>
                </c:pt>
                <c:pt idx="5961">
                  <c:v>0.772519083969466</c:v>
                </c:pt>
                <c:pt idx="5962">
                  <c:v>0.77253218884120201</c:v>
                </c:pt>
                <c:pt idx="5963">
                  <c:v>0.77254901960784295</c:v>
                </c:pt>
                <c:pt idx="5964">
                  <c:v>0.77259475218658902</c:v>
                </c:pt>
                <c:pt idx="5965">
                  <c:v>0.77272727272727304</c:v>
                </c:pt>
                <c:pt idx="5966">
                  <c:v>0.77272727272727304</c:v>
                </c:pt>
                <c:pt idx="5967">
                  <c:v>0.77283372365339598</c:v>
                </c:pt>
                <c:pt idx="5968">
                  <c:v>0.77292576419213999</c:v>
                </c:pt>
                <c:pt idx="5969">
                  <c:v>0.77300613496932502</c:v>
                </c:pt>
                <c:pt idx="5970">
                  <c:v>0.77304964539007104</c:v>
                </c:pt>
                <c:pt idx="5971">
                  <c:v>0.77307692307692299</c:v>
                </c:pt>
                <c:pt idx="5972">
                  <c:v>0.77308707124010501</c:v>
                </c:pt>
                <c:pt idx="5973">
                  <c:v>0.77309007981755995</c:v>
                </c:pt>
                <c:pt idx="5974">
                  <c:v>0.77313432835820906</c:v>
                </c:pt>
                <c:pt idx="5975">
                  <c:v>0.77323420074349403</c:v>
                </c:pt>
                <c:pt idx="5976">
                  <c:v>0.77329192546583803</c:v>
                </c:pt>
                <c:pt idx="5977">
                  <c:v>0.77335640138408301</c:v>
                </c:pt>
                <c:pt idx="5978">
                  <c:v>0.7734375</c:v>
                </c:pt>
                <c:pt idx="5979">
                  <c:v>0.7734375</c:v>
                </c:pt>
                <c:pt idx="5980">
                  <c:v>0.773622047244094</c:v>
                </c:pt>
                <c:pt idx="5981">
                  <c:v>0.77365491651205898</c:v>
                </c:pt>
                <c:pt idx="5982">
                  <c:v>0.77366255144032903</c:v>
                </c:pt>
                <c:pt idx="5983">
                  <c:v>0.77366255144032903</c:v>
                </c:pt>
                <c:pt idx="5984">
                  <c:v>0.77366255144032903</c:v>
                </c:pt>
                <c:pt idx="5985">
                  <c:v>0.77369439071566704</c:v>
                </c:pt>
                <c:pt idx="5986">
                  <c:v>0.773722627737226</c:v>
                </c:pt>
                <c:pt idx="5987">
                  <c:v>0.77374301675977597</c:v>
                </c:pt>
                <c:pt idx="5988">
                  <c:v>0.77376425855513298</c:v>
                </c:pt>
                <c:pt idx="5989">
                  <c:v>0.77380952380952395</c:v>
                </c:pt>
                <c:pt idx="5990">
                  <c:v>0.77386934673366803</c:v>
                </c:pt>
                <c:pt idx="5991">
                  <c:v>0.77388535031847105</c:v>
                </c:pt>
                <c:pt idx="5992">
                  <c:v>0.77419354838709697</c:v>
                </c:pt>
                <c:pt idx="5993">
                  <c:v>0.77430555555555602</c:v>
                </c:pt>
                <c:pt idx="5994">
                  <c:v>0.77435897435897405</c:v>
                </c:pt>
                <c:pt idx="5995">
                  <c:v>0.77441077441077399</c:v>
                </c:pt>
                <c:pt idx="5996">
                  <c:v>0.77443609022556403</c:v>
                </c:pt>
                <c:pt idx="5997">
                  <c:v>0.77454545454545398</c:v>
                </c:pt>
                <c:pt idx="5998">
                  <c:v>0.77464788732394396</c:v>
                </c:pt>
                <c:pt idx="5999">
                  <c:v>0.77464788732394396</c:v>
                </c:pt>
                <c:pt idx="6000">
                  <c:v>0.77469135802469102</c:v>
                </c:pt>
                <c:pt idx="6001">
                  <c:v>0.77488372093023306</c:v>
                </c:pt>
                <c:pt idx="6002">
                  <c:v>0.77494199535962904</c:v>
                </c:pt>
                <c:pt idx="6003">
                  <c:v>0.77496483825597695</c:v>
                </c:pt>
                <c:pt idx="6004">
                  <c:v>0.77500000000000002</c:v>
                </c:pt>
                <c:pt idx="6005">
                  <c:v>0.77500000000000002</c:v>
                </c:pt>
                <c:pt idx="6006">
                  <c:v>0.77500000000000002</c:v>
                </c:pt>
                <c:pt idx="6007">
                  <c:v>0.77502214348981402</c:v>
                </c:pt>
                <c:pt idx="6008">
                  <c:v>0.77510040160642601</c:v>
                </c:pt>
                <c:pt idx="6009">
                  <c:v>0.77513711151736697</c:v>
                </c:pt>
                <c:pt idx="6010">
                  <c:v>0.77528089887640395</c:v>
                </c:pt>
                <c:pt idx="6011">
                  <c:v>0.77533577533577502</c:v>
                </c:pt>
                <c:pt idx="6012">
                  <c:v>0.77541371158392403</c:v>
                </c:pt>
                <c:pt idx="6013">
                  <c:v>0.77543186180422297</c:v>
                </c:pt>
                <c:pt idx="6014">
                  <c:v>0.77551020408163296</c:v>
                </c:pt>
                <c:pt idx="6015">
                  <c:v>0.77551020408163296</c:v>
                </c:pt>
                <c:pt idx="6016">
                  <c:v>0.77551020408163296</c:v>
                </c:pt>
                <c:pt idx="6017">
                  <c:v>0.77551020408163296</c:v>
                </c:pt>
                <c:pt idx="6018">
                  <c:v>0.77564102564102599</c:v>
                </c:pt>
                <c:pt idx="6019">
                  <c:v>0.77566539923954403</c:v>
                </c:pt>
                <c:pt idx="6020">
                  <c:v>0.77580071174377196</c:v>
                </c:pt>
                <c:pt idx="6021">
                  <c:v>0.77586206896551702</c:v>
                </c:pt>
                <c:pt idx="6022">
                  <c:v>0.77589134125636705</c:v>
                </c:pt>
                <c:pt idx="6023">
                  <c:v>0.77595628415300499</c:v>
                </c:pt>
                <c:pt idx="6024">
                  <c:v>0.77600000000000002</c:v>
                </c:pt>
                <c:pt idx="6025">
                  <c:v>0.77604166666666696</c:v>
                </c:pt>
                <c:pt idx="6026">
                  <c:v>0.77606574216743696</c:v>
                </c:pt>
                <c:pt idx="6027">
                  <c:v>0.776173285198556</c:v>
                </c:pt>
                <c:pt idx="6028">
                  <c:v>0.776173285198556</c:v>
                </c:pt>
                <c:pt idx="6029">
                  <c:v>0.77621861152141802</c:v>
                </c:pt>
                <c:pt idx="6030">
                  <c:v>0.77627118644067805</c:v>
                </c:pt>
                <c:pt idx="6031">
                  <c:v>0.77631578947368396</c:v>
                </c:pt>
                <c:pt idx="6032">
                  <c:v>0.77651515151515105</c:v>
                </c:pt>
                <c:pt idx="6033">
                  <c:v>0.77652485904664303</c:v>
                </c:pt>
                <c:pt idx="6034">
                  <c:v>0.77659574468085102</c:v>
                </c:pt>
                <c:pt idx="6035">
                  <c:v>0.77676950998185101</c:v>
                </c:pt>
                <c:pt idx="6036">
                  <c:v>0.77682403433476399</c:v>
                </c:pt>
                <c:pt idx="6037">
                  <c:v>0.77683013503909004</c:v>
                </c:pt>
                <c:pt idx="6038">
                  <c:v>0.77685950413223104</c:v>
                </c:pt>
                <c:pt idx="6039">
                  <c:v>0.77685950413223104</c:v>
                </c:pt>
                <c:pt idx="6040">
                  <c:v>0.77692307692307705</c:v>
                </c:pt>
                <c:pt idx="6041">
                  <c:v>0.77692307692307705</c:v>
                </c:pt>
                <c:pt idx="6042">
                  <c:v>0.77694610778443096</c:v>
                </c:pt>
                <c:pt idx="6043">
                  <c:v>0.77699115044247802</c:v>
                </c:pt>
                <c:pt idx="6044">
                  <c:v>0.77702702702702697</c:v>
                </c:pt>
                <c:pt idx="6045">
                  <c:v>0.77720207253885998</c:v>
                </c:pt>
                <c:pt idx="6046">
                  <c:v>0.77724358974358998</c:v>
                </c:pt>
                <c:pt idx="6047">
                  <c:v>0.77734375</c:v>
                </c:pt>
                <c:pt idx="6048">
                  <c:v>0.77741935483871005</c:v>
                </c:pt>
                <c:pt idx="6049">
                  <c:v>0.77755511022044099</c:v>
                </c:pt>
                <c:pt idx="6050">
                  <c:v>0.77777777777777801</c:v>
                </c:pt>
                <c:pt idx="6051">
                  <c:v>0.77777777777777801</c:v>
                </c:pt>
                <c:pt idx="6052">
                  <c:v>0.77777777777777801</c:v>
                </c:pt>
                <c:pt idx="6053">
                  <c:v>0.77777777777777801</c:v>
                </c:pt>
                <c:pt idx="6054">
                  <c:v>0.77777777777777801</c:v>
                </c:pt>
                <c:pt idx="6055">
                  <c:v>0.77777777777777801</c:v>
                </c:pt>
                <c:pt idx="6056">
                  <c:v>0.77777777777777801</c:v>
                </c:pt>
                <c:pt idx="6057">
                  <c:v>0.77777777777777801</c:v>
                </c:pt>
                <c:pt idx="6058">
                  <c:v>0.77777777777777801</c:v>
                </c:pt>
                <c:pt idx="6059">
                  <c:v>0.77777777777777801</c:v>
                </c:pt>
                <c:pt idx="6060">
                  <c:v>0.77777777777777801</c:v>
                </c:pt>
                <c:pt idx="6061">
                  <c:v>0.77777777777777801</c:v>
                </c:pt>
                <c:pt idx="6062">
                  <c:v>0.77777777777777801</c:v>
                </c:pt>
                <c:pt idx="6063">
                  <c:v>0.77791718946047705</c:v>
                </c:pt>
                <c:pt idx="6064">
                  <c:v>0.77800829875518696</c:v>
                </c:pt>
                <c:pt idx="6065">
                  <c:v>0.77815699658703097</c:v>
                </c:pt>
                <c:pt idx="6066">
                  <c:v>0.77825159914712105</c:v>
                </c:pt>
                <c:pt idx="6067">
                  <c:v>0.77830188679245305</c:v>
                </c:pt>
                <c:pt idx="6068">
                  <c:v>0.77846153846153798</c:v>
                </c:pt>
                <c:pt idx="6069">
                  <c:v>0.77850162866449502</c:v>
                </c:pt>
                <c:pt idx="6070">
                  <c:v>0.77857142857142903</c:v>
                </c:pt>
                <c:pt idx="6071">
                  <c:v>0.77862595419847302</c:v>
                </c:pt>
                <c:pt idx="6072">
                  <c:v>0.77862595419847302</c:v>
                </c:pt>
                <c:pt idx="6073">
                  <c:v>0.77864427114577095</c:v>
                </c:pt>
                <c:pt idx="6074">
                  <c:v>0.77865612648221305</c:v>
                </c:pt>
                <c:pt idx="6075">
                  <c:v>0.77868852459016402</c:v>
                </c:pt>
                <c:pt idx="6076">
                  <c:v>0.77871148459383699</c:v>
                </c:pt>
                <c:pt idx="6077">
                  <c:v>0.77876106194690298</c:v>
                </c:pt>
                <c:pt idx="6078">
                  <c:v>0.77876106194690298</c:v>
                </c:pt>
                <c:pt idx="6079">
                  <c:v>0.77884615384615397</c:v>
                </c:pt>
                <c:pt idx="6080">
                  <c:v>0.77894736842105305</c:v>
                </c:pt>
                <c:pt idx="6081">
                  <c:v>0.77906976744185996</c:v>
                </c:pt>
                <c:pt idx="6082">
                  <c:v>0.77914110429447903</c:v>
                </c:pt>
                <c:pt idx="6083">
                  <c:v>0.77917981072555198</c:v>
                </c:pt>
                <c:pt idx="6084">
                  <c:v>0.77922077922077904</c:v>
                </c:pt>
                <c:pt idx="6085">
                  <c:v>0.77922077922077904</c:v>
                </c:pt>
                <c:pt idx="6086">
                  <c:v>0.77924528301886797</c:v>
                </c:pt>
                <c:pt idx="6087">
                  <c:v>0.77927927927927898</c:v>
                </c:pt>
                <c:pt idx="6088">
                  <c:v>0.77931034482758599</c:v>
                </c:pt>
                <c:pt idx="6089">
                  <c:v>0.77938144329896897</c:v>
                </c:pt>
                <c:pt idx="6090">
                  <c:v>0.77942998760842597</c:v>
                </c:pt>
                <c:pt idx="6091">
                  <c:v>0.77952755905511795</c:v>
                </c:pt>
                <c:pt idx="6092">
                  <c:v>0.77954144620811305</c:v>
                </c:pt>
                <c:pt idx="6093">
                  <c:v>0.77954545454545399</c:v>
                </c:pt>
                <c:pt idx="6094">
                  <c:v>0.77958740499457102</c:v>
                </c:pt>
                <c:pt idx="6095">
                  <c:v>0.77966101694915202</c:v>
                </c:pt>
                <c:pt idx="6096">
                  <c:v>0.77971473851030104</c:v>
                </c:pt>
                <c:pt idx="6097">
                  <c:v>0.77972709551656905</c:v>
                </c:pt>
                <c:pt idx="6098">
                  <c:v>0.77976190476190499</c:v>
                </c:pt>
                <c:pt idx="6099">
                  <c:v>0.77981651376146799</c:v>
                </c:pt>
                <c:pt idx="6100">
                  <c:v>0.77981651376146799</c:v>
                </c:pt>
                <c:pt idx="6101">
                  <c:v>0.77995110024449898</c:v>
                </c:pt>
                <c:pt idx="6102">
                  <c:v>0.78</c:v>
                </c:pt>
                <c:pt idx="6103">
                  <c:v>0.78</c:v>
                </c:pt>
                <c:pt idx="6104">
                  <c:v>0.78</c:v>
                </c:pt>
                <c:pt idx="6105">
                  <c:v>0.780068728522337</c:v>
                </c:pt>
                <c:pt idx="6106">
                  <c:v>0.78020134228187898</c:v>
                </c:pt>
                <c:pt idx="6107">
                  <c:v>0.78021289918597403</c:v>
                </c:pt>
                <c:pt idx="6108">
                  <c:v>0.78021978021978</c:v>
                </c:pt>
                <c:pt idx="6109">
                  <c:v>0.78021978021978</c:v>
                </c:pt>
                <c:pt idx="6110">
                  <c:v>0.780287474332649</c:v>
                </c:pt>
                <c:pt idx="6111">
                  <c:v>0.78040540540540504</c:v>
                </c:pt>
                <c:pt idx="6112">
                  <c:v>0.78048780487804903</c:v>
                </c:pt>
                <c:pt idx="6113">
                  <c:v>0.78063241106719405</c:v>
                </c:pt>
                <c:pt idx="6114">
                  <c:v>0.78064516129032202</c:v>
                </c:pt>
                <c:pt idx="6115">
                  <c:v>0.78065241844769395</c:v>
                </c:pt>
                <c:pt idx="6116">
                  <c:v>0.78073089700996701</c:v>
                </c:pt>
                <c:pt idx="6117">
                  <c:v>0.78074866310160396</c:v>
                </c:pt>
                <c:pt idx="6118">
                  <c:v>0.78078078078078095</c:v>
                </c:pt>
                <c:pt idx="6119">
                  <c:v>0.78078078078078095</c:v>
                </c:pt>
                <c:pt idx="6120">
                  <c:v>0.78082191780821897</c:v>
                </c:pt>
                <c:pt idx="6121">
                  <c:v>0.78097622027534397</c:v>
                </c:pt>
                <c:pt idx="6122">
                  <c:v>0.78100263852242702</c:v>
                </c:pt>
                <c:pt idx="6123">
                  <c:v>0.78102189781021902</c:v>
                </c:pt>
                <c:pt idx="6124">
                  <c:v>0.78114478114478103</c:v>
                </c:pt>
                <c:pt idx="6125">
                  <c:v>0.78130841121495298</c:v>
                </c:pt>
                <c:pt idx="6126">
                  <c:v>0.78136882129277596</c:v>
                </c:pt>
                <c:pt idx="6127">
                  <c:v>0.78145695364238399</c:v>
                </c:pt>
                <c:pt idx="6128">
                  <c:v>0.78147268408551096</c:v>
                </c:pt>
                <c:pt idx="6129">
                  <c:v>0.78149100257069404</c:v>
                </c:pt>
                <c:pt idx="6130">
                  <c:v>0.78169014084507005</c:v>
                </c:pt>
                <c:pt idx="6131">
                  <c:v>0.78181818181818197</c:v>
                </c:pt>
                <c:pt idx="6132">
                  <c:v>0.78181818181818197</c:v>
                </c:pt>
                <c:pt idx="6133">
                  <c:v>0.781844802342606</c:v>
                </c:pt>
                <c:pt idx="6134">
                  <c:v>0.78187403993855598</c:v>
                </c:pt>
                <c:pt idx="6135">
                  <c:v>0.78199052132701397</c:v>
                </c:pt>
                <c:pt idx="6136">
                  <c:v>0.78205128205128205</c:v>
                </c:pt>
                <c:pt idx="6137">
                  <c:v>0.78212290502793302</c:v>
                </c:pt>
                <c:pt idx="6138">
                  <c:v>0.78217821782178198</c:v>
                </c:pt>
                <c:pt idx="6139">
                  <c:v>0.78222222222222204</c:v>
                </c:pt>
                <c:pt idx="6140">
                  <c:v>0.78222222222222204</c:v>
                </c:pt>
                <c:pt idx="6141">
                  <c:v>0.78229665071770305</c:v>
                </c:pt>
                <c:pt idx="6142">
                  <c:v>0.78229665071770305</c:v>
                </c:pt>
                <c:pt idx="6143">
                  <c:v>0.78231292517006801</c:v>
                </c:pt>
                <c:pt idx="6144">
                  <c:v>0.78238341968911895</c:v>
                </c:pt>
                <c:pt idx="6145">
                  <c:v>0.78241758241758197</c:v>
                </c:pt>
                <c:pt idx="6146">
                  <c:v>0.78242677824267803</c:v>
                </c:pt>
                <c:pt idx="6147">
                  <c:v>0.78245614035087696</c:v>
                </c:pt>
                <c:pt idx="6148">
                  <c:v>0.78249999999999997</c:v>
                </c:pt>
                <c:pt idx="6149">
                  <c:v>0.78254545454545399</c:v>
                </c:pt>
                <c:pt idx="6150">
                  <c:v>0.78260869565217395</c:v>
                </c:pt>
                <c:pt idx="6151">
                  <c:v>0.78260869565217395</c:v>
                </c:pt>
                <c:pt idx="6152">
                  <c:v>0.78269617706237404</c:v>
                </c:pt>
                <c:pt idx="6153">
                  <c:v>0.78282828282828298</c:v>
                </c:pt>
                <c:pt idx="6154">
                  <c:v>0.78289473684210498</c:v>
                </c:pt>
                <c:pt idx="6155">
                  <c:v>0.78290993071593495</c:v>
                </c:pt>
                <c:pt idx="6156">
                  <c:v>0.78294573643410803</c:v>
                </c:pt>
                <c:pt idx="6157">
                  <c:v>0.78297872340425501</c:v>
                </c:pt>
                <c:pt idx="6158">
                  <c:v>0.78300180831826405</c:v>
                </c:pt>
                <c:pt idx="6159">
                  <c:v>0.78301886792452802</c:v>
                </c:pt>
                <c:pt idx="6160">
                  <c:v>0.78301886792452802</c:v>
                </c:pt>
                <c:pt idx="6161">
                  <c:v>0.78301886792452802</c:v>
                </c:pt>
                <c:pt idx="6162">
                  <c:v>0.78301886792452802</c:v>
                </c:pt>
                <c:pt idx="6163">
                  <c:v>0.78313253012048201</c:v>
                </c:pt>
                <c:pt idx="6164">
                  <c:v>0.78317152103559895</c:v>
                </c:pt>
                <c:pt idx="6165">
                  <c:v>0.78319327731092403</c:v>
                </c:pt>
                <c:pt idx="6166">
                  <c:v>0.78335949764521196</c:v>
                </c:pt>
                <c:pt idx="6167">
                  <c:v>0.78338590956887499</c:v>
                </c:pt>
                <c:pt idx="6168">
                  <c:v>0.78358208955223896</c:v>
                </c:pt>
                <c:pt idx="6169">
                  <c:v>0.783625730994152</c:v>
                </c:pt>
                <c:pt idx="6170">
                  <c:v>0.783625730994152</c:v>
                </c:pt>
                <c:pt idx="6171">
                  <c:v>0.78378378378378399</c:v>
                </c:pt>
                <c:pt idx="6172">
                  <c:v>0.78378378378378399</c:v>
                </c:pt>
                <c:pt idx="6173">
                  <c:v>0.78401997503121101</c:v>
                </c:pt>
                <c:pt idx="6174">
                  <c:v>0.78401997503121101</c:v>
                </c:pt>
                <c:pt idx="6175">
                  <c:v>0.78402366863905304</c:v>
                </c:pt>
                <c:pt idx="6176">
                  <c:v>0.78409090909090895</c:v>
                </c:pt>
                <c:pt idx="6177">
                  <c:v>0.78414096916299503</c:v>
                </c:pt>
                <c:pt idx="6178">
                  <c:v>0.78425196850393697</c:v>
                </c:pt>
                <c:pt idx="6179">
                  <c:v>0.78429602888086603</c:v>
                </c:pt>
                <c:pt idx="6180">
                  <c:v>0.78431372549019596</c:v>
                </c:pt>
                <c:pt idx="6181">
                  <c:v>0.78431372549019596</c:v>
                </c:pt>
                <c:pt idx="6182">
                  <c:v>0.78438661710037205</c:v>
                </c:pt>
                <c:pt idx="6183">
                  <c:v>0.78438899552143304</c:v>
                </c:pt>
                <c:pt idx="6184">
                  <c:v>0.78440366972477105</c:v>
                </c:pt>
                <c:pt idx="6185">
                  <c:v>0.78443113772455098</c:v>
                </c:pt>
                <c:pt idx="6186">
                  <c:v>0.78448275862068995</c:v>
                </c:pt>
                <c:pt idx="6187">
                  <c:v>0.78461538461538505</c:v>
                </c:pt>
                <c:pt idx="6188">
                  <c:v>0.78466076696165199</c:v>
                </c:pt>
                <c:pt idx="6189">
                  <c:v>0.78469750889679701</c:v>
                </c:pt>
                <c:pt idx="6190">
                  <c:v>0.78472222222222199</c:v>
                </c:pt>
                <c:pt idx="6191">
                  <c:v>0.78478964401294504</c:v>
                </c:pt>
                <c:pt idx="6192">
                  <c:v>0.78497409326424905</c:v>
                </c:pt>
                <c:pt idx="6193">
                  <c:v>0.78500986193293898</c:v>
                </c:pt>
                <c:pt idx="6194">
                  <c:v>0.78504672897196304</c:v>
                </c:pt>
                <c:pt idx="6195">
                  <c:v>0.78512396694214903</c:v>
                </c:pt>
                <c:pt idx="6196">
                  <c:v>0.78516057585825005</c:v>
                </c:pt>
                <c:pt idx="6197">
                  <c:v>0.78518518518518499</c:v>
                </c:pt>
                <c:pt idx="6198">
                  <c:v>0.785263157894737</c:v>
                </c:pt>
                <c:pt idx="6199">
                  <c:v>0.78531073446327704</c:v>
                </c:pt>
                <c:pt idx="6200">
                  <c:v>0.78531073446327704</c:v>
                </c:pt>
                <c:pt idx="6201">
                  <c:v>0.78545454545454496</c:v>
                </c:pt>
                <c:pt idx="6202">
                  <c:v>0.78547854785478499</c:v>
                </c:pt>
                <c:pt idx="6203">
                  <c:v>0.78554216867469895</c:v>
                </c:pt>
                <c:pt idx="6204">
                  <c:v>0.78571428571428603</c:v>
                </c:pt>
                <c:pt idx="6205">
                  <c:v>0.78571428571428603</c:v>
                </c:pt>
                <c:pt idx="6206">
                  <c:v>0.78571428571428603</c:v>
                </c:pt>
                <c:pt idx="6207">
                  <c:v>0.78571428571428603</c:v>
                </c:pt>
                <c:pt idx="6208">
                  <c:v>0.78571428571428603</c:v>
                </c:pt>
                <c:pt idx="6209">
                  <c:v>0.785813630041725</c:v>
                </c:pt>
                <c:pt idx="6210">
                  <c:v>0.78588516746411496</c:v>
                </c:pt>
                <c:pt idx="6211">
                  <c:v>0.78591549295774599</c:v>
                </c:pt>
                <c:pt idx="6212">
                  <c:v>0.785953177257525</c:v>
                </c:pt>
                <c:pt idx="6213">
                  <c:v>0.78608515057113204</c:v>
                </c:pt>
                <c:pt idx="6214">
                  <c:v>0.78613569321533905</c:v>
                </c:pt>
                <c:pt idx="6215">
                  <c:v>0.78620689655172404</c:v>
                </c:pt>
                <c:pt idx="6216">
                  <c:v>0.78620689655172404</c:v>
                </c:pt>
                <c:pt idx="6217">
                  <c:v>0.78623188405797095</c:v>
                </c:pt>
                <c:pt idx="6218">
                  <c:v>0.78629032258064502</c:v>
                </c:pt>
                <c:pt idx="6219">
                  <c:v>0.78636363636363604</c:v>
                </c:pt>
                <c:pt idx="6220">
                  <c:v>0.78640776699029102</c:v>
                </c:pt>
                <c:pt idx="6221">
                  <c:v>0.78640776699029102</c:v>
                </c:pt>
                <c:pt idx="6222">
                  <c:v>0.78640776699029102</c:v>
                </c:pt>
                <c:pt idx="6223">
                  <c:v>0.78645833333333304</c:v>
                </c:pt>
                <c:pt idx="6224">
                  <c:v>0.78651685393258397</c:v>
                </c:pt>
                <c:pt idx="6225">
                  <c:v>0.78651685393258397</c:v>
                </c:pt>
                <c:pt idx="6226">
                  <c:v>0.78656716417910399</c:v>
                </c:pt>
                <c:pt idx="6227">
                  <c:v>0.78678678678678704</c:v>
                </c:pt>
                <c:pt idx="6228">
                  <c:v>0.78684210526315801</c:v>
                </c:pt>
                <c:pt idx="6229">
                  <c:v>0.786885245901639</c:v>
                </c:pt>
                <c:pt idx="6230">
                  <c:v>0.78698224852070997</c:v>
                </c:pt>
                <c:pt idx="6231">
                  <c:v>0.78703703703703698</c:v>
                </c:pt>
                <c:pt idx="6232">
                  <c:v>0.78714859437750995</c:v>
                </c:pt>
                <c:pt idx="6233">
                  <c:v>0.78723404255319096</c:v>
                </c:pt>
                <c:pt idx="6234">
                  <c:v>0.78723404255319096</c:v>
                </c:pt>
                <c:pt idx="6235">
                  <c:v>0.787286063569682</c:v>
                </c:pt>
                <c:pt idx="6236">
                  <c:v>0.78730158730158695</c:v>
                </c:pt>
                <c:pt idx="6237">
                  <c:v>0.78734622144112498</c:v>
                </c:pt>
                <c:pt idx="6238">
                  <c:v>0.78737541528239197</c:v>
                </c:pt>
                <c:pt idx="6239">
                  <c:v>0.78738115816767495</c:v>
                </c:pt>
                <c:pt idx="6240">
                  <c:v>0.78743961352656999</c:v>
                </c:pt>
                <c:pt idx="6241">
                  <c:v>0.78746594005449599</c:v>
                </c:pt>
                <c:pt idx="6242">
                  <c:v>0.78747628083491505</c:v>
                </c:pt>
                <c:pt idx="6243">
                  <c:v>0.78751013787510105</c:v>
                </c:pt>
                <c:pt idx="6244">
                  <c:v>0.787610619469026</c:v>
                </c:pt>
                <c:pt idx="6245">
                  <c:v>0.787610619469026</c:v>
                </c:pt>
                <c:pt idx="6246">
                  <c:v>0.787610619469026</c:v>
                </c:pt>
                <c:pt idx="6247">
                  <c:v>0.78776978417266197</c:v>
                </c:pt>
                <c:pt idx="6248">
                  <c:v>0.78781038374717804</c:v>
                </c:pt>
                <c:pt idx="6249">
                  <c:v>0.78781512605042003</c:v>
                </c:pt>
                <c:pt idx="6250">
                  <c:v>0.78787878787878796</c:v>
                </c:pt>
                <c:pt idx="6251">
                  <c:v>0.78787878787878796</c:v>
                </c:pt>
                <c:pt idx="6252">
                  <c:v>0.78804347826086896</c:v>
                </c:pt>
                <c:pt idx="6253">
                  <c:v>0.78807947019867497</c:v>
                </c:pt>
                <c:pt idx="6254">
                  <c:v>0.78813559322033899</c:v>
                </c:pt>
                <c:pt idx="6255">
                  <c:v>0.78813559322033899</c:v>
                </c:pt>
                <c:pt idx="6256">
                  <c:v>0.78815196394076004</c:v>
                </c:pt>
                <c:pt idx="6257">
                  <c:v>0.78818998716302902</c:v>
                </c:pt>
                <c:pt idx="6258">
                  <c:v>0.78823529411764703</c:v>
                </c:pt>
                <c:pt idx="6259">
                  <c:v>0.78823529411764703</c:v>
                </c:pt>
                <c:pt idx="6260">
                  <c:v>0.78832116788321205</c:v>
                </c:pt>
                <c:pt idx="6261">
                  <c:v>0.78832116788321205</c:v>
                </c:pt>
                <c:pt idx="6262">
                  <c:v>0.78837209302325595</c:v>
                </c:pt>
                <c:pt idx="6263">
                  <c:v>0.78846153846153799</c:v>
                </c:pt>
                <c:pt idx="6264">
                  <c:v>0.78846153846153799</c:v>
                </c:pt>
                <c:pt idx="6265">
                  <c:v>0.78846153846153799</c:v>
                </c:pt>
                <c:pt idx="6266">
                  <c:v>0.78857142857142903</c:v>
                </c:pt>
                <c:pt idx="6267">
                  <c:v>0.78859857482185303</c:v>
                </c:pt>
                <c:pt idx="6268">
                  <c:v>0.78861788617886197</c:v>
                </c:pt>
                <c:pt idx="6269">
                  <c:v>0.78870967741935505</c:v>
                </c:pt>
                <c:pt idx="6270">
                  <c:v>0.78873239436619702</c:v>
                </c:pt>
                <c:pt idx="6271">
                  <c:v>0.78893442622950805</c:v>
                </c:pt>
                <c:pt idx="6272">
                  <c:v>0.78899082568807299</c:v>
                </c:pt>
                <c:pt idx="6273">
                  <c:v>0.78903654485049801</c:v>
                </c:pt>
                <c:pt idx="6274">
                  <c:v>0.78904665314401601</c:v>
                </c:pt>
                <c:pt idx="6275">
                  <c:v>0.7890625</c:v>
                </c:pt>
                <c:pt idx="6276">
                  <c:v>0.78910369068541297</c:v>
                </c:pt>
                <c:pt idx="6277">
                  <c:v>0.78923766816143504</c:v>
                </c:pt>
                <c:pt idx="6278">
                  <c:v>0.78927203065134099</c:v>
                </c:pt>
                <c:pt idx="6279">
                  <c:v>0.78928987194412104</c:v>
                </c:pt>
                <c:pt idx="6280">
                  <c:v>0.78935185185185197</c:v>
                </c:pt>
                <c:pt idx="6281">
                  <c:v>0.78935698447893599</c:v>
                </c:pt>
                <c:pt idx="6282">
                  <c:v>0.78947368421052599</c:v>
                </c:pt>
                <c:pt idx="6283">
                  <c:v>0.78947368421052599</c:v>
                </c:pt>
                <c:pt idx="6284">
                  <c:v>0.78947368421052599</c:v>
                </c:pt>
                <c:pt idx="6285">
                  <c:v>0.78947368421052599</c:v>
                </c:pt>
                <c:pt idx="6286">
                  <c:v>0.78947368421052599</c:v>
                </c:pt>
                <c:pt idx="6287">
                  <c:v>0.78947368421052599</c:v>
                </c:pt>
                <c:pt idx="6288">
                  <c:v>0.78947368421052599</c:v>
                </c:pt>
                <c:pt idx="6289">
                  <c:v>0.78956999085086899</c:v>
                </c:pt>
                <c:pt idx="6290">
                  <c:v>0.789592760180995</c:v>
                </c:pt>
                <c:pt idx="6291">
                  <c:v>0.78964667214461803</c:v>
                </c:pt>
                <c:pt idx="6292">
                  <c:v>0.78966789667896697</c:v>
                </c:pt>
                <c:pt idx="6293">
                  <c:v>0.78969957081545095</c:v>
                </c:pt>
                <c:pt idx="6294">
                  <c:v>0.78980891719745205</c:v>
                </c:pt>
                <c:pt idx="6295">
                  <c:v>0.78980891719745205</c:v>
                </c:pt>
                <c:pt idx="6296">
                  <c:v>0.78982300884955703</c:v>
                </c:pt>
                <c:pt idx="6297">
                  <c:v>0.78995433789954295</c:v>
                </c:pt>
                <c:pt idx="6298">
                  <c:v>0.79003021148036201</c:v>
                </c:pt>
                <c:pt idx="6299">
                  <c:v>0.79007633587786297</c:v>
                </c:pt>
                <c:pt idx="6300">
                  <c:v>0.79009433962264097</c:v>
                </c:pt>
                <c:pt idx="6301">
                  <c:v>0.79015544041450803</c:v>
                </c:pt>
                <c:pt idx="6302">
                  <c:v>0.79017857142857095</c:v>
                </c:pt>
                <c:pt idx="6303">
                  <c:v>0.79032258064516103</c:v>
                </c:pt>
                <c:pt idx="6304">
                  <c:v>0.79032258064516103</c:v>
                </c:pt>
                <c:pt idx="6305">
                  <c:v>0.79032258064516103</c:v>
                </c:pt>
                <c:pt idx="6306">
                  <c:v>0.79038854805726</c:v>
                </c:pt>
                <c:pt idx="6307">
                  <c:v>0.79041916167664705</c:v>
                </c:pt>
                <c:pt idx="6308">
                  <c:v>0.79051383399209496</c:v>
                </c:pt>
                <c:pt idx="6309">
                  <c:v>0.79061371841155204</c:v>
                </c:pt>
                <c:pt idx="6310">
                  <c:v>0.79062500000000002</c:v>
                </c:pt>
                <c:pt idx="6311">
                  <c:v>0.79066022544283399</c:v>
                </c:pt>
                <c:pt idx="6312">
                  <c:v>0.79069767441860495</c:v>
                </c:pt>
                <c:pt idx="6313">
                  <c:v>0.79080459770114897</c:v>
                </c:pt>
                <c:pt idx="6314">
                  <c:v>0.79082321187584304</c:v>
                </c:pt>
                <c:pt idx="6315">
                  <c:v>0.790874524714829</c:v>
                </c:pt>
                <c:pt idx="6316">
                  <c:v>0.79090242112986098</c:v>
                </c:pt>
                <c:pt idx="6317">
                  <c:v>0.79093198992443303</c:v>
                </c:pt>
                <c:pt idx="6318">
                  <c:v>0.79095563139931702</c:v>
                </c:pt>
                <c:pt idx="6319">
                  <c:v>0.79108838568298001</c:v>
                </c:pt>
                <c:pt idx="6320">
                  <c:v>0.791139240506329</c:v>
                </c:pt>
                <c:pt idx="6321">
                  <c:v>0.79118773946360099</c:v>
                </c:pt>
                <c:pt idx="6322">
                  <c:v>0.79132569558101495</c:v>
                </c:pt>
                <c:pt idx="6323">
                  <c:v>0.79148936170212802</c:v>
                </c:pt>
                <c:pt idx="6324">
                  <c:v>0.79148936170212802</c:v>
                </c:pt>
                <c:pt idx="6325">
                  <c:v>0.79155672823219003</c:v>
                </c:pt>
                <c:pt idx="6326">
                  <c:v>0.79160419790104897</c:v>
                </c:pt>
                <c:pt idx="6327">
                  <c:v>0.791619479048698</c:v>
                </c:pt>
                <c:pt idx="6328">
                  <c:v>0.79166666666666696</c:v>
                </c:pt>
                <c:pt idx="6329">
                  <c:v>0.79166666666666696</c:v>
                </c:pt>
                <c:pt idx="6330">
                  <c:v>0.79166666666666696</c:v>
                </c:pt>
                <c:pt idx="6331">
                  <c:v>0.79166666666666696</c:v>
                </c:pt>
                <c:pt idx="6332">
                  <c:v>0.79166666666666696</c:v>
                </c:pt>
                <c:pt idx="6333">
                  <c:v>0.79182156133828996</c:v>
                </c:pt>
                <c:pt idx="6334">
                  <c:v>0.79187817258883197</c:v>
                </c:pt>
                <c:pt idx="6335">
                  <c:v>0.79203539823008795</c:v>
                </c:pt>
                <c:pt idx="6336">
                  <c:v>0.79207920792079201</c:v>
                </c:pt>
                <c:pt idx="6337">
                  <c:v>0.79211469534050205</c:v>
                </c:pt>
                <c:pt idx="6338">
                  <c:v>0.792156862745098</c:v>
                </c:pt>
                <c:pt idx="6339">
                  <c:v>0.79217603911980405</c:v>
                </c:pt>
                <c:pt idx="6340">
                  <c:v>0.79220779220779203</c:v>
                </c:pt>
                <c:pt idx="6341">
                  <c:v>0.79230769230769205</c:v>
                </c:pt>
                <c:pt idx="6342">
                  <c:v>0.79245283018867896</c:v>
                </c:pt>
                <c:pt idx="6343">
                  <c:v>0.792682926829268</c:v>
                </c:pt>
                <c:pt idx="6344">
                  <c:v>0.792682926829268</c:v>
                </c:pt>
                <c:pt idx="6345">
                  <c:v>0.79289940828402405</c:v>
                </c:pt>
                <c:pt idx="6346">
                  <c:v>0.79295154185021999</c:v>
                </c:pt>
                <c:pt idx="6347">
                  <c:v>0.79295774647887296</c:v>
                </c:pt>
                <c:pt idx="6348">
                  <c:v>0.79310344827586199</c:v>
                </c:pt>
                <c:pt idx="6349">
                  <c:v>0.79310344827586199</c:v>
                </c:pt>
                <c:pt idx="6350">
                  <c:v>0.79313632030505199</c:v>
                </c:pt>
                <c:pt idx="6351">
                  <c:v>0.79327521793275202</c:v>
                </c:pt>
                <c:pt idx="6352">
                  <c:v>0.79334098737083802</c:v>
                </c:pt>
                <c:pt idx="6353">
                  <c:v>0.79347826086956497</c:v>
                </c:pt>
                <c:pt idx="6354">
                  <c:v>0.793548387096774</c:v>
                </c:pt>
                <c:pt idx="6355">
                  <c:v>0.79356568364611202</c:v>
                </c:pt>
                <c:pt idx="6356">
                  <c:v>0.79357798165137605</c:v>
                </c:pt>
                <c:pt idx="6357">
                  <c:v>0.793604651162791</c:v>
                </c:pt>
                <c:pt idx="6358">
                  <c:v>0.79361702127659595</c:v>
                </c:pt>
                <c:pt idx="6359">
                  <c:v>0.79362416107382505</c:v>
                </c:pt>
                <c:pt idx="6360">
                  <c:v>0.79365079365079405</c:v>
                </c:pt>
                <c:pt idx="6361">
                  <c:v>0.79365079365079405</c:v>
                </c:pt>
                <c:pt idx="6362">
                  <c:v>0.79365079365079405</c:v>
                </c:pt>
                <c:pt idx="6363">
                  <c:v>0.79365079365079405</c:v>
                </c:pt>
                <c:pt idx="6364">
                  <c:v>0.79365079365079405</c:v>
                </c:pt>
                <c:pt idx="6365">
                  <c:v>0.793682132280355</c:v>
                </c:pt>
                <c:pt idx="6366">
                  <c:v>0.79373848987108597</c:v>
                </c:pt>
                <c:pt idx="6367">
                  <c:v>0.79381443298969101</c:v>
                </c:pt>
                <c:pt idx="6368">
                  <c:v>0.79384615384615398</c:v>
                </c:pt>
                <c:pt idx="6369">
                  <c:v>0.79389032020610995</c:v>
                </c:pt>
                <c:pt idx="6370">
                  <c:v>0.79389312977099202</c:v>
                </c:pt>
                <c:pt idx="6371">
                  <c:v>0.79389312977099202</c:v>
                </c:pt>
                <c:pt idx="6372">
                  <c:v>0.79392971246006405</c:v>
                </c:pt>
                <c:pt idx="6373">
                  <c:v>0.79400260756192997</c:v>
                </c:pt>
                <c:pt idx="6374">
                  <c:v>0.79411764705882304</c:v>
                </c:pt>
                <c:pt idx="6375">
                  <c:v>0.79420084865629403</c:v>
                </c:pt>
                <c:pt idx="6376">
                  <c:v>0.79422382671480096</c:v>
                </c:pt>
                <c:pt idx="6377">
                  <c:v>0.79439252336448596</c:v>
                </c:pt>
                <c:pt idx="6378">
                  <c:v>0.79444444444444395</c:v>
                </c:pt>
                <c:pt idx="6379">
                  <c:v>0.79446640316205497</c:v>
                </c:pt>
                <c:pt idx="6380">
                  <c:v>0.79452054794520499</c:v>
                </c:pt>
                <c:pt idx="6381">
                  <c:v>0.79455977093772401</c:v>
                </c:pt>
                <c:pt idx="6382">
                  <c:v>0.79464285714285698</c:v>
                </c:pt>
                <c:pt idx="6383">
                  <c:v>0.79470198675496695</c:v>
                </c:pt>
                <c:pt idx="6384">
                  <c:v>0.79472140762463295</c:v>
                </c:pt>
                <c:pt idx="6385">
                  <c:v>0.79491833030852999</c:v>
                </c:pt>
                <c:pt idx="6386">
                  <c:v>0.794973544973545</c:v>
                </c:pt>
                <c:pt idx="6387">
                  <c:v>0.79500000000000004</c:v>
                </c:pt>
                <c:pt idx="6388">
                  <c:v>0.79512195121951201</c:v>
                </c:pt>
                <c:pt idx="6389">
                  <c:v>0.79512195121951201</c:v>
                </c:pt>
                <c:pt idx="6390">
                  <c:v>0.79545454545454497</c:v>
                </c:pt>
                <c:pt idx="6391">
                  <c:v>0.79545454545454497</c:v>
                </c:pt>
                <c:pt idx="6392">
                  <c:v>0.79554655870445301</c:v>
                </c:pt>
                <c:pt idx="6393">
                  <c:v>0.79559118236472903</c:v>
                </c:pt>
                <c:pt idx="6394">
                  <c:v>0.79576399394856301</c:v>
                </c:pt>
                <c:pt idx="6395">
                  <c:v>0.79579929988331399</c:v>
                </c:pt>
                <c:pt idx="6396">
                  <c:v>0.79583333333333295</c:v>
                </c:pt>
                <c:pt idx="6397">
                  <c:v>0.79591836734693899</c:v>
                </c:pt>
                <c:pt idx="6398">
                  <c:v>0.79591836734693899</c:v>
                </c:pt>
                <c:pt idx="6399">
                  <c:v>0.79591836734693899</c:v>
                </c:pt>
                <c:pt idx="6400">
                  <c:v>0.79591836734693899</c:v>
                </c:pt>
                <c:pt idx="6401">
                  <c:v>0.79621280432822406</c:v>
                </c:pt>
                <c:pt idx="6402">
                  <c:v>0.79629629629629595</c:v>
                </c:pt>
                <c:pt idx="6403">
                  <c:v>0.79634464751958201</c:v>
                </c:pt>
                <c:pt idx="6404">
                  <c:v>0.79640718562874202</c:v>
                </c:pt>
                <c:pt idx="6405">
                  <c:v>0.79656652360515001</c:v>
                </c:pt>
                <c:pt idx="6406">
                  <c:v>0.79659949622166204</c:v>
                </c:pt>
                <c:pt idx="6407">
                  <c:v>0.79661016949152497</c:v>
                </c:pt>
                <c:pt idx="6408">
                  <c:v>0.79661016949152497</c:v>
                </c:pt>
                <c:pt idx="6409">
                  <c:v>0.79664570230608001</c:v>
                </c:pt>
                <c:pt idx="6410">
                  <c:v>0.79672131147541003</c:v>
                </c:pt>
                <c:pt idx="6411">
                  <c:v>0.79672578444747599</c:v>
                </c:pt>
                <c:pt idx="6412">
                  <c:v>0.79674796747967502</c:v>
                </c:pt>
                <c:pt idx="6413">
                  <c:v>0.796764408493428</c:v>
                </c:pt>
                <c:pt idx="6414">
                  <c:v>0.79684763572679496</c:v>
                </c:pt>
                <c:pt idx="6415">
                  <c:v>0.79685039370078703</c:v>
                </c:pt>
                <c:pt idx="6416">
                  <c:v>0.796875</c:v>
                </c:pt>
                <c:pt idx="6417">
                  <c:v>0.79704797047970499</c:v>
                </c:pt>
                <c:pt idx="6418">
                  <c:v>0.79710144927536197</c:v>
                </c:pt>
                <c:pt idx="6419">
                  <c:v>0.79710144927536197</c:v>
                </c:pt>
                <c:pt idx="6420">
                  <c:v>0.79710144927536197</c:v>
                </c:pt>
                <c:pt idx="6421">
                  <c:v>0.79714285714285704</c:v>
                </c:pt>
                <c:pt idx="6422">
                  <c:v>0.79723502304147498</c:v>
                </c:pt>
                <c:pt idx="6423">
                  <c:v>0.79746835443038</c:v>
                </c:pt>
                <c:pt idx="6424">
                  <c:v>0.79746835443038</c:v>
                </c:pt>
                <c:pt idx="6425">
                  <c:v>0.79746835443038</c:v>
                </c:pt>
                <c:pt idx="6426">
                  <c:v>0.79752066115702502</c:v>
                </c:pt>
                <c:pt idx="6427">
                  <c:v>0.797752808988764</c:v>
                </c:pt>
                <c:pt idx="6428">
                  <c:v>0.79780564263322895</c:v>
                </c:pt>
                <c:pt idx="6429">
                  <c:v>0.79797979797979801</c:v>
                </c:pt>
                <c:pt idx="6430">
                  <c:v>0.79801980198019795</c:v>
                </c:pt>
                <c:pt idx="6431">
                  <c:v>0.79807692307692302</c:v>
                </c:pt>
                <c:pt idx="6432">
                  <c:v>0.79812206572769895</c:v>
                </c:pt>
                <c:pt idx="6433">
                  <c:v>0.798165137614679</c:v>
                </c:pt>
                <c:pt idx="6434">
                  <c:v>0.798165137614679</c:v>
                </c:pt>
                <c:pt idx="6435">
                  <c:v>0.79824561403508798</c:v>
                </c:pt>
                <c:pt idx="6436">
                  <c:v>0.79824561403508798</c:v>
                </c:pt>
                <c:pt idx="6437">
                  <c:v>0.79824561403508798</c:v>
                </c:pt>
                <c:pt idx="6438">
                  <c:v>0.79829545454545403</c:v>
                </c:pt>
                <c:pt idx="6439">
                  <c:v>0.79831932773109204</c:v>
                </c:pt>
                <c:pt idx="6440">
                  <c:v>0.79838709677419295</c:v>
                </c:pt>
                <c:pt idx="6441">
                  <c:v>0.79848866498740501</c:v>
                </c:pt>
                <c:pt idx="6442">
                  <c:v>0.79850746268656703</c:v>
                </c:pt>
                <c:pt idx="6443">
                  <c:v>0.79854809437386598</c:v>
                </c:pt>
                <c:pt idx="6444">
                  <c:v>0.79861111111111105</c:v>
                </c:pt>
                <c:pt idx="6445">
                  <c:v>0.79862306368330505</c:v>
                </c:pt>
                <c:pt idx="6446">
                  <c:v>0.798785117691724</c:v>
                </c:pt>
                <c:pt idx="6447">
                  <c:v>0.79881656804733703</c:v>
                </c:pt>
                <c:pt idx="6448">
                  <c:v>0.79887218045112796</c:v>
                </c:pt>
                <c:pt idx="6449">
                  <c:v>0.79888268156424602</c:v>
                </c:pt>
                <c:pt idx="6450">
                  <c:v>0.79889807162534399</c:v>
                </c:pt>
                <c:pt idx="6451">
                  <c:v>0.79891304347826098</c:v>
                </c:pt>
                <c:pt idx="6452">
                  <c:v>0.79896907216494795</c:v>
                </c:pt>
                <c:pt idx="6453">
                  <c:v>0.79896907216494795</c:v>
                </c:pt>
                <c:pt idx="6454">
                  <c:v>0.79898218829516499</c:v>
                </c:pt>
                <c:pt idx="6455">
                  <c:v>0.79901960784313697</c:v>
                </c:pt>
                <c:pt idx="6456">
                  <c:v>0.79912663755458502</c:v>
                </c:pt>
                <c:pt idx="6457">
                  <c:v>0.79933110367893001</c:v>
                </c:pt>
                <c:pt idx="6458">
                  <c:v>0.79939209726443805</c:v>
                </c:pt>
                <c:pt idx="6459">
                  <c:v>0.79939209726443805</c:v>
                </c:pt>
                <c:pt idx="6460">
                  <c:v>0.79943502824858703</c:v>
                </c:pt>
                <c:pt idx="6461">
                  <c:v>0.79966611018363898</c:v>
                </c:pt>
                <c:pt idx="6462">
                  <c:v>0.8</c:v>
                </c:pt>
                <c:pt idx="6463">
                  <c:v>0.8</c:v>
                </c:pt>
                <c:pt idx="6464">
                  <c:v>0.8</c:v>
                </c:pt>
                <c:pt idx="6465">
                  <c:v>0.8</c:v>
                </c:pt>
                <c:pt idx="6466">
                  <c:v>0.8</c:v>
                </c:pt>
                <c:pt idx="6467">
                  <c:v>0.8</c:v>
                </c:pt>
                <c:pt idx="6468">
                  <c:v>0.8</c:v>
                </c:pt>
                <c:pt idx="6469">
                  <c:v>0.8</c:v>
                </c:pt>
                <c:pt idx="6470">
                  <c:v>0.8</c:v>
                </c:pt>
                <c:pt idx="6471">
                  <c:v>0.8</c:v>
                </c:pt>
                <c:pt idx="6472">
                  <c:v>0.8</c:v>
                </c:pt>
                <c:pt idx="6473">
                  <c:v>0.8</c:v>
                </c:pt>
                <c:pt idx="6474">
                  <c:v>0.8</c:v>
                </c:pt>
                <c:pt idx="6475">
                  <c:v>0.8</c:v>
                </c:pt>
                <c:pt idx="6476">
                  <c:v>0.8</c:v>
                </c:pt>
                <c:pt idx="6477">
                  <c:v>0.8</c:v>
                </c:pt>
                <c:pt idx="6478">
                  <c:v>0.80017528483786104</c:v>
                </c:pt>
                <c:pt idx="6479">
                  <c:v>0.80019120458891002</c:v>
                </c:pt>
                <c:pt idx="6480">
                  <c:v>0.80033557046979897</c:v>
                </c:pt>
                <c:pt idx="6481">
                  <c:v>0.80049413218035803</c:v>
                </c:pt>
                <c:pt idx="6482">
                  <c:v>0.80050505050505005</c:v>
                </c:pt>
                <c:pt idx="6483">
                  <c:v>0.80065359477124198</c:v>
                </c:pt>
                <c:pt idx="6484">
                  <c:v>0.80071174377224197</c:v>
                </c:pt>
                <c:pt idx="6485">
                  <c:v>0.80076628352490398</c:v>
                </c:pt>
                <c:pt idx="6486">
                  <c:v>0.80086580086580095</c:v>
                </c:pt>
                <c:pt idx="6487">
                  <c:v>0.80088495575221197</c:v>
                </c:pt>
                <c:pt idx="6488">
                  <c:v>0.80094786729857803</c:v>
                </c:pt>
                <c:pt idx="6489">
                  <c:v>0.80104712041884796</c:v>
                </c:pt>
                <c:pt idx="6490">
                  <c:v>0.801056338028169</c:v>
                </c:pt>
                <c:pt idx="6491">
                  <c:v>0.80108499095840902</c:v>
                </c:pt>
                <c:pt idx="6492">
                  <c:v>0.80113636363636398</c:v>
                </c:pt>
                <c:pt idx="6493">
                  <c:v>0.80124223602484501</c:v>
                </c:pt>
                <c:pt idx="6494">
                  <c:v>0.80131004366812197</c:v>
                </c:pt>
                <c:pt idx="6495">
                  <c:v>0.80132450331125804</c:v>
                </c:pt>
                <c:pt idx="6496">
                  <c:v>0.80133185349611502</c:v>
                </c:pt>
                <c:pt idx="6497">
                  <c:v>0.80149812734082404</c:v>
                </c:pt>
                <c:pt idx="6498">
                  <c:v>0.80152671755725202</c:v>
                </c:pt>
                <c:pt idx="6499">
                  <c:v>0.80165289256198302</c:v>
                </c:pt>
                <c:pt idx="6500">
                  <c:v>0.80168776371308004</c:v>
                </c:pt>
                <c:pt idx="6501">
                  <c:v>0.80174927113702599</c:v>
                </c:pt>
                <c:pt idx="6502">
                  <c:v>0.80176440062273002</c:v>
                </c:pt>
                <c:pt idx="6503">
                  <c:v>0.80180180180180205</c:v>
                </c:pt>
                <c:pt idx="6504">
                  <c:v>0.80180180180180205</c:v>
                </c:pt>
                <c:pt idx="6505">
                  <c:v>0.80181543116490195</c:v>
                </c:pt>
                <c:pt idx="6506">
                  <c:v>0.80188679245283001</c:v>
                </c:pt>
                <c:pt idx="6507">
                  <c:v>0.80198019801980203</c:v>
                </c:pt>
                <c:pt idx="6508">
                  <c:v>0.80198019801980203</c:v>
                </c:pt>
                <c:pt idx="6509">
                  <c:v>0.80204778156996603</c:v>
                </c:pt>
                <c:pt idx="6510">
                  <c:v>0.80219780219780201</c:v>
                </c:pt>
                <c:pt idx="6511">
                  <c:v>0.80219780219780201</c:v>
                </c:pt>
                <c:pt idx="6512">
                  <c:v>0.80226415094339598</c:v>
                </c:pt>
                <c:pt idx="6513">
                  <c:v>0.80236486486486502</c:v>
                </c:pt>
                <c:pt idx="6514">
                  <c:v>0.80253623188405798</c:v>
                </c:pt>
                <c:pt idx="6515">
                  <c:v>0.802734375</c:v>
                </c:pt>
                <c:pt idx="6516">
                  <c:v>0.80281690140845097</c:v>
                </c:pt>
                <c:pt idx="6517">
                  <c:v>0.80284552845528501</c:v>
                </c:pt>
                <c:pt idx="6518">
                  <c:v>0.802874743326489</c:v>
                </c:pt>
                <c:pt idx="6519">
                  <c:v>0.80288461538461497</c:v>
                </c:pt>
                <c:pt idx="6520">
                  <c:v>0.80291970802919699</c:v>
                </c:pt>
                <c:pt idx="6521">
                  <c:v>0.802955665024631</c:v>
                </c:pt>
                <c:pt idx="6522">
                  <c:v>0.80299251870324195</c:v>
                </c:pt>
                <c:pt idx="6523">
                  <c:v>0.80303030303030298</c:v>
                </c:pt>
                <c:pt idx="6524">
                  <c:v>0.80303030303030298</c:v>
                </c:pt>
                <c:pt idx="6525">
                  <c:v>0.80309627479438805</c:v>
                </c:pt>
                <c:pt idx="6526">
                  <c:v>0.80310880829015496</c:v>
                </c:pt>
                <c:pt idx="6527">
                  <c:v>0.80323450134770902</c:v>
                </c:pt>
                <c:pt idx="6528">
                  <c:v>0.80327868852458995</c:v>
                </c:pt>
                <c:pt idx="6529">
                  <c:v>0.80337078651685401</c:v>
                </c:pt>
                <c:pt idx="6530">
                  <c:v>0.80341880341880301</c:v>
                </c:pt>
                <c:pt idx="6531">
                  <c:v>0.80341880341880301</c:v>
                </c:pt>
                <c:pt idx="6532">
                  <c:v>0.80341880341880301</c:v>
                </c:pt>
                <c:pt idx="6533">
                  <c:v>0.803446418955304</c:v>
                </c:pt>
                <c:pt idx="6534">
                  <c:v>0.80346820809248498</c:v>
                </c:pt>
                <c:pt idx="6535">
                  <c:v>0.80357142857142905</c:v>
                </c:pt>
                <c:pt idx="6536">
                  <c:v>0.80365296803652997</c:v>
                </c:pt>
                <c:pt idx="6537">
                  <c:v>0.80368098159509205</c:v>
                </c:pt>
                <c:pt idx="6538">
                  <c:v>0.80373831775700899</c:v>
                </c:pt>
                <c:pt idx="6539">
                  <c:v>0.80376344086021501</c:v>
                </c:pt>
                <c:pt idx="6540">
                  <c:v>0.80379746835443</c:v>
                </c:pt>
                <c:pt idx="6541">
                  <c:v>0.80379746835443</c:v>
                </c:pt>
                <c:pt idx="6542">
                  <c:v>0.80379746835443</c:v>
                </c:pt>
                <c:pt idx="6543">
                  <c:v>0.80387685290763999</c:v>
                </c:pt>
                <c:pt idx="6544">
                  <c:v>0.80392156862745101</c:v>
                </c:pt>
                <c:pt idx="6545">
                  <c:v>0.80392156862745101</c:v>
                </c:pt>
                <c:pt idx="6546">
                  <c:v>0.80392156862745101</c:v>
                </c:pt>
                <c:pt idx="6547">
                  <c:v>0.80392156862745101</c:v>
                </c:pt>
                <c:pt idx="6548">
                  <c:v>0.80392156862745101</c:v>
                </c:pt>
                <c:pt idx="6549">
                  <c:v>0.80397022332506196</c:v>
                </c:pt>
                <c:pt idx="6550">
                  <c:v>0.80402010050251305</c:v>
                </c:pt>
                <c:pt idx="6551">
                  <c:v>0.80406654343807804</c:v>
                </c:pt>
                <c:pt idx="6552">
                  <c:v>0.804100227790433</c:v>
                </c:pt>
                <c:pt idx="6553">
                  <c:v>0.80412371134020599</c:v>
                </c:pt>
                <c:pt idx="6554">
                  <c:v>0.80412371134020599</c:v>
                </c:pt>
                <c:pt idx="6555">
                  <c:v>0.80419580419580405</c:v>
                </c:pt>
                <c:pt idx="6556">
                  <c:v>0.80434782608695599</c:v>
                </c:pt>
                <c:pt idx="6557">
                  <c:v>0.80439121756486998</c:v>
                </c:pt>
                <c:pt idx="6558">
                  <c:v>0.80457746478873204</c:v>
                </c:pt>
                <c:pt idx="6559">
                  <c:v>0.8046875</c:v>
                </c:pt>
                <c:pt idx="6560">
                  <c:v>0.80481927710843404</c:v>
                </c:pt>
                <c:pt idx="6561">
                  <c:v>0.80487804878048796</c:v>
                </c:pt>
                <c:pt idx="6562">
                  <c:v>0.80487804878048796</c:v>
                </c:pt>
                <c:pt idx="6563">
                  <c:v>0.80487804878048796</c:v>
                </c:pt>
                <c:pt idx="6564">
                  <c:v>0.80493273542600896</c:v>
                </c:pt>
                <c:pt idx="6565">
                  <c:v>0.80519480519480502</c:v>
                </c:pt>
                <c:pt idx="6566">
                  <c:v>0.80530973451327403</c:v>
                </c:pt>
                <c:pt idx="6567">
                  <c:v>0.80530973451327403</c:v>
                </c:pt>
                <c:pt idx="6568">
                  <c:v>0.80533333333333301</c:v>
                </c:pt>
                <c:pt idx="6569">
                  <c:v>0.80534351145038197</c:v>
                </c:pt>
                <c:pt idx="6570">
                  <c:v>0.80541455160744502</c:v>
                </c:pt>
                <c:pt idx="6571">
                  <c:v>0.80545163014430798</c:v>
                </c:pt>
                <c:pt idx="6572">
                  <c:v>0.80569514237855899</c:v>
                </c:pt>
                <c:pt idx="6573">
                  <c:v>0.80569948186528495</c:v>
                </c:pt>
                <c:pt idx="6574">
                  <c:v>0.805755395683453</c:v>
                </c:pt>
                <c:pt idx="6575">
                  <c:v>0.80588235294117605</c:v>
                </c:pt>
                <c:pt idx="6576">
                  <c:v>0.80597014925373101</c:v>
                </c:pt>
                <c:pt idx="6577">
                  <c:v>0.80597014925373101</c:v>
                </c:pt>
                <c:pt idx="6578">
                  <c:v>0.80597014925373101</c:v>
                </c:pt>
                <c:pt idx="6579">
                  <c:v>0.80597014925373101</c:v>
                </c:pt>
                <c:pt idx="6580">
                  <c:v>0.80597014925373101</c:v>
                </c:pt>
                <c:pt idx="6581">
                  <c:v>0.80597014925373101</c:v>
                </c:pt>
                <c:pt idx="6582">
                  <c:v>0.806034482758621</c:v>
                </c:pt>
                <c:pt idx="6583">
                  <c:v>0.806034482758621</c:v>
                </c:pt>
                <c:pt idx="6584">
                  <c:v>0.80606060606060603</c:v>
                </c:pt>
                <c:pt idx="6585">
                  <c:v>0.80612244897959195</c:v>
                </c:pt>
                <c:pt idx="6586">
                  <c:v>0.80612244897959195</c:v>
                </c:pt>
                <c:pt idx="6587">
                  <c:v>0.80616740088105698</c:v>
                </c:pt>
                <c:pt idx="6588">
                  <c:v>0.806201550387597</c:v>
                </c:pt>
                <c:pt idx="6589">
                  <c:v>0.80622837370242195</c:v>
                </c:pt>
                <c:pt idx="6590">
                  <c:v>0.80641106222501602</c:v>
                </c:pt>
                <c:pt idx="6591">
                  <c:v>0.80645161290322598</c:v>
                </c:pt>
                <c:pt idx="6592">
                  <c:v>0.80645161290322598</c:v>
                </c:pt>
                <c:pt idx="6593">
                  <c:v>0.80645161290322598</c:v>
                </c:pt>
                <c:pt idx="6594">
                  <c:v>0.80651340996168597</c:v>
                </c:pt>
                <c:pt idx="6595">
                  <c:v>0.80661577608142498</c:v>
                </c:pt>
                <c:pt idx="6596">
                  <c:v>0.80662983425414403</c:v>
                </c:pt>
                <c:pt idx="6597">
                  <c:v>0.80672268907563005</c:v>
                </c:pt>
                <c:pt idx="6598">
                  <c:v>0.80672268907563005</c:v>
                </c:pt>
                <c:pt idx="6599">
                  <c:v>0.80677966101694898</c:v>
                </c:pt>
                <c:pt idx="6600">
                  <c:v>0.80681818181818199</c:v>
                </c:pt>
                <c:pt idx="6601">
                  <c:v>0.80693069306930698</c:v>
                </c:pt>
                <c:pt idx="6602">
                  <c:v>0.80701754385964897</c:v>
                </c:pt>
                <c:pt idx="6603">
                  <c:v>0.80701754385964897</c:v>
                </c:pt>
                <c:pt idx="6604">
                  <c:v>0.80708661417322802</c:v>
                </c:pt>
                <c:pt idx="6605">
                  <c:v>0.80726698262243302</c:v>
                </c:pt>
                <c:pt idx="6606">
                  <c:v>0.80729166666666696</c:v>
                </c:pt>
                <c:pt idx="6607">
                  <c:v>0.807339449541284</c:v>
                </c:pt>
                <c:pt idx="6608">
                  <c:v>0.80740740740740702</c:v>
                </c:pt>
                <c:pt idx="6609">
                  <c:v>0.80743243243243201</c:v>
                </c:pt>
                <c:pt idx="6610">
                  <c:v>0.80753138075313802</c:v>
                </c:pt>
                <c:pt idx="6611">
                  <c:v>0.807726075504829</c:v>
                </c:pt>
                <c:pt idx="6612">
                  <c:v>0.80778708723509096</c:v>
                </c:pt>
                <c:pt idx="6613">
                  <c:v>0.80780780780780803</c:v>
                </c:pt>
                <c:pt idx="6614">
                  <c:v>0.80786026200873395</c:v>
                </c:pt>
                <c:pt idx="6615">
                  <c:v>0.80804387568555802</c:v>
                </c:pt>
                <c:pt idx="6616">
                  <c:v>0.80821917808219201</c:v>
                </c:pt>
                <c:pt idx="6617">
                  <c:v>0.80851063829787195</c:v>
                </c:pt>
                <c:pt idx="6618">
                  <c:v>0.80851063829787195</c:v>
                </c:pt>
                <c:pt idx="6619">
                  <c:v>0.80851063829787195</c:v>
                </c:pt>
                <c:pt idx="6620">
                  <c:v>0.80851063829787195</c:v>
                </c:pt>
                <c:pt idx="6621">
                  <c:v>0.80864197530864201</c:v>
                </c:pt>
                <c:pt idx="6622">
                  <c:v>0.80882352941176505</c:v>
                </c:pt>
                <c:pt idx="6623">
                  <c:v>0.80882352941176505</c:v>
                </c:pt>
                <c:pt idx="6624">
                  <c:v>0.80888888888888899</c:v>
                </c:pt>
                <c:pt idx="6625">
                  <c:v>0.80891719745222901</c:v>
                </c:pt>
                <c:pt idx="6626">
                  <c:v>0.80895522388059704</c:v>
                </c:pt>
                <c:pt idx="6627">
                  <c:v>0.80898876404494402</c:v>
                </c:pt>
                <c:pt idx="6628">
                  <c:v>0.80898876404494402</c:v>
                </c:pt>
                <c:pt idx="6629">
                  <c:v>0.80899908172635404</c:v>
                </c:pt>
                <c:pt idx="6630">
                  <c:v>0.80904522613065299</c:v>
                </c:pt>
                <c:pt idx="6631">
                  <c:v>0.80916030534351102</c:v>
                </c:pt>
                <c:pt idx="6632">
                  <c:v>0.80916030534351102</c:v>
                </c:pt>
                <c:pt idx="6633">
                  <c:v>0.80919395465995003</c:v>
                </c:pt>
                <c:pt idx="6634">
                  <c:v>0.80928689883913796</c:v>
                </c:pt>
                <c:pt idx="6635">
                  <c:v>0.80935251798561103</c:v>
                </c:pt>
                <c:pt idx="6636">
                  <c:v>0.80949105914718</c:v>
                </c:pt>
                <c:pt idx="6637">
                  <c:v>0.80952380952380898</c:v>
                </c:pt>
                <c:pt idx="6638">
                  <c:v>0.80952380952380898</c:v>
                </c:pt>
                <c:pt idx="6639">
                  <c:v>0.80968096809681001</c:v>
                </c:pt>
                <c:pt idx="6640">
                  <c:v>0.80968280467445697</c:v>
                </c:pt>
                <c:pt idx="6641">
                  <c:v>0.809756097560976</c:v>
                </c:pt>
                <c:pt idx="6642">
                  <c:v>0.80979827089337197</c:v>
                </c:pt>
                <c:pt idx="6643">
                  <c:v>0.80982367758186402</c:v>
                </c:pt>
                <c:pt idx="6644">
                  <c:v>0.80985915492957705</c:v>
                </c:pt>
                <c:pt idx="6645">
                  <c:v>0.80991735537190102</c:v>
                </c:pt>
                <c:pt idx="6646">
                  <c:v>0.80994280686317599</c:v>
                </c:pt>
                <c:pt idx="6647">
                  <c:v>0.80998914223669904</c:v>
                </c:pt>
                <c:pt idx="6648">
                  <c:v>0.81</c:v>
                </c:pt>
                <c:pt idx="6649">
                  <c:v>0.81002638522427395</c:v>
                </c:pt>
                <c:pt idx="6650">
                  <c:v>0.81005586592178802</c:v>
                </c:pt>
                <c:pt idx="6651">
                  <c:v>0.810126582278481</c:v>
                </c:pt>
                <c:pt idx="6652">
                  <c:v>0.81034482758620696</c:v>
                </c:pt>
                <c:pt idx="6653">
                  <c:v>0.81034482758620696</c:v>
                </c:pt>
                <c:pt idx="6654">
                  <c:v>0.81037567084078699</c:v>
                </c:pt>
                <c:pt idx="6655">
                  <c:v>0.81057268722467002</c:v>
                </c:pt>
                <c:pt idx="6656">
                  <c:v>0.81058020477815695</c:v>
                </c:pt>
                <c:pt idx="6657">
                  <c:v>0.810606060606061</c:v>
                </c:pt>
                <c:pt idx="6658">
                  <c:v>0.81065088757396397</c:v>
                </c:pt>
                <c:pt idx="6659">
                  <c:v>0.81081081081081097</c:v>
                </c:pt>
                <c:pt idx="6660">
                  <c:v>0.81081081081081097</c:v>
                </c:pt>
                <c:pt idx="6661">
                  <c:v>0.81090909090909102</c:v>
                </c:pt>
                <c:pt idx="6662">
                  <c:v>0.81092012133468105</c:v>
                </c:pt>
                <c:pt idx="6663">
                  <c:v>0.81100917431192698</c:v>
                </c:pt>
                <c:pt idx="6664">
                  <c:v>0.81102362204724399</c:v>
                </c:pt>
                <c:pt idx="6665">
                  <c:v>0.81111111111111101</c:v>
                </c:pt>
                <c:pt idx="6666">
                  <c:v>0.81119791666666696</c:v>
                </c:pt>
                <c:pt idx="6667">
                  <c:v>0.81125827814569496</c:v>
                </c:pt>
                <c:pt idx="6668">
                  <c:v>0.81147540983606603</c:v>
                </c:pt>
                <c:pt idx="6669">
                  <c:v>0.81147540983606603</c:v>
                </c:pt>
                <c:pt idx="6670">
                  <c:v>0.81147540983606603</c:v>
                </c:pt>
                <c:pt idx="6671">
                  <c:v>0.81164383561643805</c:v>
                </c:pt>
                <c:pt idx="6672">
                  <c:v>0.81168831168831201</c:v>
                </c:pt>
                <c:pt idx="6673">
                  <c:v>0.81188118811881205</c:v>
                </c:pt>
                <c:pt idx="6674">
                  <c:v>0.81189903846153799</c:v>
                </c:pt>
                <c:pt idx="6675">
                  <c:v>0.81203007518796999</c:v>
                </c:pt>
                <c:pt idx="6676">
                  <c:v>0.81208053691275195</c:v>
                </c:pt>
                <c:pt idx="6677">
                  <c:v>0.81215469613259705</c:v>
                </c:pt>
                <c:pt idx="6678">
                  <c:v>0.81225554106910003</c:v>
                </c:pt>
                <c:pt idx="6679">
                  <c:v>0.81231671554252205</c:v>
                </c:pt>
                <c:pt idx="6680">
                  <c:v>0.81242672919109005</c:v>
                </c:pt>
                <c:pt idx="6681">
                  <c:v>0.8125</c:v>
                </c:pt>
                <c:pt idx="6682">
                  <c:v>0.8125</c:v>
                </c:pt>
                <c:pt idx="6683">
                  <c:v>0.81264236902050102</c:v>
                </c:pt>
                <c:pt idx="6684">
                  <c:v>0.81272084805653699</c:v>
                </c:pt>
                <c:pt idx="6685">
                  <c:v>0.81283422459892996</c:v>
                </c:pt>
                <c:pt idx="6686">
                  <c:v>0.81283422459892996</c:v>
                </c:pt>
                <c:pt idx="6687">
                  <c:v>0.81286549707602296</c:v>
                </c:pt>
                <c:pt idx="6688">
                  <c:v>0.81286549707602296</c:v>
                </c:pt>
                <c:pt idx="6689">
                  <c:v>0.81289308176100605</c:v>
                </c:pt>
                <c:pt idx="6690">
                  <c:v>0.81307339449541305</c:v>
                </c:pt>
                <c:pt idx="6691">
                  <c:v>0.81310211946050104</c:v>
                </c:pt>
                <c:pt idx="6692">
                  <c:v>0.813148788927336</c:v>
                </c:pt>
                <c:pt idx="6693">
                  <c:v>0.81318681318681296</c:v>
                </c:pt>
                <c:pt idx="6694">
                  <c:v>0.81318681318681296</c:v>
                </c:pt>
                <c:pt idx="6695">
                  <c:v>0.81338028169014098</c:v>
                </c:pt>
                <c:pt idx="6696">
                  <c:v>0.81341107871720097</c:v>
                </c:pt>
                <c:pt idx="6697">
                  <c:v>0.81349206349206304</c:v>
                </c:pt>
                <c:pt idx="6698">
                  <c:v>0.81350954478707804</c:v>
                </c:pt>
                <c:pt idx="6699">
                  <c:v>0.81359223300970895</c:v>
                </c:pt>
                <c:pt idx="6700">
                  <c:v>0.81366459627329202</c:v>
                </c:pt>
                <c:pt idx="6701">
                  <c:v>0.81368821292775695</c:v>
                </c:pt>
                <c:pt idx="6702">
                  <c:v>0.81372549019607798</c:v>
                </c:pt>
                <c:pt idx="6703">
                  <c:v>0.81375358166189105</c:v>
                </c:pt>
                <c:pt idx="6704">
                  <c:v>0.81379310344827605</c:v>
                </c:pt>
                <c:pt idx="6705">
                  <c:v>0.81382978723404198</c:v>
                </c:pt>
                <c:pt idx="6706">
                  <c:v>0.81395348837209303</c:v>
                </c:pt>
                <c:pt idx="6707">
                  <c:v>0.81402439024390205</c:v>
                </c:pt>
                <c:pt idx="6708">
                  <c:v>0.814180929095355</c:v>
                </c:pt>
                <c:pt idx="6709">
                  <c:v>0.81432748538011701</c:v>
                </c:pt>
                <c:pt idx="6710">
                  <c:v>0.81434599156118104</c:v>
                </c:pt>
                <c:pt idx="6711">
                  <c:v>0.81443298969072198</c:v>
                </c:pt>
                <c:pt idx="6712">
                  <c:v>0.81445783132530103</c:v>
                </c:pt>
                <c:pt idx="6713">
                  <c:v>0.81454545454545502</c:v>
                </c:pt>
                <c:pt idx="6714">
                  <c:v>0.81455805892547695</c:v>
                </c:pt>
                <c:pt idx="6715">
                  <c:v>0.81481481481481499</c:v>
                </c:pt>
                <c:pt idx="6716">
                  <c:v>0.81481481481481499</c:v>
                </c:pt>
                <c:pt idx="6717">
                  <c:v>0.81481481481481499</c:v>
                </c:pt>
                <c:pt idx="6718">
                  <c:v>0.81481481481481499</c:v>
                </c:pt>
                <c:pt idx="6719">
                  <c:v>0.81481481481481499</c:v>
                </c:pt>
                <c:pt idx="6720">
                  <c:v>0.81501340482573703</c:v>
                </c:pt>
                <c:pt idx="6721">
                  <c:v>0.81520692974013498</c:v>
                </c:pt>
                <c:pt idx="6722">
                  <c:v>0.81538461538461504</c:v>
                </c:pt>
                <c:pt idx="6723">
                  <c:v>0.81538461538461504</c:v>
                </c:pt>
                <c:pt idx="6724">
                  <c:v>0.81538461538461504</c:v>
                </c:pt>
                <c:pt idx="6725">
                  <c:v>0.81546811397557695</c:v>
                </c:pt>
                <c:pt idx="6726">
                  <c:v>0.81592039800994998</c:v>
                </c:pt>
                <c:pt idx="6727">
                  <c:v>0.81615598885793905</c:v>
                </c:pt>
                <c:pt idx="6728">
                  <c:v>0.81617647058823495</c:v>
                </c:pt>
                <c:pt idx="6729">
                  <c:v>0.81619937694704003</c:v>
                </c:pt>
                <c:pt idx="6730">
                  <c:v>0.81626506024096401</c:v>
                </c:pt>
                <c:pt idx="6731">
                  <c:v>0.81632653061224503</c:v>
                </c:pt>
                <c:pt idx="6732">
                  <c:v>0.81642512077294704</c:v>
                </c:pt>
                <c:pt idx="6733">
                  <c:v>0.81649484536082495</c:v>
                </c:pt>
                <c:pt idx="6734">
                  <c:v>0.81651376146789001</c:v>
                </c:pt>
                <c:pt idx="6735">
                  <c:v>0.81651376146789001</c:v>
                </c:pt>
                <c:pt idx="6736">
                  <c:v>0.81666666666666698</c:v>
                </c:pt>
                <c:pt idx="6737">
                  <c:v>0.81666666666666698</c:v>
                </c:pt>
                <c:pt idx="6738">
                  <c:v>0.81679389312977102</c:v>
                </c:pt>
                <c:pt idx="6739">
                  <c:v>0.81679389312977102</c:v>
                </c:pt>
                <c:pt idx="6740">
                  <c:v>0.81679389312977102</c:v>
                </c:pt>
                <c:pt idx="6741">
                  <c:v>0.816831683168317</c:v>
                </c:pt>
                <c:pt idx="6742">
                  <c:v>0.81684981684981695</c:v>
                </c:pt>
                <c:pt idx="6743">
                  <c:v>0.81690140845070403</c:v>
                </c:pt>
                <c:pt idx="6744">
                  <c:v>0.81690140845070403</c:v>
                </c:pt>
                <c:pt idx="6745">
                  <c:v>0.81690140845070403</c:v>
                </c:pt>
                <c:pt idx="6746">
                  <c:v>0.81693989071038198</c:v>
                </c:pt>
                <c:pt idx="6747">
                  <c:v>0.81696428571428603</c:v>
                </c:pt>
                <c:pt idx="6748">
                  <c:v>0.81712062256809304</c:v>
                </c:pt>
                <c:pt idx="6749">
                  <c:v>0.817155756207675</c:v>
                </c:pt>
                <c:pt idx="6750">
                  <c:v>0.81724137931034502</c:v>
                </c:pt>
                <c:pt idx="6751">
                  <c:v>0.81731784582893297</c:v>
                </c:pt>
                <c:pt idx="6752">
                  <c:v>0.817320703653586</c:v>
                </c:pt>
                <c:pt idx="6753">
                  <c:v>0.81749049429657805</c:v>
                </c:pt>
                <c:pt idx="6754">
                  <c:v>0.81757877280265301</c:v>
                </c:pt>
                <c:pt idx="6755">
                  <c:v>0.81764705882352895</c:v>
                </c:pt>
                <c:pt idx="6756">
                  <c:v>0.81767955801104997</c:v>
                </c:pt>
                <c:pt idx="6757">
                  <c:v>0.81780250347705097</c:v>
                </c:pt>
                <c:pt idx="6758">
                  <c:v>0.81781376518218596</c:v>
                </c:pt>
                <c:pt idx="6759">
                  <c:v>0.81782945736434098</c:v>
                </c:pt>
                <c:pt idx="6760">
                  <c:v>0.81782945736434098</c:v>
                </c:pt>
                <c:pt idx="6761">
                  <c:v>0.81803278688524605</c:v>
                </c:pt>
                <c:pt idx="6762">
                  <c:v>0.81805359661495103</c:v>
                </c:pt>
                <c:pt idx="6763">
                  <c:v>0.81806930693069302</c:v>
                </c:pt>
                <c:pt idx="6764">
                  <c:v>0.81810766721044004</c:v>
                </c:pt>
                <c:pt idx="6765">
                  <c:v>0.81818181818181801</c:v>
                </c:pt>
                <c:pt idx="6766">
                  <c:v>0.81818181818181801</c:v>
                </c:pt>
                <c:pt idx="6767">
                  <c:v>0.81818181818181801</c:v>
                </c:pt>
                <c:pt idx="6768">
                  <c:v>0.81818181818181801</c:v>
                </c:pt>
                <c:pt idx="6769">
                  <c:v>0.81818181818181801</c:v>
                </c:pt>
                <c:pt idx="6770">
                  <c:v>0.81818181818181801</c:v>
                </c:pt>
                <c:pt idx="6771">
                  <c:v>0.81818181818181801</c:v>
                </c:pt>
                <c:pt idx="6772">
                  <c:v>0.81818181818181801</c:v>
                </c:pt>
                <c:pt idx="6773">
                  <c:v>0.81818181818181801</c:v>
                </c:pt>
                <c:pt idx="6774">
                  <c:v>0.81818181818181801</c:v>
                </c:pt>
                <c:pt idx="6775">
                  <c:v>0.81818181818181801</c:v>
                </c:pt>
                <c:pt idx="6776">
                  <c:v>0.81830985915493004</c:v>
                </c:pt>
                <c:pt idx="6777">
                  <c:v>0.81861575178997603</c:v>
                </c:pt>
                <c:pt idx="6778">
                  <c:v>0.81884057971014501</c:v>
                </c:pt>
                <c:pt idx="6779">
                  <c:v>0.81884057971014501</c:v>
                </c:pt>
                <c:pt idx="6780">
                  <c:v>0.819095477386935</c:v>
                </c:pt>
                <c:pt idx="6781">
                  <c:v>0.81921979067554695</c:v>
                </c:pt>
                <c:pt idx="6782">
                  <c:v>0.81947162426614495</c:v>
                </c:pt>
                <c:pt idx="6783">
                  <c:v>0.81950207468879699</c:v>
                </c:pt>
                <c:pt idx="6784">
                  <c:v>0.81951219512195095</c:v>
                </c:pt>
                <c:pt idx="6785">
                  <c:v>0.81952117863720098</c:v>
                </c:pt>
                <c:pt idx="6786">
                  <c:v>0.81954887218045103</c:v>
                </c:pt>
                <c:pt idx="6787">
                  <c:v>0.81967213114754101</c:v>
                </c:pt>
                <c:pt idx="6788">
                  <c:v>0.81967213114754101</c:v>
                </c:pt>
                <c:pt idx="6789">
                  <c:v>0.81978798586572399</c:v>
                </c:pt>
                <c:pt idx="6790">
                  <c:v>0.81981981981981999</c:v>
                </c:pt>
                <c:pt idx="6791">
                  <c:v>0.81981981981981999</c:v>
                </c:pt>
                <c:pt idx="6792">
                  <c:v>0.81981981981981999</c:v>
                </c:pt>
                <c:pt idx="6793">
                  <c:v>0.81983805668016196</c:v>
                </c:pt>
                <c:pt idx="6794">
                  <c:v>0.82</c:v>
                </c:pt>
                <c:pt idx="6795">
                  <c:v>0.82</c:v>
                </c:pt>
                <c:pt idx="6796">
                  <c:v>0.82004089979550099</c:v>
                </c:pt>
                <c:pt idx="6797">
                  <c:v>0.82005899705014695</c:v>
                </c:pt>
                <c:pt idx="6798">
                  <c:v>0.8203125</c:v>
                </c:pt>
                <c:pt idx="6799">
                  <c:v>0.8203125</c:v>
                </c:pt>
                <c:pt idx="6800">
                  <c:v>0.820359281437126</c:v>
                </c:pt>
                <c:pt idx="6801">
                  <c:v>0.82048040455120097</c:v>
                </c:pt>
                <c:pt idx="6802">
                  <c:v>0.82051282051282004</c:v>
                </c:pt>
                <c:pt idx="6803">
                  <c:v>0.82051282051282004</c:v>
                </c:pt>
                <c:pt idx="6804">
                  <c:v>0.820721769499418</c:v>
                </c:pt>
                <c:pt idx="6805">
                  <c:v>0.820754716981132</c:v>
                </c:pt>
                <c:pt idx="6806">
                  <c:v>0.820754716981132</c:v>
                </c:pt>
                <c:pt idx="6807">
                  <c:v>0.820754716981132</c:v>
                </c:pt>
                <c:pt idx="6808">
                  <c:v>0.82094594594594605</c:v>
                </c:pt>
                <c:pt idx="6809">
                  <c:v>0.82105263157894703</c:v>
                </c:pt>
                <c:pt idx="6810">
                  <c:v>0.82120582120582097</c:v>
                </c:pt>
                <c:pt idx="6811">
                  <c:v>0.82142857142857095</c:v>
                </c:pt>
                <c:pt idx="6812">
                  <c:v>0.82142857142857095</c:v>
                </c:pt>
                <c:pt idx="6813">
                  <c:v>0.82142857142857095</c:v>
                </c:pt>
                <c:pt idx="6814">
                  <c:v>0.82142857142857095</c:v>
                </c:pt>
                <c:pt idx="6815">
                  <c:v>0.82156133828996303</c:v>
                </c:pt>
                <c:pt idx="6816">
                  <c:v>0.82159624413145504</c:v>
                </c:pt>
                <c:pt idx="6817">
                  <c:v>0.82170542635658905</c:v>
                </c:pt>
                <c:pt idx="6818">
                  <c:v>0.82191780821917804</c:v>
                </c:pt>
                <c:pt idx="6819">
                  <c:v>0.82191780821917804</c:v>
                </c:pt>
                <c:pt idx="6820">
                  <c:v>0.82191780821917804</c:v>
                </c:pt>
                <c:pt idx="6821">
                  <c:v>0.82222222222222197</c:v>
                </c:pt>
                <c:pt idx="6822">
                  <c:v>0.82223847841989794</c:v>
                </c:pt>
                <c:pt idx="6823">
                  <c:v>0.822277847309136</c:v>
                </c:pt>
                <c:pt idx="6824">
                  <c:v>0.82233502538071102</c:v>
                </c:pt>
                <c:pt idx="6825">
                  <c:v>0.82233502538071102</c:v>
                </c:pt>
                <c:pt idx="6826">
                  <c:v>0.82246376811594202</c:v>
                </c:pt>
                <c:pt idx="6827">
                  <c:v>0.82253521126760598</c:v>
                </c:pt>
                <c:pt idx="6828">
                  <c:v>0.82258064516129004</c:v>
                </c:pt>
                <c:pt idx="6829">
                  <c:v>0.822605169792195</c:v>
                </c:pt>
                <c:pt idx="6830">
                  <c:v>0.822784810126582</c:v>
                </c:pt>
                <c:pt idx="6831">
                  <c:v>0.82287188306104897</c:v>
                </c:pt>
                <c:pt idx="6832">
                  <c:v>0.82302405498281805</c:v>
                </c:pt>
                <c:pt idx="6833">
                  <c:v>0.82307692307692304</c:v>
                </c:pt>
                <c:pt idx="6834">
                  <c:v>0.82307692307692304</c:v>
                </c:pt>
                <c:pt idx="6835">
                  <c:v>0.82316258351893101</c:v>
                </c:pt>
                <c:pt idx="6836">
                  <c:v>0.82317073170731703</c:v>
                </c:pt>
                <c:pt idx="6837">
                  <c:v>0.82320441988950299</c:v>
                </c:pt>
                <c:pt idx="6838">
                  <c:v>0.82323232323232298</c:v>
                </c:pt>
                <c:pt idx="6839">
                  <c:v>0.82341650671785005</c:v>
                </c:pt>
                <c:pt idx="6840">
                  <c:v>0.82345013477088902</c:v>
                </c:pt>
                <c:pt idx="6841">
                  <c:v>0.82352941176470595</c:v>
                </c:pt>
                <c:pt idx="6842">
                  <c:v>0.82352941176470595</c:v>
                </c:pt>
                <c:pt idx="6843">
                  <c:v>0.82352941176470595</c:v>
                </c:pt>
                <c:pt idx="6844">
                  <c:v>0.82379862700228801</c:v>
                </c:pt>
                <c:pt idx="6845">
                  <c:v>0.82389937106918198</c:v>
                </c:pt>
                <c:pt idx="6846">
                  <c:v>0.82402234636871496</c:v>
                </c:pt>
                <c:pt idx="6847">
                  <c:v>0.82417582417582402</c:v>
                </c:pt>
                <c:pt idx="6848">
                  <c:v>0.82428115015974401</c:v>
                </c:pt>
                <c:pt idx="6849">
                  <c:v>0.82442748091603102</c:v>
                </c:pt>
                <c:pt idx="6850">
                  <c:v>0.82446808510638303</c:v>
                </c:pt>
                <c:pt idx="6851">
                  <c:v>0.82446808510638303</c:v>
                </c:pt>
                <c:pt idx="6852">
                  <c:v>0.82448979591836702</c:v>
                </c:pt>
                <c:pt idx="6853">
                  <c:v>0.82456140350877205</c:v>
                </c:pt>
                <c:pt idx="6854">
                  <c:v>0.82456140350877205</c:v>
                </c:pt>
                <c:pt idx="6855">
                  <c:v>0.82456140350877205</c:v>
                </c:pt>
                <c:pt idx="6856">
                  <c:v>0.82456140350877205</c:v>
                </c:pt>
                <c:pt idx="6857">
                  <c:v>0.82465753424657495</c:v>
                </c:pt>
                <c:pt idx="6858">
                  <c:v>0.82525951557093402</c:v>
                </c:pt>
                <c:pt idx="6859">
                  <c:v>0.82527881040892204</c:v>
                </c:pt>
                <c:pt idx="6860">
                  <c:v>0.82531645569620204</c:v>
                </c:pt>
                <c:pt idx="6861">
                  <c:v>0.82539682539682502</c:v>
                </c:pt>
                <c:pt idx="6862">
                  <c:v>0.82539682539682502</c:v>
                </c:pt>
                <c:pt idx="6863">
                  <c:v>0.82554517133956395</c:v>
                </c:pt>
                <c:pt idx="6864">
                  <c:v>0.825806451612903</c:v>
                </c:pt>
                <c:pt idx="6865">
                  <c:v>0.82582582582582598</c:v>
                </c:pt>
                <c:pt idx="6866">
                  <c:v>0.82597730138713699</c:v>
                </c:pt>
                <c:pt idx="6867">
                  <c:v>0.82608695652173902</c:v>
                </c:pt>
                <c:pt idx="6868">
                  <c:v>0.82608695652173902</c:v>
                </c:pt>
                <c:pt idx="6869">
                  <c:v>0.82608695652173902</c:v>
                </c:pt>
                <c:pt idx="6870">
                  <c:v>0.82622950819672103</c:v>
                </c:pt>
                <c:pt idx="6871">
                  <c:v>0.82626262626262603</c:v>
                </c:pt>
                <c:pt idx="6872">
                  <c:v>0.82637362637362599</c:v>
                </c:pt>
                <c:pt idx="6873">
                  <c:v>0.826446280991736</c:v>
                </c:pt>
                <c:pt idx="6874">
                  <c:v>0.82653061224489799</c:v>
                </c:pt>
                <c:pt idx="6875">
                  <c:v>0.82666666666666699</c:v>
                </c:pt>
                <c:pt idx="6876">
                  <c:v>0.82677165354330695</c:v>
                </c:pt>
                <c:pt idx="6877">
                  <c:v>0.82677165354330695</c:v>
                </c:pt>
                <c:pt idx="6878">
                  <c:v>0.82692307692307698</c:v>
                </c:pt>
                <c:pt idx="6879">
                  <c:v>0.82692307692307698</c:v>
                </c:pt>
                <c:pt idx="6880">
                  <c:v>0.82696177062374199</c:v>
                </c:pt>
                <c:pt idx="6881">
                  <c:v>0.82697622996130504</c:v>
                </c:pt>
                <c:pt idx="6882">
                  <c:v>0.82704402515723296</c:v>
                </c:pt>
                <c:pt idx="6883">
                  <c:v>0.82710280373831802</c:v>
                </c:pt>
                <c:pt idx="6884">
                  <c:v>0.82714054927302105</c:v>
                </c:pt>
                <c:pt idx="6885">
                  <c:v>0.82716049382715995</c:v>
                </c:pt>
                <c:pt idx="6886">
                  <c:v>0.82716049382715995</c:v>
                </c:pt>
                <c:pt idx="6887">
                  <c:v>0.82739726027397298</c:v>
                </c:pt>
                <c:pt idx="6888">
                  <c:v>0.82745098039215703</c:v>
                </c:pt>
                <c:pt idx="6889">
                  <c:v>0.82745098039215703</c:v>
                </c:pt>
                <c:pt idx="6890">
                  <c:v>0.82746478873239404</c:v>
                </c:pt>
                <c:pt idx="6891">
                  <c:v>0.82758620689655205</c:v>
                </c:pt>
                <c:pt idx="6892">
                  <c:v>0.82758620689655205</c:v>
                </c:pt>
                <c:pt idx="6893">
                  <c:v>0.82777777777777795</c:v>
                </c:pt>
                <c:pt idx="6894">
                  <c:v>0.82781456953642396</c:v>
                </c:pt>
                <c:pt idx="6895">
                  <c:v>0.82788671023965099</c:v>
                </c:pt>
                <c:pt idx="6896">
                  <c:v>0.82801664355062399</c:v>
                </c:pt>
                <c:pt idx="6897">
                  <c:v>0.82802547770700596</c:v>
                </c:pt>
                <c:pt idx="6898">
                  <c:v>0.828125</c:v>
                </c:pt>
                <c:pt idx="6899">
                  <c:v>0.828125</c:v>
                </c:pt>
                <c:pt idx="6900">
                  <c:v>0.82819383259911905</c:v>
                </c:pt>
                <c:pt idx="6901">
                  <c:v>0.82821387940841895</c:v>
                </c:pt>
                <c:pt idx="6902">
                  <c:v>0.828402366863905</c:v>
                </c:pt>
                <c:pt idx="6903">
                  <c:v>0.82846715328467202</c:v>
                </c:pt>
                <c:pt idx="6904">
                  <c:v>0.82857142857142896</c:v>
                </c:pt>
                <c:pt idx="6905">
                  <c:v>0.82857142857142896</c:v>
                </c:pt>
                <c:pt idx="6906">
                  <c:v>0.82857142857142896</c:v>
                </c:pt>
                <c:pt idx="6907">
                  <c:v>0.82870370370370405</c:v>
                </c:pt>
                <c:pt idx="6908">
                  <c:v>0.82886597938144302</c:v>
                </c:pt>
                <c:pt idx="6909">
                  <c:v>0.82889733840304203</c:v>
                </c:pt>
                <c:pt idx="6910">
                  <c:v>0.82894736842105299</c:v>
                </c:pt>
                <c:pt idx="6911">
                  <c:v>0.82894736842105299</c:v>
                </c:pt>
                <c:pt idx="6912">
                  <c:v>0.82899628252788105</c:v>
                </c:pt>
                <c:pt idx="6913">
                  <c:v>0.829059829059829</c:v>
                </c:pt>
                <c:pt idx="6914">
                  <c:v>0.82926829268292701</c:v>
                </c:pt>
                <c:pt idx="6915">
                  <c:v>0.82926829268292701</c:v>
                </c:pt>
                <c:pt idx="6916">
                  <c:v>0.82926829268292701</c:v>
                </c:pt>
                <c:pt idx="6917">
                  <c:v>0.82926829268292701</c:v>
                </c:pt>
                <c:pt idx="6918">
                  <c:v>0.82932166301969401</c:v>
                </c:pt>
                <c:pt idx="6919">
                  <c:v>0.82933333333333303</c:v>
                </c:pt>
                <c:pt idx="6920">
                  <c:v>0.82940108892922004</c:v>
                </c:pt>
                <c:pt idx="6921">
                  <c:v>0.829571106094808</c:v>
                </c:pt>
                <c:pt idx="6922">
                  <c:v>0.82962962962963005</c:v>
                </c:pt>
                <c:pt idx="6923">
                  <c:v>0.82978723404255295</c:v>
                </c:pt>
                <c:pt idx="6924">
                  <c:v>0.82985074626865696</c:v>
                </c:pt>
                <c:pt idx="6925">
                  <c:v>0.83</c:v>
                </c:pt>
                <c:pt idx="6926">
                  <c:v>0.83018867924528295</c:v>
                </c:pt>
                <c:pt idx="6927">
                  <c:v>0.83018867924528295</c:v>
                </c:pt>
                <c:pt idx="6928">
                  <c:v>0.83018867924528295</c:v>
                </c:pt>
                <c:pt idx="6929">
                  <c:v>0.830232558139535</c:v>
                </c:pt>
                <c:pt idx="6930">
                  <c:v>0.83037974683544302</c:v>
                </c:pt>
                <c:pt idx="6931">
                  <c:v>0.83039647577092501</c:v>
                </c:pt>
                <c:pt idx="6932">
                  <c:v>0.83040935672514604</c:v>
                </c:pt>
                <c:pt idx="6933">
                  <c:v>0.83046683046683001</c:v>
                </c:pt>
                <c:pt idx="6934">
                  <c:v>0.83050847457627097</c:v>
                </c:pt>
                <c:pt idx="6935">
                  <c:v>0.830578512396694</c:v>
                </c:pt>
                <c:pt idx="6936">
                  <c:v>0.83058470764617698</c:v>
                </c:pt>
                <c:pt idx="6937">
                  <c:v>0.83068783068783103</c:v>
                </c:pt>
                <c:pt idx="6938">
                  <c:v>0.83070866141732302</c:v>
                </c:pt>
                <c:pt idx="6939">
                  <c:v>0.83094555873925502</c:v>
                </c:pt>
                <c:pt idx="6940">
                  <c:v>0.83098591549295797</c:v>
                </c:pt>
                <c:pt idx="6941">
                  <c:v>0.83146067415730296</c:v>
                </c:pt>
                <c:pt idx="6942">
                  <c:v>0.83150984682713303</c:v>
                </c:pt>
                <c:pt idx="6943">
                  <c:v>0.83157894736842097</c:v>
                </c:pt>
                <c:pt idx="6944">
                  <c:v>0.83163265306122403</c:v>
                </c:pt>
                <c:pt idx="6945">
                  <c:v>0.83168316831683198</c:v>
                </c:pt>
                <c:pt idx="6946">
                  <c:v>0.83173076923076905</c:v>
                </c:pt>
                <c:pt idx="6947">
                  <c:v>0.83181818181818201</c:v>
                </c:pt>
                <c:pt idx="6948">
                  <c:v>0.83182640144665498</c:v>
                </c:pt>
                <c:pt idx="6949">
                  <c:v>0.83185840707964598</c:v>
                </c:pt>
                <c:pt idx="6950">
                  <c:v>0.83246073298429302</c:v>
                </c:pt>
                <c:pt idx="6951">
                  <c:v>0.83258928571428603</c:v>
                </c:pt>
                <c:pt idx="6952">
                  <c:v>0.832635983263598</c:v>
                </c:pt>
                <c:pt idx="6953">
                  <c:v>0.83274523641496101</c:v>
                </c:pt>
                <c:pt idx="6954">
                  <c:v>0.83285917496443795</c:v>
                </c:pt>
                <c:pt idx="6955">
                  <c:v>0.83295711060948097</c:v>
                </c:pt>
                <c:pt idx="6956">
                  <c:v>0.83333333333333304</c:v>
                </c:pt>
                <c:pt idx="6957">
                  <c:v>0.83333333333333304</c:v>
                </c:pt>
                <c:pt idx="6958">
                  <c:v>0.83333333333333304</c:v>
                </c:pt>
                <c:pt idx="6959">
                  <c:v>0.83333333333333304</c:v>
                </c:pt>
                <c:pt idx="6960">
                  <c:v>0.83333333333333304</c:v>
                </c:pt>
                <c:pt idx="6961">
                  <c:v>0.83333333333333304</c:v>
                </c:pt>
                <c:pt idx="6962">
                  <c:v>0.83353884093711506</c:v>
                </c:pt>
                <c:pt idx="6963">
                  <c:v>0.83362831858407105</c:v>
                </c:pt>
                <c:pt idx="6964">
                  <c:v>0.83371298405466998</c:v>
                </c:pt>
                <c:pt idx="6965">
                  <c:v>0.83377308707123998</c:v>
                </c:pt>
                <c:pt idx="6966">
                  <c:v>0.83389830508474605</c:v>
                </c:pt>
                <c:pt idx="6967">
                  <c:v>0.83406113537117899</c:v>
                </c:pt>
                <c:pt idx="6968">
                  <c:v>0.83418367346938804</c:v>
                </c:pt>
                <c:pt idx="6969">
                  <c:v>0.83431952662721898</c:v>
                </c:pt>
                <c:pt idx="6970">
                  <c:v>0.83435582822085896</c:v>
                </c:pt>
                <c:pt idx="6971">
                  <c:v>0.83440514469453397</c:v>
                </c:pt>
                <c:pt idx="6972">
                  <c:v>0.83443708609271505</c:v>
                </c:pt>
                <c:pt idx="6973">
                  <c:v>0.83443708609271505</c:v>
                </c:pt>
                <c:pt idx="6974">
                  <c:v>0.83458646616541299</c:v>
                </c:pt>
                <c:pt idx="6975">
                  <c:v>0.83461538461538498</c:v>
                </c:pt>
                <c:pt idx="6976">
                  <c:v>0.83466135458167301</c:v>
                </c:pt>
                <c:pt idx="6977">
                  <c:v>0.83467741935483897</c:v>
                </c:pt>
                <c:pt idx="6978">
                  <c:v>0.83468834688346905</c:v>
                </c:pt>
                <c:pt idx="6979">
                  <c:v>0.83495145631068002</c:v>
                </c:pt>
                <c:pt idx="6980">
                  <c:v>0.83495145631068002</c:v>
                </c:pt>
                <c:pt idx="6981">
                  <c:v>0.83501683501683499</c:v>
                </c:pt>
                <c:pt idx="6982">
                  <c:v>0.83529411764705896</c:v>
                </c:pt>
                <c:pt idx="6983">
                  <c:v>0.83561643835616395</c:v>
                </c:pt>
                <c:pt idx="6984">
                  <c:v>0.83561643835616395</c:v>
                </c:pt>
                <c:pt idx="6985">
                  <c:v>0.83566433566433596</c:v>
                </c:pt>
                <c:pt idx="6986">
                  <c:v>0.83571428571428596</c:v>
                </c:pt>
                <c:pt idx="6987">
                  <c:v>0.83582089552238803</c:v>
                </c:pt>
                <c:pt idx="6988">
                  <c:v>0.83589743589743604</c:v>
                </c:pt>
                <c:pt idx="6989">
                  <c:v>0.83597883597883604</c:v>
                </c:pt>
                <c:pt idx="6990">
                  <c:v>0.83606557377049195</c:v>
                </c:pt>
                <c:pt idx="6991">
                  <c:v>0.83614457831325295</c:v>
                </c:pt>
                <c:pt idx="6992">
                  <c:v>0.83618763961280695</c:v>
                </c:pt>
                <c:pt idx="6993">
                  <c:v>0.83623693379790898</c:v>
                </c:pt>
                <c:pt idx="6994">
                  <c:v>0.83629893238434205</c:v>
                </c:pt>
                <c:pt idx="6995">
                  <c:v>0.83636363636363598</c:v>
                </c:pt>
                <c:pt idx="6996">
                  <c:v>0.83646112600536204</c:v>
                </c:pt>
                <c:pt idx="6997">
                  <c:v>0.83652173913043504</c:v>
                </c:pt>
                <c:pt idx="6998">
                  <c:v>0.83660130718954195</c:v>
                </c:pt>
                <c:pt idx="6999">
                  <c:v>0.83673469387755095</c:v>
                </c:pt>
                <c:pt idx="7000">
                  <c:v>0.83684210526315805</c:v>
                </c:pt>
                <c:pt idx="7001">
                  <c:v>0.83687943262411302</c:v>
                </c:pt>
                <c:pt idx="7002">
                  <c:v>0.83695652173913004</c:v>
                </c:pt>
                <c:pt idx="7003">
                  <c:v>0.83709016393442603</c:v>
                </c:pt>
                <c:pt idx="7004">
                  <c:v>0.83712984054669703</c:v>
                </c:pt>
                <c:pt idx="7005">
                  <c:v>0.83746898263027303</c:v>
                </c:pt>
                <c:pt idx="7006">
                  <c:v>0.83750000000000002</c:v>
                </c:pt>
                <c:pt idx="7007">
                  <c:v>0.83760683760683796</c:v>
                </c:pt>
                <c:pt idx="7008">
                  <c:v>0.837662337662338</c:v>
                </c:pt>
                <c:pt idx="7009">
                  <c:v>0.83769633507853403</c:v>
                </c:pt>
                <c:pt idx="7010">
                  <c:v>0.83774834437086099</c:v>
                </c:pt>
                <c:pt idx="7011">
                  <c:v>0.83783783783783805</c:v>
                </c:pt>
                <c:pt idx="7012">
                  <c:v>0.83792048929663598</c:v>
                </c:pt>
                <c:pt idx="7013">
                  <c:v>0.83832335329341301</c:v>
                </c:pt>
                <c:pt idx="7014">
                  <c:v>0.83838383838383801</c:v>
                </c:pt>
                <c:pt idx="7015">
                  <c:v>0.83847980997624705</c:v>
                </c:pt>
                <c:pt idx="7016">
                  <c:v>0.83856502242152497</c:v>
                </c:pt>
                <c:pt idx="7017">
                  <c:v>0.83870967741935498</c:v>
                </c:pt>
                <c:pt idx="7018">
                  <c:v>0.83870967741935498</c:v>
                </c:pt>
                <c:pt idx="7019">
                  <c:v>0.83870967741935498</c:v>
                </c:pt>
                <c:pt idx="7020">
                  <c:v>0.83892617449664397</c:v>
                </c:pt>
                <c:pt idx="7021">
                  <c:v>0.83908045977011503</c:v>
                </c:pt>
                <c:pt idx="7022">
                  <c:v>0.839416058394161</c:v>
                </c:pt>
                <c:pt idx="7023">
                  <c:v>0.83957219251336901</c:v>
                </c:pt>
                <c:pt idx="7024">
                  <c:v>0.83957219251336901</c:v>
                </c:pt>
                <c:pt idx="7025">
                  <c:v>0.83963691376701999</c:v>
                </c:pt>
                <c:pt idx="7026">
                  <c:v>0.83969465648855002</c:v>
                </c:pt>
                <c:pt idx="7027">
                  <c:v>0.83974358974358998</c:v>
                </c:pt>
                <c:pt idx="7028">
                  <c:v>0.83982683982684003</c:v>
                </c:pt>
                <c:pt idx="7029">
                  <c:v>0.84</c:v>
                </c:pt>
                <c:pt idx="7030">
                  <c:v>0.84</c:v>
                </c:pt>
                <c:pt idx="7031">
                  <c:v>0.84</c:v>
                </c:pt>
                <c:pt idx="7032">
                  <c:v>0.84014869888475796</c:v>
                </c:pt>
                <c:pt idx="7033">
                  <c:v>0.84027777777777801</c:v>
                </c:pt>
                <c:pt idx="7034">
                  <c:v>0.84039087947882696</c:v>
                </c:pt>
                <c:pt idx="7035">
                  <c:v>0.840425531914894</c:v>
                </c:pt>
                <c:pt idx="7036">
                  <c:v>0.840501792114695</c:v>
                </c:pt>
                <c:pt idx="7037">
                  <c:v>0.84057971014492705</c:v>
                </c:pt>
                <c:pt idx="7038">
                  <c:v>0.84057971014492705</c:v>
                </c:pt>
                <c:pt idx="7039">
                  <c:v>0.84070796460177</c:v>
                </c:pt>
                <c:pt idx="7040">
                  <c:v>0.84076433121019101</c:v>
                </c:pt>
                <c:pt idx="7041">
                  <c:v>0.84076433121019101</c:v>
                </c:pt>
                <c:pt idx="7042">
                  <c:v>0.840816326530612</c:v>
                </c:pt>
                <c:pt idx="7043">
                  <c:v>0.84103720405862503</c:v>
                </c:pt>
                <c:pt idx="7044">
                  <c:v>0.841191066997519</c:v>
                </c:pt>
                <c:pt idx="7045">
                  <c:v>0.84121621621621601</c:v>
                </c:pt>
                <c:pt idx="7046">
                  <c:v>0.84125379170879699</c:v>
                </c:pt>
                <c:pt idx="7047">
                  <c:v>0.84126984126984095</c:v>
                </c:pt>
                <c:pt idx="7048">
                  <c:v>0.84126984126984095</c:v>
                </c:pt>
                <c:pt idx="7049">
                  <c:v>0.84164588528678297</c:v>
                </c:pt>
                <c:pt idx="7050">
                  <c:v>0.84172661870503596</c:v>
                </c:pt>
                <c:pt idx="7051">
                  <c:v>0.84181675802662503</c:v>
                </c:pt>
                <c:pt idx="7052">
                  <c:v>0.84189189189189195</c:v>
                </c:pt>
                <c:pt idx="7053">
                  <c:v>0.84210526315789502</c:v>
                </c:pt>
                <c:pt idx="7054">
                  <c:v>0.84210526315789502</c:v>
                </c:pt>
                <c:pt idx="7055">
                  <c:v>0.84210526315789502</c:v>
                </c:pt>
                <c:pt idx="7056">
                  <c:v>0.84210526315789502</c:v>
                </c:pt>
                <c:pt idx="7057">
                  <c:v>0.84210526315789502</c:v>
                </c:pt>
                <c:pt idx="7058">
                  <c:v>0.84210526315789502</c:v>
                </c:pt>
                <c:pt idx="7059">
                  <c:v>0.84210526315789502</c:v>
                </c:pt>
                <c:pt idx="7060">
                  <c:v>0.84217506631299699</c:v>
                </c:pt>
                <c:pt idx="7061">
                  <c:v>0.84246575342465801</c:v>
                </c:pt>
                <c:pt idx="7062">
                  <c:v>0.84251968503937003</c:v>
                </c:pt>
                <c:pt idx="7063">
                  <c:v>0.84263959390862897</c:v>
                </c:pt>
                <c:pt idx="7064">
                  <c:v>0.84269662921348298</c:v>
                </c:pt>
                <c:pt idx="7065">
                  <c:v>0.84269662921348298</c:v>
                </c:pt>
                <c:pt idx="7066">
                  <c:v>0.842741935483871</c:v>
                </c:pt>
                <c:pt idx="7067">
                  <c:v>0.84285714285714297</c:v>
                </c:pt>
                <c:pt idx="7068">
                  <c:v>0.84293193717277504</c:v>
                </c:pt>
                <c:pt idx="7069">
                  <c:v>0.84294871794871795</c:v>
                </c:pt>
                <c:pt idx="7070">
                  <c:v>0.84328358208955201</c:v>
                </c:pt>
                <c:pt idx="7071">
                  <c:v>0.84328358208955201</c:v>
                </c:pt>
                <c:pt idx="7072">
                  <c:v>0.84343434343434298</c:v>
                </c:pt>
                <c:pt idx="7073">
                  <c:v>0.84355828220858897</c:v>
                </c:pt>
                <c:pt idx="7074">
                  <c:v>0.84360189573459698</c:v>
                </c:pt>
                <c:pt idx="7075">
                  <c:v>0.84375</c:v>
                </c:pt>
                <c:pt idx="7076">
                  <c:v>0.84389140271493202</c:v>
                </c:pt>
                <c:pt idx="7077">
                  <c:v>0.84393063583814998</c:v>
                </c:pt>
                <c:pt idx="7078">
                  <c:v>0.844106463878327</c:v>
                </c:pt>
                <c:pt idx="7079">
                  <c:v>0.84412955465587003</c:v>
                </c:pt>
                <c:pt idx="7080">
                  <c:v>0.84415584415584399</c:v>
                </c:pt>
                <c:pt idx="7081">
                  <c:v>0.844327176781003</c:v>
                </c:pt>
                <c:pt idx="7082">
                  <c:v>0.84453781512604997</c:v>
                </c:pt>
                <c:pt idx="7083">
                  <c:v>0.84456928838951295</c:v>
                </c:pt>
                <c:pt idx="7084">
                  <c:v>0.84466019417475702</c:v>
                </c:pt>
                <c:pt idx="7085">
                  <c:v>0.84468524251805999</c:v>
                </c:pt>
                <c:pt idx="7086">
                  <c:v>0.84470588235294097</c:v>
                </c:pt>
                <c:pt idx="7087">
                  <c:v>0.84482758620689702</c:v>
                </c:pt>
                <c:pt idx="7088">
                  <c:v>0.84485981308411195</c:v>
                </c:pt>
                <c:pt idx="7089">
                  <c:v>0.84496124031007702</c:v>
                </c:pt>
                <c:pt idx="7090">
                  <c:v>0.84501845018450195</c:v>
                </c:pt>
                <c:pt idx="7091">
                  <c:v>0.84509202453987697</c:v>
                </c:pt>
                <c:pt idx="7092">
                  <c:v>0.84513274336283195</c:v>
                </c:pt>
                <c:pt idx="7093">
                  <c:v>0.84515195369030405</c:v>
                </c:pt>
                <c:pt idx="7094">
                  <c:v>0.84518828451882799</c:v>
                </c:pt>
                <c:pt idx="7095">
                  <c:v>0.84528301886792501</c:v>
                </c:pt>
                <c:pt idx="7096">
                  <c:v>0.84530386740331498</c:v>
                </c:pt>
                <c:pt idx="7097">
                  <c:v>0.84545454545454501</c:v>
                </c:pt>
                <c:pt idx="7098">
                  <c:v>0.84547069271758402</c:v>
                </c:pt>
                <c:pt idx="7099">
                  <c:v>0.84558823529411797</c:v>
                </c:pt>
                <c:pt idx="7100">
                  <c:v>0.845605700712589</c:v>
                </c:pt>
                <c:pt idx="7101">
                  <c:v>0.84562211981566804</c:v>
                </c:pt>
                <c:pt idx="7102">
                  <c:v>0.84563758389261701</c:v>
                </c:pt>
                <c:pt idx="7103">
                  <c:v>0.84571428571428597</c:v>
                </c:pt>
                <c:pt idx="7104">
                  <c:v>0.84582441113490403</c:v>
                </c:pt>
                <c:pt idx="7105">
                  <c:v>0.84615384615384603</c:v>
                </c:pt>
                <c:pt idx="7106">
                  <c:v>0.84634146341463401</c:v>
                </c:pt>
                <c:pt idx="7107">
                  <c:v>0.84645669291338599</c:v>
                </c:pt>
                <c:pt idx="7108">
                  <c:v>0.84659090909090895</c:v>
                </c:pt>
                <c:pt idx="7109">
                  <c:v>0.84688090737240096</c:v>
                </c:pt>
                <c:pt idx="7110">
                  <c:v>0.84701492537313405</c:v>
                </c:pt>
                <c:pt idx="7111">
                  <c:v>0.84713375796178303</c:v>
                </c:pt>
                <c:pt idx="7112">
                  <c:v>0.84713375796178303</c:v>
                </c:pt>
                <c:pt idx="7113">
                  <c:v>0.84722222222222199</c:v>
                </c:pt>
                <c:pt idx="7114">
                  <c:v>0.84722222222222199</c:v>
                </c:pt>
                <c:pt idx="7115">
                  <c:v>0.84732824427480902</c:v>
                </c:pt>
                <c:pt idx="7116">
                  <c:v>0.84740259740259705</c:v>
                </c:pt>
                <c:pt idx="7117">
                  <c:v>0.84741784037558698</c:v>
                </c:pt>
                <c:pt idx="7118">
                  <c:v>0.84745762711864403</c:v>
                </c:pt>
                <c:pt idx="7119">
                  <c:v>0.84756097560975596</c:v>
                </c:pt>
                <c:pt idx="7120">
                  <c:v>0.84761904761904805</c:v>
                </c:pt>
                <c:pt idx="7121">
                  <c:v>0.84771573604060901</c:v>
                </c:pt>
                <c:pt idx="7122">
                  <c:v>0.84788029925187003</c:v>
                </c:pt>
                <c:pt idx="7123">
                  <c:v>0.84792626728110598</c:v>
                </c:pt>
                <c:pt idx="7124">
                  <c:v>0.847942754919499</c:v>
                </c:pt>
                <c:pt idx="7125">
                  <c:v>0.84817813765182204</c:v>
                </c:pt>
                <c:pt idx="7126">
                  <c:v>0.84848484848484795</c:v>
                </c:pt>
                <c:pt idx="7127">
                  <c:v>0.84868421052631604</c:v>
                </c:pt>
                <c:pt idx="7128">
                  <c:v>0.84873949579831898</c:v>
                </c:pt>
                <c:pt idx="7129">
                  <c:v>0.84892086330935301</c:v>
                </c:pt>
                <c:pt idx="7130">
                  <c:v>0.84912280701754395</c:v>
                </c:pt>
                <c:pt idx="7131">
                  <c:v>0.84913793103448298</c:v>
                </c:pt>
                <c:pt idx="7132">
                  <c:v>0.84920634920634896</c:v>
                </c:pt>
                <c:pt idx="7133">
                  <c:v>0.84922394678492197</c:v>
                </c:pt>
                <c:pt idx="7134">
                  <c:v>0.84922394678492197</c:v>
                </c:pt>
                <c:pt idx="7135">
                  <c:v>0.84931506849315097</c:v>
                </c:pt>
                <c:pt idx="7136">
                  <c:v>0.84984025559105403</c:v>
                </c:pt>
                <c:pt idx="7137">
                  <c:v>0.85</c:v>
                </c:pt>
                <c:pt idx="7138">
                  <c:v>0.85</c:v>
                </c:pt>
                <c:pt idx="7139">
                  <c:v>0.85</c:v>
                </c:pt>
                <c:pt idx="7140">
                  <c:v>0.85</c:v>
                </c:pt>
                <c:pt idx="7141">
                  <c:v>0.85024154589372003</c:v>
                </c:pt>
                <c:pt idx="7142">
                  <c:v>0.85034013605442205</c:v>
                </c:pt>
                <c:pt idx="7143">
                  <c:v>0.85037878787878796</c:v>
                </c:pt>
                <c:pt idx="7144">
                  <c:v>0.85049019607843102</c:v>
                </c:pt>
                <c:pt idx="7145">
                  <c:v>0.85057471264367801</c:v>
                </c:pt>
                <c:pt idx="7146">
                  <c:v>0.85067873303167396</c:v>
                </c:pt>
                <c:pt idx="7147">
                  <c:v>0.85067873303167396</c:v>
                </c:pt>
                <c:pt idx="7148">
                  <c:v>0.85086342229199396</c:v>
                </c:pt>
                <c:pt idx="7149">
                  <c:v>0.85087719298245601</c:v>
                </c:pt>
                <c:pt idx="7150">
                  <c:v>0.85100286532951297</c:v>
                </c:pt>
                <c:pt idx="7151">
                  <c:v>0.85105067985166905</c:v>
                </c:pt>
                <c:pt idx="7152">
                  <c:v>0.85106382978723405</c:v>
                </c:pt>
                <c:pt idx="7153">
                  <c:v>0.85106382978723405</c:v>
                </c:pt>
                <c:pt idx="7154">
                  <c:v>0.85123966942148799</c:v>
                </c:pt>
                <c:pt idx="7155">
                  <c:v>0.85135135135135098</c:v>
                </c:pt>
                <c:pt idx="7156">
                  <c:v>0.85142857142857098</c:v>
                </c:pt>
                <c:pt idx="7157">
                  <c:v>0.85148514851485102</c:v>
                </c:pt>
                <c:pt idx="7158">
                  <c:v>0.851515151515152</c:v>
                </c:pt>
                <c:pt idx="7159">
                  <c:v>0.8515625</c:v>
                </c:pt>
                <c:pt idx="7160">
                  <c:v>0.85157699443413704</c:v>
                </c:pt>
                <c:pt idx="7161">
                  <c:v>0.85185185185185197</c:v>
                </c:pt>
                <c:pt idx="7162">
                  <c:v>0.85185185185185197</c:v>
                </c:pt>
                <c:pt idx="7163">
                  <c:v>0.85185185185185197</c:v>
                </c:pt>
                <c:pt idx="7164">
                  <c:v>0.85185185185185197</c:v>
                </c:pt>
                <c:pt idx="7165">
                  <c:v>0.85227272727272696</c:v>
                </c:pt>
                <c:pt idx="7166">
                  <c:v>0.85230769230769199</c:v>
                </c:pt>
                <c:pt idx="7167">
                  <c:v>0.85245901639344301</c:v>
                </c:pt>
                <c:pt idx="7168">
                  <c:v>0.85249457700650699</c:v>
                </c:pt>
                <c:pt idx="7169">
                  <c:v>0.85273159144893096</c:v>
                </c:pt>
                <c:pt idx="7170">
                  <c:v>0.85294117647058798</c:v>
                </c:pt>
                <c:pt idx="7171">
                  <c:v>0.85308056872037896</c:v>
                </c:pt>
                <c:pt idx="7172">
                  <c:v>0.85326086956521696</c:v>
                </c:pt>
                <c:pt idx="7173">
                  <c:v>0.85344827586206895</c:v>
                </c:pt>
                <c:pt idx="7174">
                  <c:v>0.85384615384615403</c:v>
                </c:pt>
                <c:pt idx="7175">
                  <c:v>0.85411140583554401</c:v>
                </c:pt>
                <c:pt idx="7176">
                  <c:v>0.85416666666666696</c:v>
                </c:pt>
                <c:pt idx="7177">
                  <c:v>0.854243542435424</c:v>
                </c:pt>
                <c:pt idx="7178">
                  <c:v>0.85426008968609901</c:v>
                </c:pt>
                <c:pt idx="7179">
                  <c:v>0.85436893203883502</c:v>
                </c:pt>
                <c:pt idx="7180">
                  <c:v>0.85454545454545405</c:v>
                </c:pt>
                <c:pt idx="7181">
                  <c:v>0.85454545454545405</c:v>
                </c:pt>
                <c:pt idx="7182">
                  <c:v>0.85454545454545405</c:v>
                </c:pt>
                <c:pt idx="7183">
                  <c:v>0.854771784232365</c:v>
                </c:pt>
                <c:pt idx="7184">
                  <c:v>0.85483870967741904</c:v>
                </c:pt>
                <c:pt idx="7185">
                  <c:v>0.85492227979274604</c:v>
                </c:pt>
                <c:pt idx="7186">
                  <c:v>0.855036855036855</c:v>
                </c:pt>
                <c:pt idx="7187">
                  <c:v>0.85507246376811596</c:v>
                </c:pt>
                <c:pt idx="7188">
                  <c:v>0.85507246376811596</c:v>
                </c:pt>
                <c:pt idx="7189">
                  <c:v>0.85517241379310305</c:v>
                </c:pt>
                <c:pt idx="7190">
                  <c:v>0.85526315789473695</c:v>
                </c:pt>
                <c:pt idx="7191">
                  <c:v>0.85526315789473695</c:v>
                </c:pt>
                <c:pt idx="7192">
                  <c:v>0.85546875</c:v>
                </c:pt>
                <c:pt idx="7193">
                  <c:v>0.85561497326203195</c:v>
                </c:pt>
                <c:pt idx="7194">
                  <c:v>0.85574572127139403</c:v>
                </c:pt>
                <c:pt idx="7195">
                  <c:v>0.855932203389831</c:v>
                </c:pt>
                <c:pt idx="7196">
                  <c:v>0.85599999999999998</c:v>
                </c:pt>
                <c:pt idx="7197">
                  <c:v>0.85599999999999998</c:v>
                </c:pt>
                <c:pt idx="7198">
                  <c:v>0.85611510791366896</c:v>
                </c:pt>
                <c:pt idx="7199">
                  <c:v>0.856194690265487</c:v>
                </c:pt>
                <c:pt idx="7200">
                  <c:v>0.85628742514970102</c:v>
                </c:pt>
                <c:pt idx="7201">
                  <c:v>0.856573705179283</c:v>
                </c:pt>
                <c:pt idx="7202">
                  <c:v>0.85660377358490603</c:v>
                </c:pt>
                <c:pt idx="7203">
                  <c:v>0.85668789808917201</c:v>
                </c:pt>
                <c:pt idx="7204">
                  <c:v>0.85679611650485399</c:v>
                </c:pt>
                <c:pt idx="7205">
                  <c:v>0.85714285714285698</c:v>
                </c:pt>
                <c:pt idx="7206">
                  <c:v>0.85714285714285698</c:v>
                </c:pt>
                <c:pt idx="7207">
                  <c:v>0.85714285714285698</c:v>
                </c:pt>
                <c:pt idx="7208">
                  <c:v>0.85714285714285698</c:v>
                </c:pt>
                <c:pt idx="7209">
                  <c:v>0.85714285714285698</c:v>
                </c:pt>
                <c:pt idx="7210">
                  <c:v>0.85714285714285698</c:v>
                </c:pt>
                <c:pt idx="7211">
                  <c:v>0.85714285714285698</c:v>
                </c:pt>
                <c:pt idx="7212">
                  <c:v>0.85714285714285698</c:v>
                </c:pt>
                <c:pt idx="7213">
                  <c:v>0.85714285714285698</c:v>
                </c:pt>
                <c:pt idx="7214">
                  <c:v>0.85714285714285698</c:v>
                </c:pt>
                <c:pt idx="7215">
                  <c:v>0.85714285714285698</c:v>
                </c:pt>
                <c:pt idx="7216">
                  <c:v>0.85750000000000004</c:v>
                </c:pt>
                <c:pt idx="7217">
                  <c:v>0.85766423357664201</c:v>
                </c:pt>
                <c:pt idx="7218">
                  <c:v>0.85770750988142297</c:v>
                </c:pt>
                <c:pt idx="7219">
                  <c:v>0.85781990521327001</c:v>
                </c:pt>
                <c:pt idx="7220">
                  <c:v>0.85786802030456799</c:v>
                </c:pt>
                <c:pt idx="7221">
                  <c:v>0.85798816568047298</c:v>
                </c:pt>
                <c:pt idx="7222">
                  <c:v>0.85802469135802495</c:v>
                </c:pt>
                <c:pt idx="7223">
                  <c:v>0.85806451612903201</c:v>
                </c:pt>
                <c:pt idx="7224">
                  <c:v>0.85809312638580904</c:v>
                </c:pt>
                <c:pt idx="7225">
                  <c:v>0.858108108108108</c:v>
                </c:pt>
                <c:pt idx="7226">
                  <c:v>0.85815602836879401</c:v>
                </c:pt>
                <c:pt idx="7227">
                  <c:v>0.85833333333333295</c:v>
                </c:pt>
                <c:pt idx="7228">
                  <c:v>0.85835095137420703</c:v>
                </c:pt>
                <c:pt idx="7229">
                  <c:v>0.85875706214689296</c:v>
                </c:pt>
                <c:pt idx="7230">
                  <c:v>0.85887096774193505</c:v>
                </c:pt>
                <c:pt idx="7231">
                  <c:v>0.85887096774193505</c:v>
                </c:pt>
                <c:pt idx="7232">
                  <c:v>0.85897435897435903</c:v>
                </c:pt>
                <c:pt idx="7233">
                  <c:v>0.85915492957746498</c:v>
                </c:pt>
                <c:pt idx="7234">
                  <c:v>0.85950413223140498</c:v>
                </c:pt>
                <c:pt idx="7235">
                  <c:v>0.859649122807017</c:v>
                </c:pt>
                <c:pt idx="7236">
                  <c:v>0.859649122807017</c:v>
                </c:pt>
                <c:pt idx="7237">
                  <c:v>0.85984848484848497</c:v>
                </c:pt>
                <c:pt idx="7238">
                  <c:v>0.86</c:v>
                </c:pt>
                <c:pt idx="7239">
                  <c:v>0.86021505376344098</c:v>
                </c:pt>
                <c:pt idx="7240">
                  <c:v>0.86057692307692302</c:v>
                </c:pt>
                <c:pt idx="7241">
                  <c:v>0.86080586080586097</c:v>
                </c:pt>
                <c:pt idx="7242">
                  <c:v>0.860869565217391</c:v>
                </c:pt>
                <c:pt idx="7243">
                  <c:v>0.86092715231788097</c:v>
                </c:pt>
                <c:pt idx="7244">
                  <c:v>0.86092715231788097</c:v>
                </c:pt>
                <c:pt idx="7245">
                  <c:v>0.86111111111111105</c:v>
                </c:pt>
                <c:pt idx="7246">
                  <c:v>0.86111111111111105</c:v>
                </c:pt>
                <c:pt idx="7247">
                  <c:v>0.86127167630057799</c:v>
                </c:pt>
                <c:pt idx="7248">
                  <c:v>0.86138613861386104</c:v>
                </c:pt>
                <c:pt idx="7249">
                  <c:v>0.861618798955613</c:v>
                </c:pt>
                <c:pt idx="7250">
                  <c:v>0.86170212765957399</c:v>
                </c:pt>
                <c:pt idx="7251">
                  <c:v>0.86175115207373298</c:v>
                </c:pt>
                <c:pt idx="7252">
                  <c:v>0.861788617886179</c:v>
                </c:pt>
                <c:pt idx="7253">
                  <c:v>0.861788617886179</c:v>
                </c:pt>
                <c:pt idx="7254">
                  <c:v>0.861788617886179</c:v>
                </c:pt>
                <c:pt idx="7255">
                  <c:v>0.86184210526315796</c:v>
                </c:pt>
                <c:pt idx="7256">
                  <c:v>0.86186186186186198</c:v>
                </c:pt>
                <c:pt idx="7257">
                  <c:v>0.86206896551724099</c:v>
                </c:pt>
                <c:pt idx="7258">
                  <c:v>0.862222222222222</c:v>
                </c:pt>
                <c:pt idx="7259">
                  <c:v>0.86232558139534898</c:v>
                </c:pt>
                <c:pt idx="7260">
                  <c:v>0.86238532110091703</c:v>
                </c:pt>
                <c:pt idx="7261">
                  <c:v>0.86248561565017301</c:v>
                </c:pt>
                <c:pt idx="7262">
                  <c:v>0.86250000000000004</c:v>
                </c:pt>
                <c:pt idx="7263">
                  <c:v>0.86259541984732802</c:v>
                </c:pt>
                <c:pt idx="7264">
                  <c:v>0.86259541984732802</c:v>
                </c:pt>
                <c:pt idx="7265">
                  <c:v>0.86283185840707999</c:v>
                </c:pt>
                <c:pt idx="7266">
                  <c:v>0.86285714285714299</c:v>
                </c:pt>
                <c:pt idx="7267">
                  <c:v>0.863125638406537</c:v>
                </c:pt>
                <c:pt idx="7268">
                  <c:v>0.86324786324786296</c:v>
                </c:pt>
                <c:pt idx="7269">
                  <c:v>0.86330935251798602</c:v>
                </c:pt>
                <c:pt idx="7270">
                  <c:v>0.86350974930362101</c:v>
                </c:pt>
                <c:pt idx="7271">
                  <c:v>0.86363636363636398</c:v>
                </c:pt>
                <c:pt idx="7272">
                  <c:v>0.86363636363636398</c:v>
                </c:pt>
                <c:pt idx="7273">
                  <c:v>0.86363636363636398</c:v>
                </c:pt>
                <c:pt idx="7274">
                  <c:v>0.86363636363636398</c:v>
                </c:pt>
                <c:pt idx="7275">
                  <c:v>0.86363636363636398</c:v>
                </c:pt>
                <c:pt idx="7276">
                  <c:v>0.86363636363636398</c:v>
                </c:pt>
                <c:pt idx="7277">
                  <c:v>0.86363636363636398</c:v>
                </c:pt>
                <c:pt idx="7278">
                  <c:v>0.86372360844529705</c:v>
                </c:pt>
                <c:pt idx="7279">
                  <c:v>0.863849765258216</c:v>
                </c:pt>
                <c:pt idx="7280">
                  <c:v>0.86394557823129203</c:v>
                </c:pt>
                <c:pt idx="7281">
                  <c:v>0.86399999999999999</c:v>
                </c:pt>
                <c:pt idx="7282">
                  <c:v>0.86411149825783995</c:v>
                </c:pt>
                <c:pt idx="7283">
                  <c:v>0.86440677966101698</c:v>
                </c:pt>
                <c:pt idx="7284">
                  <c:v>0.86440677966101698</c:v>
                </c:pt>
                <c:pt idx="7285">
                  <c:v>0.86451612903225805</c:v>
                </c:pt>
                <c:pt idx="7286">
                  <c:v>0.86458333333333304</c:v>
                </c:pt>
                <c:pt idx="7287">
                  <c:v>0.86458333333333304</c:v>
                </c:pt>
                <c:pt idx="7288">
                  <c:v>0.86468646864686505</c:v>
                </c:pt>
                <c:pt idx="7289">
                  <c:v>0.86491935483870996</c:v>
                </c:pt>
                <c:pt idx="7290">
                  <c:v>0.86511627906976696</c:v>
                </c:pt>
                <c:pt idx="7291">
                  <c:v>0.86516853932584303</c:v>
                </c:pt>
                <c:pt idx="7292">
                  <c:v>0.86516853932584303</c:v>
                </c:pt>
                <c:pt idx="7293">
                  <c:v>0.86538461538461497</c:v>
                </c:pt>
                <c:pt idx="7294">
                  <c:v>0.86538461538461497</c:v>
                </c:pt>
                <c:pt idx="7295">
                  <c:v>0.86554621848739499</c:v>
                </c:pt>
                <c:pt idx="7296">
                  <c:v>0.865728900255754</c:v>
                </c:pt>
                <c:pt idx="7297">
                  <c:v>0.865771812080537</c:v>
                </c:pt>
                <c:pt idx="7298">
                  <c:v>0.86578171091445399</c:v>
                </c:pt>
                <c:pt idx="7299">
                  <c:v>0.865979381443299</c:v>
                </c:pt>
                <c:pt idx="7300">
                  <c:v>0.86627906976744196</c:v>
                </c:pt>
                <c:pt idx="7301">
                  <c:v>0.86637931034482796</c:v>
                </c:pt>
                <c:pt idx="7302">
                  <c:v>0.86666666666666703</c:v>
                </c:pt>
                <c:pt idx="7303">
                  <c:v>0.86666666666666703</c:v>
                </c:pt>
                <c:pt idx="7304">
                  <c:v>0.86666666666666703</c:v>
                </c:pt>
                <c:pt idx="7305">
                  <c:v>0.86666666666666703</c:v>
                </c:pt>
                <c:pt idx="7306">
                  <c:v>0.86682808716707005</c:v>
                </c:pt>
                <c:pt idx="7307">
                  <c:v>0.866863905325444</c:v>
                </c:pt>
                <c:pt idx="7308">
                  <c:v>0.86688311688311703</c:v>
                </c:pt>
                <c:pt idx="7309">
                  <c:v>0.86734693877550995</c:v>
                </c:pt>
                <c:pt idx="7310">
                  <c:v>0.86742424242424199</c:v>
                </c:pt>
                <c:pt idx="7311">
                  <c:v>0.86752136752136699</c:v>
                </c:pt>
                <c:pt idx="7312">
                  <c:v>0.86764705882352899</c:v>
                </c:pt>
                <c:pt idx="7313">
                  <c:v>0.86773255813953498</c:v>
                </c:pt>
                <c:pt idx="7314">
                  <c:v>0.86784741144414201</c:v>
                </c:pt>
                <c:pt idx="7315">
                  <c:v>0.86786786786786796</c:v>
                </c:pt>
                <c:pt idx="7316">
                  <c:v>0.86805555555555602</c:v>
                </c:pt>
                <c:pt idx="7317">
                  <c:v>0.86809815950920199</c:v>
                </c:pt>
                <c:pt idx="7318">
                  <c:v>0.86821705426356599</c:v>
                </c:pt>
                <c:pt idx="7319">
                  <c:v>0.86830357142857095</c:v>
                </c:pt>
                <c:pt idx="7320">
                  <c:v>0.86896551724137905</c:v>
                </c:pt>
                <c:pt idx="7321">
                  <c:v>0.86912751677852296</c:v>
                </c:pt>
                <c:pt idx="7322">
                  <c:v>0.86915887850467299</c:v>
                </c:pt>
                <c:pt idx="7323">
                  <c:v>0.86934673366834203</c:v>
                </c:pt>
                <c:pt idx="7324">
                  <c:v>0.87012987012986998</c:v>
                </c:pt>
                <c:pt idx="7325">
                  <c:v>0.87022900763358801</c:v>
                </c:pt>
                <c:pt idx="7326">
                  <c:v>0.87037037037037002</c:v>
                </c:pt>
                <c:pt idx="7327">
                  <c:v>0.87043189368770801</c:v>
                </c:pt>
                <c:pt idx="7328">
                  <c:v>0.87052341597796101</c:v>
                </c:pt>
                <c:pt idx="7329">
                  <c:v>0.87078651685393305</c:v>
                </c:pt>
                <c:pt idx="7330">
                  <c:v>0.87096774193548399</c:v>
                </c:pt>
                <c:pt idx="7331">
                  <c:v>0.87096774193548399</c:v>
                </c:pt>
                <c:pt idx="7332">
                  <c:v>0.87114845938375296</c:v>
                </c:pt>
                <c:pt idx="7333">
                  <c:v>0.871244635193133</c:v>
                </c:pt>
                <c:pt idx="7334">
                  <c:v>0.871244635193133</c:v>
                </c:pt>
                <c:pt idx="7335">
                  <c:v>0.87134502923976598</c:v>
                </c:pt>
                <c:pt idx="7336">
                  <c:v>0.87148594377510002</c:v>
                </c:pt>
                <c:pt idx="7337">
                  <c:v>0.87165775401069501</c:v>
                </c:pt>
                <c:pt idx="7338">
                  <c:v>0.872</c:v>
                </c:pt>
                <c:pt idx="7339">
                  <c:v>0.87203791469194303</c:v>
                </c:pt>
                <c:pt idx="7340">
                  <c:v>0.87207872078720805</c:v>
                </c:pt>
                <c:pt idx="7341">
                  <c:v>0.87215411558668998</c:v>
                </c:pt>
                <c:pt idx="7342">
                  <c:v>0.87218045112781895</c:v>
                </c:pt>
                <c:pt idx="7343">
                  <c:v>0.87225548902195604</c:v>
                </c:pt>
                <c:pt idx="7344">
                  <c:v>0.872274143302181</c:v>
                </c:pt>
                <c:pt idx="7345">
                  <c:v>0.87246963562752999</c:v>
                </c:pt>
                <c:pt idx="7346">
                  <c:v>0.87261146496815301</c:v>
                </c:pt>
                <c:pt idx="7347">
                  <c:v>0.87261146496815301</c:v>
                </c:pt>
                <c:pt idx="7348">
                  <c:v>0.87301587301587302</c:v>
                </c:pt>
                <c:pt idx="7349">
                  <c:v>0.87305699481865295</c:v>
                </c:pt>
                <c:pt idx="7350">
                  <c:v>0.87317073170731696</c:v>
                </c:pt>
                <c:pt idx="7351">
                  <c:v>0.873417721518987</c:v>
                </c:pt>
                <c:pt idx="7352">
                  <c:v>0.87356321839080497</c:v>
                </c:pt>
                <c:pt idx="7353">
                  <c:v>0.87360594795539004</c:v>
                </c:pt>
                <c:pt idx="7354">
                  <c:v>0.87368421052631595</c:v>
                </c:pt>
                <c:pt idx="7355">
                  <c:v>0.87368421052631595</c:v>
                </c:pt>
                <c:pt idx="7356">
                  <c:v>0.875</c:v>
                </c:pt>
                <c:pt idx="7357">
                  <c:v>0.875</c:v>
                </c:pt>
                <c:pt idx="7358">
                  <c:v>0.875</c:v>
                </c:pt>
                <c:pt idx="7359">
                  <c:v>0.875</c:v>
                </c:pt>
                <c:pt idx="7360">
                  <c:v>0.875</c:v>
                </c:pt>
                <c:pt idx="7361">
                  <c:v>0.875</c:v>
                </c:pt>
                <c:pt idx="7362">
                  <c:v>0.875</c:v>
                </c:pt>
                <c:pt idx="7363">
                  <c:v>0.875</c:v>
                </c:pt>
                <c:pt idx="7364">
                  <c:v>0.87557603686635899</c:v>
                </c:pt>
                <c:pt idx="7365">
                  <c:v>0.87575757575757596</c:v>
                </c:pt>
                <c:pt idx="7366">
                  <c:v>0.87586206896551699</c:v>
                </c:pt>
                <c:pt idx="7367">
                  <c:v>0.87588652482269502</c:v>
                </c:pt>
                <c:pt idx="7368">
                  <c:v>0.87589498806682597</c:v>
                </c:pt>
                <c:pt idx="7369">
                  <c:v>0.87596899224806202</c:v>
                </c:pt>
                <c:pt idx="7370">
                  <c:v>0.87598944591029004</c:v>
                </c:pt>
                <c:pt idx="7371">
                  <c:v>0.87610619469026496</c:v>
                </c:pt>
                <c:pt idx="7372">
                  <c:v>0.87617260787992501</c:v>
                </c:pt>
                <c:pt idx="7373">
                  <c:v>0.87619047619047596</c:v>
                </c:pt>
                <c:pt idx="7374">
                  <c:v>0.87640449438202195</c:v>
                </c:pt>
                <c:pt idx="7375">
                  <c:v>0.87654320987654299</c:v>
                </c:pt>
                <c:pt idx="7376">
                  <c:v>0.87657784011220197</c:v>
                </c:pt>
                <c:pt idx="7377">
                  <c:v>0.87687687687687699</c:v>
                </c:pt>
                <c:pt idx="7378">
                  <c:v>0.87728026533996695</c:v>
                </c:pt>
                <c:pt idx="7379">
                  <c:v>0.87735849056603799</c:v>
                </c:pt>
                <c:pt idx="7380">
                  <c:v>0.87735849056603799</c:v>
                </c:pt>
                <c:pt idx="7381">
                  <c:v>0.87735849056603799</c:v>
                </c:pt>
                <c:pt idx="7382">
                  <c:v>0.87755102040816302</c:v>
                </c:pt>
                <c:pt idx="7383">
                  <c:v>0.87755102040816302</c:v>
                </c:pt>
                <c:pt idx="7384">
                  <c:v>0.87776141384388795</c:v>
                </c:pt>
                <c:pt idx="7385">
                  <c:v>0.879120879120879</c:v>
                </c:pt>
                <c:pt idx="7386">
                  <c:v>0.87920792079207899</c:v>
                </c:pt>
                <c:pt idx="7387">
                  <c:v>0.87924528301886795</c:v>
                </c:pt>
                <c:pt idx="7388">
                  <c:v>0.87969446212603397</c:v>
                </c:pt>
                <c:pt idx="7389">
                  <c:v>0.87980769230769196</c:v>
                </c:pt>
                <c:pt idx="7390">
                  <c:v>0.88</c:v>
                </c:pt>
                <c:pt idx="7391">
                  <c:v>0.88034188034187999</c:v>
                </c:pt>
                <c:pt idx="7392">
                  <c:v>0.88043478260869601</c:v>
                </c:pt>
                <c:pt idx="7393">
                  <c:v>0.88043478260869601</c:v>
                </c:pt>
                <c:pt idx="7394">
                  <c:v>0.88051948051948004</c:v>
                </c:pt>
                <c:pt idx="7395">
                  <c:v>0.88089887640449405</c:v>
                </c:pt>
                <c:pt idx="7396">
                  <c:v>0.88118811881188097</c:v>
                </c:pt>
                <c:pt idx="7397">
                  <c:v>0.88130563798219597</c:v>
                </c:pt>
                <c:pt idx="7398">
                  <c:v>0.88135593220339004</c:v>
                </c:pt>
                <c:pt idx="7399">
                  <c:v>0.88151658767772501</c:v>
                </c:pt>
                <c:pt idx="7400">
                  <c:v>0.88172043010752699</c:v>
                </c:pt>
                <c:pt idx="7401">
                  <c:v>0.88181818181818195</c:v>
                </c:pt>
                <c:pt idx="7402">
                  <c:v>0.88196958725561203</c:v>
                </c:pt>
                <c:pt idx="7403">
                  <c:v>0.88235294117647101</c:v>
                </c:pt>
                <c:pt idx="7404">
                  <c:v>0.88235294117647101</c:v>
                </c:pt>
                <c:pt idx="7405">
                  <c:v>0.88235294117647101</c:v>
                </c:pt>
                <c:pt idx="7406">
                  <c:v>0.88235294117647101</c:v>
                </c:pt>
                <c:pt idx="7407">
                  <c:v>0.88235294117647101</c:v>
                </c:pt>
                <c:pt idx="7408">
                  <c:v>0.88259109311740902</c:v>
                </c:pt>
                <c:pt idx="7409">
                  <c:v>0.8828125</c:v>
                </c:pt>
                <c:pt idx="7410">
                  <c:v>0.88297872340425498</c:v>
                </c:pt>
                <c:pt idx="7411">
                  <c:v>0.88297872340425498</c:v>
                </c:pt>
                <c:pt idx="7412">
                  <c:v>0.88297872340425498</c:v>
                </c:pt>
                <c:pt idx="7413">
                  <c:v>0.88311688311688297</c:v>
                </c:pt>
                <c:pt idx="7414">
                  <c:v>0.88328075709779197</c:v>
                </c:pt>
                <c:pt idx="7415">
                  <c:v>0.88372093023255804</c:v>
                </c:pt>
                <c:pt idx="7416">
                  <c:v>0.88372093023255804</c:v>
                </c:pt>
                <c:pt idx="7417">
                  <c:v>0.88372093023255804</c:v>
                </c:pt>
                <c:pt idx="7418">
                  <c:v>0.88383838383838398</c:v>
                </c:pt>
                <c:pt idx="7419">
                  <c:v>0.88405797101449302</c:v>
                </c:pt>
                <c:pt idx="7420">
                  <c:v>0.88461538461538503</c:v>
                </c:pt>
                <c:pt idx="7421">
                  <c:v>0.88461538461538503</c:v>
                </c:pt>
                <c:pt idx="7422">
                  <c:v>0.88461538461538503</c:v>
                </c:pt>
                <c:pt idx="7423">
                  <c:v>0.88486842105263097</c:v>
                </c:pt>
                <c:pt idx="7424">
                  <c:v>0.88524590163934402</c:v>
                </c:pt>
                <c:pt idx="7425">
                  <c:v>0.88527918781725901</c:v>
                </c:pt>
                <c:pt idx="7426">
                  <c:v>0.88530465949820802</c:v>
                </c:pt>
                <c:pt idx="7427">
                  <c:v>0.88530465949820802</c:v>
                </c:pt>
                <c:pt idx="7428">
                  <c:v>0.88541666666666696</c:v>
                </c:pt>
                <c:pt idx="7429">
                  <c:v>0.88577154308617201</c:v>
                </c:pt>
                <c:pt idx="7430">
                  <c:v>0.88582677165354295</c:v>
                </c:pt>
                <c:pt idx="7431">
                  <c:v>0.886075949367088</c:v>
                </c:pt>
                <c:pt idx="7432">
                  <c:v>0.88636363636363602</c:v>
                </c:pt>
                <c:pt idx="7433">
                  <c:v>0.88649425287356298</c:v>
                </c:pt>
                <c:pt idx="7434">
                  <c:v>0.88659793814432997</c:v>
                </c:pt>
                <c:pt idx="7435">
                  <c:v>0.88679245283018904</c:v>
                </c:pt>
                <c:pt idx="7436">
                  <c:v>0.88682170542635697</c:v>
                </c:pt>
                <c:pt idx="7437">
                  <c:v>0.88695652173912998</c:v>
                </c:pt>
                <c:pt idx="7438">
                  <c:v>0.88717948717948703</c:v>
                </c:pt>
                <c:pt idx="7439">
                  <c:v>0.88724035608308605</c:v>
                </c:pt>
                <c:pt idx="7440">
                  <c:v>0.88744588744588704</c:v>
                </c:pt>
                <c:pt idx="7441">
                  <c:v>0.887596899224806</c:v>
                </c:pt>
                <c:pt idx="7442">
                  <c:v>0.88775510204081598</c:v>
                </c:pt>
                <c:pt idx="7443">
                  <c:v>0.88775510204081598</c:v>
                </c:pt>
                <c:pt idx="7444">
                  <c:v>0.88782816229116901</c:v>
                </c:pt>
                <c:pt idx="7445">
                  <c:v>0.88828337874659402</c:v>
                </c:pt>
                <c:pt idx="7446">
                  <c:v>0.88888888888888895</c:v>
                </c:pt>
                <c:pt idx="7447">
                  <c:v>0.88888888888888895</c:v>
                </c:pt>
                <c:pt idx="7448">
                  <c:v>0.88888888888888895</c:v>
                </c:pt>
                <c:pt idx="7449">
                  <c:v>0.88965517241379299</c:v>
                </c:pt>
                <c:pt idx="7450">
                  <c:v>0.89032258064516101</c:v>
                </c:pt>
                <c:pt idx="7451">
                  <c:v>0.89121338912133896</c:v>
                </c:pt>
                <c:pt idx="7452">
                  <c:v>0.89130434782608703</c:v>
                </c:pt>
                <c:pt idx="7453">
                  <c:v>0.89145907473309605</c:v>
                </c:pt>
                <c:pt idx="7454">
                  <c:v>0.89179755671902305</c:v>
                </c:pt>
                <c:pt idx="7455">
                  <c:v>0.89200000000000002</c:v>
                </c:pt>
                <c:pt idx="7456">
                  <c:v>0.89200000000000002</c:v>
                </c:pt>
                <c:pt idx="7457">
                  <c:v>0.89204545454545503</c:v>
                </c:pt>
                <c:pt idx="7458">
                  <c:v>0.89215686274509798</c:v>
                </c:pt>
                <c:pt idx="7459">
                  <c:v>0.89300411522633705</c:v>
                </c:pt>
                <c:pt idx="7460">
                  <c:v>0.89300998573466495</c:v>
                </c:pt>
                <c:pt idx="7461">
                  <c:v>0.89323843416370097</c:v>
                </c:pt>
                <c:pt idx="7462">
                  <c:v>0.89361702127659604</c:v>
                </c:pt>
                <c:pt idx="7463">
                  <c:v>0.89420654911838804</c:v>
                </c:pt>
                <c:pt idx="7464">
                  <c:v>0.89423076923076905</c:v>
                </c:pt>
                <c:pt idx="7465">
                  <c:v>0.89436619718309895</c:v>
                </c:pt>
                <c:pt idx="7466">
                  <c:v>0.89445910290237496</c:v>
                </c:pt>
                <c:pt idx="7467">
                  <c:v>0.894495412844037</c:v>
                </c:pt>
                <c:pt idx="7468">
                  <c:v>0.89473684210526305</c:v>
                </c:pt>
                <c:pt idx="7469">
                  <c:v>0.89552238805970097</c:v>
                </c:pt>
                <c:pt idx="7470">
                  <c:v>0.89552238805970097</c:v>
                </c:pt>
                <c:pt idx="7471">
                  <c:v>0.89576547231270298</c:v>
                </c:pt>
                <c:pt idx="7472">
                  <c:v>0.89583333333333304</c:v>
                </c:pt>
                <c:pt idx="7473">
                  <c:v>0.89595375722543402</c:v>
                </c:pt>
                <c:pt idx="7474">
                  <c:v>0.89622641509433998</c:v>
                </c:pt>
                <c:pt idx="7475">
                  <c:v>0.896321070234114</c:v>
                </c:pt>
                <c:pt idx="7476">
                  <c:v>0.89647577092510999</c:v>
                </c:pt>
                <c:pt idx="7477">
                  <c:v>0.89720998531571206</c:v>
                </c:pt>
                <c:pt idx="7478">
                  <c:v>0.89733840304182499</c:v>
                </c:pt>
                <c:pt idx="7479">
                  <c:v>0.89743589743589702</c:v>
                </c:pt>
                <c:pt idx="7480">
                  <c:v>0.89743589743589702</c:v>
                </c:pt>
                <c:pt idx="7481">
                  <c:v>0.89767441860465103</c:v>
                </c:pt>
                <c:pt idx="7482">
                  <c:v>0.89772727272727304</c:v>
                </c:pt>
                <c:pt idx="7483">
                  <c:v>0.897887323943662</c:v>
                </c:pt>
                <c:pt idx="7484">
                  <c:v>0.89795918367346905</c:v>
                </c:pt>
                <c:pt idx="7485">
                  <c:v>0.89795918367346905</c:v>
                </c:pt>
                <c:pt idx="7486">
                  <c:v>0.89795918367346905</c:v>
                </c:pt>
                <c:pt idx="7487">
                  <c:v>0.89800000000000002</c:v>
                </c:pt>
                <c:pt idx="7488">
                  <c:v>0.89805825242718396</c:v>
                </c:pt>
                <c:pt idx="7489">
                  <c:v>0.89835164835164805</c:v>
                </c:pt>
                <c:pt idx="7490">
                  <c:v>0.89837398373983701</c:v>
                </c:pt>
                <c:pt idx="7491">
                  <c:v>0.89839572192513395</c:v>
                </c:pt>
                <c:pt idx="7492">
                  <c:v>0.89855072463768104</c:v>
                </c:pt>
                <c:pt idx="7493">
                  <c:v>0.89898989898989901</c:v>
                </c:pt>
                <c:pt idx="7494">
                  <c:v>0.89915966386554602</c:v>
                </c:pt>
                <c:pt idx="7495">
                  <c:v>0.89918256130790197</c:v>
                </c:pt>
                <c:pt idx="7496">
                  <c:v>0.89922480620154999</c:v>
                </c:pt>
                <c:pt idx="7497">
                  <c:v>0.9</c:v>
                </c:pt>
                <c:pt idx="7498">
                  <c:v>0.9</c:v>
                </c:pt>
                <c:pt idx="7499">
                  <c:v>0.9</c:v>
                </c:pt>
                <c:pt idx="7500">
                  <c:v>0.90046296296296302</c:v>
                </c:pt>
                <c:pt idx="7501">
                  <c:v>0.90052356020942403</c:v>
                </c:pt>
                <c:pt idx="7502">
                  <c:v>0.900709219858156</c:v>
                </c:pt>
                <c:pt idx="7503">
                  <c:v>0.90092879256965896</c:v>
                </c:pt>
                <c:pt idx="7504">
                  <c:v>0.90099009900990101</c:v>
                </c:pt>
                <c:pt idx="7505">
                  <c:v>0.90114464099895897</c:v>
                </c:pt>
                <c:pt idx="7506">
                  <c:v>0.90118577075098805</c:v>
                </c:pt>
                <c:pt idx="7507">
                  <c:v>0.90119760479041899</c:v>
                </c:pt>
                <c:pt idx="7508">
                  <c:v>0.90123456790123502</c:v>
                </c:pt>
                <c:pt idx="7509">
                  <c:v>0.90133333333333299</c:v>
                </c:pt>
                <c:pt idx="7510">
                  <c:v>0.90166414523449301</c:v>
                </c:pt>
                <c:pt idx="7511">
                  <c:v>0.90186915887850505</c:v>
                </c:pt>
                <c:pt idx="7512">
                  <c:v>0.90199479618386802</c:v>
                </c:pt>
                <c:pt idx="7513">
                  <c:v>0.90277777777777801</c:v>
                </c:pt>
                <c:pt idx="7514">
                  <c:v>0.90291262135922301</c:v>
                </c:pt>
                <c:pt idx="7515">
                  <c:v>0.90291262135922301</c:v>
                </c:pt>
                <c:pt idx="7516">
                  <c:v>0.90322580645161299</c:v>
                </c:pt>
                <c:pt idx="7517">
                  <c:v>0.90322580645161299</c:v>
                </c:pt>
                <c:pt idx="7518">
                  <c:v>0.90329670329670297</c:v>
                </c:pt>
                <c:pt idx="7519">
                  <c:v>0.90361445783132499</c:v>
                </c:pt>
                <c:pt idx="7520">
                  <c:v>0.90400000000000003</c:v>
                </c:pt>
                <c:pt idx="7521">
                  <c:v>0.904371584699454</c:v>
                </c:pt>
                <c:pt idx="7522">
                  <c:v>0.90476190476190499</c:v>
                </c:pt>
                <c:pt idx="7523">
                  <c:v>0.90476190476190499</c:v>
                </c:pt>
                <c:pt idx="7524">
                  <c:v>0.90476190476190499</c:v>
                </c:pt>
                <c:pt idx="7525">
                  <c:v>0.90526315789473699</c:v>
                </c:pt>
                <c:pt idx="7526">
                  <c:v>0.90526315789473699</c:v>
                </c:pt>
                <c:pt idx="7527">
                  <c:v>0.90532544378698199</c:v>
                </c:pt>
                <c:pt idx="7528">
                  <c:v>0.90588235294117603</c:v>
                </c:pt>
                <c:pt idx="7529">
                  <c:v>0.90594059405940597</c:v>
                </c:pt>
                <c:pt idx="7530">
                  <c:v>0.90625</c:v>
                </c:pt>
                <c:pt idx="7531">
                  <c:v>0.90689655172413797</c:v>
                </c:pt>
                <c:pt idx="7532">
                  <c:v>0.907407407407407</c:v>
                </c:pt>
                <c:pt idx="7533">
                  <c:v>0.90769230769230802</c:v>
                </c:pt>
                <c:pt idx="7534">
                  <c:v>0.90783410138248799</c:v>
                </c:pt>
                <c:pt idx="7535">
                  <c:v>0.90789473684210498</c:v>
                </c:pt>
                <c:pt idx="7536">
                  <c:v>0.90789473684210498</c:v>
                </c:pt>
                <c:pt idx="7537">
                  <c:v>0.908119658119658</c:v>
                </c:pt>
                <c:pt idx="7538">
                  <c:v>0.90848214285714302</c:v>
                </c:pt>
                <c:pt idx="7539">
                  <c:v>0.90983606557376995</c:v>
                </c:pt>
                <c:pt idx="7540">
                  <c:v>0.91009174311926599</c:v>
                </c:pt>
                <c:pt idx="7541">
                  <c:v>0.91044776119403004</c:v>
                </c:pt>
                <c:pt idx="7542">
                  <c:v>0.91089108910891103</c:v>
                </c:pt>
                <c:pt idx="7543">
                  <c:v>0.911392405063291</c:v>
                </c:pt>
                <c:pt idx="7544">
                  <c:v>0.91155234657039697</c:v>
                </c:pt>
                <c:pt idx="7545">
                  <c:v>0.91167192429022104</c:v>
                </c:pt>
                <c:pt idx="7546">
                  <c:v>0.91176470588235303</c:v>
                </c:pt>
                <c:pt idx="7547">
                  <c:v>0.91208791208791196</c:v>
                </c:pt>
                <c:pt idx="7548">
                  <c:v>0.91411042944785303</c:v>
                </c:pt>
                <c:pt idx="7549">
                  <c:v>0.91428571428571404</c:v>
                </c:pt>
                <c:pt idx="7550">
                  <c:v>0.91477272727272696</c:v>
                </c:pt>
                <c:pt idx="7551">
                  <c:v>0.91517857142857095</c:v>
                </c:pt>
                <c:pt idx="7552">
                  <c:v>0.91549295774647899</c:v>
                </c:pt>
                <c:pt idx="7553">
                  <c:v>0.91566265060241003</c:v>
                </c:pt>
                <c:pt idx="7554">
                  <c:v>0.91585127201565597</c:v>
                </c:pt>
                <c:pt idx="7555">
                  <c:v>0.91603053435114501</c:v>
                </c:pt>
                <c:pt idx="7556">
                  <c:v>0.91666666666666696</c:v>
                </c:pt>
                <c:pt idx="7557">
                  <c:v>0.91666666666666696</c:v>
                </c:pt>
                <c:pt idx="7558">
                  <c:v>0.91666666666666696</c:v>
                </c:pt>
                <c:pt idx="7559">
                  <c:v>0.91752577319587603</c:v>
                </c:pt>
                <c:pt idx="7560">
                  <c:v>0.91858037578288099</c:v>
                </c:pt>
                <c:pt idx="7561">
                  <c:v>0.91910739191073898</c:v>
                </c:pt>
                <c:pt idx="7562">
                  <c:v>0.91929824561403495</c:v>
                </c:pt>
                <c:pt idx="7563">
                  <c:v>0.91935483870967705</c:v>
                </c:pt>
                <c:pt idx="7564">
                  <c:v>0.91964285714285698</c:v>
                </c:pt>
                <c:pt idx="7565">
                  <c:v>0.92028985507246397</c:v>
                </c:pt>
                <c:pt idx="7566">
                  <c:v>0.92032967032966995</c:v>
                </c:pt>
                <c:pt idx="7567">
                  <c:v>0.92035398230088505</c:v>
                </c:pt>
                <c:pt idx="7568">
                  <c:v>0.92045454545454497</c:v>
                </c:pt>
                <c:pt idx="7569">
                  <c:v>0.92105263157894701</c:v>
                </c:pt>
                <c:pt idx="7570">
                  <c:v>0.92105263157894701</c:v>
                </c:pt>
                <c:pt idx="7571">
                  <c:v>0.92156862745098</c:v>
                </c:pt>
                <c:pt idx="7572">
                  <c:v>0.92207792207792205</c:v>
                </c:pt>
                <c:pt idx="7573">
                  <c:v>0.92213114754098402</c:v>
                </c:pt>
                <c:pt idx="7574">
                  <c:v>0.92253521126760596</c:v>
                </c:pt>
                <c:pt idx="7575">
                  <c:v>0.92261001517450703</c:v>
                </c:pt>
                <c:pt idx="7576">
                  <c:v>0.922818791946309</c:v>
                </c:pt>
                <c:pt idx="7577">
                  <c:v>0.92333333333333301</c:v>
                </c:pt>
                <c:pt idx="7578">
                  <c:v>0.92391304347826098</c:v>
                </c:pt>
                <c:pt idx="7579">
                  <c:v>0.924050632911392</c:v>
                </c:pt>
                <c:pt idx="7580">
                  <c:v>0.92452830188679203</c:v>
                </c:pt>
                <c:pt idx="7581">
                  <c:v>0.92452830188679203</c:v>
                </c:pt>
                <c:pt idx="7582">
                  <c:v>0.92462311557788901</c:v>
                </c:pt>
                <c:pt idx="7583">
                  <c:v>0.92500000000000004</c:v>
                </c:pt>
                <c:pt idx="7584">
                  <c:v>0.92500000000000004</c:v>
                </c:pt>
                <c:pt idx="7585">
                  <c:v>0.92537313432835799</c:v>
                </c:pt>
                <c:pt idx="7586">
                  <c:v>0.92622950819672101</c:v>
                </c:pt>
                <c:pt idx="7587">
                  <c:v>0.92708333333333304</c:v>
                </c:pt>
                <c:pt idx="7588">
                  <c:v>0.92732558139534904</c:v>
                </c:pt>
                <c:pt idx="7589">
                  <c:v>0.92732558139534904</c:v>
                </c:pt>
                <c:pt idx="7590">
                  <c:v>0.92771084337349397</c:v>
                </c:pt>
                <c:pt idx="7591">
                  <c:v>0.92777777777777803</c:v>
                </c:pt>
                <c:pt idx="7592">
                  <c:v>0.92788461538461497</c:v>
                </c:pt>
                <c:pt idx="7593">
                  <c:v>0.92885375494071099</c:v>
                </c:pt>
                <c:pt idx="7594">
                  <c:v>0.92920353982300896</c:v>
                </c:pt>
                <c:pt idx="7595">
                  <c:v>0.929245283018868</c:v>
                </c:pt>
                <c:pt idx="7596">
                  <c:v>0.92950819672131102</c:v>
                </c:pt>
                <c:pt idx="7597">
                  <c:v>0.9296875</c:v>
                </c:pt>
                <c:pt idx="7598">
                  <c:v>0.929824561403509</c:v>
                </c:pt>
                <c:pt idx="7599">
                  <c:v>0.93076923076923102</c:v>
                </c:pt>
                <c:pt idx="7600">
                  <c:v>0.931034482758621</c:v>
                </c:pt>
                <c:pt idx="7601">
                  <c:v>0.931506849315068</c:v>
                </c:pt>
                <c:pt idx="7602">
                  <c:v>0.93156424581005604</c:v>
                </c:pt>
                <c:pt idx="7603">
                  <c:v>0.93200000000000005</c:v>
                </c:pt>
                <c:pt idx="7604">
                  <c:v>0.93229166666666696</c:v>
                </c:pt>
                <c:pt idx="7605">
                  <c:v>0.93243243243243201</c:v>
                </c:pt>
                <c:pt idx="7606">
                  <c:v>0.93248945147679296</c:v>
                </c:pt>
                <c:pt idx="7607">
                  <c:v>0.93322475570032604</c:v>
                </c:pt>
                <c:pt idx="7608">
                  <c:v>0.93373493975903599</c:v>
                </c:pt>
                <c:pt idx="7609">
                  <c:v>0.93406593406593397</c:v>
                </c:pt>
                <c:pt idx="7610">
                  <c:v>0.93432835820895499</c:v>
                </c:pt>
                <c:pt idx="7611">
                  <c:v>0.934579439252336</c:v>
                </c:pt>
                <c:pt idx="7612">
                  <c:v>0.934579439252336</c:v>
                </c:pt>
                <c:pt idx="7613">
                  <c:v>0.934782608695652</c:v>
                </c:pt>
                <c:pt idx="7614">
                  <c:v>0.93541666666666701</c:v>
                </c:pt>
                <c:pt idx="7615">
                  <c:v>0.93564356435643603</c:v>
                </c:pt>
                <c:pt idx="7616">
                  <c:v>0.936708860759494</c:v>
                </c:pt>
                <c:pt idx="7617">
                  <c:v>0.9375</c:v>
                </c:pt>
                <c:pt idx="7618">
                  <c:v>0.94</c:v>
                </c:pt>
                <c:pt idx="7619">
                  <c:v>0.94</c:v>
                </c:pt>
                <c:pt idx="7620">
                  <c:v>0.94019933554817303</c:v>
                </c:pt>
                <c:pt idx="7621">
                  <c:v>0.94029850746268695</c:v>
                </c:pt>
                <c:pt idx="7622">
                  <c:v>0.94072657743785804</c:v>
                </c:pt>
                <c:pt idx="7623">
                  <c:v>0.94117647058823495</c:v>
                </c:pt>
                <c:pt idx="7624">
                  <c:v>0.94166666666666698</c:v>
                </c:pt>
                <c:pt idx="7625">
                  <c:v>0.94230769230769196</c:v>
                </c:pt>
                <c:pt idx="7626">
                  <c:v>0.94250513347022602</c:v>
                </c:pt>
                <c:pt idx="7627">
                  <c:v>0.94252873563218398</c:v>
                </c:pt>
                <c:pt idx="7628">
                  <c:v>0.94276094276094302</c:v>
                </c:pt>
                <c:pt idx="7629">
                  <c:v>0.94298245614035103</c:v>
                </c:pt>
                <c:pt idx="7630">
                  <c:v>0.94444444444444398</c:v>
                </c:pt>
                <c:pt idx="7631">
                  <c:v>0.94444444444444398</c:v>
                </c:pt>
                <c:pt idx="7632">
                  <c:v>0.94485294117647101</c:v>
                </c:pt>
                <c:pt idx="7633">
                  <c:v>0.94545454545454499</c:v>
                </c:pt>
                <c:pt idx="7634">
                  <c:v>0.94545454545454499</c:v>
                </c:pt>
                <c:pt idx="7635">
                  <c:v>0.94594594594594605</c:v>
                </c:pt>
                <c:pt idx="7636">
                  <c:v>0.94666666666666699</c:v>
                </c:pt>
                <c:pt idx="7637">
                  <c:v>0.946902654867257</c:v>
                </c:pt>
                <c:pt idx="7638">
                  <c:v>0.94707520891364905</c:v>
                </c:pt>
                <c:pt idx="7639">
                  <c:v>0.947194719471947</c:v>
                </c:pt>
                <c:pt idx="7640">
                  <c:v>0.94736842105263097</c:v>
                </c:pt>
                <c:pt idx="7641">
                  <c:v>0.94736842105263097</c:v>
                </c:pt>
                <c:pt idx="7642">
                  <c:v>0.94871794871794901</c:v>
                </c:pt>
                <c:pt idx="7643">
                  <c:v>0.94871794871794901</c:v>
                </c:pt>
                <c:pt idx="7644">
                  <c:v>0.94871794871794901</c:v>
                </c:pt>
                <c:pt idx="7645">
                  <c:v>0.94915254237288105</c:v>
                </c:pt>
                <c:pt idx="7646">
                  <c:v>0.949367088607595</c:v>
                </c:pt>
                <c:pt idx="7647">
                  <c:v>0.95016611295681097</c:v>
                </c:pt>
                <c:pt idx="7648">
                  <c:v>0.95065789473684204</c:v>
                </c:pt>
                <c:pt idx="7649">
                  <c:v>0.95283018867924496</c:v>
                </c:pt>
                <c:pt idx="7650">
                  <c:v>0.95443645083932804</c:v>
                </c:pt>
                <c:pt idx="7651">
                  <c:v>0.95454545454545503</c:v>
                </c:pt>
                <c:pt idx="7652">
                  <c:v>0.95488721804511301</c:v>
                </c:pt>
                <c:pt idx="7653">
                  <c:v>0.95597484276729605</c:v>
                </c:pt>
                <c:pt idx="7654">
                  <c:v>0.95644599303135902</c:v>
                </c:pt>
                <c:pt idx="7655">
                  <c:v>0.95652173913043503</c:v>
                </c:pt>
                <c:pt idx="7656">
                  <c:v>0.95652173913043503</c:v>
                </c:pt>
                <c:pt idx="7657">
                  <c:v>0.95774647887323905</c:v>
                </c:pt>
                <c:pt idx="7658">
                  <c:v>0.95833333333333304</c:v>
                </c:pt>
                <c:pt idx="7659">
                  <c:v>0.95927601809954799</c:v>
                </c:pt>
                <c:pt idx="7660">
                  <c:v>0.96036585365853699</c:v>
                </c:pt>
                <c:pt idx="7661">
                  <c:v>0.96086956521739098</c:v>
                </c:pt>
                <c:pt idx="7662">
                  <c:v>0.96153846153846201</c:v>
                </c:pt>
                <c:pt idx="7663">
                  <c:v>0.961832061068702</c:v>
                </c:pt>
                <c:pt idx="7664">
                  <c:v>0.96219931271477699</c:v>
                </c:pt>
                <c:pt idx="7665">
                  <c:v>0.96296296296296302</c:v>
                </c:pt>
                <c:pt idx="7666">
                  <c:v>0.96428571428571397</c:v>
                </c:pt>
                <c:pt idx="7667">
                  <c:v>0.96526054590570698</c:v>
                </c:pt>
                <c:pt idx="7668">
                  <c:v>0.96566523605150201</c:v>
                </c:pt>
                <c:pt idx="7669">
                  <c:v>0.96727272727272695</c:v>
                </c:pt>
                <c:pt idx="7670">
                  <c:v>0.967741935483871</c:v>
                </c:pt>
                <c:pt idx="7671">
                  <c:v>0.968992248062015</c:v>
                </c:pt>
                <c:pt idx="7672">
                  <c:v>0.96908809891808301</c:v>
                </c:pt>
                <c:pt idx="7673">
                  <c:v>0.96955503512880603</c:v>
                </c:pt>
                <c:pt idx="7674">
                  <c:v>0.96969696969696995</c:v>
                </c:pt>
                <c:pt idx="7675">
                  <c:v>0.96969696969696995</c:v>
                </c:pt>
                <c:pt idx="7676">
                  <c:v>0.97</c:v>
                </c:pt>
                <c:pt idx="7677">
                  <c:v>0.97058823529411797</c:v>
                </c:pt>
                <c:pt idx="7678">
                  <c:v>0.97142857142857097</c:v>
                </c:pt>
                <c:pt idx="7679">
                  <c:v>0.97196261682243001</c:v>
                </c:pt>
                <c:pt idx="7680">
                  <c:v>0.972727272727273</c:v>
                </c:pt>
                <c:pt idx="7681">
                  <c:v>0.97297297297297303</c:v>
                </c:pt>
                <c:pt idx="7682">
                  <c:v>0.97333333333333305</c:v>
                </c:pt>
                <c:pt idx="7683">
                  <c:v>0.97523809523809502</c:v>
                </c:pt>
                <c:pt idx="7684">
                  <c:v>0.97560975609756095</c:v>
                </c:pt>
                <c:pt idx="7685">
                  <c:v>0.97619047619047605</c:v>
                </c:pt>
                <c:pt idx="7686">
                  <c:v>0.97619047619047605</c:v>
                </c:pt>
                <c:pt idx="7687">
                  <c:v>0.97777777777777797</c:v>
                </c:pt>
                <c:pt idx="7688">
                  <c:v>0.97872340425531901</c:v>
                </c:pt>
                <c:pt idx="7689">
                  <c:v>0.97872340425531901</c:v>
                </c:pt>
                <c:pt idx="7690">
                  <c:v>0.97891566265060204</c:v>
                </c:pt>
                <c:pt idx="7691">
                  <c:v>0.97991071428571397</c:v>
                </c:pt>
                <c:pt idx="7692">
                  <c:v>0.980582524271845</c:v>
                </c:pt>
                <c:pt idx="7693">
                  <c:v>0.98113207547169801</c:v>
                </c:pt>
                <c:pt idx="7694">
                  <c:v>0.98245614035087703</c:v>
                </c:pt>
                <c:pt idx="7695">
                  <c:v>0.983108108108108</c:v>
                </c:pt>
                <c:pt idx="7696">
                  <c:v>0.984615384615385</c:v>
                </c:pt>
                <c:pt idx="7697">
                  <c:v>0.98492462311557805</c:v>
                </c:pt>
                <c:pt idx="7698">
                  <c:v>0.98529411764705899</c:v>
                </c:pt>
                <c:pt idx="7699">
                  <c:v>0.98571428571428599</c:v>
                </c:pt>
                <c:pt idx="7700">
                  <c:v>0.98604651162790702</c:v>
                </c:pt>
                <c:pt idx="7701">
                  <c:v>0.986206896551724</c:v>
                </c:pt>
                <c:pt idx="7702">
                  <c:v>0.98687664041994705</c:v>
                </c:pt>
                <c:pt idx="7703">
                  <c:v>0.987179487179487</c:v>
                </c:pt>
                <c:pt idx="7704">
                  <c:v>0.98832684824902695</c:v>
                </c:pt>
                <c:pt idx="7705">
                  <c:v>0.98936170212765995</c:v>
                </c:pt>
                <c:pt idx="7706">
                  <c:v>0.99013157894736803</c:v>
                </c:pt>
                <c:pt idx="7707">
                  <c:v>0.99105145413870199</c:v>
                </c:pt>
                <c:pt idx="7708">
                  <c:v>0.991578947368421</c:v>
                </c:pt>
                <c:pt idx="7709">
                  <c:v>0.99206349206349198</c:v>
                </c:pt>
                <c:pt idx="7710">
                  <c:v>0.992932862190813</c:v>
                </c:pt>
                <c:pt idx="7711">
                  <c:v>0.99326599326599296</c:v>
                </c:pt>
                <c:pt idx="7712">
                  <c:v>0.99438202247190999</c:v>
                </c:pt>
                <c:pt idx="7713">
                  <c:v>0.99439775910364103</c:v>
                </c:pt>
                <c:pt idx="7714">
                  <c:v>0.995444191343964</c:v>
                </c:pt>
                <c:pt idx="7715">
                  <c:v>0.99593495934959297</c:v>
                </c:pt>
                <c:pt idx="7716">
                  <c:v>0.99596774193548399</c:v>
                </c:pt>
                <c:pt idx="7717">
                  <c:v>0.99638989169675096</c:v>
                </c:pt>
                <c:pt idx="7718">
                  <c:v>0.99659863945578198</c:v>
                </c:pt>
                <c:pt idx="7719">
                  <c:v>1</c:v>
                </c:pt>
                <c:pt idx="7720">
                  <c:v>1</c:v>
                </c:pt>
                <c:pt idx="7721">
                  <c:v>1</c:v>
                </c:pt>
                <c:pt idx="7722">
                  <c:v>1</c:v>
                </c:pt>
                <c:pt idx="7723">
                  <c:v>1</c:v>
                </c:pt>
                <c:pt idx="7724">
                  <c:v>1</c:v>
                </c:pt>
                <c:pt idx="7725">
                  <c:v>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9470280"/>
        <c:axId val="172399408"/>
      </c:scatterChart>
      <c:valAx>
        <c:axId val="169470280"/>
        <c:scaling>
          <c:orientation val="minMax"/>
          <c:max val="1"/>
        </c:scaling>
        <c:delete val="0"/>
        <c:axPos val="b"/>
        <c:majorGridlines/>
        <c:title>
          <c:tx>
            <c:rich>
              <a:bodyPr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rgbClr val="003663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 dirty="0" smtClean="0">
                    <a:effectLst/>
                  </a:rPr>
                  <a:t>% of Campus That Is Econ. Disadvantaged</a:t>
                </a:r>
                <a:endParaRPr lang="en-US" sz="1000" dirty="0" smtClean="0">
                  <a:effectLst/>
                </a:endParaRPr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crossAx val="172399408"/>
        <c:crosses val="autoZero"/>
        <c:crossBetween val="midCat"/>
      </c:valAx>
      <c:valAx>
        <c:axId val="172399408"/>
        <c:scaling>
          <c:orientation val="minMax"/>
          <c:max val="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P% of </a:t>
                </a:r>
                <a:r>
                  <a:rPr lang="en-US" sz="1000" b="1" i="0" baseline="0" dirty="0" err="1" smtClean="0">
                    <a:effectLst/>
                  </a:rPr>
                  <a:t>EcoDis</a:t>
                </a:r>
                <a:r>
                  <a:rPr lang="en-US" sz="1000" b="1" i="0" baseline="0" dirty="0" smtClean="0">
                    <a:effectLst/>
                  </a:rPr>
                  <a:t> Students Meeting </a:t>
                </a:r>
                <a:endParaRPr lang="en-US" sz="1000" dirty="0" smtClean="0">
                  <a:effectLst/>
                </a:endParaRPr>
              </a:p>
              <a:p>
                <a:pPr>
                  <a:defRPr/>
                </a:pPr>
                <a:r>
                  <a:rPr lang="en-US" sz="1000" b="1" i="0" baseline="0" dirty="0" smtClean="0">
                    <a:effectLst/>
                  </a:rPr>
                  <a:t>Phase-In Passing Standard</a:t>
                </a:r>
                <a:endParaRPr lang="en-US" sz="1000" dirty="0" smtClean="0">
                  <a:effectLst/>
                </a:endParaRPr>
              </a:p>
              <a:p>
                <a:pPr>
                  <a:defRPr/>
                </a:pPr>
                <a:endParaRPr lang="en-US" sz="1000" dirty="0"/>
              </a:p>
            </c:rich>
          </c:tx>
          <c:layout/>
          <c:overlay val="0"/>
        </c:title>
        <c:numFmt formatCode="0%" sourceLinked="1"/>
        <c:majorTickMark val="none"/>
        <c:minorTickMark val="none"/>
        <c:tickLblPos val="nextTo"/>
        <c:crossAx val="169470280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9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146</cdr:x>
      <cdr:y>0.49879</cdr:y>
    </cdr:from>
    <cdr:to>
      <cdr:x>0.40483</cdr:x>
      <cdr:y>0.63999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3264921" y="2489572"/>
          <a:ext cx="605913" cy="704733"/>
        </a:xfrm>
        <a:prstGeom xmlns:a="http://schemas.openxmlformats.org/drawingml/2006/main" prst="rect">
          <a:avLst/>
        </a:prstGeom>
        <a:solidFill xmlns:a="http://schemas.openxmlformats.org/drawingml/2006/main">
          <a:srgbClr val="F08613"/>
        </a:solidFill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dirty="0">
              <a:solidFill>
                <a:schemeClr val="bg2"/>
              </a:solidFill>
              <a:latin typeface="Verdana"/>
              <a:cs typeface="Verdana"/>
            </a:rPr>
            <a:t>Pre-K </a:t>
          </a:r>
          <a:r>
            <a:rPr lang="en-US" sz="800" dirty="0" smtClean="0">
              <a:solidFill>
                <a:schemeClr val="bg2"/>
              </a:solidFill>
              <a:latin typeface="Verdana"/>
              <a:cs typeface="Verdana"/>
            </a:rPr>
            <a:t>Slide   18% </a:t>
          </a:r>
          <a:endParaRPr lang="en-US" sz="800" dirty="0">
            <a:solidFill>
              <a:schemeClr val="bg2"/>
            </a:solidFill>
            <a:latin typeface="Verdana"/>
            <a:cs typeface="Verdana"/>
          </a:endParaRPr>
        </a:p>
      </cdr:txBody>
    </cdr:sp>
  </cdr:relSizeAnchor>
  <cdr:relSizeAnchor xmlns:cdr="http://schemas.openxmlformats.org/drawingml/2006/chartDrawing">
    <cdr:from>
      <cdr:x>0.1393</cdr:x>
      <cdr:y>0.01435</cdr:y>
    </cdr:from>
    <cdr:to>
      <cdr:x>1</cdr:x>
      <cdr:y>0.11917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1331916" y="71602"/>
          <a:ext cx="8229599" cy="52321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45720" rIns="0" bIns="45720" numCol="1" spcCol="0" rtlCol="0" fromWordArt="0" anchor="b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 smtClean="0">
              <a:solidFill>
                <a:srgbClr val="003663"/>
              </a:solidFill>
            </a:rPr>
            <a:t>State of Texas Educational Pipeline, 2015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393</cdr:x>
      <cdr:y>0.01435</cdr:y>
    </cdr:from>
    <cdr:to>
      <cdr:x>1</cdr:x>
      <cdr:y>0.11917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1331916" y="71602"/>
          <a:ext cx="8229599" cy="52321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45720" rIns="0" bIns="45720" numCol="1" spcCol="0" rtlCol="0" fromWordArt="0" anchor="b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 smtClean="0">
              <a:solidFill>
                <a:srgbClr val="0036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Early</a:t>
          </a:r>
          <a:r>
            <a:rPr lang="en-US" sz="1600" b="1" dirty="0" smtClean="0">
              <a:solidFill>
                <a:srgbClr val="003663"/>
              </a:solidFill>
            </a:rPr>
            <a:t> </a:t>
          </a:r>
          <a:r>
            <a:rPr lang="en-US" sz="1600" b="1" dirty="0" smtClean="0">
              <a:solidFill>
                <a:srgbClr val="0036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hildhood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393</cdr:x>
      <cdr:y>0.01435</cdr:y>
    </cdr:from>
    <cdr:to>
      <cdr:x>1</cdr:x>
      <cdr:y>0.11917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1331916" y="71602"/>
          <a:ext cx="8229599" cy="52321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45720" rIns="0" bIns="45720" numCol="1" spcCol="0" rtlCol="0" fromWordArt="0" anchor="b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 smtClean="0">
              <a:solidFill>
                <a:srgbClr val="0036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Middle Grades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393</cdr:x>
      <cdr:y>0.01435</cdr:y>
    </cdr:from>
    <cdr:to>
      <cdr:x>1</cdr:x>
      <cdr:y>0.11917</cdr:y>
    </cdr:to>
    <cdr:sp macro="" textlink="">
      <cdr:nvSpPr>
        <cdr:cNvPr id="3" name="Rectangle 2"/>
        <cdr:cNvSpPr/>
      </cdr:nvSpPr>
      <cdr:spPr>
        <a:xfrm xmlns:a="http://schemas.openxmlformats.org/drawingml/2006/main">
          <a:off x="1331916" y="71602"/>
          <a:ext cx="8229599" cy="52321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45720" rIns="0" bIns="45720" numCol="1" spcCol="0" rtlCol="0" fromWordArt="0" anchor="b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 smtClean="0">
              <a:solidFill>
                <a:srgbClr val="0036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ostsecondary Readiness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6398</cdr:x>
      <cdr:y>0.64927</cdr:y>
    </cdr:from>
    <cdr:to>
      <cdr:x>0.44967</cdr:x>
      <cdr:y>0.8583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28647" y="2866716"/>
          <a:ext cx="793938" cy="9233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en-US" sz="900" b="1" dirty="0">
              <a:solidFill>
                <a:schemeClr val="bg1"/>
              </a:solidFill>
            </a:rPr>
            <a:t>(</a:t>
          </a:r>
          <a:r>
            <a:rPr lang="en-US" sz="900" b="1">
              <a:solidFill>
                <a:schemeClr val="bg1"/>
              </a:solidFill>
            </a:rPr>
            <a:t>More than twice 28%</a:t>
          </a:r>
        </a:p>
        <a:p xmlns:a="http://schemas.openxmlformats.org/drawingml/2006/main">
          <a:pPr algn="ctr"/>
          <a:r>
            <a:rPr lang="en-US" sz="900" b="1" dirty="0">
              <a:solidFill>
                <a:schemeClr val="bg1"/>
              </a:solidFill>
            </a:rPr>
            <a:t>rate today)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1" cy="464820"/>
          </a:xfrm>
          <a:prstGeom prst="rect">
            <a:avLst/>
          </a:prstGeom>
        </p:spPr>
        <p:txBody>
          <a:bodyPr vert="horz" lIns="93170" tIns="46586" rIns="93170" bIns="46586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344" y="0"/>
            <a:ext cx="3037841" cy="464820"/>
          </a:xfrm>
          <a:prstGeom prst="rect">
            <a:avLst/>
          </a:prstGeom>
        </p:spPr>
        <p:txBody>
          <a:bodyPr vert="horz" lIns="93170" tIns="46586" rIns="93170" bIns="46586" rtlCol="0"/>
          <a:lstStyle>
            <a:lvl1pPr algn="r">
              <a:defRPr sz="1200"/>
            </a:lvl1pPr>
          </a:lstStyle>
          <a:p>
            <a:fld id="{9088374C-FBE6-4B8B-93A6-5FAFFFD20233}" type="datetimeFigureOut">
              <a:rPr lang="en-US" smtClean="0"/>
              <a:pPr/>
              <a:t>9/14/2016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430"/>
            <a:ext cx="3037841" cy="464820"/>
          </a:xfrm>
          <a:prstGeom prst="rect">
            <a:avLst/>
          </a:prstGeom>
        </p:spPr>
        <p:txBody>
          <a:bodyPr vert="horz" lIns="93170" tIns="46586" rIns="93170" bIns="46586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344" y="8829430"/>
            <a:ext cx="3037841" cy="464820"/>
          </a:xfrm>
          <a:prstGeom prst="rect">
            <a:avLst/>
          </a:prstGeom>
        </p:spPr>
        <p:txBody>
          <a:bodyPr vert="horz" lIns="93170" tIns="46586" rIns="93170" bIns="46586" rtlCol="0" anchor="b"/>
          <a:lstStyle>
            <a:lvl1pPr algn="r">
              <a:defRPr sz="1200"/>
            </a:lvl1pPr>
          </a:lstStyle>
          <a:p>
            <a:fld id="{C0708A86-4735-4E3C-A53A-ACD9DD50FEDE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45264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7975" y="211138"/>
            <a:ext cx="6394450" cy="4894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0" tIns="46586" rIns="93170" bIns="465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1239" y="5267961"/>
            <a:ext cx="6680911" cy="3830117"/>
          </a:xfrm>
          <a:prstGeom prst="rect">
            <a:avLst/>
          </a:prstGeom>
        </p:spPr>
        <p:txBody>
          <a:bodyPr vert="horz" lIns="93170" tIns="46586" rIns="93170" bIns="46586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345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15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855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2D881931-E960-7C4C-BBC3-C03E038E8498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9684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69EFF5C8-2325-4D13-8983-5AA9DF4354A4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888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2D881931-E960-7C4C-BBC3-C03E038E849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223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512" y="2927802"/>
            <a:ext cx="4919472" cy="1920240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6021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324344" y="6782118"/>
            <a:ext cx="3081100" cy="49625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73015" y="6782118"/>
            <a:ext cx="2027039" cy="49625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3718BE-3857-4354-BB41-E770C5E98F5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63156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50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490">
                <a:solidFill>
                  <a:schemeClr val="bg1"/>
                </a:solidFill>
              </a:defRPr>
            </a:lvl1pPr>
            <a:lvl2pPr marL="486507" indent="0">
              <a:buNone/>
              <a:defRPr/>
            </a:lvl2pPr>
            <a:lvl3pPr marL="973013" indent="0">
              <a:buNone/>
              <a:defRPr/>
            </a:lvl3pPr>
            <a:lvl4pPr marL="1459520" indent="0">
              <a:buNone/>
              <a:defRPr/>
            </a:lvl4pPr>
            <a:lvl5pPr marL="1946026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297305" y="7019985"/>
            <a:ext cx="8119678" cy="39631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8783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28390"/>
            <a:ext cx="9729788" cy="992505"/>
          </a:xfrm>
          <a:prstGeom prst="rect">
            <a:avLst/>
          </a:prstGeom>
        </p:spPr>
        <p:txBody>
          <a:bodyPr lIns="105663" tIns="52831" rIns="105663" bIns="52831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31929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297305" y="7019987"/>
            <a:ext cx="8119678" cy="396313"/>
          </a:xfrm>
          <a:prstGeom prst="rect">
            <a:avLst/>
          </a:prstGeom>
        </p:spPr>
        <p:txBody>
          <a:bodyPr lIns="105663" tIns="52831" rIns="105663" bIns="52831"/>
          <a:lstStyle/>
          <a:p>
            <a:pPr defTabSz="528315"/>
            <a:endParaRPr lang="en-US" sz="2000" dirty="0">
              <a:solidFill>
                <a:srgbClr val="003663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82638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28390"/>
            <a:ext cx="9729788" cy="992505"/>
          </a:xfrm>
          <a:prstGeom prst="rect">
            <a:avLst/>
          </a:prstGeom>
        </p:spPr>
        <p:txBody>
          <a:bodyPr lIns="105663" tIns="52831" rIns="105663" bIns="52831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297305" y="7019987"/>
            <a:ext cx="8119678" cy="396313"/>
          </a:xfrm>
          <a:prstGeom prst="rect">
            <a:avLst/>
          </a:prstGeom>
        </p:spPr>
        <p:txBody>
          <a:bodyPr lIns="105663" tIns="52831" rIns="105663" bIns="52831"/>
          <a:lstStyle/>
          <a:p>
            <a:pPr defTabSz="528315"/>
            <a:endParaRPr lang="en-US" sz="2000" dirty="0">
              <a:solidFill>
                <a:srgbClr val="003663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12136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 runner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8"/>
            <a:ext cx="2189202" cy="332559"/>
          </a:xfrm>
          <a:prstGeom prst="roundRect">
            <a:avLst/>
          </a:prstGeom>
          <a:solidFill>
            <a:schemeClr val="accent3"/>
          </a:solidFill>
        </p:spPr>
        <p:txBody>
          <a:bodyPr lIns="105663" tIns="52831" rIns="105663" bIns="52831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528315" indent="0">
              <a:buNone/>
              <a:defRPr/>
            </a:lvl2pPr>
            <a:lvl3pPr marL="1056630" indent="0">
              <a:buNone/>
              <a:defRPr/>
            </a:lvl3pPr>
            <a:lvl4pPr marL="1584945" indent="0">
              <a:buNone/>
              <a:defRPr/>
            </a:lvl4pPr>
            <a:lvl5pPr marL="2113260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28390"/>
            <a:ext cx="9729788" cy="992505"/>
          </a:xfrm>
          <a:prstGeom prst="rect">
            <a:avLst/>
          </a:prstGeom>
        </p:spPr>
        <p:txBody>
          <a:bodyPr lIns="105663" tIns="52831" rIns="105663" bIns="52831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297305" y="7019987"/>
            <a:ext cx="8119678" cy="396313"/>
          </a:xfrm>
          <a:prstGeom prst="rect">
            <a:avLst/>
          </a:prstGeom>
        </p:spPr>
        <p:txBody>
          <a:bodyPr lIns="105663" tIns="52831" rIns="105663" bIns="52831"/>
          <a:lstStyle/>
          <a:p>
            <a:pPr defTabSz="528315"/>
            <a:endParaRPr lang="en-US" sz="2000" dirty="0">
              <a:solidFill>
                <a:srgbClr val="003663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857562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 w/ runner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8"/>
            <a:ext cx="2189202" cy="332559"/>
          </a:xfrm>
          <a:prstGeom prst="roundRect">
            <a:avLst/>
          </a:prstGeom>
          <a:solidFill>
            <a:schemeClr val="accent3"/>
          </a:solidFill>
        </p:spPr>
        <p:txBody>
          <a:bodyPr lIns="105663" tIns="52831" rIns="105663" bIns="52831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528315" indent="0">
              <a:buNone/>
              <a:defRPr/>
            </a:lvl2pPr>
            <a:lvl3pPr marL="1056630" indent="0">
              <a:buNone/>
              <a:defRPr/>
            </a:lvl3pPr>
            <a:lvl4pPr marL="1584945" indent="0">
              <a:buNone/>
              <a:defRPr/>
            </a:lvl4pPr>
            <a:lvl5pPr marL="2113260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28390"/>
            <a:ext cx="9729788" cy="992505"/>
          </a:xfrm>
          <a:prstGeom prst="rect">
            <a:avLst/>
          </a:prstGeom>
        </p:spPr>
        <p:txBody>
          <a:bodyPr lIns="105663" tIns="52831" rIns="105663" bIns="52831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297305" y="7019987"/>
            <a:ext cx="8119678" cy="396313"/>
          </a:xfrm>
          <a:prstGeom prst="rect">
            <a:avLst/>
          </a:prstGeom>
        </p:spPr>
        <p:txBody>
          <a:bodyPr lIns="105663" tIns="52831" rIns="105663" bIns="52831"/>
          <a:lstStyle/>
          <a:p>
            <a:pPr defTabSz="528315"/>
            <a:endParaRPr lang="en-US" sz="2000" dirty="0">
              <a:solidFill>
                <a:srgbClr val="003663"/>
              </a:solidFill>
              <a:latin typeface="Verdana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>
          <a:xfrm>
            <a:off x="331929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8015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9734" y="1218232"/>
            <a:ext cx="8270320" cy="2591541"/>
          </a:xfrm>
        </p:spPr>
        <p:txBody>
          <a:bodyPr anchor="b"/>
          <a:lstStyle>
            <a:lvl1pPr algn="ctr">
              <a:defRPr sz="638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6224" y="3909712"/>
            <a:ext cx="7297341" cy="1797192"/>
          </a:xfrm>
        </p:spPr>
        <p:txBody>
          <a:bodyPr/>
          <a:lstStyle>
            <a:lvl1pPr marL="0" indent="0" algn="ctr">
              <a:buNone/>
              <a:defRPr sz="2554"/>
            </a:lvl1pPr>
            <a:lvl2pPr marL="486507" indent="0" algn="ctr">
              <a:buNone/>
              <a:defRPr sz="2128"/>
            </a:lvl2pPr>
            <a:lvl3pPr marL="973013" indent="0" algn="ctr">
              <a:buNone/>
              <a:defRPr sz="1915"/>
            </a:lvl3pPr>
            <a:lvl4pPr marL="1459520" indent="0" algn="ctr">
              <a:buNone/>
              <a:defRPr sz="1703"/>
            </a:lvl4pPr>
            <a:lvl5pPr marL="1946026" indent="0" algn="ctr">
              <a:buNone/>
              <a:defRPr sz="1703"/>
            </a:lvl5pPr>
            <a:lvl6pPr marL="2432533" indent="0" algn="ctr">
              <a:buNone/>
              <a:defRPr sz="1703"/>
            </a:lvl6pPr>
            <a:lvl7pPr marL="2919039" indent="0" algn="ctr">
              <a:buNone/>
              <a:defRPr sz="1703"/>
            </a:lvl7pPr>
            <a:lvl8pPr marL="3405546" indent="0" algn="ctr">
              <a:buNone/>
              <a:defRPr sz="1703"/>
            </a:lvl8pPr>
            <a:lvl9pPr marL="3892052" indent="0" algn="ctr">
              <a:buNone/>
              <a:defRPr sz="1703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688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7" y="1403349"/>
            <a:ext cx="897890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091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3856" y="1855780"/>
            <a:ext cx="8391942" cy="3096408"/>
          </a:xfrm>
        </p:spPr>
        <p:txBody>
          <a:bodyPr anchor="b"/>
          <a:lstStyle>
            <a:lvl1pPr>
              <a:defRPr sz="638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3856" y="4981482"/>
            <a:ext cx="8391942" cy="1628328"/>
          </a:xfrm>
        </p:spPr>
        <p:txBody>
          <a:bodyPr/>
          <a:lstStyle>
            <a:lvl1pPr marL="0" indent="0">
              <a:buNone/>
              <a:defRPr sz="2554">
                <a:solidFill>
                  <a:schemeClr val="tx1"/>
                </a:solidFill>
              </a:defRPr>
            </a:lvl1pPr>
            <a:lvl2pPr marL="486507" indent="0">
              <a:buNone/>
              <a:defRPr sz="2128">
                <a:solidFill>
                  <a:schemeClr val="tx1">
                    <a:tint val="75000"/>
                  </a:schemeClr>
                </a:solidFill>
              </a:defRPr>
            </a:lvl2pPr>
            <a:lvl3pPr marL="973013" indent="0">
              <a:buNone/>
              <a:defRPr sz="1915">
                <a:solidFill>
                  <a:schemeClr val="tx1">
                    <a:tint val="75000"/>
                  </a:schemeClr>
                </a:solidFill>
              </a:defRPr>
            </a:lvl3pPr>
            <a:lvl4pPr marL="1459520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4pPr>
            <a:lvl5pPr marL="1946026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5pPr>
            <a:lvl6pPr marL="2432533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6pPr>
            <a:lvl7pPr marL="2919039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7pPr>
            <a:lvl8pPr marL="3405546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8pPr>
            <a:lvl9pPr marL="3892052" indent="0">
              <a:buNone/>
              <a:defRPr sz="170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5619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8923" y="1981564"/>
            <a:ext cx="4135160" cy="472301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25705" y="1981564"/>
            <a:ext cx="4135160" cy="472301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3549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190" y="396315"/>
            <a:ext cx="8391942" cy="14387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191" y="1824762"/>
            <a:ext cx="4116156" cy="894288"/>
          </a:xfrm>
        </p:spPr>
        <p:txBody>
          <a:bodyPr anchor="b"/>
          <a:lstStyle>
            <a:lvl1pPr marL="0" indent="0">
              <a:buNone/>
              <a:defRPr sz="2554" b="1"/>
            </a:lvl1pPr>
            <a:lvl2pPr marL="486507" indent="0">
              <a:buNone/>
              <a:defRPr sz="2128" b="1"/>
            </a:lvl2pPr>
            <a:lvl3pPr marL="973013" indent="0">
              <a:buNone/>
              <a:defRPr sz="1915" b="1"/>
            </a:lvl3pPr>
            <a:lvl4pPr marL="1459520" indent="0">
              <a:buNone/>
              <a:defRPr sz="1703" b="1"/>
            </a:lvl4pPr>
            <a:lvl5pPr marL="1946026" indent="0">
              <a:buNone/>
              <a:defRPr sz="1703" b="1"/>
            </a:lvl5pPr>
            <a:lvl6pPr marL="2432533" indent="0">
              <a:buNone/>
              <a:defRPr sz="1703" b="1"/>
            </a:lvl6pPr>
            <a:lvl7pPr marL="2919039" indent="0">
              <a:buNone/>
              <a:defRPr sz="1703" b="1"/>
            </a:lvl7pPr>
            <a:lvl8pPr marL="3405546" indent="0">
              <a:buNone/>
              <a:defRPr sz="1703" b="1"/>
            </a:lvl8pPr>
            <a:lvl9pPr marL="3892052" indent="0">
              <a:buNone/>
              <a:defRPr sz="17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0191" y="2719051"/>
            <a:ext cx="4116156" cy="39993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25706" y="1824762"/>
            <a:ext cx="4136427" cy="894288"/>
          </a:xfrm>
        </p:spPr>
        <p:txBody>
          <a:bodyPr anchor="b"/>
          <a:lstStyle>
            <a:lvl1pPr marL="0" indent="0">
              <a:buNone/>
              <a:defRPr sz="2554" b="1"/>
            </a:lvl1pPr>
            <a:lvl2pPr marL="486507" indent="0">
              <a:buNone/>
              <a:defRPr sz="2128" b="1"/>
            </a:lvl2pPr>
            <a:lvl3pPr marL="973013" indent="0">
              <a:buNone/>
              <a:defRPr sz="1915" b="1"/>
            </a:lvl3pPr>
            <a:lvl4pPr marL="1459520" indent="0">
              <a:buNone/>
              <a:defRPr sz="1703" b="1"/>
            </a:lvl4pPr>
            <a:lvl5pPr marL="1946026" indent="0">
              <a:buNone/>
              <a:defRPr sz="1703" b="1"/>
            </a:lvl5pPr>
            <a:lvl6pPr marL="2432533" indent="0">
              <a:buNone/>
              <a:defRPr sz="1703" b="1"/>
            </a:lvl6pPr>
            <a:lvl7pPr marL="2919039" indent="0">
              <a:buNone/>
              <a:defRPr sz="1703" b="1"/>
            </a:lvl7pPr>
            <a:lvl8pPr marL="3405546" indent="0">
              <a:buNone/>
              <a:defRPr sz="1703" b="1"/>
            </a:lvl8pPr>
            <a:lvl9pPr marL="3892052" indent="0">
              <a:buNone/>
              <a:defRPr sz="170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25706" y="2719051"/>
            <a:ext cx="4136427" cy="39993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1074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8779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7593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190" y="496252"/>
            <a:ext cx="3138110" cy="1736884"/>
          </a:xfrm>
        </p:spPr>
        <p:txBody>
          <a:bodyPr anchor="b"/>
          <a:lstStyle>
            <a:lvl1pPr>
              <a:defRPr sz="340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36427" y="1071769"/>
            <a:ext cx="4925705" cy="5289914"/>
          </a:xfrm>
        </p:spPr>
        <p:txBody>
          <a:bodyPr/>
          <a:lstStyle>
            <a:lvl1pPr>
              <a:defRPr sz="3405"/>
            </a:lvl1pPr>
            <a:lvl2pPr>
              <a:defRPr sz="2979"/>
            </a:lvl2pPr>
            <a:lvl3pPr>
              <a:defRPr sz="2554"/>
            </a:lvl3pPr>
            <a:lvl4pPr>
              <a:defRPr sz="2128"/>
            </a:lvl4pPr>
            <a:lvl5pPr>
              <a:defRPr sz="2128"/>
            </a:lvl5pPr>
            <a:lvl6pPr>
              <a:defRPr sz="2128"/>
            </a:lvl6pPr>
            <a:lvl7pPr>
              <a:defRPr sz="2128"/>
            </a:lvl7pPr>
            <a:lvl8pPr>
              <a:defRPr sz="2128"/>
            </a:lvl8pPr>
            <a:lvl9pPr>
              <a:defRPr sz="2128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0190" y="2233137"/>
            <a:ext cx="3138110" cy="4137161"/>
          </a:xfrm>
        </p:spPr>
        <p:txBody>
          <a:bodyPr/>
          <a:lstStyle>
            <a:lvl1pPr marL="0" indent="0">
              <a:buNone/>
              <a:defRPr sz="1703"/>
            </a:lvl1pPr>
            <a:lvl2pPr marL="486507" indent="0">
              <a:buNone/>
              <a:defRPr sz="1490"/>
            </a:lvl2pPr>
            <a:lvl3pPr marL="973013" indent="0">
              <a:buNone/>
              <a:defRPr sz="1277"/>
            </a:lvl3pPr>
            <a:lvl4pPr marL="1459520" indent="0">
              <a:buNone/>
              <a:defRPr sz="1064"/>
            </a:lvl4pPr>
            <a:lvl5pPr marL="1946026" indent="0">
              <a:buNone/>
              <a:defRPr sz="1064"/>
            </a:lvl5pPr>
            <a:lvl6pPr marL="2432533" indent="0">
              <a:buNone/>
              <a:defRPr sz="1064"/>
            </a:lvl6pPr>
            <a:lvl7pPr marL="2919039" indent="0">
              <a:buNone/>
              <a:defRPr sz="1064"/>
            </a:lvl7pPr>
            <a:lvl8pPr marL="3405546" indent="0">
              <a:buNone/>
              <a:defRPr sz="1064"/>
            </a:lvl8pPr>
            <a:lvl9pPr marL="3892052" indent="0">
              <a:buNone/>
              <a:defRPr sz="1064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1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190" y="496252"/>
            <a:ext cx="3138110" cy="1736884"/>
          </a:xfrm>
        </p:spPr>
        <p:txBody>
          <a:bodyPr anchor="b"/>
          <a:lstStyle>
            <a:lvl1pPr>
              <a:defRPr sz="3405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427" y="1071769"/>
            <a:ext cx="4925705" cy="5289914"/>
          </a:xfrm>
        </p:spPr>
        <p:txBody>
          <a:bodyPr anchor="t"/>
          <a:lstStyle>
            <a:lvl1pPr marL="0" indent="0">
              <a:buNone/>
              <a:defRPr sz="3405"/>
            </a:lvl1pPr>
            <a:lvl2pPr marL="486507" indent="0">
              <a:buNone/>
              <a:defRPr sz="2979"/>
            </a:lvl2pPr>
            <a:lvl3pPr marL="973013" indent="0">
              <a:buNone/>
              <a:defRPr sz="2554"/>
            </a:lvl3pPr>
            <a:lvl4pPr marL="1459520" indent="0">
              <a:buNone/>
              <a:defRPr sz="2128"/>
            </a:lvl4pPr>
            <a:lvl5pPr marL="1946026" indent="0">
              <a:buNone/>
              <a:defRPr sz="2128"/>
            </a:lvl5pPr>
            <a:lvl6pPr marL="2432533" indent="0">
              <a:buNone/>
              <a:defRPr sz="2128"/>
            </a:lvl6pPr>
            <a:lvl7pPr marL="2919039" indent="0">
              <a:buNone/>
              <a:defRPr sz="2128"/>
            </a:lvl7pPr>
            <a:lvl8pPr marL="3405546" indent="0">
              <a:buNone/>
              <a:defRPr sz="2128"/>
            </a:lvl8pPr>
            <a:lvl9pPr marL="3892052" indent="0">
              <a:buNone/>
              <a:defRPr sz="2128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0190" y="2233137"/>
            <a:ext cx="3138110" cy="4137161"/>
          </a:xfrm>
        </p:spPr>
        <p:txBody>
          <a:bodyPr/>
          <a:lstStyle>
            <a:lvl1pPr marL="0" indent="0">
              <a:buNone/>
              <a:defRPr sz="1703"/>
            </a:lvl1pPr>
            <a:lvl2pPr marL="486507" indent="0">
              <a:buNone/>
              <a:defRPr sz="1490"/>
            </a:lvl2pPr>
            <a:lvl3pPr marL="973013" indent="0">
              <a:buNone/>
              <a:defRPr sz="1277"/>
            </a:lvl3pPr>
            <a:lvl4pPr marL="1459520" indent="0">
              <a:buNone/>
              <a:defRPr sz="1064"/>
            </a:lvl4pPr>
            <a:lvl5pPr marL="1946026" indent="0">
              <a:buNone/>
              <a:defRPr sz="1064"/>
            </a:lvl5pPr>
            <a:lvl6pPr marL="2432533" indent="0">
              <a:buNone/>
              <a:defRPr sz="1064"/>
            </a:lvl6pPr>
            <a:lvl7pPr marL="2919039" indent="0">
              <a:buNone/>
              <a:defRPr sz="1064"/>
            </a:lvl7pPr>
            <a:lvl8pPr marL="3405546" indent="0">
              <a:buNone/>
              <a:defRPr sz="1064"/>
            </a:lvl8pPr>
            <a:lvl9pPr marL="3892052" indent="0">
              <a:buNone/>
              <a:defRPr sz="1064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389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5743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62880" y="396313"/>
            <a:ext cx="2097986" cy="630826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8924" y="396313"/>
            <a:ext cx="6172334" cy="630826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32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0876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875" y="150876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4" y="1271017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3209" y="1271017"/>
            <a:ext cx="427354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0" y="1216"/>
          <a:ext cx="1187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0" y="1216"/>
                        <a:ext cx="1187" cy="12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198820" y="7015037"/>
            <a:ext cx="330219" cy="229294"/>
          </a:xfrm>
          <a:prstGeom prst="rect">
            <a:avLst/>
          </a:prstGeom>
          <a:noFill/>
          <a:ln/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defTabSz="666133" eaLnBrk="1" fontAlgn="base" hangingPunct="1">
              <a:spcBef>
                <a:spcPct val="0"/>
              </a:spcBef>
              <a:spcAft>
                <a:spcPct val="0"/>
              </a:spcAft>
            </a:pPr>
            <a:fld id="{339985FF-DD49-4E49-941A-461532AC28D9}" type="slidenum">
              <a:rPr lang="en-US" sz="1490">
                <a:solidFill>
                  <a:srgbClr val="000000"/>
                </a:solidFill>
                <a:latin typeface="Verdana"/>
                <a:cs typeface="Verdana"/>
                <a:sym typeface="Arial" charset="0"/>
              </a:rPr>
              <a:pPr algn="r" defTabSz="666133"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490" dirty="0">
              <a:solidFill>
                <a:srgbClr val="000000"/>
              </a:solidFill>
              <a:latin typeface="Verdana"/>
              <a:cs typeface="Verdana"/>
              <a:sym typeface="Arial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8440"/>
            <a:ext cx="9730975" cy="991941"/>
          </a:xfrm>
          <a:prstGeom prst="rect">
            <a:avLst/>
          </a:prstGeom>
          <a:solidFill>
            <a:srgbClr val="003663"/>
          </a:solidFill>
          <a:ln>
            <a:noFill/>
          </a:ln>
          <a:extLst/>
        </p:spPr>
      </p:pic>
      <p:graphicFrame>
        <p:nvGraphicFramePr>
          <p:cNvPr id="11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0" y="1216"/>
          <a:ext cx="1187" cy="1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0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0" y="1216"/>
                        <a:ext cx="1187" cy="12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9128" y="1914480"/>
            <a:ext cx="8837641" cy="5012150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4708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mit! Blue Content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31930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42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001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52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117">
                <a:solidFill>
                  <a:schemeClr val="bg1"/>
                </a:solidFill>
              </a:defRPr>
            </a:lvl1pPr>
            <a:lvl2pPr marL="364880" indent="0">
              <a:buNone/>
              <a:defRPr/>
            </a:lvl2pPr>
            <a:lvl3pPr marL="729760" indent="0">
              <a:buNone/>
              <a:defRPr/>
            </a:lvl3pPr>
            <a:lvl4pPr marL="1094640" indent="0">
              <a:buNone/>
              <a:defRPr/>
            </a:lvl4pPr>
            <a:lvl5pPr marL="1459520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206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52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117">
                <a:solidFill>
                  <a:schemeClr val="bg1"/>
                </a:solidFill>
              </a:defRPr>
            </a:lvl1pPr>
            <a:lvl2pPr marL="364880" indent="0">
              <a:buNone/>
              <a:defRPr/>
            </a:lvl2pPr>
            <a:lvl3pPr marL="729760" indent="0">
              <a:buNone/>
              <a:defRPr/>
            </a:lvl3pPr>
            <a:lvl4pPr marL="1094640" indent="0">
              <a:buNone/>
              <a:defRPr/>
            </a:lvl4pPr>
            <a:lvl5pPr marL="1459520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>
          <a:xfrm>
            <a:off x="331930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886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31928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109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9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7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490">
                <a:solidFill>
                  <a:schemeClr val="bg1"/>
                </a:solidFill>
              </a:defRPr>
            </a:lvl1pPr>
            <a:lvl2pPr marL="486507" indent="0">
              <a:buNone/>
              <a:defRPr/>
            </a:lvl2pPr>
            <a:lvl3pPr marL="973013" indent="0">
              <a:buNone/>
              <a:defRPr/>
            </a:lvl3pPr>
            <a:lvl4pPr marL="1459520" indent="0">
              <a:buNone/>
              <a:defRPr/>
            </a:lvl4pPr>
            <a:lvl5pPr marL="1946026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34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7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490">
                <a:solidFill>
                  <a:schemeClr val="bg1"/>
                </a:solidFill>
              </a:defRPr>
            </a:lvl1pPr>
            <a:lvl2pPr marL="486507" indent="0">
              <a:buNone/>
              <a:defRPr/>
            </a:lvl2pPr>
            <a:lvl3pPr marL="973013" indent="0">
              <a:buNone/>
              <a:defRPr/>
            </a:lvl3pPr>
            <a:lvl4pPr marL="1459520" indent="0">
              <a:buNone/>
              <a:defRPr/>
            </a:lvl4pPr>
            <a:lvl5pPr marL="1946026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>
          <a:xfrm>
            <a:off x="331928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420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31928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979"/>
            </a:lvl1pPr>
            <a:lvl2pPr>
              <a:defRPr sz="2554"/>
            </a:lvl2pPr>
            <a:lvl3pPr>
              <a:defRPr sz="2128"/>
            </a:lvl3pPr>
            <a:lvl4pPr>
              <a:defRPr sz="1915"/>
            </a:lvl4pPr>
            <a:lvl5pPr>
              <a:defRPr sz="1915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415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08760"/>
            <a:ext cx="2879999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7738" y="1508760"/>
            <a:ext cx="2879999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236" y="1271017"/>
            <a:ext cx="287999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737" y="1271017"/>
            <a:ext cx="287999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988" y="1508760"/>
            <a:ext cx="2879999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8289" y="1271017"/>
            <a:ext cx="287999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108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 runner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7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490">
                <a:solidFill>
                  <a:schemeClr val="bg1"/>
                </a:solidFill>
              </a:defRPr>
            </a:lvl1pPr>
            <a:lvl2pPr marL="486507" indent="0">
              <a:buNone/>
              <a:defRPr/>
            </a:lvl2pPr>
            <a:lvl3pPr marL="973013" indent="0">
              <a:buNone/>
              <a:defRPr/>
            </a:lvl3pPr>
            <a:lvl4pPr marL="1459520" indent="0">
              <a:buNone/>
              <a:defRPr/>
            </a:lvl4pPr>
            <a:lvl5pPr marL="1946026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276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 w/ runner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7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490">
                <a:solidFill>
                  <a:schemeClr val="bg1"/>
                </a:solidFill>
              </a:defRPr>
            </a:lvl1pPr>
            <a:lvl2pPr marL="486507" indent="0">
              <a:buNone/>
              <a:defRPr/>
            </a:lvl2pPr>
            <a:lvl3pPr marL="973013" indent="0">
              <a:buNone/>
              <a:defRPr/>
            </a:lvl3pPr>
            <a:lvl4pPr marL="1459520" indent="0">
              <a:buNone/>
              <a:defRPr/>
            </a:lvl4pPr>
            <a:lvl5pPr marL="1946026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>
          <a:xfrm>
            <a:off x="331928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2979"/>
            </a:lvl1pPr>
            <a:lvl2pPr>
              <a:defRPr sz="2554"/>
            </a:lvl2pPr>
            <a:lvl3pPr>
              <a:defRPr sz="2128"/>
            </a:lvl3pPr>
            <a:lvl4pPr>
              <a:defRPr sz="1915"/>
            </a:lvl4pPr>
            <a:lvl5pPr>
              <a:defRPr sz="1915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574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192"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150572849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mit! Blue Content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2431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31928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742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78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7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461">
                <a:solidFill>
                  <a:schemeClr val="bg1"/>
                </a:solidFill>
              </a:defRPr>
            </a:lvl1pPr>
            <a:lvl2pPr marL="476950" indent="0">
              <a:buNone/>
              <a:defRPr/>
            </a:lvl2pPr>
            <a:lvl3pPr marL="953899" indent="0">
              <a:buNone/>
              <a:defRPr/>
            </a:lvl3pPr>
            <a:lvl4pPr marL="1430848" indent="0">
              <a:buNone/>
              <a:defRPr/>
            </a:lvl4pPr>
            <a:lvl5pPr marL="1907797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774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mit! Blue Content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540586" y="25847"/>
            <a:ext cx="2189202" cy="332558"/>
          </a:xfrm>
          <a:prstGeom prst="round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461">
                <a:solidFill>
                  <a:schemeClr val="bg1"/>
                </a:solidFill>
              </a:defRPr>
            </a:lvl1pPr>
            <a:lvl2pPr marL="476950" indent="0">
              <a:buNone/>
              <a:defRPr/>
            </a:lvl2pPr>
            <a:lvl3pPr marL="953899" indent="0">
              <a:buNone/>
              <a:defRPr/>
            </a:lvl3pPr>
            <a:lvl4pPr marL="1430848" indent="0">
              <a:buNone/>
              <a:defRPr/>
            </a:lvl4pPr>
            <a:lvl5pPr marL="1907797" indent="0">
              <a:buNone/>
              <a:defRPr/>
            </a:lvl5pPr>
          </a:lstStyle>
          <a:p>
            <a:pPr lvl="0"/>
            <a:r>
              <a:rPr lang="en-US" dirty="0" smtClean="0"/>
              <a:t>Runn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quarter" idx="12"/>
          </p:nvPr>
        </p:nvSpPr>
        <p:spPr>
          <a:xfrm>
            <a:off x="331928" y="1589296"/>
            <a:ext cx="9065932" cy="5429485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50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431925"/>
            <a:ext cx="4260850" cy="266415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875" y="1431925"/>
            <a:ext cx="4260850" cy="266415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4" y="1152145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3208" y="1152145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905" y="4393630"/>
            <a:ext cx="4260850" cy="266415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3209" y="4393630"/>
            <a:ext cx="4260850" cy="266415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904" y="4142233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3208" y="4142233"/>
            <a:ext cx="4261105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0876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6" y="1271017"/>
            <a:ext cx="427354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91" y="1417638"/>
            <a:ext cx="8979408" cy="55321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238" y="1510030"/>
            <a:ext cx="4260850" cy="55308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3208" y="1510030"/>
            <a:ext cx="4261105" cy="5532120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826" y="1271017"/>
            <a:ext cx="4273549" cy="441325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1" name="think-cell Slide" r:id="rId7" imgW="407" imgH="409" progId="">
                  <p:embed/>
                </p:oleObj>
              </mc:Choice>
              <mc:Fallback>
                <p:oleObj name="think-cell Slide" r:id="rId7" imgW="407" imgH="409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04647"/>
            <a:ext cx="8522494" cy="32653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600" y="3002400"/>
            <a:ext cx="7599600" cy="997200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200" y="4539600"/>
            <a:ext cx="4647600" cy="585216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customXml" Target="../../customXml/item2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customXml" Target="../../customXml/item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8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" name="think-cell Slide" r:id="rId21" imgW="407" imgH="409" progId="">
                  <p:embed/>
                </p:oleObj>
              </mc:Choice>
              <mc:Fallback>
                <p:oleObj name="think-cell Slide" r:id="rId21" imgW="407" imgH="409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0000" y="147600"/>
            <a:ext cx="9396000" cy="90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>
          <a:xfrm>
            <a:off x="375444" y="1396999"/>
            <a:ext cx="8978900" cy="5530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1704" y="7223760"/>
            <a:ext cx="320040" cy="9144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1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1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81" y="6959830"/>
            <a:ext cx="6962763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000"/>
            <a:ext cx="9729788" cy="144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20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  <p:pic>
        <p:nvPicPr>
          <p:cNvPr id="10" name="Picture 9" descr="High-Res-Logo-300x203.jpg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8" y="6943932"/>
            <a:ext cx="733162" cy="486346"/>
          </a:xfrm>
          <a:prstGeom prst="rect">
            <a:avLst/>
          </a:prstGeom>
        </p:spPr>
      </p:pic>
    </p:spTree>
    <p:custDataLst>
      <p:custData r:id="rId17"/>
      <p:custData r:id="rId18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6" r:id="rId4"/>
    <p:sldLayoutId id="2147483777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85" r:id="rId12"/>
    <p:sldLayoutId id="2147483786" r:id="rId13"/>
    <p:sldLayoutId id="2147483822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431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528315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96236" indent="-396236" algn="l" defTabSz="528315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58512" indent="-330197" algn="l" defTabSz="528315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87" indent="-264157" algn="l" defTabSz="528315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49102" indent="-264157" algn="l" defTabSz="528315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77417" indent="-264157" algn="l" defTabSz="528315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05732" indent="-264157" algn="l" defTabSz="528315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34047" indent="-264157" algn="l" defTabSz="528315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62362" indent="-264157" algn="l" defTabSz="528315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90677" indent="-264157" algn="l" defTabSz="528315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8315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56630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84945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113260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41574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69889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98204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226519" algn="l" defTabSz="52831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68923" y="396315"/>
            <a:ext cx="8391942" cy="1438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8923" y="1981564"/>
            <a:ext cx="8391942" cy="47230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8923" y="6899290"/>
            <a:ext cx="2189202" cy="3963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3013"/>
            <a:fld id="{B47920AF-1F1A-424F-AF7B-760ABD627D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73013"/>
              <a:t>9/14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22993" y="6899290"/>
            <a:ext cx="3283803" cy="3963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3013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1663" y="6899290"/>
            <a:ext cx="2189202" cy="3963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73013"/>
            <a:fld id="{9B15238A-96C6-5044-9118-DA277FC119C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73013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060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</p:sldLayoutIdLst>
  <p:txStyles>
    <p:titleStyle>
      <a:lvl1pPr algn="l" defTabSz="973013" rtl="0" eaLnBrk="1" latinLnBrk="0" hangingPunct="1">
        <a:lnSpc>
          <a:spcPct val="90000"/>
        </a:lnSpc>
        <a:spcBef>
          <a:spcPct val="0"/>
        </a:spcBef>
        <a:buNone/>
        <a:defRPr sz="468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253" indent="-243253" algn="l" defTabSz="973013" rtl="0" eaLnBrk="1" latinLnBrk="0" hangingPunct="1">
        <a:lnSpc>
          <a:spcPct val="90000"/>
        </a:lnSpc>
        <a:spcBef>
          <a:spcPts val="1064"/>
        </a:spcBef>
        <a:buFont typeface="Arial" panose="020B0604020202020204" pitchFamily="34" charset="0"/>
        <a:buChar char="•"/>
        <a:defRPr sz="2979" kern="1200">
          <a:solidFill>
            <a:schemeClr val="tx1"/>
          </a:solidFill>
          <a:latin typeface="+mn-lt"/>
          <a:ea typeface="+mn-ea"/>
          <a:cs typeface="+mn-cs"/>
        </a:defRPr>
      </a:lvl1pPr>
      <a:lvl2pPr marL="729760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2554" kern="1200">
          <a:solidFill>
            <a:schemeClr val="tx1"/>
          </a:solidFill>
          <a:latin typeface="+mn-lt"/>
          <a:ea typeface="+mn-ea"/>
          <a:cs typeface="+mn-cs"/>
        </a:defRPr>
      </a:lvl2pPr>
      <a:lvl3pPr marL="1216266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3pPr>
      <a:lvl4pPr marL="1702773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1915" kern="1200">
          <a:solidFill>
            <a:schemeClr val="tx1"/>
          </a:solidFill>
          <a:latin typeface="+mn-lt"/>
          <a:ea typeface="+mn-ea"/>
          <a:cs typeface="+mn-cs"/>
        </a:defRPr>
      </a:lvl4pPr>
      <a:lvl5pPr marL="2189279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1915" kern="1200">
          <a:solidFill>
            <a:schemeClr val="tx1"/>
          </a:solidFill>
          <a:latin typeface="+mn-lt"/>
          <a:ea typeface="+mn-ea"/>
          <a:cs typeface="+mn-cs"/>
        </a:defRPr>
      </a:lvl5pPr>
      <a:lvl6pPr marL="2675786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1915" kern="1200">
          <a:solidFill>
            <a:schemeClr val="tx1"/>
          </a:solidFill>
          <a:latin typeface="+mn-lt"/>
          <a:ea typeface="+mn-ea"/>
          <a:cs typeface="+mn-cs"/>
        </a:defRPr>
      </a:lvl6pPr>
      <a:lvl7pPr marL="3162292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1915" kern="1200">
          <a:solidFill>
            <a:schemeClr val="tx1"/>
          </a:solidFill>
          <a:latin typeface="+mn-lt"/>
          <a:ea typeface="+mn-ea"/>
          <a:cs typeface="+mn-cs"/>
        </a:defRPr>
      </a:lvl7pPr>
      <a:lvl8pPr marL="3648799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1915" kern="1200">
          <a:solidFill>
            <a:schemeClr val="tx1"/>
          </a:solidFill>
          <a:latin typeface="+mn-lt"/>
          <a:ea typeface="+mn-ea"/>
          <a:cs typeface="+mn-cs"/>
        </a:defRPr>
      </a:lvl8pPr>
      <a:lvl9pPr marL="4135305" indent="-243253" algn="l" defTabSz="973013" rtl="0" eaLnBrk="1" latinLnBrk="0" hangingPunct="1">
        <a:lnSpc>
          <a:spcPct val="90000"/>
        </a:lnSpc>
        <a:spcBef>
          <a:spcPts val="532"/>
        </a:spcBef>
        <a:buFont typeface="Arial" panose="020B0604020202020204" pitchFamily="34" charset="0"/>
        <a:buChar char="•"/>
        <a:defRPr sz="19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1pPr>
      <a:lvl2pPr marL="486507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2pPr>
      <a:lvl3pPr marL="973013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3pPr>
      <a:lvl4pPr marL="1459520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4pPr>
      <a:lvl5pPr marL="1946026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5pPr>
      <a:lvl6pPr marL="2432533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6pPr>
      <a:lvl7pPr marL="2919039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7pPr>
      <a:lvl8pPr marL="3405546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8pPr>
      <a:lvl9pPr marL="3892052" algn="l" defTabSz="973013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428389"/>
            <a:ext cx="9729788" cy="99250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64880"/>
            <a:endParaRPr lang="en-US" sz="839" dirty="0">
              <a:solidFill>
                <a:srgbClr val="FFFFFF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0" y="428389"/>
            <a:ext cx="9729788" cy="992505"/>
          </a:xfrm>
          <a:prstGeom prst="rect">
            <a:avLst/>
          </a:prstGeom>
          <a:noFill/>
        </p:spPr>
        <p:txBody>
          <a:bodyPr vert="horz" lIns="45720" tIns="91440" rIns="45720" bIns="91440" rtlCol="0" anchor="ctr">
            <a:noAutofit/>
          </a:bodyPr>
          <a:lstStyle/>
          <a:p>
            <a:r>
              <a:rPr lang="en-US" dirty="0" smtClean="0"/>
              <a:t>[INSERT TITLE HERE]</a:t>
            </a:r>
            <a:endParaRPr lang="en-US" dirty="0"/>
          </a:p>
        </p:txBody>
      </p:sp>
      <p:pic>
        <p:nvPicPr>
          <p:cNvPr id="6" name="Picture 5" descr="logo_Commit_Small-0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26" y="7019641"/>
            <a:ext cx="972979" cy="198501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297305" y="7019990"/>
            <a:ext cx="8119678" cy="396313"/>
          </a:xfrm>
          <a:prstGeom prst="rect">
            <a:avLst/>
          </a:prstGeom>
        </p:spPr>
        <p:txBody>
          <a:bodyPr vert="horz" lIns="45720" tIns="0" rIns="0" bIns="0" rtlCol="0" anchor="ctr">
            <a:normAutofit/>
          </a:bodyPr>
          <a:lstStyle>
            <a:lvl1pPr algn="l">
              <a:defRPr sz="63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64880"/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8" name="Slide Number Placeholder 6"/>
          <p:cNvSpPr txBox="1">
            <a:spLocks/>
          </p:cNvSpPr>
          <p:nvPr/>
        </p:nvSpPr>
        <p:spPr>
          <a:xfrm>
            <a:off x="9258177" y="7022446"/>
            <a:ext cx="471612" cy="396313"/>
          </a:xfrm>
          <a:prstGeom prst="rect">
            <a:avLst/>
          </a:prstGeom>
        </p:spPr>
        <p:txBody>
          <a:bodyPr vert="horz" lIns="72973" tIns="36487" rIns="72973" bIns="36487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C09CD7-5F40-4338-BEB1-0B05CA328AD9}" type="slidenum">
              <a:rPr lang="en-US" sz="718" smtClean="0">
                <a:solidFill>
                  <a:srgbClr val="003663"/>
                </a:solidFill>
              </a:rPr>
              <a:pPr/>
              <a:t>‹#›</a:t>
            </a:fld>
            <a:endParaRPr lang="en-US" sz="718" dirty="0">
              <a:solidFill>
                <a:srgbClr val="0036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368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364880" rtl="0" eaLnBrk="1" latinLnBrk="0" hangingPunct="1">
        <a:spcBef>
          <a:spcPct val="0"/>
        </a:spcBef>
        <a:buNone/>
        <a:defRPr sz="2235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3660" indent="-273660" algn="l" defTabSz="364880" rtl="0" eaLnBrk="1" latinLnBrk="0" hangingPunct="1">
        <a:spcBef>
          <a:spcPct val="20000"/>
        </a:spcBef>
        <a:buFont typeface="Arial"/>
        <a:buChar char="•"/>
        <a:defRPr sz="2554" kern="1200">
          <a:solidFill>
            <a:schemeClr val="tx1"/>
          </a:solidFill>
          <a:latin typeface="+mn-lt"/>
          <a:ea typeface="+mn-ea"/>
          <a:cs typeface="+mn-cs"/>
        </a:defRPr>
      </a:lvl1pPr>
      <a:lvl2pPr marL="592930" indent="-228050" algn="l" defTabSz="364880" rtl="0" eaLnBrk="1" latinLnBrk="0" hangingPunct="1">
        <a:spcBef>
          <a:spcPct val="20000"/>
        </a:spcBef>
        <a:buFont typeface="Arial"/>
        <a:buChar char="–"/>
        <a:defRPr sz="2235" kern="1200">
          <a:solidFill>
            <a:schemeClr val="tx1"/>
          </a:solidFill>
          <a:latin typeface="+mn-lt"/>
          <a:ea typeface="+mn-ea"/>
          <a:cs typeface="+mn-cs"/>
        </a:defRPr>
      </a:lvl2pPr>
      <a:lvl3pPr marL="912200" indent="-182440" algn="l" defTabSz="364880" rtl="0" eaLnBrk="1" latinLnBrk="0" hangingPunct="1">
        <a:spcBef>
          <a:spcPct val="20000"/>
        </a:spcBef>
        <a:buFont typeface="Arial"/>
        <a:buChar char="•"/>
        <a:defRPr sz="1915" kern="1200">
          <a:solidFill>
            <a:schemeClr val="tx1"/>
          </a:solidFill>
          <a:latin typeface="+mn-lt"/>
          <a:ea typeface="+mn-ea"/>
          <a:cs typeface="+mn-cs"/>
        </a:defRPr>
      </a:lvl3pPr>
      <a:lvl4pPr marL="1277080" indent="-182440" algn="l" defTabSz="364880" rtl="0" eaLnBrk="1" latinLnBrk="0" hangingPunct="1">
        <a:spcBef>
          <a:spcPct val="20000"/>
        </a:spcBef>
        <a:buFont typeface="Arial"/>
        <a:buChar char="–"/>
        <a:defRPr sz="1596" kern="1200">
          <a:solidFill>
            <a:schemeClr val="tx1"/>
          </a:solidFill>
          <a:latin typeface="+mn-lt"/>
          <a:ea typeface="+mn-ea"/>
          <a:cs typeface="+mn-cs"/>
        </a:defRPr>
      </a:lvl4pPr>
      <a:lvl5pPr marL="1641960" indent="-182440" algn="l" defTabSz="364880" rtl="0" eaLnBrk="1" latinLnBrk="0" hangingPunct="1">
        <a:spcBef>
          <a:spcPct val="20000"/>
        </a:spcBef>
        <a:buFont typeface="Arial"/>
        <a:buChar char="»"/>
        <a:defRPr sz="1596" kern="1200">
          <a:solidFill>
            <a:schemeClr val="tx1"/>
          </a:solidFill>
          <a:latin typeface="+mn-lt"/>
          <a:ea typeface="+mn-ea"/>
          <a:cs typeface="+mn-cs"/>
        </a:defRPr>
      </a:lvl5pPr>
      <a:lvl6pPr marL="2006839" indent="-182440" algn="l" defTabSz="364880" rtl="0" eaLnBrk="1" latinLnBrk="0" hangingPunct="1">
        <a:spcBef>
          <a:spcPct val="20000"/>
        </a:spcBef>
        <a:buFont typeface="Arial"/>
        <a:buChar char="•"/>
        <a:defRPr sz="1596" kern="1200">
          <a:solidFill>
            <a:schemeClr val="tx1"/>
          </a:solidFill>
          <a:latin typeface="+mn-lt"/>
          <a:ea typeface="+mn-ea"/>
          <a:cs typeface="+mn-cs"/>
        </a:defRPr>
      </a:lvl6pPr>
      <a:lvl7pPr marL="2371719" indent="-182440" algn="l" defTabSz="364880" rtl="0" eaLnBrk="1" latinLnBrk="0" hangingPunct="1">
        <a:spcBef>
          <a:spcPct val="20000"/>
        </a:spcBef>
        <a:buFont typeface="Arial"/>
        <a:buChar char="•"/>
        <a:defRPr sz="1596" kern="1200">
          <a:solidFill>
            <a:schemeClr val="tx1"/>
          </a:solidFill>
          <a:latin typeface="+mn-lt"/>
          <a:ea typeface="+mn-ea"/>
          <a:cs typeface="+mn-cs"/>
        </a:defRPr>
      </a:lvl7pPr>
      <a:lvl8pPr marL="2736599" indent="-182440" algn="l" defTabSz="364880" rtl="0" eaLnBrk="1" latinLnBrk="0" hangingPunct="1">
        <a:spcBef>
          <a:spcPct val="20000"/>
        </a:spcBef>
        <a:buFont typeface="Arial"/>
        <a:buChar char="•"/>
        <a:defRPr sz="1596" kern="1200">
          <a:solidFill>
            <a:schemeClr val="tx1"/>
          </a:solidFill>
          <a:latin typeface="+mn-lt"/>
          <a:ea typeface="+mn-ea"/>
          <a:cs typeface="+mn-cs"/>
        </a:defRPr>
      </a:lvl8pPr>
      <a:lvl9pPr marL="3101479" indent="-182440" algn="l" defTabSz="364880" rtl="0" eaLnBrk="1" latinLnBrk="0" hangingPunct="1">
        <a:spcBef>
          <a:spcPct val="20000"/>
        </a:spcBef>
        <a:buFont typeface="Arial"/>
        <a:buChar char="•"/>
        <a:defRPr sz="15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1pPr>
      <a:lvl2pPr marL="364880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2pPr>
      <a:lvl3pPr marL="729760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3pPr>
      <a:lvl4pPr marL="1094640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4pPr>
      <a:lvl5pPr marL="1459520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5pPr>
      <a:lvl6pPr marL="1824399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6pPr>
      <a:lvl7pPr marL="2189279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7pPr>
      <a:lvl8pPr marL="2554159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8pPr>
      <a:lvl9pPr marL="2919039" algn="l" defTabSz="364880" rtl="0" eaLnBrk="1" latinLnBrk="0" hangingPunct="1">
        <a:defRPr sz="14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428389"/>
            <a:ext cx="9729788" cy="99250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endParaRPr lang="en-US" sz="1117" dirty="0" smtClean="0">
              <a:solidFill>
                <a:srgbClr val="FFFFFF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0" y="428389"/>
            <a:ext cx="9729788" cy="992505"/>
          </a:xfrm>
          <a:prstGeom prst="rect">
            <a:avLst/>
          </a:prstGeom>
          <a:noFill/>
        </p:spPr>
        <p:txBody>
          <a:bodyPr vert="horz" lIns="45720" tIns="91440" rIns="45720" bIns="91440" rtlCol="0" anchor="ctr">
            <a:noAutofit/>
          </a:bodyPr>
          <a:lstStyle/>
          <a:p>
            <a:r>
              <a:rPr lang="en-US" dirty="0" smtClean="0"/>
              <a:t>[INSERT TITLE HERE]</a:t>
            </a:r>
            <a:endParaRPr lang="en-US" dirty="0"/>
          </a:p>
        </p:txBody>
      </p:sp>
      <p:pic>
        <p:nvPicPr>
          <p:cNvPr id="6" name="Picture 5" descr="logo_Commit_Small-0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26" y="7019641"/>
            <a:ext cx="972979" cy="198501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297305" y="7019985"/>
            <a:ext cx="8119678" cy="396313"/>
          </a:xfrm>
          <a:prstGeom prst="rect">
            <a:avLst/>
          </a:prstGeom>
        </p:spPr>
        <p:txBody>
          <a:bodyPr vert="horz" lIns="45720" tIns="0" rIns="0" bIns="0" rtlCol="0" anchor="ctr">
            <a:normAutofit/>
          </a:bodyPr>
          <a:lstStyle>
            <a:lvl1pPr algn="l">
              <a:defRPr sz="85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507"/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8" name="Slide Number Placeholder 6"/>
          <p:cNvSpPr txBox="1">
            <a:spLocks/>
          </p:cNvSpPr>
          <p:nvPr/>
        </p:nvSpPr>
        <p:spPr>
          <a:xfrm>
            <a:off x="9258176" y="7022442"/>
            <a:ext cx="471612" cy="396313"/>
          </a:xfrm>
          <a:prstGeom prst="rect">
            <a:avLst/>
          </a:prstGeom>
        </p:spPr>
        <p:txBody>
          <a:bodyPr vert="horz" lIns="97298" tIns="48649" rIns="97298" bIns="48649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C09CD7-5F40-4338-BEB1-0B05CA328AD9}" type="slidenum">
              <a:rPr lang="en-US" sz="958" smtClean="0">
                <a:solidFill>
                  <a:srgbClr val="003663"/>
                </a:solidFill>
              </a:rPr>
              <a:pPr/>
              <a:t>‹#›</a:t>
            </a:fld>
            <a:endParaRPr lang="en-US" sz="958" dirty="0">
              <a:solidFill>
                <a:srgbClr val="0036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782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86507" rtl="0" eaLnBrk="1" latinLnBrk="0" hangingPunct="1">
        <a:spcBef>
          <a:spcPct val="0"/>
        </a:spcBef>
        <a:buNone/>
        <a:defRPr sz="2979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4880" indent="-364880" algn="l" defTabSz="486507" rtl="0" eaLnBrk="1" latinLnBrk="0" hangingPunct="1">
        <a:spcBef>
          <a:spcPct val="20000"/>
        </a:spcBef>
        <a:buFont typeface="Arial"/>
        <a:buChar char="•"/>
        <a:defRPr sz="3405" kern="1200">
          <a:solidFill>
            <a:schemeClr val="tx1"/>
          </a:solidFill>
          <a:latin typeface="+mn-lt"/>
          <a:ea typeface="+mn-ea"/>
          <a:cs typeface="+mn-cs"/>
        </a:defRPr>
      </a:lvl1pPr>
      <a:lvl2pPr marL="790573" indent="-304067" algn="l" defTabSz="486507" rtl="0" eaLnBrk="1" latinLnBrk="0" hangingPunct="1">
        <a:spcBef>
          <a:spcPct val="20000"/>
        </a:spcBef>
        <a:buFont typeface="Arial"/>
        <a:buChar char="–"/>
        <a:defRPr sz="2979" kern="1200">
          <a:solidFill>
            <a:schemeClr val="tx1"/>
          </a:solidFill>
          <a:latin typeface="+mn-lt"/>
          <a:ea typeface="+mn-ea"/>
          <a:cs typeface="+mn-cs"/>
        </a:defRPr>
      </a:lvl2pPr>
      <a:lvl3pPr marL="1216266" indent="-243253" algn="l" defTabSz="486507" rtl="0" eaLnBrk="1" latinLnBrk="0" hangingPunct="1">
        <a:spcBef>
          <a:spcPct val="20000"/>
        </a:spcBef>
        <a:buFont typeface="Arial"/>
        <a:buChar char="•"/>
        <a:defRPr sz="2554" kern="1200">
          <a:solidFill>
            <a:schemeClr val="tx1"/>
          </a:solidFill>
          <a:latin typeface="+mn-lt"/>
          <a:ea typeface="+mn-ea"/>
          <a:cs typeface="+mn-cs"/>
        </a:defRPr>
      </a:lvl3pPr>
      <a:lvl4pPr marL="1702773" indent="-243253" algn="l" defTabSz="486507" rtl="0" eaLnBrk="1" latinLnBrk="0" hangingPunct="1">
        <a:spcBef>
          <a:spcPct val="20000"/>
        </a:spcBef>
        <a:buFont typeface="Arial"/>
        <a:buChar char="–"/>
        <a:defRPr sz="2128" kern="1200">
          <a:solidFill>
            <a:schemeClr val="tx1"/>
          </a:solidFill>
          <a:latin typeface="+mn-lt"/>
          <a:ea typeface="+mn-ea"/>
          <a:cs typeface="+mn-cs"/>
        </a:defRPr>
      </a:lvl4pPr>
      <a:lvl5pPr marL="2189279" indent="-243253" algn="l" defTabSz="486507" rtl="0" eaLnBrk="1" latinLnBrk="0" hangingPunct="1">
        <a:spcBef>
          <a:spcPct val="20000"/>
        </a:spcBef>
        <a:buFont typeface="Arial"/>
        <a:buChar char="»"/>
        <a:defRPr sz="2128" kern="1200">
          <a:solidFill>
            <a:schemeClr val="tx1"/>
          </a:solidFill>
          <a:latin typeface="+mn-lt"/>
          <a:ea typeface="+mn-ea"/>
          <a:cs typeface="+mn-cs"/>
        </a:defRPr>
      </a:lvl5pPr>
      <a:lvl6pPr marL="2675786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6pPr>
      <a:lvl7pPr marL="3162292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7pPr>
      <a:lvl8pPr marL="3648799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8pPr>
      <a:lvl9pPr marL="4135305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1pPr>
      <a:lvl2pPr marL="486507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2pPr>
      <a:lvl3pPr marL="973013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3pPr>
      <a:lvl4pPr marL="1459520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4pPr>
      <a:lvl5pPr marL="1946026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5pPr>
      <a:lvl6pPr marL="2432533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6pPr>
      <a:lvl7pPr marL="2919039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7pPr>
      <a:lvl8pPr marL="3405546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8pPr>
      <a:lvl9pPr marL="3892052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428389"/>
            <a:ext cx="9729788" cy="99250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endParaRPr lang="en-US" sz="1117" dirty="0" smtClean="0">
              <a:solidFill>
                <a:srgbClr val="FFFFFF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0" y="428389"/>
            <a:ext cx="9729788" cy="992505"/>
          </a:xfrm>
          <a:prstGeom prst="rect">
            <a:avLst/>
          </a:prstGeom>
          <a:noFill/>
        </p:spPr>
        <p:txBody>
          <a:bodyPr vert="horz" lIns="45720" tIns="91440" rIns="45720" bIns="91440" rtlCol="0" anchor="ctr">
            <a:noAutofit/>
          </a:bodyPr>
          <a:lstStyle/>
          <a:p>
            <a:r>
              <a:rPr lang="en-US" dirty="0" smtClean="0"/>
              <a:t>[INSERT TITLE HERE]</a:t>
            </a:r>
            <a:endParaRPr lang="en-US" dirty="0"/>
          </a:p>
        </p:txBody>
      </p:sp>
      <p:pic>
        <p:nvPicPr>
          <p:cNvPr id="6" name="Picture 5" descr="logo_Commit_Small-01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26" y="7019641"/>
            <a:ext cx="972979" cy="198501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297305" y="7019985"/>
            <a:ext cx="8119678" cy="396313"/>
          </a:xfrm>
          <a:prstGeom prst="rect">
            <a:avLst/>
          </a:prstGeom>
        </p:spPr>
        <p:txBody>
          <a:bodyPr vert="horz" lIns="45720" tIns="0" rIns="0" bIns="0" rtlCol="0" anchor="ctr">
            <a:normAutofit/>
          </a:bodyPr>
          <a:lstStyle>
            <a:lvl1pPr algn="l">
              <a:defRPr sz="85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507"/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8" name="Slide Number Placeholder 6"/>
          <p:cNvSpPr txBox="1">
            <a:spLocks/>
          </p:cNvSpPr>
          <p:nvPr userDrawn="1"/>
        </p:nvSpPr>
        <p:spPr>
          <a:xfrm>
            <a:off x="9258176" y="7022442"/>
            <a:ext cx="471612" cy="396313"/>
          </a:xfrm>
          <a:prstGeom prst="rect">
            <a:avLst/>
          </a:prstGeom>
        </p:spPr>
        <p:txBody>
          <a:bodyPr vert="horz" lIns="97298" tIns="48649" rIns="97298" bIns="48649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C09CD7-5F40-4338-BEB1-0B05CA328AD9}" type="slidenum">
              <a:rPr lang="en-US" sz="958" smtClean="0">
                <a:solidFill>
                  <a:srgbClr val="003663"/>
                </a:solidFill>
              </a:rPr>
              <a:pPr/>
              <a:t>‹#›</a:t>
            </a:fld>
            <a:endParaRPr lang="en-US" sz="958" dirty="0">
              <a:solidFill>
                <a:srgbClr val="0036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429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86507" rtl="0" eaLnBrk="1" latinLnBrk="0" hangingPunct="1">
        <a:spcBef>
          <a:spcPct val="0"/>
        </a:spcBef>
        <a:buNone/>
        <a:defRPr sz="2979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4880" indent="-364880" algn="l" defTabSz="486507" rtl="0" eaLnBrk="1" latinLnBrk="0" hangingPunct="1">
        <a:spcBef>
          <a:spcPct val="20000"/>
        </a:spcBef>
        <a:buFont typeface="Arial"/>
        <a:buChar char="•"/>
        <a:defRPr sz="3405" kern="1200">
          <a:solidFill>
            <a:schemeClr val="tx1"/>
          </a:solidFill>
          <a:latin typeface="+mn-lt"/>
          <a:ea typeface="+mn-ea"/>
          <a:cs typeface="+mn-cs"/>
        </a:defRPr>
      </a:lvl1pPr>
      <a:lvl2pPr marL="790573" indent="-304067" algn="l" defTabSz="486507" rtl="0" eaLnBrk="1" latinLnBrk="0" hangingPunct="1">
        <a:spcBef>
          <a:spcPct val="20000"/>
        </a:spcBef>
        <a:buFont typeface="Arial"/>
        <a:buChar char="–"/>
        <a:defRPr sz="2979" kern="1200">
          <a:solidFill>
            <a:schemeClr val="tx1"/>
          </a:solidFill>
          <a:latin typeface="+mn-lt"/>
          <a:ea typeface="+mn-ea"/>
          <a:cs typeface="+mn-cs"/>
        </a:defRPr>
      </a:lvl2pPr>
      <a:lvl3pPr marL="1216266" indent="-243253" algn="l" defTabSz="486507" rtl="0" eaLnBrk="1" latinLnBrk="0" hangingPunct="1">
        <a:spcBef>
          <a:spcPct val="20000"/>
        </a:spcBef>
        <a:buFont typeface="Arial"/>
        <a:buChar char="•"/>
        <a:defRPr sz="2554" kern="1200">
          <a:solidFill>
            <a:schemeClr val="tx1"/>
          </a:solidFill>
          <a:latin typeface="+mn-lt"/>
          <a:ea typeface="+mn-ea"/>
          <a:cs typeface="+mn-cs"/>
        </a:defRPr>
      </a:lvl3pPr>
      <a:lvl4pPr marL="1702773" indent="-243253" algn="l" defTabSz="486507" rtl="0" eaLnBrk="1" latinLnBrk="0" hangingPunct="1">
        <a:spcBef>
          <a:spcPct val="20000"/>
        </a:spcBef>
        <a:buFont typeface="Arial"/>
        <a:buChar char="–"/>
        <a:defRPr sz="2128" kern="1200">
          <a:solidFill>
            <a:schemeClr val="tx1"/>
          </a:solidFill>
          <a:latin typeface="+mn-lt"/>
          <a:ea typeface="+mn-ea"/>
          <a:cs typeface="+mn-cs"/>
        </a:defRPr>
      </a:lvl4pPr>
      <a:lvl5pPr marL="2189279" indent="-243253" algn="l" defTabSz="486507" rtl="0" eaLnBrk="1" latinLnBrk="0" hangingPunct="1">
        <a:spcBef>
          <a:spcPct val="20000"/>
        </a:spcBef>
        <a:buFont typeface="Arial"/>
        <a:buChar char="»"/>
        <a:defRPr sz="2128" kern="1200">
          <a:solidFill>
            <a:schemeClr val="tx1"/>
          </a:solidFill>
          <a:latin typeface="+mn-lt"/>
          <a:ea typeface="+mn-ea"/>
          <a:cs typeface="+mn-cs"/>
        </a:defRPr>
      </a:lvl5pPr>
      <a:lvl6pPr marL="2675786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6pPr>
      <a:lvl7pPr marL="3162292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7pPr>
      <a:lvl8pPr marL="3648799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8pPr>
      <a:lvl9pPr marL="4135305" indent="-243253" algn="l" defTabSz="486507" rtl="0" eaLnBrk="1" latinLnBrk="0" hangingPunct="1">
        <a:spcBef>
          <a:spcPct val="20000"/>
        </a:spcBef>
        <a:buFont typeface="Arial"/>
        <a:buChar char="•"/>
        <a:defRPr sz="21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1pPr>
      <a:lvl2pPr marL="486507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2pPr>
      <a:lvl3pPr marL="973013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3pPr>
      <a:lvl4pPr marL="1459520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4pPr>
      <a:lvl5pPr marL="1946026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5pPr>
      <a:lvl6pPr marL="2432533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6pPr>
      <a:lvl7pPr marL="2919039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7pPr>
      <a:lvl8pPr marL="3405546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8pPr>
      <a:lvl9pPr marL="3892052" algn="l" defTabSz="486507" rtl="0" eaLnBrk="1" latinLnBrk="0" hangingPunct="1">
        <a:defRPr sz="19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428389"/>
            <a:ext cx="9729788" cy="99250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6950"/>
            <a:endParaRPr lang="en-US" sz="1095" dirty="0" smtClean="0">
              <a:solidFill>
                <a:srgbClr val="FFFFFF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0" y="428389"/>
            <a:ext cx="9729788" cy="992505"/>
          </a:xfrm>
          <a:prstGeom prst="rect">
            <a:avLst/>
          </a:prstGeom>
          <a:noFill/>
        </p:spPr>
        <p:txBody>
          <a:bodyPr vert="horz" lIns="45720" tIns="91440" rIns="45720" bIns="91440" rtlCol="0" anchor="ctr">
            <a:noAutofit/>
          </a:bodyPr>
          <a:lstStyle/>
          <a:p>
            <a:r>
              <a:rPr lang="en-US" dirty="0" smtClean="0"/>
              <a:t>[INSERT TITLE HERE]</a:t>
            </a:r>
            <a:endParaRPr lang="en-US" dirty="0"/>
          </a:p>
        </p:txBody>
      </p:sp>
      <p:pic>
        <p:nvPicPr>
          <p:cNvPr id="6" name="Picture 5" descr="logo_Commit_Small-0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26" y="7019642"/>
            <a:ext cx="972979" cy="198501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297305" y="7019986"/>
            <a:ext cx="8119678" cy="396313"/>
          </a:xfrm>
          <a:prstGeom prst="rect">
            <a:avLst/>
          </a:prstGeom>
        </p:spPr>
        <p:txBody>
          <a:bodyPr vert="horz" lIns="45720" tIns="0" rIns="0" bIns="0" rtlCol="0" anchor="ctr">
            <a:normAutofit/>
          </a:bodyPr>
          <a:lstStyle>
            <a:lvl1pPr algn="l">
              <a:defRPr sz="8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76950"/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sp>
        <p:nvSpPr>
          <p:cNvPr id="8" name="Slide Number Placeholder 6"/>
          <p:cNvSpPr txBox="1">
            <a:spLocks/>
          </p:cNvSpPr>
          <p:nvPr/>
        </p:nvSpPr>
        <p:spPr>
          <a:xfrm>
            <a:off x="9258176" y="7022443"/>
            <a:ext cx="471612" cy="396313"/>
          </a:xfrm>
          <a:prstGeom prst="rect">
            <a:avLst/>
          </a:prstGeom>
        </p:spPr>
        <p:txBody>
          <a:bodyPr vert="horz" lIns="95384" tIns="47692" rIns="95384" bIns="47692" rtlCol="0" anchor="ctr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6C09CD7-5F40-4338-BEB1-0B05CA328AD9}" type="slidenum">
              <a:rPr lang="en-US" sz="940" smtClean="0">
                <a:solidFill>
                  <a:srgbClr val="003663"/>
                </a:solidFill>
              </a:rPr>
              <a:pPr/>
              <a:t>‹#›</a:t>
            </a:fld>
            <a:endParaRPr lang="en-US" sz="940" dirty="0">
              <a:solidFill>
                <a:srgbClr val="00366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485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476950" rtl="0" eaLnBrk="1" latinLnBrk="0" hangingPunct="1">
        <a:spcBef>
          <a:spcPct val="0"/>
        </a:spcBef>
        <a:buNone/>
        <a:defRPr sz="292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57712" indent="-357712" algn="l" defTabSz="476950" rtl="0" eaLnBrk="1" latinLnBrk="0" hangingPunct="1">
        <a:spcBef>
          <a:spcPct val="20000"/>
        </a:spcBef>
        <a:buFont typeface="Arial"/>
        <a:buChar char="•"/>
        <a:defRPr sz="3338" kern="1200">
          <a:solidFill>
            <a:schemeClr val="tx1"/>
          </a:solidFill>
          <a:latin typeface="+mn-lt"/>
          <a:ea typeface="+mn-ea"/>
          <a:cs typeface="+mn-cs"/>
        </a:defRPr>
      </a:lvl1pPr>
      <a:lvl2pPr marL="775043" indent="-298094" algn="l" defTabSz="476950" rtl="0" eaLnBrk="1" latinLnBrk="0" hangingPunct="1">
        <a:spcBef>
          <a:spcPct val="20000"/>
        </a:spcBef>
        <a:buFont typeface="Arial"/>
        <a:buChar char="–"/>
        <a:defRPr sz="2921" kern="1200">
          <a:solidFill>
            <a:schemeClr val="tx1"/>
          </a:solidFill>
          <a:latin typeface="+mn-lt"/>
          <a:ea typeface="+mn-ea"/>
          <a:cs typeface="+mn-cs"/>
        </a:defRPr>
      </a:lvl2pPr>
      <a:lvl3pPr marL="1192373" indent="-238474" algn="l" defTabSz="476950" rtl="0" eaLnBrk="1" latinLnBrk="0" hangingPunct="1">
        <a:spcBef>
          <a:spcPct val="20000"/>
        </a:spcBef>
        <a:buFont typeface="Arial"/>
        <a:buChar char="•"/>
        <a:defRPr sz="2504" kern="1200">
          <a:solidFill>
            <a:schemeClr val="tx1"/>
          </a:solidFill>
          <a:latin typeface="+mn-lt"/>
          <a:ea typeface="+mn-ea"/>
          <a:cs typeface="+mn-cs"/>
        </a:defRPr>
      </a:lvl3pPr>
      <a:lvl4pPr marL="1669323" indent="-238474" algn="l" defTabSz="476950" rtl="0" eaLnBrk="1" latinLnBrk="0" hangingPunct="1">
        <a:spcBef>
          <a:spcPct val="20000"/>
        </a:spcBef>
        <a:buFont typeface="Arial"/>
        <a:buChar char="–"/>
        <a:defRPr sz="2087" kern="1200">
          <a:solidFill>
            <a:schemeClr val="tx1"/>
          </a:solidFill>
          <a:latin typeface="+mn-lt"/>
          <a:ea typeface="+mn-ea"/>
          <a:cs typeface="+mn-cs"/>
        </a:defRPr>
      </a:lvl4pPr>
      <a:lvl5pPr marL="2146272" indent="-238474" algn="l" defTabSz="476950" rtl="0" eaLnBrk="1" latinLnBrk="0" hangingPunct="1">
        <a:spcBef>
          <a:spcPct val="20000"/>
        </a:spcBef>
        <a:buFont typeface="Arial"/>
        <a:buChar char="»"/>
        <a:defRPr sz="2087" kern="1200">
          <a:solidFill>
            <a:schemeClr val="tx1"/>
          </a:solidFill>
          <a:latin typeface="+mn-lt"/>
          <a:ea typeface="+mn-ea"/>
          <a:cs typeface="+mn-cs"/>
        </a:defRPr>
      </a:lvl5pPr>
      <a:lvl6pPr marL="2623221" indent="-238474" algn="l" defTabSz="476950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6pPr>
      <a:lvl7pPr marL="3100170" indent="-238474" algn="l" defTabSz="476950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7pPr>
      <a:lvl8pPr marL="3577120" indent="-238474" algn="l" defTabSz="476950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8pPr>
      <a:lvl9pPr marL="4054068" indent="-238474" algn="l" defTabSz="476950" rtl="0" eaLnBrk="1" latinLnBrk="0" hangingPunct="1">
        <a:spcBef>
          <a:spcPct val="20000"/>
        </a:spcBef>
        <a:buFont typeface="Arial"/>
        <a:buChar char="•"/>
        <a:defRPr sz="208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1pPr>
      <a:lvl2pPr marL="476950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2pPr>
      <a:lvl3pPr marL="953899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3pPr>
      <a:lvl4pPr marL="1430848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4pPr>
      <a:lvl5pPr marL="1907797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5pPr>
      <a:lvl6pPr marL="2384747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6pPr>
      <a:lvl7pPr marL="2861696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7pPr>
      <a:lvl8pPr marL="3338646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8pPr>
      <a:lvl9pPr marL="3815594" algn="l" defTabSz="476950" rtl="0" eaLnBrk="1" latinLnBrk="0" hangingPunct="1">
        <a:defRPr sz="18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Relationship Id="rId4" Type="http://schemas.openxmlformats.org/officeDocument/2006/relationships/chart" Target="../charts/char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6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40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3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218774" y="2850038"/>
            <a:ext cx="9292241" cy="996950"/>
          </a:xfrm>
        </p:spPr>
        <p:txBody>
          <a:bodyPr>
            <a:normAutofit fontScale="90000"/>
          </a:bodyPr>
          <a:lstStyle/>
          <a:p>
            <a:pPr algn="ctr">
              <a:spcBef>
                <a:spcPts val="600"/>
              </a:spcBef>
            </a:pPr>
            <a:r>
              <a:rPr lang="en-US" sz="3100" b="1" dirty="0" smtClean="0"/>
              <a:t>K-12 Educational Outcomes for Texas Children w/ Particular Focus on Poverty</a:t>
            </a:r>
            <a:br>
              <a:rPr lang="en-US" sz="3100" b="1" dirty="0" smtClean="0"/>
            </a:br>
            <a:r>
              <a:rPr lang="en-US" sz="3100" b="1" dirty="0"/>
              <a:t/>
            </a:r>
            <a:br>
              <a:rPr lang="en-US" sz="3100" b="1" dirty="0"/>
            </a:br>
            <a:r>
              <a:rPr lang="en-US" sz="2200" b="1" dirty="0" smtClean="0"/>
              <a:t/>
            </a:r>
            <a:br>
              <a:rPr lang="en-US" sz="2200" b="1" dirty="0" smtClean="0"/>
            </a:br>
            <a:r>
              <a:rPr lang="en-US" sz="2800" i="1" dirty="0" smtClean="0"/>
              <a:t>How Do We As a State Scale Those Efforts That Are Working and Change Incentives/Reduce Barriers?</a:t>
            </a:r>
            <a:endParaRPr lang="en-US" sz="2800" b="1" i="1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288611" y="3188250"/>
            <a:ext cx="9177819" cy="0"/>
          </a:xfrm>
          <a:prstGeom prst="line">
            <a:avLst/>
          </a:prstGeom>
          <a:ln w="19050">
            <a:solidFill>
              <a:srgbClr val="0036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288611" y="4682806"/>
            <a:ext cx="9177819" cy="0"/>
          </a:xfrm>
          <a:prstGeom prst="line">
            <a:avLst/>
          </a:prstGeom>
          <a:ln w="19050">
            <a:solidFill>
              <a:srgbClr val="00366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High-Res-Logo-300x203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1776" y="5605975"/>
            <a:ext cx="2393222" cy="158755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3082406"/>
            <a:ext cx="9729788" cy="21031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4580796"/>
            <a:ext cx="9729788" cy="20870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507565" y="1305065"/>
            <a:ext cx="4774361" cy="307777"/>
          </a:xfrm>
          <a:prstGeom prst="rect">
            <a:avLst/>
          </a:prstGeom>
          <a:solidFill>
            <a:srgbClr val="CCECFF"/>
          </a:solidFill>
        </p:spPr>
        <p:txBody>
          <a:bodyPr wrap="square" lIns="45720" rIns="45720" rtlCol="0" anchor="ctr">
            <a:spAutoFit/>
          </a:bodyPr>
          <a:lstStyle/>
          <a:p>
            <a:pPr marL="0" lvl="1">
              <a:spcBef>
                <a:spcPts val="1800"/>
              </a:spcBef>
            </a:pPr>
            <a:r>
              <a:rPr lang="en-US" sz="1400" dirty="0">
                <a:solidFill>
                  <a:srgbClr val="000000"/>
                </a:solidFill>
              </a:rPr>
              <a:t>C</a:t>
            </a:r>
            <a:r>
              <a:rPr lang="en-US" sz="1400" dirty="0" smtClean="0">
                <a:solidFill>
                  <a:srgbClr val="000000"/>
                </a:solidFill>
              </a:rPr>
              <a:t>hild poverty rates among 25 largest cities:</a:t>
            </a:r>
            <a:endParaRPr lang="en-US" sz="1400" dirty="0">
              <a:solidFill>
                <a:srgbClr val="00000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830163"/>
              </p:ext>
            </p:extLst>
          </p:nvPr>
        </p:nvGraphicFramePr>
        <p:xfrm>
          <a:off x="1480941" y="1622508"/>
          <a:ext cx="4759421" cy="57695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2251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342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cent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. Clevelan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2. Detroi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7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3. Memphi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7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4. Milwauke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5. Fresn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6. Atlant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b="1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6. Dalla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8. Miami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8. Philadelphi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b="1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0. Houst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0. Tucs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2. Nashvill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2. Phoenix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4. Baltimor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4. Bost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4. Chicago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4. Indianapoli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4. Los </a:t>
                      </a: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Angel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19. Minneapoli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20.</a:t>
                      </a:r>
                      <a:r>
                        <a:rPr lang="en-US" sz="1400" u="none" strike="noStrike" baseline="0" dirty="0" smtClean="0">
                          <a:solidFill>
                            <a:srgbClr val="000000"/>
                          </a:solidFill>
                          <a:effectLst/>
                        </a:rPr>
                        <a:t> </a:t>
                      </a:r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Columbu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b="1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20. El </a:t>
                      </a:r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Paso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b="1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20. San </a:t>
                      </a:r>
                      <a:r>
                        <a:rPr lang="en-US" sz="14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Antonio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23. New </a:t>
                      </a: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York Ci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23. Tuls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197448">
                <a:tc>
                  <a:txBody>
                    <a:bodyPr/>
                    <a:lstStyle/>
                    <a:p>
                      <a:pPr marL="274320" lvl="1" algn="l" fontAlgn="b"/>
                      <a:r>
                        <a:rPr lang="en-US" sz="1400" u="none" strike="noStrike" dirty="0" smtClean="0">
                          <a:solidFill>
                            <a:srgbClr val="000000"/>
                          </a:solidFill>
                          <a:effectLst/>
                        </a:rPr>
                        <a:t>25. Long </a:t>
                      </a:r>
                      <a:r>
                        <a:rPr lang="en-US" sz="14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Beach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857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</a:tbl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 bwMode="gray">
          <a:xfrm>
            <a:off x="182880" y="147347"/>
            <a:ext cx="9396000" cy="90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nd We Will Need To Alleviate the Negative Effects of Child Poverty, With </a:t>
            </a:r>
            <a:r>
              <a:rPr lang="en-US" b="1" dirty="0" smtClean="0"/>
              <a:t>4 TX Cities in the Top 20</a:t>
            </a:r>
            <a:endParaRPr lang="en-US" sz="2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6214821" y="2594728"/>
            <a:ext cx="3115160" cy="3139321"/>
          </a:xfrm>
          <a:prstGeom prst="rect">
            <a:avLst/>
          </a:prstGeom>
          <a:solidFill>
            <a:srgbClr val="FFE4C9"/>
          </a:solidFill>
        </p:spPr>
        <p:txBody>
          <a:bodyPr wrap="square" lIns="45720" rIns="45720" rtlCol="0" anchor="ctr">
            <a:spAutoFit/>
          </a:bodyPr>
          <a:lstStyle/>
          <a:p>
            <a:pPr marL="0" lvl="1">
              <a:spcBef>
                <a:spcPts val="1800"/>
              </a:spcBef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0" lvl="1" algn="ctr">
              <a:spcBef>
                <a:spcPts val="1800"/>
              </a:spcBef>
            </a:pPr>
            <a:r>
              <a:rPr lang="en-US" sz="1400" dirty="0" smtClean="0">
                <a:solidFill>
                  <a:srgbClr val="000000"/>
                </a:solidFill>
              </a:rPr>
              <a:t>Poverty is growing </a:t>
            </a:r>
            <a:r>
              <a:rPr lang="en-US" sz="1400" dirty="0">
                <a:solidFill>
                  <a:srgbClr val="000000"/>
                </a:solidFill>
              </a:rPr>
              <a:t>significantly and becoming more concentrated; Dallas, Houston, San Antonio and El Paso currently place </a:t>
            </a:r>
            <a:r>
              <a:rPr lang="en-US" sz="1400" b="1" dirty="0">
                <a:solidFill>
                  <a:srgbClr val="000000"/>
                </a:solidFill>
              </a:rPr>
              <a:t>6</a:t>
            </a:r>
            <a:r>
              <a:rPr lang="en-US" sz="1400" b="1" dirty="0" smtClean="0">
                <a:solidFill>
                  <a:srgbClr val="000000"/>
                </a:solidFill>
              </a:rPr>
              <a:t>th</a:t>
            </a:r>
            <a:r>
              <a:rPr lang="en-US" sz="1400" b="1" dirty="0">
                <a:solidFill>
                  <a:srgbClr val="000000"/>
                </a:solidFill>
              </a:rPr>
              <a:t>, 10th, </a:t>
            </a:r>
            <a:r>
              <a:rPr lang="en-US" sz="1400" b="1" dirty="0" smtClean="0">
                <a:solidFill>
                  <a:srgbClr val="000000"/>
                </a:solidFill>
              </a:rPr>
              <a:t>20th </a:t>
            </a:r>
            <a:r>
              <a:rPr lang="en-US" sz="1400" b="1" dirty="0">
                <a:solidFill>
                  <a:srgbClr val="000000"/>
                </a:solidFill>
              </a:rPr>
              <a:t>and </a:t>
            </a:r>
            <a:r>
              <a:rPr lang="en-US" sz="1400" b="1" dirty="0" smtClean="0">
                <a:solidFill>
                  <a:srgbClr val="000000"/>
                </a:solidFill>
              </a:rPr>
              <a:t>20th </a:t>
            </a:r>
            <a:r>
              <a:rPr lang="en-US" sz="1400" b="1" dirty="0">
                <a:solidFill>
                  <a:srgbClr val="000000"/>
                </a:solidFill>
              </a:rPr>
              <a:t>among the 50 largest U.S. cities in child poverty </a:t>
            </a:r>
            <a:r>
              <a:rPr lang="en-US" sz="1400" dirty="0">
                <a:solidFill>
                  <a:srgbClr val="000000"/>
                </a:solidFill>
              </a:rPr>
              <a:t>rankings, with continued weak postsecondary outcomes likely to only exacerbate </a:t>
            </a:r>
            <a:r>
              <a:rPr lang="en-US" sz="1400" dirty="0" smtClean="0">
                <a:solidFill>
                  <a:srgbClr val="000000"/>
                </a:solidFill>
              </a:rPr>
              <a:t>problem</a:t>
            </a:r>
          </a:p>
          <a:p>
            <a:pPr marL="0" lvl="1">
              <a:spcBef>
                <a:spcPts val="1800"/>
              </a:spcBef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0" name="Footer Placeholder 2"/>
          <p:cNvSpPr txBox="1">
            <a:spLocks/>
          </p:cNvSpPr>
          <p:nvPr/>
        </p:nvSpPr>
        <p:spPr>
          <a:xfrm>
            <a:off x="569335" y="7158687"/>
            <a:ext cx="8574665" cy="450749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0" algn="l" defTabSz="981334" rtl="0" eaLnBrk="1" latinLnBrk="0" hangingPunct="1">
              <a:defRPr lang="en-CA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Verdana"/>
                <a:cs typeface="Verdana"/>
              </a:rPr>
              <a:t>Source: To fill in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68551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3594"/>
            <a:ext cx="9729788" cy="1139698"/>
          </a:xfrm>
        </p:spPr>
        <p:txBody>
          <a:bodyPr/>
          <a:lstStyle/>
          <a:p>
            <a:r>
              <a:rPr lang="en-US" sz="1809" dirty="0"/>
              <a:t>Poverty is NOT Destiny: Wide Spreads in </a:t>
            </a:r>
            <a:r>
              <a:rPr lang="en-US" sz="1809" dirty="0" smtClean="0"/>
              <a:t>STAAR Achievement </a:t>
            </a:r>
            <a:r>
              <a:rPr lang="en-US" sz="1809" dirty="0"/>
              <a:t>at </a:t>
            </a:r>
            <a:r>
              <a:rPr lang="en-US" sz="1809" b="1" dirty="0">
                <a:solidFill>
                  <a:srgbClr val="FFFF00"/>
                </a:solidFill>
              </a:rPr>
              <a:t>MINIMUM</a:t>
            </a:r>
            <a:r>
              <a:rPr lang="en-US" sz="1809" dirty="0"/>
              <a:t> </a:t>
            </a:r>
            <a:r>
              <a:rPr lang="en-US" sz="1809" b="1" dirty="0">
                <a:solidFill>
                  <a:srgbClr val="FFFF00"/>
                </a:solidFill>
              </a:rPr>
              <a:t>Std</a:t>
            </a:r>
            <a:r>
              <a:rPr lang="en-US" sz="1809" dirty="0"/>
              <a:t>. Regardless of Student’s Economic Disadvantaged Status or Campus Poverty %</a:t>
            </a:r>
            <a:br>
              <a:rPr lang="en-US" sz="1809" dirty="0"/>
            </a:br>
            <a:r>
              <a:rPr lang="en-US" sz="1809" dirty="0"/>
              <a:t> </a:t>
            </a:r>
            <a:r>
              <a:rPr lang="en-US" sz="1809" i="1" dirty="0"/>
              <a:t>(But Concentrated Poverty is Disadvantageous For ALL Students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26147" y="7112407"/>
            <a:ext cx="5917843" cy="239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3013"/>
            <a:r>
              <a:rPr lang="en-US" sz="958" dirty="0">
                <a:solidFill>
                  <a:srgbClr val="003663"/>
                </a:solidFill>
                <a:cs typeface="Gotham-Book"/>
              </a:rPr>
              <a:t>Source: 2015 TEA STAAR data at minimum </a:t>
            </a:r>
            <a:r>
              <a:rPr lang="en-US" sz="958">
                <a:solidFill>
                  <a:srgbClr val="003663"/>
                </a:solidFill>
                <a:cs typeface="Gotham-Book"/>
              </a:rPr>
              <a:t>passing standard</a:t>
            </a:r>
            <a:endParaRPr lang="en-US" sz="958" dirty="0" err="1">
              <a:solidFill>
                <a:srgbClr val="003663"/>
              </a:solidFill>
              <a:cs typeface="Gotham-Book"/>
            </a:endParaRP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788135203"/>
              </p:ext>
            </p:extLst>
          </p:nvPr>
        </p:nvGraphicFramePr>
        <p:xfrm>
          <a:off x="0" y="1543292"/>
          <a:ext cx="4992498" cy="5564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065111286"/>
              </p:ext>
            </p:extLst>
          </p:nvPr>
        </p:nvGraphicFramePr>
        <p:xfrm>
          <a:off x="4588276" y="1548320"/>
          <a:ext cx="5141512" cy="5559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Oval 3"/>
          <p:cNvSpPr/>
          <p:nvPr/>
        </p:nvSpPr>
        <p:spPr>
          <a:xfrm>
            <a:off x="1607119" y="2382982"/>
            <a:ext cx="484909" cy="4100945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8" name="Oval 7"/>
          <p:cNvSpPr/>
          <p:nvPr/>
        </p:nvSpPr>
        <p:spPr>
          <a:xfrm>
            <a:off x="3456692" y="2382982"/>
            <a:ext cx="484909" cy="4100945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9" name="Oval 8"/>
          <p:cNvSpPr/>
          <p:nvPr/>
        </p:nvSpPr>
        <p:spPr>
          <a:xfrm>
            <a:off x="7488746" y="2382981"/>
            <a:ext cx="484909" cy="4100945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10" name="Oval 9"/>
          <p:cNvSpPr/>
          <p:nvPr/>
        </p:nvSpPr>
        <p:spPr>
          <a:xfrm>
            <a:off x="8735655" y="3740727"/>
            <a:ext cx="727000" cy="2743199"/>
          </a:xfrm>
          <a:prstGeom prst="ellipse">
            <a:avLst/>
          </a:prstGeom>
          <a:noFill/>
          <a:ln w="38100">
            <a:solidFill>
              <a:srgbClr val="FFFF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5" name="Oval 4"/>
          <p:cNvSpPr/>
          <p:nvPr/>
        </p:nvSpPr>
        <p:spPr>
          <a:xfrm>
            <a:off x="3456692" y="2382981"/>
            <a:ext cx="1131584" cy="1013362"/>
          </a:xfrm>
          <a:prstGeom prst="ellipse">
            <a:avLst/>
          </a:prstGeom>
          <a:noFill/>
          <a:ln w="28575">
            <a:solidFill>
              <a:srgbClr val="FFFF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11" name="Oval 10"/>
          <p:cNvSpPr/>
          <p:nvPr/>
        </p:nvSpPr>
        <p:spPr>
          <a:xfrm>
            <a:off x="1162554" y="5473079"/>
            <a:ext cx="1131584" cy="1013362"/>
          </a:xfrm>
          <a:prstGeom prst="ellipse">
            <a:avLst/>
          </a:prstGeom>
          <a:noFill/>
          <a:ln w="28575">
            <a:solidFill>
              <a:srgbClr val="FFFF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</p:spTree>
    <p:extLst>
      <p:ext uri="{BB962C8B-B14F-4D97-AF65-F5344CB8AC3E}">
        <p14:creationId xmlns:p14="http://schemas.microsoft.com/office/powerpoint/2010/main" val="845683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Graphic spid="7" grpId="0">
        <p:bldAsOne/>
      </p:bldGraphic>
      <p:bldP spid="4" grpId="0" animBg="1"/>
      <p:bldP spid="4" grpId="1" animBg="1"/>
      <p:bldP spid="8" grpId="0" animBg="1"/>
      <p:bldP spid="8" grpId="1" animBg="1"/>
      <p:bldP spid="9" grpId="0" animBg="1"/>
      <p:bldP spid="10" grpId="0" animBg="1"/>
      <p:bldP spid="5" grpId="0" animBg="1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3594"/>
            <a:ext cx="9729788" cy="1139698"/>
          </a:xfrm>
        </p:spPr>
        <p:txBody>
          <a:bodyPr/>
          <a:lstStyle/>
          <a:p>
            <a:r>
              <a:rPr lang="en-US" sz="1809" dirty="0"/>
              <a:t>Poverty is NOT Destiny: Wide Spreads in Achievement at </a:t>
            </a:r>
            <a:r>
              <a:rPr lang="en-US" sz="1809" b="1" dirty="0">
                <a:solidFill>
                  <a:srgbClr val="FFFF00"/>
                </a:solidFill>
              </a:rPr>
              <a:t>POST SECONDARY</a:t>
            </a:r>
            <a:r>
              <a:rPr lang="en-US" sz="1809" dirty="0"/>
              <a:t> </a:t>
            </a:r>
            <a:r>
              <a:rPr lang="en-US" sz="1809" b="1" dirty="0">
                <a:solidFill>
                  <a:srgbClr val="FFFF00"/>
                </a:solidFill>
              </a:rPr>
              <a:t>Std. </a:t>
            </a:r>
            <a:r>
              <a:rPr lang="en-US" sz="1809" dirty="0"/>
              <a:t>Regardless of Student’s Economic Disadvantaged Status or Campus Poverty %</a:t>
            </a:r>
            <a:br>
              <a:rPr lang="en-US" sz="1809" dirty="0"/>
            </a:br>
            <a:r>
              <a:rPr lang="en-US" sz="1809" dirty="0"/>
              <a:t> </a:t>
            </a:r>
            <a:r>
              <a:rPr lang="en-US" sz="1809" i="1" dirty="0"/>
              <a:t>(But Concentrated Poverty is Disadvantageous For ALL Students)</a:t>
            </a:r>
          </a:p>
        </p:txBody>
      </p:sp>
      <p:graphicFrame>
        <p:nvGraphicFramePr>
          <p:cNvPr id="4" name="Chart 3"/>
          <p:cNvGraphicFramePr/>
          <p:nvPr>
            <p:extLst/>
          </p:nvPr>
        </p:nvGraphicFramePr>
        <p:xfrm>
          <a:off x="0" y="1805926"/>
          <a:ext cx="4904879" cy="5440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/>
          <p:cNvGraphicFramePr/>
          <p:nvPr>
            <p:extLst/>
          </p:nvPr>
        </p:nvGraphicFramePr>
        <p:xfrm>
          <a:off x="4598324" y="1620420"/>
          <a:ext cx="5131464" cy="5598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426147" y="7032436"/>
            <a:ext cx="5917843" cy="2397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3013"/>
            <a:r>
              <a:rPr lang="en-US" sz="958" dirty="0">
                <a:solidFill>
                  <a:srgbClr val="003663"/>
                </a:solidFill>
                <a:cs typeface="Gotham-Book"/>
              </a:rPr>
              <a:t>Source: 2015 TEA STAAR data at post secondary Final Level 2 standard</a:t>
            </a:r>
          </a:p>
        </p:txBody>
      </p:sp>
      <p:graphicFrame>
        <p:nvGraphicFramePr>
          <p:cNvPr id="9" name="Chart 8"/>
          <p:cNvGraphicFramePr/>
          <p:nvPr/>
        </p:nvGraphicFramePr>
        <p:xfrm>
          <a:off x="0" y="1521441"/>
          <a:ext cx="4904879" cy="5554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304336777"/>
              </p:ext>
            </p:extLst>
          </p:nvPr>
        </p:nvGraphicFramePr>
        <p:xfrm>
          <a:off x="4731608" y="1543292"/>
          <a:ext cx="4864894" cy="5580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2441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3594"/>
            <a:ext cx="9729788" cy="1139698"/>
          </a:xfrm>
        </p:spPr>
        <p:txBody>
          <a:bodyPr/>
          <a:lstStyle/>
          <a:p>
            <a:r>
              <a:rPr lang="en-US" sz="1809" dirty="0"/>
              <a:t>Poverty is NOT Destiny: Wide Spreads in </a:t>
            </a:r>
            <a:r>
              <a:rPr lang="en-US" sz="1809" b="1" dirty="0" smtClean="0">
                <a:solidFill>
                  <a:srgbClr val="FFFF00"/>
                </a:solidFill>
              </a:rPr>
              <a:t>URBAN</a:t>
            </a:r>
            <a:r>
              <a:rPr lang="en-US" sz="1809" dirty="0" smtClean="0"/>
              <a:t> Achievement </a:t>
            </a:r>
            <a:r>
              <a:rPr lang="en-US" sz="1809" dirty="0"/>
              <a:t>at </a:t>
            </a:r>
            <a:r>
              <a:rPr lang="en-US" sz="1809" b="1" dirty="0">
                <a:solidFill>
                  <a:srgbClr val="FFFF00"/>
                </a:solidFill>
              </a:rPr>
              <a:t>MINIMUM</a:t>
            </a:r>
            <a:r>
              <a:rPr lang="en-US" sz="1809" dirty="0"/>
              <a:t> </a:t>
            </a:r>
            <a:r>
              <a:rPr lang="en-US" sz="1809" b="1" dirty="0">
                <a:solidFill>
                  <a:srgbClr val="FFFF00"/>
                </a:solidFill>
              </a:rPr>
              <a:t>Std</a:t>
            </a:r>
            <a:r>
              <a:rPr lang="en-US" sz="1809" dirty="0"/>
              <a:t>. Regardless of Student’s Economic Disadvantaged Status or Campus Poverty %</a:t>
            </a:r>
            <a:br>
              <a:rPr lang="en-US" sz="1809" dirty="0"/>
            </a:br>
            <a:r>
              <a:rPr lang="en-US" sz="1809" dirty="0"/>
              <a:t> </a:t>
            </a:r>
            <a:r>
              <a:rPr lang="en-US" sz="1809" i="1" dirty="0"/>
              <a:t>(But Concentrated Poverty is Disadvantageous For ALL Students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02841" y="6977573"/>
            <a:ext cx="8526947" cy="387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3013"/>
            <a:r>
              <a:rPr lang="en-US" sz="958" dirty="0">
                <a:solidFill>
                  <a:srgbClr val="003663"/>
                </a:solidFill>
                <a:cs typeface="Gotham-Book"/>
              </a:rPr>
              <a:t>Source: 2015 TEA STAAR data at minimum passing standard, Urban defined as Dallas, Harris, Tarrant, Travis, Bexar and El </a:t>
            </a:r>
            <a:r>
              <a:rPr lang="en-US" sz="958">
                <a:solidFill>
                  <a:srgbClr val="003663"/>
                </a:solidFill>
                <a:cs typeface="Gotham-Book"/>
              </a:rPr>
              <a:t>Paso County</a:t>
            </a:r>
            <a:endParaRPr lang="en-US" sz="958" dirty="0" err="1">
              <a:solidFill>
                <a:srgbClr val="003663"/>
              </a:solidFill>
              <a:cs typeface="Gotham-Book"/>
            </a:endParaRPr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1" y="1543292"/>
          <a:ext cx="5024399" cy="53886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785560408"/>
              </p:ext>
            </p:extLst>
          </p:nvPr>
        </p:nvGraphicFramePr>
        <p:xfrm>
          <a:off x="4785141" y="1497646"/>
          <a:ext cx="4864894" cy="5434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1688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dirty="0"/>
              <a:t>Since </a:t>
            </a:r>
            <a:r>
              <a:rPr lang="en-US" sz="2800" dirty="0" smtClean="0"/>
              <a:t>2011-12 Inception, </a:t>
            </a:r>
            <a:r>
              <a:rPr lang="en-US" sz="2800" dirty="0"/>
              <a:t>16,300 More Students are Achieving Key </a:t>
            </a:r>
            <a:r>
              <a:rPr lang="en-US" sz="2800" dirty="0" smtClean="0"/>
              <a:t>Benchmarks in Dallas County</a:t>
            </a:r>
            <a:endParaRPr lang="en-US" sz="2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899" y="1917913"/>
            <a:ext cx="6938533" cy="479425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8517" y="3461809"/>
            <a:ext cx="4179630" cy="1702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953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ess in Reducing No. of Bottom 5% Schools</a:t>
            </a:r>
            <a:br>
              <a:rPr lang="en-US" dirty="0" smtClean="0"/>
            </a:br>
            <a:r>
              <a:rPr lang="en-US" i="1" dirty="0" smtClean="0"/>
              <a:t>Dallas County Has Led the Way Over the Last 2 Years</a:t>
            </a:r>
            <a:endParaRPr lang="en-US" i="1" dirty="0">
              <a:solidFill>
                <a:srgbClr val="FF0000"/>
              </a:solidFill>
            </a:endParaRP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874508639"/>
              </p:ext>
            </p:extLst>
          </p:nvPr>
        </p:nvGraphicFramePr>
        <p:xfrm>
          <a:off x="436628" y="1474218"/>
          <a:ext cx="8882743" cy="5439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30257" y="7110974"/>
            <a:ext cx="7895484" cy="223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1" dirty="0"/>
              <a:t>Source: Texas Education Agency State Accountability Ratings. Enrollment based on 2014-2015. </a:t>
            </a:r>
          </a:p>
        </p:txBody>
      </p:sp>
    </p:spTree>
    <p:extLst>
      <p:ext uri="{BB962C8B-B14F-4D97-AF65-F5344CB8AC3E}">
        <p14:creationId xmlns:p14="http://schemas.microsoft.com/office/powerpoint/2010/main" val="694255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" y="647441"/>
            <a:ext cx="9729786" cy="747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73013"/>
            <a:r>
              <a:rPr lang="en-US" sz="2128" dirty="0">
                <a:solidFill>
                  <a:prstClr val="white"/>
                </a:solidFill>
              </a:rPr>
              <a:t>Dallas ISD Has Led the State’s </a:t>
            </a:r>
            <a:r>
              <a:rPr lang="en-US" sz="2128" dirty="0" smtClean="0">
                <a:solidFill>
                  <a:prstClr val="white"/>
                </a:solidFill>
              </a:rPr>
              <a:t>Six Major </a:t>
            </a:r>
            <a:r>
              <a:rPr lang="en-US" sz="2128" dirty="0">
                <a:solidFill>
                  <a:prstClr val="white"/>
                </a:solidFill>
              </a:rPr>
              <a:t>Urban Districts in Reducing the Number of Students Attending an IR Campus, Cutting Their IR Enrollment by 47% in Two Year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3554" y="7154830"/>
            <a:ext cx="7895484" cy="223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3013"/>
            <a:r>
              <a:rPr lang="en-US" sz="851" dirty="0">
                <a:solidFill>
                  <a:prstClr val="black"/>
                </a:solidFill>
              </a:rPr>
              <a:t>Source: Texas Education Agency State Accountability Ratings. Enrollment based on 2014-2015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1775" y="1541899"/>
            <a:ext cx="9586235" cy="6817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73013"/>
            <a:r>
              <a:rPr lang="en-US" sz="1915" b="1" dirty="0">
                <a:solidFill>
                  <a:srgbClr val="002060"/>
                </a:solidFill>
              </a:rPr>
              <a:t>In 2014 Both Dallas ISD </a:t>
            </a:r>
            <a:r>
              <a:rPr lang="en-US" sz="1915" b="1" dirty="0" smtClean="0">
                <a:solidFill>
                  <a:srgbClr val="002060"/>
                </a:solidFill>
              </a:rPr>
              <a:t>and Houston ISD Had </a:t>
            </a:r>
            <a:r>
              <a:rPr lang="en-US" sz="1915" b="1" dirty="0">
                <a:solidFill>
                  <a:srgbClr val="002060"/>
                </a:solidFill>
              </a:rPr>
              <a:t>43 IR Campuses</a:t>
            </a:r>
            <a:r>
              <a:rPr lang="is-IS" sz="1915" b="1" dirty="0" smtClean="0">
                <a:solidFill>
                  <a:srgbClr val="002060"/>
                </a:solidFill>
              </a:rPr>
              <a:t>…</a:t>
            </a:r>
          </a:p>
          <a:p>
            <a:pPr algn="ctr" defTabSz="973013"/>
            <a:r>
              <a:rPr lang="en-US" sz="1915" b="1" dirty="0" smtClean="0">
                <a:solidFill>
                  <a:srgbClr val="002060"/>
                </a:solidFill>
              </a:rPr>
              <a:t>Dallas </a:t>
            </a:r>
            <a:r>
              <a:rPr lang="en-US" sz="1915" b="1" dirty="0">
                <a:solidFill>
                  <a:srgbClr val="002060"/>
                </a:solidFill>
              </a:rPr>
              <a:t>ISD Has Since Cut Its Number of IR Campuses and Corresponding Students in HALF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4156562"/>
              </p:ext>
            </p:extLst>
          </p:nvPr>
        </p:nvGraphicFramePr>
        <p:xfrm>
          <a:off x="143555" y="2447619"/>
          <a:ext cx="9180554" cy="4489224"/>
        </p:xfrm>
        <a:graphic>
          <a:graphicData uri="http://schemas.openxmlformats.org/drawingml/2006/table">
            <a:tbl>
              <a:tblPr/>
              <a:tblGrid>
                <a:gridCol w="1807731"/>
                <a:gridCol w="834567"/>
                <a:gridCol w="1360704"/>
                <a:gridCol w="940831"/>
                <a:gridCol w="1201620"/>
                <a:gridCol w="859435"/>
                <a:gridCol w="1163965"/>
                <a:gridCol w="1011701"/>
              </a:tblGrid>
              <a:tr h="492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etro </a:t>
                      </a:r>
                      <a:r>
                        <a:rPr lang="en-US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Urban ISDs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s-I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chool Year Ending </a:t>
                      </a:r>
                    </a:p>
                    <a:p>
                      <a:pPr algn="ctr" fontAlgn="ctr"/>
                      <a:r>
                        <a:rPr lang="is-I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ay 2014</a:t>
                      </a:r>
                      <a:endParaRPr lang="is-I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s-I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chool Year Ending </a:t>
                      </a:r>
                    </a:p>
                    <a:p>
                      <a:pPr algn="ctr" fontAlgn="ctr"/>
                      <a:r>
                        <a:rPr lang="is-I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ay 2016</a:t>
                      </a:r>
                      <a:endParaRPr lang="is-I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4-2016 Difference</a:t>
                      </a:r>
                    </a:p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(Two Years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</a:tr>
              <a:tr h="492404">
                <a:tc>
                  <a:txBody>
                    <a:bodyPr/>
                    <a:lstStyle/>
                    <a:p>
                      <a:pPr algn="l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# </a:t>
                      </a:r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IR</a:t>
                      </a:r>
                    </a:p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mp.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# Students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# IR</a:t>
                      </a:r>
                    </a:p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mp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# Students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# IR</a:t>
                      </a:r>
                    </a:p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mp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# Students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% Students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</a:tr>
              <a:tr h="492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allas ISD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3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0,396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2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i-FI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6,187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21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14,209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47%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92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ouston ISD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3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0,657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0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2,820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bg-BG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3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,163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%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E79"/>
                    </a:solidFill>
                  </a:tcPr>
                </a:tc>
              </a:tr>
              <a:tr h="492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Fort Worth ISD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4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5,247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2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i-FI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,717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2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1,530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10%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92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S. </a:t>
                      </a: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ntonio ISD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7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i-FI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,333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,341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992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8%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9240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ustin ISD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,465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,590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0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5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%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E79"/>
                    </a:solidFill>
                  </a:tcPr>
                </a:tc>
              </a:tr>
              <a:tr h="52119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El Paso ISD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1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,536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,495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E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646%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E79"/>
                    </a:solidFill>
                  </a:tcPr>
                </a:tc>
              </a:tr>
              <a:tr h="52119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Total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6</a:t>
                      </a:r>
                    </a:p>
                  </a:txBody>
                  <a:tcPr marL="9690" marR="9690" marT="969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3,139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4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0,191</a:t>
                      </a:r>
                    </a:p>
                  </a:txBody>
                  <a:tcPr marL="9690" marR="9690" marT="96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22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12,948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-14%</a:t>
                      </a:r>
                    </a:p>
                  </a:txBody>
                  <a:tcPr marL="13514" marR="13514" marT="1351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7207767" y="3053885"/>
            <a:ext cx="994125" cy="4100945"/>
          </a:xfrm>
          <a:prstGeom prst="ellipse">
            <a:avLst/>
          </a:prstGeom>
          <a:noFill/>
          <a:ln w="3810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</p:spTree>
    <p:extLst>
      <p:ext uri="{BB962C8B-B14F-4D97-AF65-F5344CB8AC3E}">
        <p14:creationId xmlns:p14="http://schemas.microsoft.com/office/powerpoint/2010/main" val="590431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82352"/>
            <a:ext cx="9698172" cy="887888"/>
          </a:xfrm>
        </p:spPr>
        <p:txBody>
          <a:bodyPr/>
          <a:lstStyle/>
          <a:p>
            <a:pPr algn="ctr"/>
            <a:r>
              <a:rPr lang="en-US" sz="1915" i="1" dirty="0" smtClean="0"/>
              <a:t>Expanding </a:t>
            </a:r>
            <a:r>
              <a:rPr lang="en-US" sz="1915" i="1" dirty="0"/>
              <a:t>Access to Quality Early Childhood to Create Solid Foundation</a:t>
            </a:r>
            <a:br>
              <a:rPr lang="en-US" sz="1915" i="1" dirty="0"/>
            </a:br>
            <a:r>
              <a:rPr lang="en-US" sz="1915" i="1" dirty="0"/>
              <a:t>100% Kinder Readiness Could More Than Double 3</a:t>
            </a:r>
            <a:r>
              <a:rPr lang="en-US" sz="1915" i="1" baseline="30000" dirty="0"/>
              <a:t>rd</a:t>
            </a:r>
            <a:r>
              <a:rPr lang="en-US" sz="1915" i="1" dirty="0"/>
              <a:t> Grade Literacy Rat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95215" y="6978908"/>
            <a:ext cx="8307744" cy="321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86507"/>
            <a:r>
              <a:rPr lang="en-US" sz="745" dirty="0">
                <a:solidFill>
                  <a:srgbClr val="003663"/>
                </a:solidFill>
                <a:cs typeface="Gotham-Book"/>
              </a:rPr>
              <a:t>Source: Dallas ISD English reading assessments for Fall 2011/Fall 2015 in measuring K readiness using 184 cut score (40</a:t>
            </a:r>
            <a:r>
              <a:rPr lang="en-US" sz="745" baseline="30000" dirty="0">
                <a:solidFill>
                  <a:srgbClr val="003663"/>
                </a:solidFill>
                <a:cs typeface="Gotham-Book"/>
              </a:rPr>
              <a:t>th</a:t>
            </a:r>
            <a:r>
              <a:rPr lang="en-US" sz="745" dirty="0">
                <a:solidFill>
                  <a:srgbClr val="003663"/>
                </a:solidFill>
                <a:cs typeface="Gotham-Book"/>
              </a:rPr>
              <a:t> percentile). STAAR test from Texas Academic Performance Reports from TEA used in Spring 2015 to measure 3</a:t>
            </a:r>
            <a:r>
              <a:rPr lang="en-US" sz="745" baseline="30000" dirty="0">
                <a:solidFill>
                  <a:srgbClr val="003663"/>
                </a:solidFill>
                <a:cs typeface="Gotham-Book"/>
              </a:rPr>
              <a:t>rd</a:t>
            </a:r>
            <a:r>
              <a:rPr lang="en-US" sz="745" dirty="0">
                <a:solidFill>
                  <a:srgbClr val="003663"/>
                </a:solidFill>
                <a:cs typeface="Gotham-Book"/>
              </a:rPr>
              <a:t> grade reading at standard equivalent to being on grade level for college ready pace</a:t>
            </a:r>
          </a:p>
        </p:txBody>
      </p:sp>
      <p:graphicFrame>
        <p:nvGraphicFramePr>
          <p:cNvPr id="13" name="Chart 12"/>
          <p:cNvGraphicFramePr/>
          <p:nvPr>
            <p:extLst/>
          </p:nvPr>
        </p:nvGraphicFramePr>
        <p:xfrm>
          <a:off x="229523" y="2161918"/>
          <a:ext cx="4814998" cy="4698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/>
          <p:nvPr>
            <p:extLst/>
          </p:nvPr>
        </p:nvGraphicFramePr>
        <p:xfrm>
          <a:off x="5044521" y="2161918"/>
          <a:ext cx="4549456" cy="4698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5" name="Straight Connector 14"/>
          <p:cNvCxnSpPr/>
          <p:nvPr/>
        </p:nvCxnSpPr>
        <p:spPr>
          <a:xfrm>
            <a:off x="2280419" y="5014133"/>
            <a:ext cx="1264287" cy="699328"/>
          </a:xfrm>
          <a:prstGeom prst="line">
            <a:avLst/>
          </a:prstGeom>
          <a:noFill/>
          <a:ln w="25400" cap="flat" cmpd="sng" algn="ctr">
            <a:solidFill>
              <a:srgbClr val="003663"/>
            </a:solidFill>
            <a:prstDash val="solid"/>
            <a:tailEnd type="none"/>
          </a:ln>
          <a:effectLst/>
        </p:spPr>
      </p:cxnSp>
      <p:cxnSp>
        <p:nvCxnSpPr>
          <p:cNvPr id="16" name="Straight Connector 15"/>
          <p:cNvCxnSpPr/>
          <p:nvPr/>
        </p:nvCxnSpPr>
        <p:spPr>
          <a:xfrm>
            <a:off x="6993285" y="4892510"/>
            <a:ext cx="1219107" cy="1003384"/>
          </a:xfrm>
          <a:prstGeom prst="line">
            <a:avLst/>
          </a:prstGeom>
          <a:noFill/>
          <a:ln w="25400" cap="flat" cmpd="sng" algn="ctr">
            <a:solidFill>
              <a:srgbClr val="003663"/>
            </a:solidFill>
            <a:prstDash val="solid"/>
            <a:tailEnd type="none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2429524" y="4714611"/>
            <a:ext cx="1115183" cy="485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86507"/>
            <a:r>
              <a:rPr lang="en-US" sz="2554" b="1" dirty="0">
                <a:solidFill>
                  <a:srgbClr val="003663"/>
                </a:solidFill>
                <a:cs typeface="Gotham-Book"/>
              </a:rPr>
              <a:t>2.3x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104694" y="4637739"/>
            <a:ext cx="1107699" cy="485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86507"/>
            <a:r>
              <a:rPr lang="en-US" sz="2554" b="1" dirty="0">
                <a:solidFill>
                  <a:srgbClr val="003663"/>
                </a:solidFill>
                <a:cs typeface="Gotham-Book"/>
              </a:rPr>
              <a:t>3.2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29523" y="1340203"/>
            <a:ext cx="9500264" cy="7146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22" dirty="0"/>
              <a:t>District wants to serve incremental ~15,000 low income/ELL 3 and 4 year olds both directly and in partnership with quality private providers</a:t>
            </a:r>
            <a:endParaRPr lang="en-US" sz="1490" dirty="0"/>
          </a:p>
        </p:txBody>
      </p:sp>
    </p:spTree>
    <p:extLst>
      <p:ext uri="{BB962C8B-B14F-4D97-AF65-F5344CB8AC3E}">
        <p14:creationId xmlns:p14="http://schemas.microsoft.com/office/powerpoint/2010/main" val="158527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170925" y="203504"/>
            <a:ext cx="100412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</a:rPr>
              <a:t>Progress in Growing Pre-K Enrollment and K Readiness</a:t>
            </a:r>
            <a:br>
              <a:rPr lang="en-US" sz="2400" dirty="0">
                <a:solidFill>
                  <a:schemeClr val="bg2"/>
                </a:solidFill>
              </a:rPr>
            </a:br>
            <a:r>
              <a:rPr lang="en-US" sz="2400" i="1" dirty="0">
                <a:solidFill>
                  <a:schemeClr val="bg2"/>
                </a:solidFill>
              </a:rPr>
              <a:t>DISD Board Has Mandated Serving All 3’s and 4’s by 2025</a:t>
            </a:r>
            <a:endParaRPr lang="en-US" sz="2400" u="sng" dirty="0">
              <a:solidFill>
                <a:schemeClr val="bg2"/>
              </a:solidFill>
            </a:endParaRP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1486115421"/>
              </p:ext>
            </p:extLst>
          </p:nvPr>
        </p:nvGraphicFramePr>
        <p:xfrm>
          <a:off x="298988" y="1125050"/>
          <a:ext cx="4185837" cy="5689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081714246"/>
              </p:ext>
            </p:extLst>
          </p:nvPr>
        </p:nvGraphicFramePr>
        <p:xfrm>
          <a:off x="5143611" y="1125050"/>
          <a:ext cx="4185837" cy="5689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68919" y="6696789"/>
            <a:ext cx="8860869" cy="74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1" dirty="0">
                <a:solidFill>
                  <a:srgbClr val="000000"/>
                </a:solidFill>
                <a:latin typeface="Verdana"/>
                <a:cs typeface="Verdana"/>
              </a:rPr>
              <a:t>Pre-K Source: </a:t>
            </a:r>
            <a:r>
              <a:rPr lang="en-US" sz="851" dirty="0">
                <a:solidFill>
                  <a:srgbClr val="000000"/>
                </a:solidFill>
                <a:latin typeface="Verdana"/>
                <a:ea typeface="Verdana" panose="020B0604030504040204" pitchFamily="34" charset="0"/>
                <a:cs typeface="Verdana"/>
              </a:rPr>
              <a:t>Texas Academic Performance Reporting system, 2012-2015. T</a:t>
            </a:r>
            <a:r>
              <a:rPr lang="en-US" sz="851" dirty="0">
                <a:solidFill>
                  <a:srgbClr val="000000"/>
                </a:solidFill>
                <a:latin typeface="Verdana"/>
                <a:cs typeface="Verdana"/>
              </a:rPr>
              <a:t>o calculate % of eligible children enrolled in Pre-K, actual Pre-K students are calculated as a percentage of estimated Pre-K need.  Pre-K need is determined by using the free or reduced lunch 1st grade population to determine the number of 4-year olds in need of Pre-K. </a:t>
            </a:r>
          </a:p>
          <a:p>
            <a:r>
              <a:rPr lang="en-US" sz="851" dirty="0">
                <a:solidFill>
                  <a:srgbClr val="000000"/>
                </a:solidFill>
                <a:latin typeface="Verdana"/>
                <a:cs typeface="Verdana"/>
              </a:rPr>
              <a:t>KR Source: Dallas ISD. The percent of students deemed Kindergarten Ready based on the early literacy </a:t>
            </a:r>
            <a:r>
              <a:rPr lang="en-US" sz="851" dirty="0" err="1">
                <a:solidFill>
                  <a:srgbClr val="000000"/>
                </a:solidFill>
                <a:latin typeface="Verdana"/>
                <a:cs typeface="Verdana"/>
              </a:rPr>
              <a:t>Istation</a:t>
            </a:r>
            <a:r>
              <a:rPr lang="en-US" sz="851" dirty="0">
                <a:solidFill>
                  <a:srgbClr val="000000"/>
                </a:solidFill>
                <a:latin typeface="Verdana"/>
                <a:cs typeface="Verdana"/>
              </a:rPr>
              <a:t> assessment administered at the beginning of the year in Kindergarten. The values presented are based on criterion data, not normed tier data. </a:t>
            </a:r>
          </a:p>
        </p:txBody>
      </p:sp>
    </p:spTree>
    <p:extLst>
      <p:ext uri="{BB962C8B-B14F-4D97-AF65-F5344CB8AC3E}">
        <p14:creationId xmlns:p14="http://schemas.microsoft.com/office/powerpoint/2010/main" val="604264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900" dirty="0"/>
              <a:t>Across DFW, Both Teacher Turnover and % of Teaching Force That is Composed of Beginning Teachers Has Been Steadily Growing Since 2010-11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451543" y="6931390"/>
            <a:ext cx="6089758" cy="291387"/>
          </a:xfrm>
        </p:spPr>
        <p:txBody>
          <a:bodyPr/>
          <a:lstStyle/>
          <a:p>
            <a:r>
              <a:rPr lang="en-US" dirty="0" smtClean="0">
                <a:solidFill>
                  <a:srgbClr val="003663">
                    <a:tint val="75000"/>
                  </a:srgbClr>
                </a:solidFill>
              </a:rPr>
              <a:t>Source: Texas Academic Performance Report and AEIS Report</a:t>
            </a:r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31194570"/>
              </p:ext>
            </p:extLst>
          </p:nvPr>
        </p:nvGraphicFramePr>
        <p:xfrm>
          <a:off x="126000" y="1605797"/>
          <a:ext cx="3197882" cy="4648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447673" y="2036177"/>
          <a:ext cx="2697692" cy="4869276"/>
        </p:xfrm>
        <a:graphic>
          <a:graphicData uri="http://schemas.openxmlformats.org/drawingml/2006/table">
            <a:tbl>
              <a:tblPr/>
              <a:tblGrid>
                <a:gridCol w="1073606"/>
                <a:gridCol w="405324"/>
                <a:gridCol w="415284"/>
                <a:gridCol w="385754"/>
                <a:gridCol w="417724"/>
              </a:tblGrid>
              <a:tr h="324966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istrict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2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3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4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5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edar Hill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4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7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eSoto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6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5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4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uncanville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4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Fort Worth ISD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allas ISD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Irving ISD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ichardson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7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4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Grand Prairie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7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4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rrollton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 FB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6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6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7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oppell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6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7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6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Garland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5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4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ighland Park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6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5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EB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esquite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ansfield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lano ISD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  <a:endParaRPr lang="is-I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  <a:endParaRPr lang="is-I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4679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rlington ISD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Keller ISD</a:t>
                      </a: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754" marR="8754" marT="875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 </a:t>
                      </a:r>
                      <a:r>
                        <a:rPr lang="en-US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verage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754" marR="8754" marT="875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6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7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8</a:t>
                      </a:r>
                    </a:p>
                  </a:txBody>
                  <a:tcPr marL="8754" marR="8754" marT="875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670485" y="1550684"/>
            <a:ext cx="2667354" cy="288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3013"/>
            <a:r>
              <a:rPr lang="en-US" sz="1277" b="1" dirty="0">
                <a:solidFill>
                  <a:srgbClr val="003663"/>
                </a:solidFill>
                <a:cs typeface="Gotham-Book"/>
              </a:rPr>
              <a:t>Avg. Teacher Turnover 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89638" y="1544938"/>
            <a:ext cx="2547797" cy="288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73013"/>
            <a:r>
              <a:rPr lang="en-US" sz="1277" b="1" dirty="0">
                <a:solidFill>
                  <a:srgbClr val="003663"/>
                </a:solidFill>
                <a:cs typeface="Gotham-Book"/>
              </a:rPr>
              <a:t>% Beginning Teacher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6684444" y="2036179"/>
          <a:ext cx="2479657" cy="4830788"/>
        </p:xfrm>
        <a:graphic>
          <a:graphicData uri="http://schemas.openxmlformats.org/drawingml/2006/table">
            <a:tbl>
              <a:tblPr/>
              <a:tblGrid>
                <a:gridCol w="986317"/>
                <a:gridCol w="373335"/>
                <a:gridCol w="373335"/>
                <a:gridCol w="373335"/>
                <a:gridCol w="373335"/>
              </a:tblGrid>
              <a:tr h="342165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istrict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2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01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Richardson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  <a:endParaRPr lang="is-I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allas ISD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eSoto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edar Hill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ansfield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Duncanville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8975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Fort Worth ISD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Grand Prairie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2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Keller ISD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Irving ISD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1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arrollton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 FB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Coppell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Mesquite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6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rlington ISD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9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Plano</a:t>
                      </a:r>
                      <a:r>
                        <a:rPr lang="en-US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 ISD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4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EB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Garland ISD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5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Highland Park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3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2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charset="0"/>
                      </a:endParaRP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192">
                <a:tc>
                  <a:txBody>
                    <a:bodyPr/>
                    <a:lstStyle/>
                    <a:p>
                      <a:pPr algn="l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Average</a:t>
                      </a:r>
                    </a:p>
                  </a:txBody>
                  <a:tcPr marL="8940" marR="8940" marT="894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4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7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8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charset="0"/>
                        </a:rPr>
                        <a:t>10</a:t>
                      </a:r>
                    </a:p>
                  </a:txBody>
                  <a:tcPr marL="8940" marR="8940" marT="894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718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the Commit! Partnership Is</a:t>
            </a:r>
            <a:endParaRPr lang="en-US" dirty="0"/>
          </a:p>
        </p:txBody>
      </p:sp>
      <p:pic>
        <p:nvPicPr>
          <p:cNvPr id="7" name="Picture 6" descr="Screen Shot 2016-03-23 at 6.15.55 PM.tif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951" t="83367"/>
          <a:stretch/>
        </p:blipFill>
        <p:spPr>
          <a:xfrm>
            <a:off x="0" y="1240936"/>
            <a:ext cx="4021861" cy="6202852"/>
          </a:xfrm>
          <a:prstGeom prst="rect">
            <a:avLst/>
          </a:prstGeom>
        </p:spPr>
      </p:pic>
      <p:pic>
        <p:nvPicPr>
          <p:cNvPr id="8" name="Picture 7" descr="Screen Shot 2016-03-23 at 6.15.55 PM.tif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74" y="4261240"/>
            <a:ext cx="3676099" cy="231221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88755" y="1371350"/>
            <a:ext cx="3351478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437A"/>
                </a:solidFill>
                <a:cs typeface="Gotham-Book"/>
              </a:rPr>
              <a:t>Education collective impact backbone, </a:t>
            </a:r>
            <a:r>
              <a:rPr lang="en-US" dirty="0">
                <a:solidFill>
                  <a:srgbClr val="00437A"/>
                </a:solidFill>
                <a:cs typeface="Gotham-Book"/>
              </a:rPr>
              <a:t>the largest of its kind among 60+ members of the </a:t>
            </a:r>
            <a:r>
              <a:rPr lang="en-US" dirty="0" err="1">
                <a:solidFill>
                  <a:srgbClr val="00437A"/>
                </a:solidFill>
                <a:cs typeface="Gotham-Book"/>
              </a:rPr>
              <a:t>StriveTogether</a:t>
            </a:r>
            <a:r>
              <a:rPr lang="en-US" dirty="0">
                <a:solidFill>
                  <a:srgbClr val="00437A"/>
                </a:solidFill>
                <a:cs typeface="Gotham-Book"/>
              </a:rPr>
              <a:t> national </a:t>
            </a:r>
            <a:r>
              <a:rPr lang="en-US" dirty="0" smtClean="0">
                <a:solidFill>
                  <a:srgbClr val="00437A"/>
                </a:solidFill>
                <a:cs typeface="Gotham-Book"/>
              </a:rPr>
              <a:t>network, serving the </a:t>
            </a:r>
            <a:r>
              <a:rPr lang="en-US" b="1" dirty="0" smtClean="0">
                <a:solidFill>
                  <a:srgbClr val="00437A"/>
                </a:solidFill>
                <a:cs typeface="Gotham-Book"/>
              </a:rPr>
              <a:t>750,000+</a:t>
            </a:r>
            <a:r>
              <a:rPr lang="en-US" dirty="0" smtClean="0">
                <a:solidFill>
                  <a:srgbClr val="00437A"/>
                </a:solidFill>
                <a:cs typeface="Gotham-Book"/>
              </a:rPr>
              <a:t> students (</a:t>
            </a:r>
            <a:r>
              <a:rPr lang="en-US" dirty="0" err="1" smtClean="0">
                <a:solidFill>
                  <a:srgbClr val="00437A"/>
                </a:solidFill>
                <a:cs typeface="Gotham-Book"/>
              </a:rPr>
              <a:t>PreK</a:t>
            </a:r>
            <a:r>
              <a:rPr lang="en-US" dirty="0" smtClean="0">
                <a:solidFill>
                  <a:srgbClr val="00437A"/>
                </a:solidFill>
                <a:cs typeface="Gotham-Book"/>
              </a:rPr>
              <a:t> thru College) across Dallas County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65605" y="1391964"/>
            <a:ext cx="319491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b="1" u="sng" dirty="0" smtClean="0">
                <a:solidFill>
                  <a:srgbClr val="00437A"/>
                </a:solidFill>
                <a:cs typeface="Gotham-Book"/>
              </a:rPr>
              <a:t>Key Fact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65604" y="1819604"/>
            <a:ext cx="5564183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spcBef>
                <a:spcPts val="600"/>
              </a:spcBef>
              <a:buFont typeface="Arial"/>
              <a:buChar char="•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Independent 501(c)(3) </a:t>
            </a:r>
            <a:r>
              <a:rPr lang="en-US" b="1" dirty="0" smtClean="0">
                <a:solidFill>
                  <a:srgbClr val="00437A"/>
                </a:solidFill>
                <a:cs typeface="Gotham-Book"/>
              </a:rPr>
              <a:t>founded in 2012 </a:t>
            </a:r>
            <a:r>
              <a:rPr lang="en-US" dirty="0" smtClean="0">
                <a:solidFill>
                  <a:srgbClr val="00437A"/>
                </a:solidFill>
                <a:cs typeface="Gotham-Book"/>
              </a:rPr>
              <a:t>out of initiative by Dallas Regional Chamber and Dallas Mayor Rawlings</a:t>
            </a:r>
            <a:endParaRPr lang="en-US" dirty="0">
              <a:solidFill>
                <a:srgbClr val="00437A"/>
              </a:solidFill>
              <a:cs typeface="Gotham-Book"/>
            </a:endParaRPr>
          </a:p>
          <a:p>
            <a:pPr marL="285750" indent="-285750" algn="l">
              <a:spcBef>
                <a:spcPts val="600"/>
              </a:spcBef>
              <a:buFont typeface="Arial"/>
              <a:buChar char="•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Staff of ~20 dedicated FTEs and ~$3M annual budget singularly focused on helping move biggest levers driving systemic change affecting outcomes</a:t>
            </a:r>
          </a:p>
          <a:p>
            <a:pPr marL="285750" indent="-285750" algn="l">
              <a:spcBef>
                <a:spcPts val="600"/>
              </a:spcBef>
              <a:buFont typeface="Arial"/>
              <a:buChar char="•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5 initial programmatic focuses:</a:t>
            </a:r>
          </a:p>
          <a:p>
            <a:pPr marL="833567" lvl="1" indent="-342900">
              <a:spcBef>
                <a:spcPts val="600"/>
              </a:spcBef>
              <a:buFont typeface="Courier New" charset="0"/>
              <a:buChar char="o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Early Childhood Education</a:t>
            </a:r>
          </a:p>
          <a:p>
            <a:pPr marL="833567" lvl="1" indent="-342900">
              <a:spcBef>
                <a:spcPts val="600"/>
              </a:spcBef>
              <a:buFont typeface="Courier New" charset="0"/>
              <a:buChar char="o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Middle Grades Success</a:t>
            </a:r>
          </a:p>
          <a:p>
            <a:pPr marL="833567" lvl="1" indent="-342900">
              <a:spcBef>
                <a:spcPts val="600"/>
              </a:spcBef>
              <a:buFont typeface="Courier New" charset="0"/>
              <a:buChar char="o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Postsecondary Attainment</a:t>
            </a:r>
          </a:p>
          <a:p>
            <a:pPr marL="833567" lvl="1" indent="-342900">
              <a:spcBef>
                <a:spcPts val="600"/>
              </a:spcBef>
              <a:buFont typeface="Courier New" charset="0"/>
              <a:buChar char="o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Educator Pipelines</a:t>
            </a:r>
          </a:p>
          <a:p>
            <a:pPr marL="833567" lvl="1" indent="-342900">
              <a:spcBef>
                <a:spcPts val="600"/>
              </a:spcBef>
              <a:buFont typeface="Courier New" charset="0"/>
              <a:buChar char="o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Data “Democratization” </a:t>
            </a:r>
          </a:p>
          <a:p>
            <a:pPr marL="285750" indent="-285750">
              <a:spcBef>
                <a:spcPts val="600"/>
              </a:spcBef>
              <a:buFont typeface="Arial"/>
              <a:buChar char="•"/>
            </a:pPr>
            <a:r>
              <a:rPr lang="en-US" dirty="0" smtClean="0">
                <a:solidFill>
                  <a:srgbClr val="00437A"/>
                </a:solidFill>
                <a:cs typeface="Gotham-Book"/>
              </a:rPr>
              <a:t>Work with ~185 partners across sectors including ISD’s, higher </a:t>
            </a:r>
            <a:r>
              <a:rPr lang="en-US" dirty="0" err="1" smtClean="0">
                <a:solidFill>
                  <a:srgbClr val="00437A"/>
                </a:solidFill>
                <a:cs typeface="Gotham-Book"/>
              </a:rPr>
              <a:t>ed</a:t>
            </a:r>
            <a:r>
              <a:rPr lang="en-US" dirty="0" smtClean="0">
                <a:solidFill>
                  <a:srgbClr val="00437A"/>
                </a:solidFill>
                <a:cs typeface="Gotham-Book"/>
              </a:rPr>
              <a:t>, foundations, nonprofits, businesses, and civic entities</a:t>
            </a:r>
          </a:p>
        </p:txBody>
      </p:sp>
    </p:spTree>
    <p:extLst>
      <p:ext uri="{BB962C8B-B14F-4D97-AF65-F5344CB8AC3E}">
        <p14:creationId xmlns:p14="http://schemas.microsoft.com/office/powerpoint/2010/main" val="4154650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35" dirty="0"/>
              <a:t>Across Texas, Both Teacher Turnover and % of Teaching Force Who are Beginning Has Been Steadily Growing Since 2010-11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11683" y="6868847"/>
            <a:ext cx="8119678" cy="388516"/>
          </a:xfrm>
        </p:spPr>
        <p:txBody>
          <a:bodyPr/>
          <a:lstStyle/>
          <a:p>
            <a:r>
              <a:rPr lang="en-US" dirty="0" smtClean="0">
                <a:solidFill>
                  <a:srgbClr val="003663">
                    <a:tint val="75000"/>
                  </a:srgbClr>
                </a:solidFill>
              </a:rPr>
              <a:t>Source: Texas Academic Performance Report and AEIS Report</a:t>
            </a:r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066266" y="2057290"/>
          <a:ext cx="2245831" cy="4498186"/>
        </p:xfrm>
        <a:graphic>
          <a:graphicData uri="http://schemas.openxmlformats.org/drawingml/2006/table">
            <a:tbl>
              <a:tblPr/>
              <a:tblGrid>
                <a:gridCol w="378859"/>
                <a:gridCol w="466743"/>
                <a:gridCol w="466743"/>
                <a:gridCol w="466743"/>
                <a:gridCol w="466743"/>
              </a:tblGrid>
              <a:tr h="2482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Reg.</a:t>
                      </a:r>
                      <a:endParaRPr lang="en-US" sz="10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2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3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4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5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3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4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5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6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7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8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9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0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1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2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3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4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5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6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7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8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2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1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9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0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Avg.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3%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6%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078333" y="1671166"/>
            <a:ext cx="2678670" cy="288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86507"/>
            <a:r>
              <a:rPr lang="en-US" sz="1277" b="1" dirty="0">
                <a:solidFill>
                  <a:srgbClr val="003663"/>
                </a:solidFill>
                <a:cs typeface="Gotham-Book"/>
              </a:rPr>
              <a:t>Avg. Teacher Turnover %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147415" y="1671166"/>
            <a:ext cx="2322990" cy="288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86507"/>
            <a:r>
              <a:rPr lang="en-US" sz="1277" b="1" dirty="0">
                <a:solidFill>
                  <a:srgbClr val="003663"/>
                </a:solidFill>
                <a:cs typeface="Gotham-Book"/>
              </a:rPr>
              <a:t>% Beginning Teachers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6944817" y="2062585"/>
          <a:ext cx="2245831" cy="4488816"/>
        </p:xfrm>
        <a:graphic>
          <a:graphicData uri="http://schemas.openxmlformats.org/drawingml/2006/table">
            <a:tbl>
              <a:tblPr/>
              <a:tblGrid>
                <a:gridCol w="378859"/>
                <a:gridCol w="466743"/>
                <a:gridCol w="466743"/>
                <a:gridCol w="466743"/>
                <a:gridCol w="466743"/>
              </a:tblGrid>
              <a:tr h="2389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Reg.</a:t>
                      </a:r>
                      <a:endParaRPr lang="en-US" sz="10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2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3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4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15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3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4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5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6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7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8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9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0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1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2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3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4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5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6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7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8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rgbClr val="003663"/>
                          </a:solidFill>
                          <a:latin typeface="+mn-lt"/>
                        </a:rPr>
                        <a:t>19</a:t>
                      </a:r>
                      <a:endParaRPr lang="en-US" sz="1100" b="1" dirty="0">
                        <a:solidFill>
                          <a:srgbClr val="003663"/>
                        </a:solidFill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13514" marR="13514" marT="13514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969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0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Avg.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1672" marR="11672" marT="1167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5%</a:t>
                      </a:r>
                      <a:endParaRPr lang="en-US" sz="1100" b="1" i="0" u="none" strike="noStrike" dirty="0">
                        <a:solidFill>
                          <a:srgbClr val="003663"/>
                        </a:solidFill>
                        <a:effectLst/>
                        <a:latin typeface="+mn-lt"/>
                      </a:endParaRP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3663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13514" marR="13514" marT="13514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366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4" name="Chart 3"/>
          <p:cNvGraphicFramePr/>
          <p:nvPr>
            <p:extLst/>
          </p:nvPr>
        </p:nvGraphicFramePr>
        <p:xfrm>
          <a:off x="149569" y="1714296"/>
          <a:ext cx="3723644" cy="4983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9362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28" dirty="0"/>
              <a:t>Less Affluent Schools In Dallas County </a:t>
            </a:r>
            <a:r>
              <a:rPr lang="is-IS" sz="2128" dirty="0"/>
              <a:t>Have Less Experienced Teachers (by 1.6 Years) and Almost 2x the Rate of New </a:t>
            </a:r>
            <a:r>
              <a:rPr lang="en-US" sz="2128" dirty="0"/>
              <a:t>Teacher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663">
                    <a:tint val="75000"/>
                  </a:srgbClr>
                </a:solidFill>
              </a:rPr>
              <a:t>Source: TEA – TAPR 2015 data.</a:t>
            </a:r>
          </a:p>
          <a:p>
            <a:r>
              <a:rPr lang="en-US" dirty="0" smtClean="0">
                <a:solidFill>
                  <a:srgbClr val="003663">
                    <a:tint val="75000"/>
                  </a:srgbClr>
                </a:solidFill>
              </a:rPr>
              <a:t>Note: Only Dallas County ISDs are included in calculations.  Dallas County charter schools are not included</a:t>
            </a:r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486490" y="2199040"/>
            <a:ext cx="4122563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486490" y="1621599"/>
            <a:ext cx="4122563" cy="5567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649" rIns="0" bIns="4864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486507"/>
            <a:r>
              <a:rPr lang="en-US" sz="1277" b="1" dirty="0">
                <a:solidFill>
                  <a:srgbClr val="003663"/>
                </a:solidFill>
              </a:rPr>
              <a:t>Less affluent schools generally have less experienced teachers</a:t>
            </a:r>
            <a:endParaRPr lang="en-US" sz="1277" b="1" baseline="30000" dirty="0">
              <a:solidFill>
                <a:srgbClr val="003663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10935" y="1621599"/>
            <a:ext cx="4122563" cy="5567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8649" rIns="0" bIns="4864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486507"/>
            <a:r>
              <a:rPr lang="en-US" sz="1277" b="1" dirty="0">
                <a:solidFill>
                  <a:srgbClr val="003663"/>
                </a:solidFill>
              </a:rPr>
              <a:t>New teachers make up a greater share of less affluent schools’ teaching staff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5110935" y="2199040"/>
            <a:ext cx="4122563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/>
          <p:cNvGraphicFramePr/>
          <p:nvPr>
            <p:extLst/>
          </p:nvPr>
        </p:nvGraphicFramePr>
        <p:xfrm>
          <a:off x="486490" y="2500325"/>
          <a:ext cx="4122563" cy="2988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Rectangle 10"/>
          <p:cNvSpPr/>
          <p:nvPr/>
        </p:nvSpPr>
        <p:spPr>
          <a:xfrm>
            <a:off x="486490" y="2199040"/>
            <a:ext cx="4122563" cy="35205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86507"/>
            <a:r>
              <a:rPr lang="en-US" sz="1064" dirty="0">
                <a:solidFill>
                  <a:srgbClr val="000000"/>
                </a:solidFill>
              </a:rPr>
              <a:t>Avg. teacher experience in Dallas County schools, years</a:t>
            </a:r>
            <a:endParaRPr lang="en-US" sz="1064" baseline="30000" dirty="0">
              <a:solidFill>
                <a:srgbClr val="00000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1595002" y="5919453"/>
            <a:ext cx="615209" cy="24526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59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290490" y="5919453"/>
            <a:ext cx="615209" cy="24526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464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1595002" y="6374018"/>
            <a:ext cx="615209" cy="24526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10%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3290490" y="6374018"/>
            <a:ext cx="615209" cy="24526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76%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86489" y="5919453"/>
            <a:ext cx="1108513" cy="2452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86507"/>
            <a:r>
              <a:rPr lang="en-US" sz="1064" dirty="0">
                <a:solidFill>
                  <a:srgbClr val="000000"/>
                </a:solidFill>
              </a:rPr>
              <a:t>School count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86489" y="6374018"/>
            <a:ext cx="1108513" cy="24526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86507"/>
            <a:r>
              <a:rPr lang="en-US" sz="1064" dirty="0">
                <a:solidFill>
                  <a:srgbClr val="000000"/>
                </a:solidFill>
              </a:rPr>
              <a:t>% Dallas </a:t>
            </a:r>
            <a:r>
              <a:rPr lang="en-US" sz="1064" dirty="0" err="1">
                <a:solidFill>
                  <a:srgbClr val="000000"/>
                </a:solidFill>
              </a:rPr>
              <a:t>Cnty</a:t>
            </a:r>
            <a:r>
              <a:rPr lang="en-US" sz="1064" dirty="0">
                <a:solidFill>
                  <a:srgbClr val="000000"/>
                </a:solidFill>
              </a:rPr>
              <a:t> students</a:t>
            </a:r>
          </a:p>
        </p:txBody>
      </p:sp>
      <p:sp>
        <p:nvSpPr>
          <p:cNvPr id="21" name="Triangle 20"/>
          <p:cNvSpPr/>
          <p:nvPr/>
        </p:nvSpPr>
        <p:spPr>
          <a:xfrm>
            <a:off x="1595003" y="3232997"/>
            <a:ext cx="688126" cy="96334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endParaRPr lang="en-US" sz="1117" dirty="0">
              <a:solidFill>
                <a:srgbClr val="FFFFFF"/>
              </a:solidFill>
            </a:endParaRPr>
          </a:p>
        </p:txBody>
      </p:sp>
      <p:sp>
        <p:nvSpPr>
          <p:cNvPr id="22" name="Triangle 21"/>
          <p:cNvSpPr/>
          <p:nvPr/>
        </p:nvSpPr>
        <p:spPr>
          <a:xfrm>
            <a:off x="3254032" y="3528302"/>
            <a:ext cx="688126" cy="96334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endParaRPr lang="en-US" sz="1117" dirty="0">
              <a:solidFill>
                <a:srgbClr val="FFFFFF"/>
              </a:solidFill>
            </a:endParaRPr>
          </a:p>
        </p:txBody>
      </p:sp>
      <p:cxnSp>
        <p:nvCxnSpPr>
          <p:cNvPr id="24" name="Elbow Connector 23"/>
          <p:cNvCxnSpPr>
            <a:stCxn id="21" idx="0"/>
            <a:endCxn id="22" idx="0"/>
          </p:cNvCxnSpPr>
          <p:nvPr/>
        </p:nvCxnSpPr>
        <p:spPr>
          <a:xfrm rot="16200000" flipH="1">
            <a:off x="2620928" y="2551135"/>
            <a:ext cx="295305" cy="1659029"/>
          </a:xfrm>
          <a:prstGeom prst="bentConnector3">
            <a:avLst>
              <a:gd name="adj1" fmla="val -82371"/>
            </a:avLst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/>
          <p:cNvSpPr/>
          <p:nvPr/>
        </p:nvSpPr>
        <p:spPr>
          <a:xfrm>
            <a:off x="2459214" y="2770960"/>
            <a:ext cx="676730" cy="43449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>
                <a:solidFill>
                  <a:srgbClr val="000000"/>
                </a:solidFill>
              </a:rPr>
              <a:t>1.6 years</a:t>
            </a:r>
            <a:endParaRPr lang="en-US" sz="1064" dirty="0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212777" y="5374881"/>
            <a:ext cx="1452576" cy="38157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More affluent schools</a:t>
            </a:r>
            <a:br>
              <a:rPr lang="en-US" sz="1064" dirty="0">
                <a:solidFill>
                  <a:srgbClr val="000000"/>
                </a:solidFill>
              </a:rPr>
            </a:br>
            <a:r>
              <a:rPr lang="en-US" sz="1064" dirty="0">
                <a:solidFill>
                  <a:srgbClr val="000000"/>
                </a:solidFill>
              </a:rPr>
              <a:t>(&lt;39% </a:t>
            </a:r>
            <a:r>
              <a:rPr lang="en-US" sz="1064" dirty="0" err="1">
                <a:solidFill>
                  <a:srgbClr val="000000"/>
                </a:solidFill>
              </a:rPr>
              <a:t>EcoDis</a:t>
            </a:r>
            <a:r>
              <a:rPr lang="en-US" sz="1064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871806" y="5374881"/>
            <a:ext cx="1452576" cy="38157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Less affluent schools</a:t>
            </a:r>
            <a:br>
              <a:rPr lang="en-US" sz="1064" dirty="0">
                <a:solidFill>
                  <a:srgbClr val="000000"/>
                </a:solidFill>
              </a:rPr>
            </a:br>
            <a:r>
              <a:rPr lang="en-US" sz="1064" dirty="0">
                <a:solidFill>
                  <a:srgbClr val="000000"/>
                </a:solidFill>
              </a:rPr>
              <a:t>(&gt;60% </a:t>
            </a:r>
            <a:r>
              <a:rPr lang="en-US" sz="1064" dirty="0" err="1">
                <a:solidFill>
                  <a:srgbClr val="000000"/>
                </a:solidFill>
              </a:rPr>
              <a:t>EcoDis</a:t>
            </a:r>
            <a:r>
              <a:rPr lang="en-US" sz="1064" dirty="0">
                <a:solidFill>
                  <a:srgbClr val="000000"/>
                </a:solidFill>
              </a:rPr>
              <a:t>)</a:t>
            </a:r>
          </a:p>
        </p:txBody>
      </p:sp>
      <p:graphicFrame>
        <p:nvGraphicFramePr>
          <p:cNvPr id="28" name="Chart 27"/>
          <p:cNvGraphicFramePr/>
          <p:nvPr>
            <p:extLst/>
          </p:nvPr>
        </p:nvGraphicFramePr>
        <p:xfrm>
          <a:off x="5110935" y="2500325"/>
          <a:ext cx="4122563" cy="2988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Rectangle 28"/>
          <p:cNvSpPr/>
          <p:nvPr/>
        </p:nvSpPr>
        <p:spPr>
          <a:xfrm>
            <a:off x="5110935" y="2199040"/>
            <a:ext cx="4122563" cy="35205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86507"/>
            <a:r>
              <a:rPr lang="en-US" sz="1064" dirty="0">
                <a:solidFill>
                  <a:srgbClr val="000000"/>
                </a:solidFill>
              </a:rPr>
              <a:t>New teachers (&lt;1 year experience) as % of teaching staff</a:t>
            </a:r>
            <a:endParaRPr lang="en-US" sz="1064" baseline="30000" dirty="0">
              <a:solidFill>
                <a:srgbClr val="000000"/>
              </a:solidFill>
            </a:endParaRPr>
          </a:p>
        </p:txBody>
      </p:sp>
      <p:sp>
        <p:nvSpPr>
          <p:cNvPr id="30" name="Triangle 29"/>
          <p:cNvSpPr/>
          <p:nvPr/>
        </p:nvSpPr>
        <p:spPr>
          <a:xfrm>
            <a:off x="6161650" y="4061469"/>
            <a:ext cx="688126" cy="96334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endParaRPr lang="en-US" sz="1117" dirty="0">
              <a:solidFill>
                <a:srgbClr val="FFFFFF"/>
              </a:solidFill>
            </a:endParaRPr>
          </a:p>
        </p:txBody>
      </p:sp>
      <p:sp>
        <p:nvSpPr>
          <p:cNvPr id="31" name="Triangle 30"/>
          <p:cNvSpPr/>
          <p:nvPr/>
        </p:nvSpPr>
        <p:spPr>
          <a:xfrm>
            <a:off x="7868844" y="3210401"/>
            <a:ext cx="688126" cy="96334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endParaRPr lang="en-US" sz="1117" dirty="0">
              <a:solidFill>
                <a:srgbClr val="FFFFFF"/>
              </a:solidFill>
            </a:endParaRPr>
          </a:p>
        </p:txBody>
      </p:sp>
      <p:cxnSp>
        <p:nvCxnSpPr>
          <p:cNvPr id="32" name="Elbow Connector 31"/>
          <p:cNvCxnSpPr>
            <a:stCxn id="30" idx="0"/>
            <a:endCxn id="31" idx="0"/>
          </p:cNvCxnSpPr>
          <p:nvPr/>
        </p:nvCxnSpPr>
        <p:spPr>
          <a:xfrm rot="5400000" flipH="1" flipV="1">
            <a:off x="6933777" y="2782340"/>
            <a:ext cx="851068" cy="1707194"/>
          </a:xfrm>
          <a:prstGeom prst="bentConnector3">
            <a:avLst>
              <a:gd name="adj1" fmla="val 128581"/>
            </a:avLst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/>
        </p:nvSpPr>
        <p:spPr>
          <a:xfrm>
            <a:off x="6839926" y="2770960"/>
            <a:ext cx="990802" cy="434493"/>
          </a:xfrm>
          <a:prstGeom prst="roundRect">
            <a:avLst/>
          </a:prstGeom>
          <a:solidFill>
            <a:schemeClr val="accent5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b="1" dirty="0" smtClean="0">
                <a:solidFill>
                  <a:schemeClr val="bg2"/>
                </a:solidFill>
              </a:rPr>
              <a:t>Almost 2x Greater</a:t>
            </a:r>
            <a:endParaRPr lang="en-US" sz="1064" b="1" dirty="0">
              <a:solidFill>
                <a:schemeClr val="bg2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837222" y="5374881"/>
            <a:ext cx="1452576" cy="38157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More affluent schools</a:t>
            </a:r>
            <a:br>
              <a:rPr lang="en-US" sz="1064" dirty="0">
                <a:solidFill>
                  <a:srgbClr val="000000"/>
                </a:solidFill>
              </a:rPr>
            </a:br>
            <a:r>
              <a:rPr lang="en-US" sz="1064" dirty="0">
                <a:solidFill>
                  <a:srgbClr val="000000"/>
                </a:solidFill>
              </a:rPr>
              <a:t>(&lt;39% </a:t>
            </a:r>
            <a:r>
              <a:rPr lang="en-US" sz="1064" dirty="0" err="1">
                <a:solidFill>
                  <a:srgbClr val="000000"/>
                </a:solidFill>
              </a:rPr>
              <a:t>EcoDis</a:t>
            </a:r>
            <a:r>
              <a:rPr lang="en-US" sz="1064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496251" y="5374881"/>
            <a:ext cx="1452576" cy="38157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Less affluent schools</a:t>
            </a:r>
            <a:br>
              <a:rPr lang="en-US" sz="1064" dirty="0">
                <a:solidFill>
                  <a:srgbClr val="000000"/>
                </a:solidFill>
              </a:rPr>
            </a:br>
            <a:r>
              <a:rPr lang="en-US" sz="1064" dirty="0">
                <a:solidFill>
                  <a:srgbClr val="000000"/>
                </a:solidFill>
              </a:rPr>
              <a:t>(&gt;60% </a:t>
            </a:r>
            <a:r>
              <a:rPr lang="en-US" sz="1064" dirty="0" err="1">
                <a:solidFill>
                  <a:srgbClr val="000000"/>
                </a:solidFill>
              </a:rPr>
              <a:t>EcoDis</a:t>
            </a:r>
            <a:r>
              <a:rPr lang="en-US" sz="1064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36" name="Rectangular Callout 35"/>
          <p:cNvSpPr/>
          <p:nvPr/>
        </p:nvSpPr>
        <p:spPr>
          <a:xfrm>
            <a:off x="4310596" y="5946081"/>
            <a:ext cx="3384553" cy="753299"/>
          </a:xfrm>
          <a:prstGeom prst="wedgeRectCallout">
            <a:avLst>
              <a:gd name="adj1" fmla="val -60521"/>
              <a:gd name="adj2" fmla="val 33954"/>
            </a:avLst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649" tIns="48649" rIns="48649" bIns="486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486507"/>
            <a:r>
              <a:rPr lang="en-US" sz="1064" dirty="0">
                <a:solidFill>
                  <a:srgbClr val="000000"/>
                </a:solidFill>
              </a:rPr>
              <a:t>Only 10% of Dallas County students attend a school with less than 39% economic disadvantage while 76% attend a school with over 60% economic disadvantage</a:t>
            </a:r>
          </a:p>
        </p:txBody>
      </p:sp>
    </p:spTree>
    <p:extLst>
      <p:ext uri="{BB962C8B-B14F-4D97-AF65-F5344CB8AC3E}">
        <p14:creationId xmlns:p14="http://schemas.microsoft.com/office/powerpoint/2010/main" val="124424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28" dirty="0"/>
              <a:t>Dallas County’s Campus Poverty Rate is </a:t>
            </a:r>
            <a:r>
              <a:rPr lang="en-US" sz="2128" b="1" dirty="0">
                <a:solidFill>
                  <a:srgbClr val="FFFF00"/>
                </a:solidFill>
              </a:rPr>
              <a:t>3x </a:t>
            </a:r>
            <a:r>
              <a:rPr lang="en-US" sz="2128" b="1" dirty="0" smtClean="0">
                <a:solidFill>
                  <a:srgbClr val="FFFF00"/>
                </a:solidFill>
              </a:rPr>
              <a:t>Higher </a:t>
            </a:r>
            <a:r>
              <a:rPr lang="en-US" sz="2128" dirty="0" smtClean="0"/>
              <a:t>Than Collin </a:t>
            </a:r>
            <a:r>
              <a:rPr lang="en-US" sz="2128" dirty="0"/>
              <a:t>County’s While its Ratio of New Teachers is </a:t>
            </a:r>
            <a:r>
              <a:rPr lang="en-US" sz="2128" b="1" dirty="0">
                <a:solidFill>
                  <a:srgbClr val="FFFF00"/>
                </a:solidFill>
              </a:rPr>
              <a:t>2x Higher</a:t>
            </a:r>
          </a:p>
        </p:txBody>
      </p:sp>
      <p:graphicFrame>
        <p:nvGraphicFramePr>
          <p:cNvPr id="4" name="Chart 3"/>
          <p:cNvGraphicFramePr/>
          <p:nvPr>
            <p:extLst/>
          </p:nvPr>
        </p:nvGraphicFramePr>
        <p:xfrm>
          <a:off x="1776254" y="2367389"/>
          <a:ext cx="8100612" cy="875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486489" y="2556881"/>
            <a:ext cx="2043255" cy="67556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 dirty="0">
                <a:solidFill>
                  <a:srgbClr val="FFFFFF"/>
                </a:solidFill>
              </a:rPr>
              <a:t>Campus </a:t>
            </a:r>
            <a:r>
              <a:rPr lang="en-US" sz="1277" b="1" dirty="0" err="1">
                <a:solidFill>
                  <a:srgbClr val="FFFFFF"/>
                </a:solidFill>
              </a:rPr>
              <a:t>EcoDis</a:t>
            </a:r>
            <a:r>
              <a:rPr lang="en-US" sz="1277" dirty="0">
                <a:solidFill>
                  <a:srgbClr val="FFFFFF"/>
                </a:solidFill>
              </a:rPr>
              <a:t>, weighted avg. %</a:t>
            </a:r>
          </a:p>
        </p:txBody>
      </p:sp>
      <p:sp>
        <p:nvSpPr>
          <p:cNvPr id="6" name="Rectangle 5"/>
          <p:cNvSpPr/>
          <p:nvPr/>
        </p:nvSpPr>
        <p:spPr>
          <a:xfrm>
            <a:off x="486489" y="4370926"/>
            <a:ext cx="2043255" cy="67556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 dirty="0">
                <a:solidFill>
                  <a:srgbClr val="FFFFFF"/>
                </a:solidFill>
              </a:rPr>
              <a:t>New teachers</a:t>
            </a:r>
            <a:r>
              <a:rPr lang="en-US" sz="1277" dirty="0">
                <a:solidFill>
                  <a:srgbClr val="FFFFFF"/>
                </a:solidFill>
              </a:rPr>
              <a:t>, as % of all teachers</a:t>
            </a:r>
          </a:p>
        </p:txBody>
      </p:sp>
      <p:sp>
        <p:nvSpPr>
          <p:cNvPr id="7" name="Rectangle 6"/>
          <p:cNvSpPr/>
          <p:nvPr/>
        </p:nvSpPr>
        <p:spPr>
          <a:xfrm>
            <a:off x="486489" y="5277948"/>
            <a:ext cx="2043255" cy="67556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 dirty="0">
                <a:solidFill>
                  <a:srgbClr val="FFFFFF"/>
                </a:solidFill>
              </a:rPr>
              <a:t>Teacher experience</a:t>
            </a:r>
            <a:r>
              <a:rPr lang="en-US" sz="1277" dirty="0">
                <a:solidFill>
                  <a:srgbClr val="FFFFFF"/>
                </a:solidFill>
              </a:rPr>
              <a:t>, avg. years</a:t>
            </a:r>
          </a:p>
        </p:txBody>
      </p:sp>
      <p:sp>
        <p:nvSpPr>
          <p:cNvPr id="8" name="Rectangle 7"/>
          <p:cNvSpPr/>
          <p:nvPr/>
        </p:nvSpPr>
        <p:spPr>
          <a:xfrm>
            <a:off x="4463257" y="1874263"/>
            <a:ext cx="1371016" cy="3482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 dirty="0">
                <a:solidFill>
                  <a:srgbClr val="000000"/>
                </a:solidFill>
              </a:rPr>
              <a:t>Denton County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33622" y="1874263"/>
            <a:ext cx="1371016" cy="3482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>
                <a:solidFill>
                  <a:srgbClr val="000000"/>
                </a:solidFill>
              </a:rPr>
              <a:t>Tarrant County</a:t>
            </a:r>
            <a:endParaRPr lang="en-US" sz="1277" b="1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803986" y="1874263"/>
            <a:ext cx="1371016" cy="3482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 dirty="0">
                <a:solidFill>
                  <a:srgbClr val="000000"/>
                </a:solidFill>
              </a:rPr>
              <a:t>Dallas County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463257" y="2294929"/>
            <a:ext cx="1371016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133622" y="2294929"/>
            <a:ext cx="1371016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7803987" y="2294929"/>
            <a:ext cx="1371016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Chart 16"/>
          <p:cNvGraphicFramePr/>
          <p:nvPr>
            <p:extLst/>
          </p:nvPr>
        </p:nvGraphicFramePr>
        <p:xfrm>
          <a:off x="1776254" y="5168289"/>
          <a:ext cx="8100612" cy="875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297305" y="6955099"/>
            <a:ext cx="8119678" cy="388516"/>
          </a:xfrm>
        </p:spPr>
        <p:txBody>
          <a:bodyPr/>
          <a:lstStyle/>
          <a:p>
            <a:pPr marL="11825" indent="-11825"/>
            <a:r>
              <a:rPr lang="en-US" dirty="0">
                <a:solidFill>
                  <a:srgbClr val="FFFFFF">
                    <a:lumMod val="50000"/>
                  </a:srgbClr>
                </a:solidFill>
              </a:rPr>
              <a:t>Source: </a:t>
            </a:r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2015 </a:t>
            </a:r>
            <a:r>
              <a:rPr lang="en-US" dirty="0">
                <a:solidFill>
                  <a:srgbClr val="FFFFFF">
                    <a:lumMod val="50000"/>
                  </a:srgbClr>
                </a:solidFill>
              </a:rPr>
              <a:t>TAPR </a:t>
            </a:r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data</a:t>
            </a:r>
          </a:p>
          <a:p>
            <a:pPr marL="11825" indent="-11825"/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Note: Includes data for ISDs only; does not include data for charter school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792891" y="1874263"/>
            <a:ext cx="1371016" cy="3482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 dirty="0">
                <a:solidFill>
                  <a:srgbClr val="000000"/>
                </a:solidFill>
              </a:rPr>
              <a:t>Collin County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2792891" y="2294929"/>
            <a:ext cx="1371016" cy="0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Chart 24"/>
          <p:cNvGraphicFramePr/>
          <p:nvPr>
            <p:extLst/>
          </p:nvPr>
        </p:nvGraphicFramePr>
        <p:xfrm>
          <a:off x="1776254" y="4234655"/>
          <a:ext cx="8100612" cy="875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486489" y="6527379"/>
            <a:ext cx="8688513" cy="360252"/>
            <a:chOff x="457199" y="6021977"/>
            <a:chExt cx="8165416" cy="338563"/>
          </a:xfrm>
        </p:grpSpPr>
        <p:sp>
          <p:nvSpPr>
            <p:cNvPr id="26" name="Rectangle 25"/>
            <p:cNvSpPr/>
            <p:nvPr/>
          </p:nvSpPr>
          <p:spPr>
            <a:xfrm>
              <a:off x="457199" y="6021977"/>
              <a:ext cx="1920240" cy="33856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b="1" dirty="0">
                  <a:solidFill>
                    <a:srgbClr val="000000"/>
                  </a:solidFill>
                </a:rPr>
                <a:t>Student count</a:t>
              </a:r>
              <a:endParaRPr lang="en-US" sz="1277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194543" y="6021977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120,000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764343" y="6021977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350,000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334142" y="6021977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440,000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2624743" y="6021977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190,000</a:t>
              </a:r>
            </a:p>
          </p:txBody>
        </p:sp>
      </p:grpSp>
      <p:sp>
        <p:nvSpPr>
          <p:cNvPr id="33" name="Rectangle 32"/>
          <p:cNvSpPr/>
          <p:nvPr/>
        </p:nvSpPr>
        <p:spPr>
          <a:xfrm>
            <a:off x="486489" y="3463904"/>
            <a:ext cx="2043255" cy="67556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r>
              <a:rPr lang="en-US" sz="1277" b="1" dirty="0">
                <a:solidFill>
                  <a:srgbClr val="FFFFFF"/>
                </a:solidFill>
              </a:rPr>
              <a:t>Annual teacher turnover</a:t>
            </a:r>
            <a:r>
              <a:rPr lang="en-US" sz="1277" dirty="0">
                <a:solidFill>
                  <a:srgbClr val="FFFFFF"/>
                </a:solidFill>
              </a:rPr>
              <a:t>, %</a:t>
            </a:r>
          </a:p>
        </p:txBody>
      </p:sp>
      <p:graphicFrame>
        <p:nvGraphicFramePr>
          <p:cNvPr id="35" name="Chart 34"/>
          <p:cNvGraphicFramePr/>
          <p:nvPr>
            <p:extLst/>
          </p:nvPr>
        </p:nvGraphicFramePr>
        <p:xfrm>
          <a:off x="1776254" y="3301022"/>
          <a:ext cx="8100612" cy="875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486489" y="6105550"/>
            <a:ext cx="8688513" cy="360252"/>
            <a:chOff x="457199" y="6385791"/>
            <a:chExt cx="8165416" cy="338563"/>
          </a:xfrm>
        </p:grpSpPr>
        <p:sp>
          <p:nvSpPr>
            <p:cNvPr id="36" name="Rectangle 35"/>
            <p:cNvSpPr/>
            <p:nvPr/>
          </p:nvSpPr>
          <p:spPr>
            <a:xfrm>
              <a:off x="457199" y="6385791"/>
              <a:ext cx="1920240" cy="33856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b="1" dirty="0">
                  <a:solidFill>
                    <a:srgbClr val="000000"/>
                  </a:solidFill>
                </a:rPr>
                <a:t>Teacher count</a:t>
              </a:r>
              <a:endParaRPr lang="en-US" sz="1277" dirty="0">
                <a:solidFill>
                  <a:srgbClr val="000000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194543" y="6385791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8,300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5764343" y="6385791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22,000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334142" y="6385791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28,500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2624743" y="6385791"/>
              <a:ext cx="1288473" cy="3272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7298" tIns="0" rIns="97298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86507"/>
              <a:r>
                <a:rPr lang="en-US" sz="1277" dirty="0">
                  <a:solidFill>
                    <a:srgbClr val="000000"/>
                  </a:solidFill>
                </a:rPr>
                <a:t>12,500</a:t>
              </a:r>
            </a:p>
          </p:txBody>
        </p:sp>
      </p:grpSp>
      <p:cxnSp>
        <p:nvCxnSpPr>
          <p:cNvPr id="21" name="Straight Connector 20"/>
          <p:cNvCxnSpPr/>
          <p:nvPr/>
        </p:nvCxnSpPr>
        <p:spPr>
          <a:xfrm>
            <a:off x="2724340" y="3232449"/>
            <a:ext cx="651895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724340" y="5046494"/>
            <a:ext cx="651895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724340" y="5953516"/>
            <a:ext cx="651895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2724340" y="4139471"/>
            <a:ext cx="6518959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7725591" y="1720545"/>
            <a:ext cx="1532596" cy="5234554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86507"/>
            <a:endParaRPr lang="en-US" sz="1117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01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00" dirty="0"/>
              <a:t>Looking Only at Poorer Students, Tremendous Dispersion in Achievement Among Campuses w/ Similar Teacher Experience Levels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462891603"/>
              </p:ext>
            </p:extLst>
          </p:nvPr>
        </p:nvGraphicFramePr>
        <p:xfrm>
          <a:off x="136743" y="1293436"/>
          <a:ext cx="9456302" cy="3110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177330399"/>
              </p:ext>
            </p:extLst>
          </p:nvPr>
        </p:nvGraphicFramePr>
        <p:xfrm>
          <a:off x="136743" y="4124644"/>
          <a:ext cx="9593045" cy="3245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331028" y="3800545"/>
            <a:ext cx="166316" cy="256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64" dirty="0">
                <a:cs typeface="Gotham-Book"/>
              </a:rPr>
              <a:t>+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461290" y="6769982"/>
            <a:ext cx="166316" cy="256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64" dirty="0">
                <a:cs typeface="Gotham-Book"/>
              </a:rPr>
              <a:t>+</a:t>
            </a:r>
          </a:p>
        </p:txBody>
      </p:sp>
      <p:sp>
        <p:nvSpPr>
          <p:cNvPr id="4" name="Rectangle 3"/>
          <p:cNvSpPr/>
          <p:nvPr/>
        </p:nvSpPr>
        <p:spPr>
          <a:xfrm>
            <a:off x="1330036" y="1870364"/>
            <a:ext cx="8000992" cy="374072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274616" y="2821364"/>
            <a:ext cx="8056412" cy="945180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257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Graphic spid="9" grpId="0">
        <p:bldAsOne/>
      </p:bldGraphic>
      <p:bldP spid="4" grpId="1" animBg="1"/>
      <p:bldP spid="8" grpId="1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b="1" dirty="0" smtClean="0"/>
              <a:t>Principal and Teacher Effectiveness is Key in Turning Around Struggling Schools. </a:t>
            </a:r>
            <a:r>
              <a:rPr lang="en-US" sz="1700" i="1" dirty="0" smtClean="0"/>
              <a:t>Mirroring National Statistics, DISD’s Improvement Required Campuses in 2014 </a:t>
            </a:r>
            <a:br>
              <a:rPr lang="en-US" sz="1700" i="1" dirty="0" smtClean="0"/>
            </a:br>
            <a:r>
              <a:rPr lang="en-US" sz="1700" i="1" dirty="0" smtClean="0"/>
              <a:t>Reflected the Smallest Percentage of Distinguished Educators (“DTR”)</a:t>
            </a:r>
            <a:endParaRPr lang="en-US" sz="1700" i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3663">
                    <a:tint val="75000"/>
                  </a:srgbClr>
                </a:solidFill>
              </a:rPr>
              <a:t>Source: Dallas ISD breakdown of DTR eligible teachers from 2014-15, Dallas ISD Human Capital </a:t>
            </a:r>
            <a:endParaRPr lang="en-US" dirty="0">
              <a:solidFill>
                <a:srgbClr val="003663">
                  <a:tint val="75000"/>
                </a:srgbClr>
              </a:solidFill>
            </a:endParaRPr>
          </a:p>
        </p:txBody>
      </p:sp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17" y="2469055"/>
            <a:ext cx="6271556" cy="4057313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</p:spPr>
      </p:pic>
      <p:sp>
        <p:nvSpPr>
          <p:cNvPr id="5" name="Rectangle 4"/>
          <p:cNvSpPr/>
          <p:nvPr/>
        </p:nvSpPr>
        <p:spPr>
          <a:xfrm>
            <a:off x="1" y="1621809"/>
            <a:ext cx="97297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Font typeface="Arial" charset="0"/>
              <a:buChar char="•"/>
            </a:pPr>
            <a:r>
              <a:rPr lang="en-US" sz="1800" b="1" dirty="0" smtClean="0">
                <a:solidFill>
                  <a:schemeClr val="accent5"/>
                </a:solidFill>
                <a:latin typeface="Times New Roman" charset="0"/>
                <a:ea typeface="Calibri" charset="0"/>
                <a:cs typeface="Times New Roman" charset="0"/>
              </a:rPr>
              <a:t>Magnet School Students 3.5x More Likely Than Students Attending IR Campus </a:t>
            </a:r>
            <a:r>
              <a:rPr lang="en-US" sz="1800" b="1" dirty="0" smtClean="0">
                <a:latin typeface="Times New Roman" charset="0"/>
                <a:ea typeface="Calibri" charset="0"/>
                <a:cs typeface="Times New Roman" charset="0"/>
              </a:rPr>
              <a:t>to Have a Distinguished Educator (Students Attending Met Std. Campuses Were 2x More Likely)</a:t>
            </a:r>
            <a:endParaRPr lang="en-US" sz="1800" b="1" dirty="0">
              <a:effectLst/>
              <a:latin typeface="Calibri" charset="0"/>
              <a:ea typeface="Calibri" charset="0"/>
              <a:cs typeface="Times New Roman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4807531" y="4751526"/>
            <a:ext cx="1630878" cy="1975757"/>
          </a:xfrm>
          <a:prstGeom prst="ellipse">
            <a:avLst/>
          </a:prstGeom>
          <a:noFill/>
          <a:ln w="31750">
            <a:solidFill>
              <a:srgbClr val="C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5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6900514" y="3366790"/>
            <a:ext cx="232661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C00000"/>
                </a:solidFill>
                <a:cs typeface="Gotham-Book"/>
              </a:rPr>
              <a:t>The students reflecting the MOST need were receiving the lowest percentage of well prepared/effective educators</a:t>
            </a:r>
          </a:p>
        </p:txBody>
      </p:sp>
    </p:spTree>
    <p:extLst>
      <p:ext uri="{BB962C8B-B14F-4D97-AF65-F5344CB8AC3E}">
        <p14:creationId xmlns:p14="http://schemas.microsoft.com/office/powerpoint/2010/main" val="1428194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llas ISD ACE Program</a:t>
            </a:r>
            <a:br>
              <a:rPr lang="en-US" dirty="0" smtClean="0"/>
            </a:br>
            <a:r>
              <a:rPr lang="en-US" i="1" dirty="0" smtClean="0"/>
              <a:t>Pilot of 7 Perpetually Improvement Required Schools</a:t>
            </a:r>
            <a:endParaRPr lang="en-US" i="1" dirty="0">
              <a:solidFill>
                <a:srgbClr val="FF0000"/>
              </a:solidFill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gray">
          <a:xfrm>
            <a:off x="180000" y="1463787"/>
            <a:ext cx="9282655" cy="526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buAutoNum type="arabicPeriod"/>
            </a:pPr>
            <a:r>
              <a:rPr lang="en-US" sz="2400" dirty="0" smtClean="0"/>
              <a:t>Determine most effective educators through multiple principal evaluations, student achievement growth and student survey</a:t>
            </a:r>
          </a:p>
          <a:p>
            <a:pPr marL="514350" indent="-514350">
              <a:buAutoNum type="arabicPeriod"/>
            </a:pPr>
            <a:endParaRPr lang="en-US" sz="2400" dirty="0" smtClean="0"/>
          </a:p>
          <a:p>
            <a:pPr marL="514350" indent="-514350">
              <a:buAutoNum type="arabicPeriod"/>
            </a:pPr>
            <a:r>
              <a:rPr lang="en-US" sz="2400" dirty="0" smtClean="0"/>
              <a:t>Provide financial incentives averaging $8k to $10k to better educators to relocate to most challenged schools</a:t>
            </a:r>
          </a:p>
          <a:p>
            <a:pPr marL="514350" indent="-514350">
              <a:buAutoNum type="arabicPeriod"/>
            </a:pPr>
            <a:endParaRPr lang="en-US" sz="2400" dirty="0" smtClean="0"/>
          </a:p>
          <a:p>
            <a:pPr marL="514350" indent="-514350">
              <a:buAutoNum type="arabicPeriod"/>
            </a:pPr>
            <a:r>
              <a:rPr lang="en-US" sz="2400" dirty="0" smtClean="0"/>
              <a:t>Longer school day with enrichment and after school tutoring, led by leader with high expectations</a:t>
            </a:r>
          </a:p>
          <a:p>
            <a:pPr marL="514350" indent="-514350">
              <a:buAutoNum type="arabicPeriod"/>
            </a:pPr>
            <a:endParaRPr lang="en-US" sz="2400" dirty="0"/>
          </a:p>
          <a:p>
            <a:pPr marL="514350" indent="-514350">
              <a:buAutoNum type="arabicPeriod"/>
            </a:pPr>
            <a:r>
              <a:rPr lang="en-US" sz="2400" dirty="0" smtClean="0"/>
              <a:t>Measure data constantly and alter instruction accordingl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47680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0" y="51264"/>
            <a:ext cx="972978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800" b="1" dirty="0" smtClean="0"/>
              <a:t>Dallas ISD ACE Program – Equitable Distribution of Effective Teachers</a:t>
            </a:r>
            <a:endParaRPr lang="en-US" sz="1800" b="1" dirty="0"/>
          </a:p>
          <a:p>
            <a:pPr algn="ctr"/>
            <a:r>
              <a:rPr lang="en-US" sz="1800" b="1" i="1" dirty="0"/>
              <a:t>Average Double-Digit Gains for 13 of 14 Subjects Tested,</a:t>
            </a:r>
          </a:p>
          <a:p>
            <a:pPr algn="ctr"/>
            <a:r>
              <a:rPr lang="en-US" sz="1800" b="1" i="1" dirty="0"/>
              <a:t>Substantially Outperforming Changes in State Performan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6906" y="7100299"/>
            <a:ext cx="1379367" cy="35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1" dirty="0">
                <a:solidFill>
                  <a:prstClr val="black"/>
                </a:solidFill>
              </a:rPr>
              <a:t>Source: TEA STAAR Dat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6906" y="1350508"/>
            <a:ext cx="4372084" cy="1025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22" b="1" dirty="0"/>
              <a:t>All ACE Students </a:t>
            </a:r>
          </a:p>
          <a:p>
            <a:pPr algn="ctr"/>
            <a:r>
              <a:rPr lang="en-US" sz="2022" b="1" dirty="0"/>
              <a:t>% Gain in Passing STAAR (2015 vs. 2016)</a:t>
            </a:r>
          </a:p>
        </p:txBody>
      </p:sp>
      <p:graphicFrame>
        <p:nvGraphicFramePr>
          <p:cNvPr id="5" name="Chart 4"/>
          <p:cNvGraphicFramePr/>
          <p:nvPr/>
        </p:nvGraphicFramePr>
        <p:xfrm>
          <a:off x="176907" y="2326719"/>
          <a:ext cx="4686228" cy="5078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/>
          <p:nvPr/>
        </p:nvGraphicFramePr>
        <p:xfrm>
          <a:off x="4751170" y="2326719"/>
          <a:ext cx="5155523" cy="5078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142890" y="1350508"/>
            <a:ext cx="4372084" cy="10258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22" b="1" dirty="0"/>
              <a:t>State of Texas</a:t>
            </a:r>
          </a:p>
          <a:p>
            <a:pPr algn="ctr"/>
            <a:r>
              <a:rPr lang="en-US" sz="2022" b="1" dirty="0"/>
              <a:t>% Gain in Passing STAAR (2015 vs. 2016)</a:t>
            </a:r>
          </a:p>
        </p:txBody>
      </p:sp>
    </p:spTree>
    <p:extLst>
      <p:ext uri="{BB962C8B-B14F-4D97-AF65-F5344CB8AC3E}">
        <p14:creationId xmlns:p14="http://schemas.microsoft.com/office/powerpoint/2010/main" val="19967222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1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23955" y="149601"/>
            <a:ext cx="9729788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800" b="1" dirty="0"/>
              <a:t>Dallas ISD ACE Program – Equitable Distribution of Effective Teachers</a:t>
            </a:r>
          </a:p>
          <a:p>
            <a:pPr algn="ctr"/>
            <a:r>
              <a:rPr lang="en-US" sz="1600" i="1" dirty="0" smtClean="0"/>
              <a:t>Even </a:t>
            </a:r>
            <a:r>
              <a:rPr lang="en-US" sz="1600" i="1" dirty="0"/>
              <a:t>More Encouraging, 30%+ More Students in Early Grades Reading on Grade Level per ISIP Results Across All ACE Elementary Schools in Year 1 of ACE Progra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1864" y="7108431"/>
            <a:ext cx="8793971" cy="223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51" dirty="0">
                <a:solidFill>
                  <a:prstClr val="black"/>
                </a:solidFill>
              </a:rPr>
              <a:t>Source: Dallas ISD Evaluation and Assessment, 2015-2016 ISIP  </a:t>
            </a: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022087889"/>
              </p:ext>
            </p:extLst>
          </p:nvPr>
        </p:nvGraphicFramePr>
        <p:xfrm>
          <a:off x="334463" y="1413165"/>
          <a:ext cx="4546633" cy="5131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2" name="Straight Connector 11"/>
          <p:cNvCxnSpPr/>
          <p:nvPr/>
        </p:nvCxnSpPr>
        <p:spPr>
          <a:xfrm flipH="1">
            <a:off x="656761" y="4013787"/>
            <a:ext cx="4074686" cy="36487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813475" y="6015953"/>
            <a:ext cx="6851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47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396576" y="6015948"/>
            <a:ext cx="6954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16%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055537" y="6015948"/>
            <a:ext cx="7323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32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714499" y="6015948"/>
            <a:ext cx="6893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34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373460" y="6015948"/>
            <a:ext cx="6528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34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54504" y="6015948"/>
            <a:ext cx="5828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7%</a:t>
            </a:r>
          </a:p>
        </p:txBody>
      </p:sp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32138943"/>
              </p:ext>
            </p:extLst>
          </p:nvPr>
        </p:nvGraphicFramePr>
        <p:xfrm>
          <a:off x="4988850" y="1413165"/>
          <a:ext cx="4339028" cy="5361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0" name="Straight Connector 19"/>
          <p:cNvCxnSpPr/>
          <p:nvPr/>
        </p:nvCxnSpPr>
        <p:spPr>
          <a:xfrm flipH="1" flipV="1">
            <a:off x="5351548" y="3470672"/>
            <a:ext cx="3740656" cy="1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420412" y="6008613"/>
            <a:ext cx="6381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35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050725" y="5993577"/>
            <a:ext cx="6381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22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44165" y="6017763"/>
            <a:ext cx="6750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32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266615" y="6001209"/>
            <a:ext cx="864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31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896928" y="6001208"/>
            <a:ext cx="8118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30.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482504" y="6001209"/>
            <a:ext cx="8039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accent6">
                    <a:lumMod val="50000"/>
                  </a:schemeClr>
                </a:solidFill>
              </a:rPr>
              <a:t>+11%</a:t>
            </a:r>
          </a:p>
        </p:txBody>
      </p:sp>
    </p:spTree>
    <p:extLst>
      <p:ext uri="{BB962C8B-B14F-4D97-AF65-F5344CB8AC3E}">
        <p14:creationId xmlns:p14="http://schemas.microsoft.com/office/powerpoint/2010/main" val="18368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147600"/>
            <a:ext cx="9549788" cy="905706"/>
          </a:xfrm>
        </p:spPr>
        <p:txBody>
          <a:bodyPr/>
          <a:lstStyle/>
          <a:p>
            <a:r>
              <a:rPr lang="en-US" sz="2400" dirty="0" smtClean="0"/>
              <a:t>Key Fundamental Levers for Change</a:t>
            </a:r>
            <a:br>
              <a:rPr lang="en-US" sz="2400" dirty="0" smtClean="0"/>
            </a:br>
            <a:r>
              <a:rPr lang="en-US" sz="2400" i="1" dirty="0" smtClean="0"/>
              <a:t>Two Fundamental Plays </a:t>
            </a:r>
            <a:r>
              <a:rPr lang="en-US" sz="2400" i="1" smtClean="0"/>
              <a:t>We Instead Try </a:t>
            </a:r>
            <a:r>
              <a:rPr lang="en-US" sz="2400" i="1" dirty="0" smtClean="0"/>
              <a:t>to Remediate Around</a:t>
            </a:r>
            <a:endParaRPr lang="en-US" sz="2400" dirty="0">
              <a:solidFill>
                <a:srgbClr val="FF0000"/>
              </a:solidFill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gray">
          <a:xfrm>
            <a:off x="180000" y="1463787"/>
            <a:ext cx="9282655" cy="526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buAutoNum type="arabicPeriod"/>
            </a:pPr>
            <a:r>
              <a:rPr lang="en-US" dirty="0" smtClean="0"/>
              <a:t>Every child shall arrive at Kindergarten </a:t>
            </a:r>
            <a:r>
              <a:rPr lang="en-US" b="1" dirty="0" smtClean="0"/>
              <a:t>prepared and ready for school</a:t>
            </a:r>
          </a:p>
          <a:p>
            <a:pPr marL="514350" indent="-514350">
              <a:buAutoNum type="arabicPeriod"/>
            </a:pPr>
            <a:endParaRPr lang="en-US" dirty="0" smtClean="0"/>
          </a:p>
          <a:p>
            <a:pPr marL="514350" indent="-514350">
              <a:buAutoNum type="arabicPeriod"/>
            </a:pPr>
            <a:endParaRPr lang="en-US" dirty="0"/>
          </a:p>
          <a:p>
            <a:pPr marL="514350" indent="-514350">
              <a:buAutoNum type="arabicPeriod"/>
            </a:pPr>
            <a:r>
              <a:rPr lang="en-US" dirty="0" smtClean="0"/>
              <a:t>Every child shall be placed in front of </a:t>
            </a:r>
            <a:r>
              <a:rPr lang="en-US" b="1" dirty="0" smtClean="0"/>
              <a:t>an effective, well prepared educator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67155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tailed Recommendations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Title 2"/>
          <p:cNvSpPr txBox="1">
            <a:spLocks/>
          </p:cNvSpPr>
          <p:nvPr/>
        </p:nvSpPr>
        <p:spPr bwMode="gray">
          <a:xfrm>
            <a:off x="180000" y="1463787"/>
            <a:ext cx="9282655" cy="5269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514350" indent="-514350">
              <a:buAutoNum type="arabicPeriod"/>
            </a:pPr>
            <a:r>
              <a:rPr lang="en-US" sz="2400" dirty="0" smtClean="0"/>
              <a:t>Full Day Funding to Increase Pre-K Enrollment</a:t>
            </a:r>
          </a:p>
          <a:p>
            <a:pPr marL="514350" indent="-514350">
              <a:buAutoNum type="arabicPeriod"/>
            </a:pPr>
            <a:endParaRPr lang="en-US" sz="2400" dirty="0" smtClean="0"/>
          </a:p>
          <a:p>
            <a:pPr marL="514350" indent="-514350">
              <a:buAutoNum type="arabicPeriod"/>
            </a:pPr>
            <a:r>
              <a:rPr lang="en-US" sz="2400" dirty="0" smtClean="0"/>
              <a:t>Increase EC Quality Thru EC-3</a:t>
            </a:r>
            <a:r>
              <a:rPr lang="en-US" sz="2400" baseline="30000" dirty="0" smtClean="0"/>
              <a:t>rd</a:t>
            </a:r>
            <a:r>
              <a:rPr lang="en-US" sz="2400" dirty="0" smtClean="0"/>
              <a:t> Teacher Certification</a:t>
            </a:r>
          </a:p>
          <a:p>
            <a:pPr marL="514350" indent="-514350">
              <a:buAutoNum type="arabicPeriod"/>
            </a:pPr>
            <a:endParaRPr lang="en-US" sz="2400" dirty="0" smtClean="0"/>
          </a:p>
          <a:p>
            <a:pPr marL="514350" indent="-514350">
              <a:buAutoNum type="arabicPeriod"/>
            </a:pPr>
            <a:r>
              <a:rPr lang="en-US" sz="2400" dirty="0" smtClean="0"/>
              <a:t>Remove Rating Incentives to Place Better Teachers in Later Grades (Make 3</a:t>
            </a:r>
            <a:r>
              <a:rPr lang="en-US" sz="2400" baseline="30000" dirty="0" smtClean="0"/>
              <a:t>rd</a:t>
            </a:r>
            <a:r>
              <a:rPr lang="en-US" sz="2400" dirty="0" smtClean="0"/>
              <a:t> Grade More Heavily Weighted)</a:t>
            </a:r>
          </a:p>
          <a:p>
            <a:pPr marL="514350" indent="-514350">
              <a:buAutoNum type="arabicPeriod"/>
            </a:pPr>
            <a:endParaRPr lang="en-US" sz="2400" dirty="0" smtClean="0"/>
          </a:p>
          <a:p>
            <a:pPr marL="514350" indent="-514350">
              <a:buAutoNum type="arabicPeriod"/>
            </a:pPr>
            <a:r>
              <a:rPr lang="en-US" sz="2400" dirty="0" smtClean="0"/>
              <a:t>Determine Better Educators, Then Incent Them to Relocate </a:t>
            </a:r>
            <a:r>
              <a:rPr lang="en-US" sz="2400" dirty="0" err="1" smtClean="0"/>
              <a:t>En</a:t>
            </a:r>
            <a:r>
              <a:rPr lang="en-US" sz="2400" dirty="0" smtClean="0"/>
              <a:t> Masse to Turnaround More Challenged Schools</a:t>
            </a:r>
          </a:p>
          <a:p>
            <a:pPr marL="514350" indent="-514350">
              <a:buAutoNum type="arabicPeriod"/>
            </a:pPr>
            <a:endParaRPr lang="en-US" sz="2400" dirty="0"/>
          </a:p>
          <a:p>
            <a:pPr marL="514350" indent="-514350">
              <a:buAutoNum type="arabicPeriod"/>
            </a:pPr>
            <a:r>
              <a:rPr lang="en-US" sz="2400" dirty="0" smtClean="0"/>
              <a:t>Increase Rigor of Current Educator/Principal Preparation Pipelines and Increase Public Transparency of Results</a:t>
            </a:r>
          </a:p>
          <a:p>
            <a:pPr marL="514350" indent="-514350">
              <a:buAutoNum type="arabicPeriod"/>
            </a:pPr>
            <a:endParaRPr lang="en-US" sz="2400" dirty="0"/>
          </a:p>
          <a:p>
            <a:pPr marL="514350" indent="-514350">
              <a:buAutoNum type="arabicPeriod"/>
            </a:pPr>
            <a:r>
              <a:rPr lang="en-US" sz="2400" dirty="0" smtClean="0"/>
              <a:t>Make a Career in Education More Aspirational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74590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/>
          <p:cNvSpPr txBox="1">
            <a:spLocks/>
          </p:cNvSpPr>
          <p:nvPr/>
        </p:nvSpPr>
        <p:spPr bwMode="gray">
          <a:xfrm>
            <a:off x="182880" y="147347"/>
            <a:ext cx="9396000" cy="90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00437A"/>
                </a:solidFill>
              </a:rPr>
              <a:t>The Texas 60-by-30 State Goal Is At Risk; We Need Nearly </a:t>
            </a:r>
            <a:r>
              <a:rPr lang="en-US" sz="2400" b="1" dirty="0" smtClean="0">
                <a:solidFill>
                  <a:srgbClr val="00437A"/>
                </a:solidFill>
              </a:rPr>
              <a:t>1M</a:t>
            </a:r>
            <a:r>
              <a:rPr lang="en-US" sz="2400" dirty="0" smtClean="0">
                <a:solidFill>
                  <a:srgbClr val="00437A"/>
                </a:solidFill>
              </a:rPr>
              <a:t> More </a:t>
            </a:r>
            <a:r>
              <a:rPr lang="en-US" sz="2400" dirty="0">
                <a:solidFill>
                  <a:srgbClr val="00437A"/>
                </a:solidFill>
              </a:rPr>
              <a:t>Y</a:t>
            </a:r>
            <a:r>
              <a:rPr lang="en-US" sz="2400" dirty="0" smtClean="0">
                <a:solidFill>
                  <a:srgbClr val="00437A"/>
                </a:solidFill>
              </a:rPr>
              <a:t>oung </a:t>
            </a:r>
            <a:r>
              <a:rPr lang="en-US" sz="2400" dirty="0">
                <a:solidFill>
                  <a:srgbClr val="00437A"/>
                </a:solidFill>
              </a:rPr>
              <a:t>A</a:t>
            </a:r>
            <a:r>
              <a:rPr lang="en-US" sz="2400" dirty="0" smtClean="0">
                <a:solidFill>
                  <a:srgbClr val="00437A"/>
                </a:solidFill>
              </a:rPr>
              <a:t>dults with a Postsecondary </a:t>
            </a:r>
            <a:r>
              <a:rPr lang="en-US" sz="2400" dirty="0">
                <a:solidFill>
                  <a:srgbClr val="00437A"/>
                </a:solidFill>
              </a:rPr>
              <a:t>C</a:t>
            </a:r>
            <a:r>
              <a:rPr lang="en-US" sz="2400" dirty="0" smtClean="0">
                <a:solidFill>
                  <a:srgbClr val="00437A"/>
                </a:solidFill>
              </a:rPr>
              <a:t>redential</a:t>
            </a:r>
            <a:endParaRPr lang="en-US" sz="2400" dirty="0">
              <a:solidFill>
                <a:srgbClr val="00437A"/>
              </a:solidFill>
            </a:endParaRPr>
          </a:p>
        </p:txBody>
      </p:sp>
      <p:sp>
        <p:nvSpPr>
          <p:cNvPr id="11" name="Footer Placeholder 2"/>
          <p:cNvSpPr txBox="1">
            <a:spLocks/>
          </p:cNvSpPr>
          <p:nvPr/>
        </p:nvSpPr>
        <p:spPr>
          <a:xfrm>
            <a:off x="840449" y="6993039"/>
            <a:ext cx="8574665" cy="450749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0" algn="l" defTabSz="981334" rtl="0" eaLnBrk="1" latinLnBrk="0" hangingPunct="1">
              <a:defRPr lang="en-CA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Verdana"/>
                <a:cs typeface="Verdana"/>
              </a:rPr>
              <a:t>Source: </a:t>
            </a:r>
            <a:r>
              <a:rPr lang="en-US" sz="800" dirty="0">
                <a:solidFill>
                  <a:schemeClr val="tx2">
                    <a:lumMod val="50000"/>
                  </a:schemeClr>
                </a:solidFill>
                <a:latin typeface="Verdana"/>
                <a:ea typeface="Lucida Grande"/>
                <a:cs typeface="Verdana"/>
              </a:rPr>
              <a:t>U.S. Census Bureau, 2014 American Community Survey 1-Year Estimates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Verdana"/>
              <a:cs typeface="Verdana"/>
            </a:endParaRP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751740077"/>
              </p:ext>
            </p:extLst>
          </p:nvPr>
        </p:nvGraphicFramePr>
        <p:xfrm>
          <a:off x="513691" y="1645338"/>
          <a:ext cx="7594466" cy="5261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ight Brace 2"/>
          <p:cNvSpPr/>
          <p:nvPr/>
        </p:nvSpPr>
        <p:spPr>
          <a:xfrm>
            <a:off x="7234467" y="2483043"/>
            <a:ext cx="285383" cy="1555472"/>
          </a:xfrm>
          <a:prstGeom prst="rightBrac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7562659" y="2754185"/>
            <a:ext cx="1797914" cy="1015663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2000" dirty="0" smtClean="0"/>
              <a:t>Represents</a:t>
            </a:r>
            <a:r>
              <a:rPr lang="en-US" sz="2000" b="1" dirty="0" smtClean="0"/>
              <a:t> 996K</a:t>
            </a:r>
            <a:r>
              <a:rPr lang="en-US" sz="2000" dirty="0" smtClean="0"/>
              <a:t> 25-34 Year-Old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70076" y="1284334"/>
            <a:ext cx="6392586" cy="338554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600" b="1" dirty="0" smtClean="0"/>
              <a:t>Educational Attainment of Texas 25-34 Year-Old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1184341" y="1613936"/>
            <a:ext cx="6763584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ight Brace 8"/>
          <p:cNvSpPr/>
          <p:nvPr/>
        </p:nvSpPr>
        <p:spPr>
          <a:xfrm>
            <a:off x="7234467" y="4124692"/>
            <a:ext cx="282215" cy="2123707"/>
          </a:xfrm>
          <a:prstGeom prst="rightBrace">
            <a:avLst/>
          </a:prstGeom>
          <a:ln w="19050">
            <a:solidFill>
              <a:srgbClr val="08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7617200" y="4678713"/>
            <a:ext cx="1797914" cy="1015663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2000" b="1" dirty="0" smtClean="0"/>
              <a:t>34% </a:t>
            </a:r>
            <a:r>
              <a:rPr lang="en-US" sz="2000" dirty="0" smtClean="0"/>
              <a:t>of young adults with degree</a:t>
            </a:r>
            <a:endParaRPr lang="en-US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955352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000" y="147600"/>
            <a:ext cx="9549788" cy="905706"/>
          </a:xfrm>
        </p:spPr>
        <p:txBody>
          <a:bodyPr/>
          <a:lstStyle/>
          <a:p>
            <a:r>
              <a:rPr lang="en-US" sz="2400" dirty="0" smtClean="0"/>
              <a:t>Appendix</a:t>
            </a:r>
            <a:endParaRPr lang="en-US" sz="2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20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258" y="160671"/>
            <a:ext cx="9729788" cy="972979"/>
          </a:xfrm>
          <a:ln>
            <a:noFill/>
          </a:ln>
        </p:spPr>
        <p:txBody>
          <a:bodyPr/>
          <a:lstStyle/>
          <a:p>
            <a:r>
              <a:rPr lang="en-US" sz="1809" dirty="0"/>
              <a:t>Post Secondary Standard More Reflective of Achievement Than Passing Standard </a:t>
            </a:r>
            <a:r>
              <a:rPr lang="en-US" sz="1703" i="1" dirty="0"/>
              <a:t>Proficiency % in the 60%-80% Range vs. 40%-50% at Current Passing Requirements</a:t>
            </a:r>
            <a:endParaRPr lang="en-US" sz="1703" i="1" dirty="0">
              <a:ln>
                <a:noFill/>
                <a:prstDash val="solid"/>
              </a:ln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390886" y="6980188"/>
            <a:ext cx="6948012" cy="1905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38" dirty="0">
                <a:solidFill>
                  <a:srgbClr val="003663"/>
                </a:solidFill>
                <a:cs typeface="Gotham-Book"/>
              </a:rPr>
              <a:t>Source: TEA Spring 2015 STAAR Raw Score Conversions (Spring 2015 Paper Administration (English) – Grades 3-8 and EOCs)</a:t>
            </a: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669920" y="4666959"/>
            <a:ext cx="8788709" cy="0"/>
          </a:xfrm>
          <a:prstGeom prst="line">
            <a:avLst/>
          </a:prstGeom>
          <a:ln>
            <a:solidFill>
              <a:srgbClr val="FF0000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4386380" y="4922167"/>
            <a:ext cx="478512" cy="13396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1041929521"/>
              </p:ext>
            </p:extLst>
          </p:nvPr>
        </p:nvGraphicFramePr>
        <p:xfrm>
          <a:off x="134414" y="1301411"/>
          <a:ext cx="9460955" cy="5613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392571" y="2251242"/>
            <a:ext cx="5946327" cy="288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77" dirty="0"/>
              <a:t>% of Questions </a:t>
            </a:r>
            <a:r>
              <a:rPr lang="en-US" sz="1277" dirty="0">
                <a:solidFill>
                  <a:srgbClr val="002060"/>
                </a:solidFill>
              </a:rPr>
              <a:t>Required</a:t>
            </a:r>
            <a:r>
              <a:rPr lang="en-US" sz="1277" dirty="0"/>
              <a:t> to be Answered Correctly to Meet:</a:t>
            </a:r>
            <a:endParaRPr lang="en-US" sz="1277" dirty="0">
              <a:solidFill>
                <a:schemeClr val="bg1"/>
              </a:solidFill>
              <a:cs typeface="Gotham-Book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64275" y="4666960"/>
            <a:ext cx="3453278" cy="510415"/>
          </a:xfrm>
          <a:prstGeom prst="rect">
            <a:avLst/>
          </a:prstGeom>
          <a:noFill/>
          <a:ln w="50800">
            <a:solidFill>
              <a:srgbClr val="FF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17" dirty="0"/>
          </a:p>
        </p:txBody>
      </p:sp>
      <p:sp>
        <p:nvSpPr>
          <p:cNvPr id="21" name="TextBox 20"/>
          <p:cNvSpPr txBox="1"/>
          <p:nvPr/>
        </p:nvSpPr>
        <p:spPr>
          <a:xfrm>
            <a:off x="1882154" y="4867957"/>
            <a:ext cx="2743482" cy="485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77" dirty="0">
                <a:solidFill>
                  <a:srgbClr val="FF0000"/>
                </a:solidFill>
                <a:cs typeface="Gotham-Book"/>
              </a:rPr>
              <a:t>Less than 50% of Questions Answered Correctly</a:t>
            </a:r>
          </a:p>
        </p:txBody>
      </p:sp>
    </p:spTree>
    <p:extLst>
      <p:ext uri="{BB962C8B-B14F-4D97-AF65-F5344CB8AC3E}">
        <p14:creationId xmlns:p14="http://schemas.microsoft.com/office/powerpoint/2010/main" val="21587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500" dirty="0" smtClean="0"/>
              <a:t>…Which Result in a Challenged Cradle-To-Career Pipeline for Texas Reflecting Inadequate Educational Outcomes</a:t>
            </a:r>
            <a:endParaRPr lang="en-US" sz="2500" dirty="0"/>
          </a:p>
        </p:txBody>
      </p:sp>
      <p:sp>
        <p:nvSpPr>
          <p:cNvPr id="10" name="Footer Placeholder 2"/>
          <p:cNvSpPr txBox="1">
            <a:spLocks/>
          </p:cNvSpPr>
          <p:nvPr/>
        </p:nvSpPr>
        <p:spPr>
          <a:xfrm>
            <a:off x="569335" y="6993039"/>
            <a:ext cx="8574665" cy="450749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0" algn="l" defTabSz="981334" rtl="0" eaLnBrk="1" latinLnBrk="0" hangingPunct="1">
              <a:defRPr lang="en-CA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 smtClean="0">
                <a:solidFill>
                  <a:srgbClr val="FFFFFF">
                    <a:lumMod val="50000"/>
                  </a:srgbClr>
                </a:solidFill>
                <a:latin typeface="Verdana"/>
                <a:cs typeface="Verdana"/>
              </a:rPr>
              <a:t>Source: 1)Texas Education Agency (TAPR) 2) Achievement levels represent percentage of students achieving Postsecondary Readiness standard (3rd thru Algebra 1) on 2014 STAAR exams. 3) Source: Texas Education Agency (TAPR). Per TEA, SAT/ACT college readiness equivalent to 1110 on SAT Reading/Math subject tests or 24 on ACT. Minimum 100 graduates. 4) TEA: Federal Graduation Rate calculation from accountability standards. 5) Postsecondary data: National Student Clearinghouse and Texas Higher Education Coordinating Board</a:t>
            </a:r>
            <a:endParaRPr lang="en-US" sz="600" dirty="0">
              <a:solidFill>
                <a:srgbClr val="FFFFFF">
                  <a:lumMod val="50000"/>
                </a:srgbClr>
              </a:solidFill>
              <a:latin typeface="Verdana"/>
              <a:cs typeface="Verdana"/>
            </a:endParaRP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357560917"/>
              </p:ext>
            </p:extLst>
          </p:nvPr>
        </p:nvGraphicFramePr>
        <p:xfrm>
          <a:off x="-617613" y="1277742"/>
          <a:ext cx="9561515" cy="4991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939368" y="5941834"/>
            <a:ext cx="638745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Kinder Read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66725" y="5941834"/>
            <a:ext cx="803624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3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rd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Reading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87391" y="5941834"/>
            <a:ext cx="983137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4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th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Math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99886" y="5931066"/>
            <a:ext cx="792344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8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th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Science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77902" y="5941834"/>
            <a:ext cx="983137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Algebra I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80443" y="5927444"/>
            <a:ext cx="983137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Ready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3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28860" y="5927444"/>
            <a:ext cx="714250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HS Grad %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4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141744" y="5941834"/>
            <a:ext cx="797625" cy="707886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Eligible</a:t>
            </a:r>
          </a:p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Pre-K4 Students Enrolled</a:t>
            </a:r>
            <a:r>
              <a:rPr lang="en-US" sz="1000" baseline="30000" dirty="0">
                <a:solidFill>
                  <a:srgbClr val="003663"/>
                </a:solidFill>
                <a:latin typeface="Verdana"/>
                <a:cs typeface="Verdana"/>
              </a:rPr>
              <a:t>1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955785" y="2701575"/>
            <a:ext cx="605910" cy="10989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rgbClr val="FFFFFF"/>
                </a:solidFill>
                <a:latin typeface="Verdana"/>
                <a:cs typeface="Verdana"/>
              </a:rPr>
              <a:t>Pre-K </a:t>
            </a:r>
            <a:r>
              <a:rPr lang="en-US" sz="800" dirty="0" smtClean="0">
                <a:solidFill>
                  <a:srgbClr val="FFFFFF"/>
                </a:solidFill>
                <a:latin typeface="Verdana"/>
                <a:cs typeface="Verdana"/>
              </a:rPr>
              <a:t>Quality Gap </a:t>
            </a:r>
          </a:p>
          <a:p>
            <a:pPr algn="ctr"/>
            <a:r>
              <a:rPr lang="en-US" sz="800" dirty="0" smtClean="0">
                <a:solidFill>
                  <a:srgbClr val="FFFFFF"/>
                </a:solidFill>
                <a:latin typeface="Verdana"/>
                <a:cs typeface="Verdana"/>
              </a:rPr>
              <a:t> 29%</a:t>
            </a:r>
            <a:endParaRPr lang="en-US" sz="800" dirty="0">
              <a:solidFill>
                <a:srgbClr val="FFFFFF"/>
              </a:solidFill>
              <a:latin typeface="Verdana"/>
              <a:cs typeface="Verdana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262335" y="2158359"/>
            <a:ext cx="606480" cy="54321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rgbClr val="FFFFFF"/>
                </a:solidFill>
                <a:latin typeface="Verdana"/>
                <a:cs typeface="Verdana"/>
              </a:rPr>
              <a:t>Pre-K Access Gap  14%</a:t>
            </a:r>
            <a:endParaRPr lang="en-US" sz="800" dirty="0">
              <a:solidFill>
                <a:srgbClr val="FFFFFF"/>
              </a:solidFill>
              <a:latin typeface="Verdana"/>
              <a:cs typeface="Verdan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760796" y="5927444"/>
            <a:ext cx="714250" cy="553998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Enroll-ment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5</a:t>
            </a:r>
            <a:endParaRPr lang="en-US" sz="1000" dirty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397220" y="5927444"/>
            <a:ext cx="1007249" cy="553998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</a:t>
            </a:r>
          </a:p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1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st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</a:t>
            </a:r>
            <a:r>
              <a:rPr lang="en-US" sz="1000" dirty="0" err="1" smtClean="0">
                <a:solidFill>
                  <a:srgbClr val="003663"/>
                </a:solidFill>
                <a:latin typeface="Verdana"/>
                <a:cs typeface="Verdana"/>
              </a:rPr>
              <a:t>Yr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Persistence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5</a:t>
            </a:r>
            <a:endParaRPr lang="en-US" sz="1000" dirty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136624" y="5927444"/>
            <a:ext cx="943267" cy="553998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6-Yr Comple-tion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5</a:t>
            </a:r>
            <a:endParaRPr lang="en-US" sz="1000" dirty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869136" y="2584924"/>
            <a:ext cx="605910" cy="118971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rgbClr val="FFFFFF"/>
                </a:solidFill>
                <a:latin typeface="Verdana"/>
                <a:cs typeface="Verdana"/>
              </a:rPr>
              <a:t>College Access Gap</a:t>
            </a:r>
            <a:endParaRPr lang="en-US" sz="800" dirty="0">
              <a:solidFill>
                <a:srgbClr val="FFFFFF"/>
              </a:solidFill>
              <a:latin typeface="Verdana"/>
              <a:cs typeface="Verdana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593868" y="3777078"/>
            <a:ext cx="605910" cy="43392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>
                <a:solidFill>
                  <a:srgbClr val="FFFFFF"/>
                </a:solidFill>
                <a:latin typeface="Verdana"/>
                <a:cs typeface="Verdana"/>
              </a:rPr>
              <a:t>College Retention Gap</a:t>
            </a:r>
            <a:endParaRPr lang="en-US" sz="800" dirty="0">
              <a:solidFill>
                <a:srgbClr val="FFFFFF"/>
              </a:solidFill>
              <a:latin typeface="Verdana"/>
              <a:cs typeface="Verdana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8288973" y="4181345"/>
            <a:ext cx="605910" cy="74551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800" dirty="0" smtClean="0">
                <a:solidFill>
                  <a:srgbClr val="FFFFFF"/>
                </a:solidFill>
                <a:latin typeface="Verdana"/>
                <a:cs typeface="Verdana"/>
              </a:rPr>
              <a:t>College Completion Gap</a:t>
            </a:r>
            <a:endParaRPr lang="en-US" sz="800" dirty="0">
              <a:solidFill>
                <a:srgbClr val="FFFFFF"/>
              </a:solidFill>
              <a:latin typeface="Verdana"/>
              <a:cs typeface="Verdana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671520" y="1933827"/>
            <a:ext cx="8627614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 flipV="1">
            <a:off x="2759084" y="2219083"/>
            <a:ext cx="306564" cy="160592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109442" y="2131488"/>
            <a:ext cx="3080247" cy="338554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800" dirty="0" smtClean="0">
                <a:solidFill>
                  <a:srgbClr val="00437A"/>
                </a:solidFill>
              </a:rPr>
              <a:t>State of Texas performance </a:t>
            </a:r>
            <a:r>
              <a:rPr lang="en-US" sz="800" i="1" dirty="0" smtClean="0">
                <a:solidFill>
                  <a:srgbClr val="00437A"/>
                </a:solidFill>
              </a:rPr>
              <a:t>(5.3M public PK-12 students, 59% eco dis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109442" y="2379678"/>
            <a:ext cx="3080247" cy="338554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800" dirty="0" smtClean="0">
                <a:solidFill>
                  <a:srgbClr val="00437A"/>
                </a:solidFill>
              </a:rPr>
              <a:t>Dallas County performance where TX data unavailable </a:t>
            </a:r>
            <a:r>
              <a:rPr lang="en-US" sz="800" i="1" dirty="0" smtClean="0">
                <a:solidFill>
                  <a:srgbClr val="00437A"/>
                </a:solidFill>
              </a:rPr>
              <a:t>(494K public PK-12 students, 72% eco dis)</a:t>
            </a:r>
          </a:p>
        </p:txBody>
      </p:sp>
      <p:sp>
        <p:nvSpPr>
          <p:cNvPr id="37" name="Rectangle 36"/>
          <p:cNvSpPr/>
          <p:nvPr/>
        </p:nvSpPr>
        <p:spPr>
          <a:xfrm flipV="1">
            <a:off x="2759084" y="2467271"/>
            <a:ext cx="306564" cy="160592"/>
          </a:xfrm>
          <a:prstGeom prst="rect">
            <a:avLst/>
          </a:prstGeom>
          <a:solidFill>
            <a:srgbClr val="C6F1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109442" y="2715459"/>
            <a:ext cx="3080247" cy="215444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800" dirty="0" smtClean="0">
                <a:solidFill>
                  <a:srgbClr val="00437A"/>
                </a:solidFill>
              </a:rPr>
              <a:t>Noteworthy gaps</a:t>
            </a:r>
            <a:endParaRPr lang="en-US" sz="800" i="1" dirty="0" smtClean="0">
              <a:solidFill>
                <a:srgbClr val="00437A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 flipV="1">
            <a:off x="2759084" y="2715457"/>
            <a:ext cx="306564" cy="160592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39361" y="6716032"/>
            <a:ext cx="2419723" cy="25391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</a:rPr>
              <a:t>~ # of Students Not Proficient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737155" y="6763486"/>
            <a:ext cx="464540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indent="0" algn="ctr" defTabSz="914400">
              <a:defRPr sz="1000">
                <a:solidFill>
                  <a:srgbClr val="000000"/>
                </a:solidFill>
                <a:latin typeface="Verdana"/>
                <a:cs typeface="Verdana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en-US" sz="800" dirty="0" smtClean="0">
                <a:solidFill>
                  <a:schemeClr val="tx2"/>
                </a:solidFill>
              </a:rPr>
              <a:t>230,000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440135" y="6763486"/>
            <a:ext cx="464540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800" dirty="0" smtClean="0">
                <a:solidFill>
                  <a:schemeClr val="tx2"/>
                </a:solidFill>
                <a:latin typeface="Verdana"/>
                <a:cs typeface="Verdana"/>
              </a:rPr>
              <a:t>244,000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157072" y="6763486"/>
            <a:ext cx="464540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indent="0" algn="ctr" defTabSz="914400">
              <a:defRPr sz="1000">
                <a:solidFill>
                  <a:srgbClr val="000000"/>
                </a:solidFill>
                <a:latin typeface="Verdana"/>
                <a:cs typeface="Verdana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en-US" sz="800" dirty="0" smtClean="0">
                <a:solidFill>
                  <a:schemeClr val="tx2"/>
                </a:solidFill>
              </a:rPr>
              <a:t>223,000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32138" y="6763486"/>
            <a:ext cx="464540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800" dirty="0" smtClean="0">
                <a:solidFill>
                  <a:schemeClr val="tx2"/>
                </a:solidFill>
                <a:latin typeface="Verdana"/>
                <a:cs typeface="Verdana"/>
              </a:rPr>
              <a:t>226,000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576989" y="6763486"/>
            <a:ext cx="464540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indent="0" algn="ctr" defTabSz="914400">
              <a:defRPr sz="1000">
                <a:solidFill>
                  <a:srgbClr val="000000"/>
                </a:solidFill>
                <a:latin typeface="Verdana"/>
                <a:cs typeface="Verdana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en-US" sz="800" dirty="0" smtClean="0">
                <a:solidFill>
                  <a:schemeClr val="tx2"/>
                </a:solidFill>
              </a:rPr>
              <a:t>253,000</a:t>
            </a:r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252055" y="6763486"/>
            <a:ext cx="464540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indent="0" algn="ctr" defTabSz="914400">
              <a:defRPr sz="1000">
                <a:solidFill>
                  <a:srgbClr val="000000"/>
                </a:solidFill>
                <a:latin typeface="Verdana"/>
                <a:cs typeface="Verdana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en-US" sz="800" dirty="0" smtClean="0">
                <a:solidFill>
                  <a:schemeClr val="tx2"/>
                </a:solidFill>
              </a:rPr>
              <a:t>37,000</a:t>
            </a:r>
            <a:endParaRPr lang="en-US" sz="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10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The Education Pipeline Is Falling Short Of The Demand—</a:t>
            </a:r>
            <a:r>
              <a:rPr lang="en-US" sz="2400" b="1" dirty="0" smtClean="0"/>
              <a:t>253,000</a:t>
            </a:r>
            <a:r>
              <a:rPr lang="en-US" sz="2400" dirty="0" smtClean="0"/>
              <a:t> High School Graduates Are Not College Ready</a:t>
            </a:r>
            <a:endParaRPr lang="en-US" sz="2400" dirty="0"/>
          </a:p>
        </p:txBody>
      </p:sp>
      <p:sp>
        <p:nvSpPr>
          <p:cNvPr id="10" name="Footer Placeholder 2"/>
          <p:cNvSpPr txBox="1">
            <a:spLocks/>
          </p:cNvSpPr>
          <p:nvPr/>
        </p:nvSpPr>
        <p:spPr>
          <a:xfrm>
            <a:off x="827612" y="6993039"/>
            <a:ext cx="8316388" cy="450749"/>
          </a:xfrm>
          <a:prstGeom prst="rect">
            <a:avLst/>
          </a:prstGeom>
        </p:spPr>
        <p:txBody>
          <a:bodyPr>
            <a:normAutofit lnSpcReduction="10000"/>
          </a:bodyPr>
          <a:lstStyle>
            <a:defPPr>
              <a:defRPr lang="en-US"/>
            </a:defPPr>
            <a:lvl1pPr marL="0" algn="l" defTabSz="981334" rtl="0" eaLnBrk="1" latinLnBrk="0" hangingPunct="1">
              <a:defRPr lang="en-CA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 smtClean="0">
                <a:solidFill>
                  <a:srgbClr val="FFFFFF">
                    <a:lumMod val="50000"/>
                  </a:srgbClr>
                </a:solidFill>
                <a:latin typeface="Verdana"/>
                <a:cs typeface="Verdana"/>
              </a:rPr>
              <a:t>Source: 1)Texas Education Agency (TAPR) 2) Achievement levels represent percentage of students achieving Postsecondary Readiness standard (3rd thru Algebra 1) on 2014 STAAR exams. 3) Source: Texas Education Agency (TAPR). Per TEA, SAT/ACT college readiness equivalent to 1110 on SAT Reading/Math subject tests or 24 on ACT. Minimum 100 graduates. 4) TEA: Federal Graduation Rate calculation from accountability standards. 5) Postsecondary data: Texas Higher Education Coordinating Board. Enrollment for HS class of 2014 enrolled within 1 year of HS graduation. Persistence for HS class of 2012. Completion for 2009 college enrollees and only includes full-time enrolled students. All postsecondary data slightly under-stated (relatively by 10%-20%) as data does not include out-of-Texas enrollees</a:t>
            </a:r>
            <a:endParaRPr lang="en-US" sz="600" dirty="0">
              <a:solidFill>
                <a:srgbClr val="FFFFFF">
                  <a:lumMod val="50000"/>
                </a:srgbClr>
              </a:solidFill>
              <a:latin typeface="Verdana"/>
              <a:cs typeface="Verdana"/>
            </a:endParaRP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985789111"/>
              </p:ext>
            </p:extLst>
          </p:nvPr>
        </p:nvGraphicFramePr>
        <p:xfrm>
          <a:off x="-1284753" y="1432277"/>
          <a:ext cx="10614160" cy="3410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606879" y="1871493"/>
            <a:ext cx="803624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3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rd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Reading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78201" y="2025382"/>
            <a:ext cx="983137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4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th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Math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43803" y="1871493"/>
            <a:ext cx="792344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8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th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Science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03845" y="2025382"/>
            <a:ext cx="983137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Algebra I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2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51311" y="1871493"/>
            <a:ext cx="983137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Ready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3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28311" y="2025382"/>
            <a:ext cx="949870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HS Grad %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4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8267" y="1563717"/>
            <a:ext cx="866613" cy="707886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Eligible</a:t>
            </a:r>
          </a:p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Pre-K4 Students Enrolled</a:t>
            </a:r>
            <a:r>
              <a:rPr lang="en-US" sz="1000" baseline="30000" dirty="0">
                <a:solidFill>
                  <a:srgbClr val="003663"/>
                </a:solidFill>
                <a:latin typeface="Verdana"/>
                <a:cs typeface="Verdana"/>
              </a:rPr>
              <a:t>1</a:t>
            </a:r>
            <a:endParaRPr lang="en-US" sz="1000" dirty="0" smtClean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805599" y="1717605"/>
            <a:ext cx="714250" cy="553998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Enroll-ment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5</a:t>
            </a:r>
            <a:endParaRPr lang="en-US" sz="1000" dirty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31848" y="1717605"/>
            <a:ext cx="1007249" cy="553998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</a:t>
            </a:r>
          </a:p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1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st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</a:t>
            </a:r>
            <a:r>
              <a:rPr lang="en-US" sz="1000" dirty="0" err="1" smtClean="0">
                <a:solidFill>
                  <a:srgbClr val="003663"/>
                </a:solidFill>
                <a:latin typeface="Verdana"/>
                <a:cs typeface="Verdana"/>
              </a:rPr>
              <a:t>Yr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Persistence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5</a:t>
            </a:r>
            <a:endParaRPr lang="en-US" sz="1000" dirty="0">
              <a:solidFill>
                <a:srgbClr val="003663"/>
              </a:solidFill>
              <a:latin typeface="Verdana"/>
              <a:cs typeface="Verdan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418193" y="1717605"/>
            <a:ext cx="943267" cy="553998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6-Yr Comple-tion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5</a:t>
            </a:r>
            <a:endParaRPr lang="en-US" sz="1000" dirty="0">
              <a:solidFill>
                <a:srgbClr val="003663"/>
              </a:solidFill>
              <a:latin typeface="Verdana"/>
              <a:cs typeface="Verdana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 flipV="1">
            <a:off x="815693" y="1556856"/>
            <a:ext cx="8472922" cy="1"/>
          </a:xfrm>
          <a:prstGeom prst="line">
            <a:avLst/>
          </a:prstGeom>
          <a:ln>
            <a:solidFill>
              <a:schemeClr val="bg2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 rot="16200000">
            <a:off x="-840612" y="5690238"/>
            <a:ext cx="2451120" cy="4616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200" b="1" dirty="0" smtClean="0">
                <a:solidFill>
                  <a:schemeClr val="accent2"/>
                </a:solidFill>
              </a:rPr>
              <a:t># of TX Students Not Meeting Benchmark</a:t>
            </a:r>
          </a:p>
        </p:txBody>
      </p:sp>
      <p:graphicFrame>
        <p:nvGraphicFramePr>
          <p:cNvPr id="29" name="Chart 28"/>
          <p:cNvGraphicFramePr/>
          <p:nvPr>
            <p:extLst>
              <p:ext uri="{D42A27DB-BD31-4B8C-83A1-F6EECF244321}">
                <p14:modId xmlns:p14="http://schemas.microsoft.com/office/powerpoint/2010/main" val="2091348965"/>
              </p:ext>
            </p:extLst>
          </p:nvPr>
        </p:nvGraphicFramePr>
        <p:xfrm>
          <a:off x="-1284753" y="4400196"/>
          <a:ext cx="10614160" cy="2776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Rectangle 29"/>
          <p:cNvSpPr/>
          <p:nvPr/>
        </p:nvSpPr>
        <p:spPr>
          <a:xfrm rot="16200000">
            <a:off x="-836406" y="3087509"/>
            <a:ext cx="2443213" cy="4616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 smtClean="0">
                <a:solidFill>
                  <a:schemeClr val="accent1"/>
                </a:solidFill>
              </a:rPr>
              <a:t>% TX Students Meeting Benchmark</a:t>
            </a:r>
          </a:p>
        </p:txBody>
      </p:sp>
      <p:sp>
        <p:nvSpPr>
          <p:cNvPr id="2" name="Rectangle 1"/>
          <p:cNvSpPr/>
          <p:nvPr/>
        </p:nvSpPr>
        <p:spPr>
          <a:xfrm>
            <a:off x="763348" y="1257958"/>
            <a:ext cx="85991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003663"/>
                </a:solidFill>
              </a:rPr>
              <a:t>Texas, </a:t>
            </a:r>
            <a:r>
              <a:rPr lang="en-US" sz="1400" b="1" dirty="0">
                <a:solidFill>
                  <a:srgbClr val="003663"/>
                </a:solidFill>
              </a:rPr>
              <a:t>2015: 5.3M public PK-12 students, 59% Economically Disadvantaged</a:t>
            </a:r>
          </a:p>
        </p:txBody>
      </p:sp>
      <p:cxnSp>
        <p:nvCxnSpPr>
          <p:cNvPr id="31" name="Straight Connector 30"/>
          <p:cNvCxnSpPr/>
          <p:nvPr/>
        </p:nvCxnSpPr>
        <p:spPr>
          <a:xfrm flipV="1">
            <a:off x="815693" y="2280379"/>
            <a:ext cx="8472922" cy="1"/>
          </a:xfrm>
          <a:prstGeom prst="line">
            <a:avLst/>
          </a:prstGeom>
          <a:ln w="9525" cmpd="sng">
            <a:solidFill>
              <a:schemeClr val="bg1">
                <a:lumMod val="90000"/>
              </a:schemeClr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1930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d TX Public PK-12 Enrollment Growth Accounts for </a:t>
            </a:r>
            <a:r>
              <a:rPr lang="en-US" b="1" dirty="0" smtClean="0"/>
              <a:t>70%</a:t>
            </a:r>
            <a:r>
              <a:rPr lang="en-US" dirty="0" smtClean="0"/>
              <a:t> of the U.S. Growth… </a:t>
            </a:r>
            <a:r>
              <a:rPr lang="en-US" u="sng" dirty="0" smtClean="0"/>
              <a:t>What Happens Here Matters</a:t>
            </a:r>
            <a:endParaRPr lang="en-US" u="sng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945264584"/>
              </p:ext>
            </p:extLst>
          </p:nvPr>
        </p:nvGraphicFramePr>
        <p:xfrm>
          <a:off x="862962" y="2180393"/>
          <a:ext cx="5486400" cy="4324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659031" y="3055121"/>
            <a:ext cx="2588217" cy="2215991"/>
          </a:xfrm>
          <a:prstGeom prst="rect">
            <a:avLst/>
          </a:prstGeom>
          <a:solidFill>
            <a:srgbClr val="FFE4C9"/>
          </a:solidFill>
        </p:spPr>
        <p:txBody>
          <a:bodyPr wrap="square" lIns="45720" rIns="45720" rtlCol="0" anchor="ctr">
            <a:spAutoFit/>
          </a:bodyPr>
          <a:lstStyle/>
          <a:p>
            <a:pPr marL="0" lvl="1">
              <a:spcBef>
                <a:spcPts val="1800"/>
              </a:spcBef>
            </a:pPr>
            <a:endParaRPr lang="en-US" sz="1800" dirty="0" smtClean="0">
              <a:solidFill>
                <a:srgbClr val="000000"/>
              </a:solidFill>
            </a:endParaRPr>
          </a:p>
          <a:p>
            <a:pPr marL="0" lvl="1" algn="ctr">
              <a:spcBef>
                <a:spcPts val="1800"/>
              </a:spcBef>
            </a:pPr>
            <a:r>
              <a:rPr lang="en-US" sz="1800" dirty="0" smtClean="0">
                <a:solidFill>
                  <a:srgbClr val="000000"/>
                </a:solidFill>
                <a:ea typeface="Arial" charset="0"/>
                <a:cs typeface="Verdana"/>
              </a:rPr>
              <a:t>Texas now educates </a:t>
            </a:r>
            <a:r>
              <a:rPr lang="en-US" sz="1800" b="1" dirty="0" smtClean="0">
                <a:solidFill>
                  <a:srgbClr val="000000"/>
                </a:solidFill>
                <a:ea typeface="Arial" charset="0"/>
                <a:cs typeface="Verdana"/>
              </a:rPr>
              <a:t>1 in 10 U.S. children</a:t>
            </a:r>
            <a:r>
              <a:rPr lang="en-US" sz="1800" dirty="0" smtClean="0">
                <a:solidFill>
                  <a:srgbClr val="000000"/>
                </a:solidFill>
                <a:ea typeface="Arial" charset="0"/>
                <a:cs typeface="Verdana"/>
              </a:rPr>
              <a:t> 18 years or younger</a:t>
            </a:r>
          </a:p>
          <a:p>
            <a:pPr marL="0" lvl="1" algn="ctr">
              <a:spcBef>
                <a:spcPts val="1800"/>
              </a:spcBef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0560" y="5806255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5 M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22148" y="1312311"/>
            <a:ext cx="4981862" cy="5231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 smtClean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blic Pre-K-12 Enrollment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630476" y="1968010"/>
            <a:ext cx="5486400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317352" y="3542935"/>
            <a:ext cx="658680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9.1 M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624375" y="3180697"/>
            <a:ext cx="658680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0.7 M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923649" y="3012353"/>
            <a:ext cx="658680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+0.3K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226032" y="3011201"/>
            <a:ext cx="658680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0.1 M</a:t>
            </a:r>
          </a:p>
        </p:txBody>
      </p:sp>
      <p:sp>
        <p:nvSpPr>
          <p:cNvPr id="37" name="TextBox 36"/>
          <p:cNvSpPr txBox="1"/>
          <p:nvPr/>
        </p:nvSpPr>
        <p:spPr>
          <a:xfrm rot="16200000">
            <a:off x="-302253" y="3714734"/>
            <a:ext cx="1250227" cy="307777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rollment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30560" y="2173028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2 M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30560" y="2692060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1 M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30560" y="3211092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0 M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30560" y="3730124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9 M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30560" y="4249156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8 M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30560" y="4768188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7 M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30560" y="5287220"/>
            <a:ext cx="515586" cy="27699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6 M</a:t>
            </a:r>
          </a:p>
        </p:txBody>
      </p:sp>
      <p:sp>
        <p:nvSpPr>
          <p:cNvPr id="2" name="Rectangle 1"/>
          <p:cNvSpPr/>
          <p:nvPr/>
        </p:nvSpPr>
        <p:spPr>
          <a:xfrm>
            <a:off x="2719342" y="2664165"/>
            <a:ext cx="248464" cy="13804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23019" y="2608949"/>
            <a:ext cx="1725445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Texas growth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719342" y="2484713"/>
            <a:ext cx="248464" cy="138040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023019" y="2429498"/>
            <a:ext cx="1725445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Rest of U.S. growth</a:t>
            </a:r>
          </a:p>
        </p:txBody>
      </p:sp>
      <p:sp>
        <p:nvSpPr>
          <p:cNvPr id="25" name="Footer Placeholder 2"/>
          <p:cNvSpPr txBox="1">
            <a:spLocks/>
          </p:cNvSpPr>
          <p:nvPr/>
        </p:nvSpPr>
        <p:spPr>
          <a:xfrm>
            <a:off x="569335" y="7158687"/>
            <a:ext cx="8574665" cy="450749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0" algn="l" defTabSz="981334" rtl="0" eaLnBrk="1" latinLnBrk="0" hangingPunct="1">
              <a:defRPr lang="en-CA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90667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81334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72001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2668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53335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44002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34669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25336" algn="l" defTabSz="981334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chemeClr val="tx2">
                    <a:lumMod val="50000"/>
                  </a:schemeClr>
                </a:solidFill>
                <a:latin typeface="Verdana"/>
                <a:cs typeface="Verdana"/>
              </a:rPr>
              <a:t>Source: To fill in</a:t>
            </a:r>
            <a:endParaRPr lang="en-US" sz="800" dirty="0">
              <a:solidFill>
                <a:schemeClr val="tx2">
                  <a:lumMod val="50000"/>
                </a:schemeClr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50365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lvl="1" algn="l">
              <a:spcBef>
                <a:spcPts val="1800"/>
              </a:spcBef>
            </a:pPr>
            <a:r>
              <a:rPr lang="en-US" sz="2100" b="1" dirty="0" smtClean="0">
                <a:solidFill>
                  <a:srgbClr val="00437A"/>
                </a:solidFill>
                <a:latin typeface="+mj-lt"/>
              </a:rPr>
              <a:t>Solving the Pre-K Enrollment and Pre-K Thru 3</a:t>
            </a:r>
            <a:r>
              <a:rPr lang="en-US" sz="2100" b="1" baseline="30000" dirty="0" smtClean="0">
                <a:solidFill>
                  <a:srgbClr val="00437A"/>
                </a:solidFill>
                <a:latin typeface="+mj-lt"/>
              </a:rPr>
              <a:t>rd</a:t>
            </a:r>
            <a:r>
              <a:rPr lang="en-US" sz="2100" b="1" dirty="0" smtClean="0">
                <a:solidFill>
                  <a:srgbClr val="00437A"/>
                </a:solidFill>
                <a:latin typeface="+mj-lt"/>
              </a:rPr>
              <a:t> Quality Gaps</a:t>
            </a:r>
            <a:r>
              <a:rPr lang="en-US" sz="2100" dirty="0" smtClean="0">
                <a:solidFill>
                  <a:srgbClr val="00437A"/>
                </a:solidFill>
                <a:latin typeface="+mj-lt"/>
              </a:rPr>
              <a:t/>
            </a:r>
            <a:br>
              <a:rPr lang="en-US" sz="2100" dirty="0" smtClean="0">
                <a:solidFill>
                  <a:srgbClr val="00437A"/>
                </a:solidFill>
                <a:latin typeface="+mj-lt"/>
              </a:rPr>
            </a:br>
            <a:r>
              <a:rPr lang="en-US" sz="2100" i="1" dirty="0" smtClean="0">
                <a:solidFill>
                  <a:srgbClr val="00437A"/>
                </a:solidFill>
                <a:latin typeface="+mj-lt"/>
              </a:rPr>
              <a:t>Only 39% of TX Students Answer ~75% of Questions Correctly on 3</a:t>
            </a:r>
            <a:r>
              <a:rPr lang="en-US" sz="2100" i="1" baseline="30000" dirty="0" smtClean="0">
                <a:solidFill>
                  <a:srgbClr val="00437A"/>
                </a:solidFill>
                <a:latin typeface="+mj-lt"/>
              </a:rPr>
              <a:t>rd</a:t>
            </a:r>
            <a:r>
              <a:rPr lang="en-US" sz="2100" i="1" dirty="0" smtClean="0">
                <a:solidFill>
                  <a:srgbClr val="00437A"/>
                </a:solidFill>
                <a:latin typeface="+mj-lt"/>
              </a:rPr>
              <a:t> </a:t>
            </a:r>
            <a:r>
              <a:rPr lang="en-US" sz="2100" i="1" dirty="0">
                <a:solidFill>
                  <a:srgbClr val="00437A"/>
                </a:solidFill>
                <a:latin typeface="+mj-lt"/>
              </a:rPr>
              <a:t>G</a:t>
            </a:r>
            <a:r>
              <a:rPr lang="en-US" sz="2100" i="1" dirty="0" smtClean="0">
                <a:solidFill>
                  <a:srgbClr val="00437A"/>
                </a:solidFill>
                <a:latin typeface="+mj-lt"/>
              </a:rPr>
              <a:t>rade Reading Assessment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1377918158"/>
              </p:ext>
            </p:extLst>
          </p:nvPr>
        </p:nvGraphicFramePr>
        <p:xfrm>
          <a:off x="154981" y="1293241"/>
          <a:ext cx="5788152" cy="4991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099303" y="5945887"/>
            <a:ext cx="1340602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3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rd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Readin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766807" y="5946003"/>
            <a:ext cx="1325105" cy="553998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Eligible</a:t>
            </a:r>
          </a:p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Pre-K4 Students Enrolled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648273" y="1933827"/>
            <a:ext cx="5486400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6733003" y="2146944"/>
            <a:ext cx="2651224" cy="3508653"/>
          </a:xfrm>
          <a:prstGeom prst="rect">
            <a:avLst/>
          </a:prstGeom>
          <a:solidFill>
            <a:srgbClr val="FFE4C9"/>
          </a:solidFill>
        </p:spPr>
        <p:txBody>
          <a:bodyPr wrap="square" lIns="45720" rIns="45720" rtlCol="0" anchor="ctr">
            <a:spAutoFit/>
          </a:bodyPr>
          <a:lstStyle/>
          <a:p>
            <a:pPr marL="0" lvl="1" algn="ctr">
              <a:spcBef>
                <a:spcPts val="1800"/>
              </a:spcBef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0" lvl="1" algn="ctr">
              <a:spcBef>
                <a:spcPts val="1800"/>
              </a:spcBef>
            </a:pPr>
            <a:r>
              <a:rPr lang="en-US" sz="1600" dirty="0" smtClean="0">
                <a:solidFill>
                  <a:srgbClr val="000000"/>
                </a:solidFill>
              </a:rPr>
              <a:t>A troubling </a:t>
            </a:r>
            <a:r>
              <a:rPr lang="en-US" sz="1600" b="1" dirty="0" smtClean="0">
                <a:solidFill>
                  <a:srgbClr val="000000"/>
                </a:solidFill>
              </a:rPr>
              <a:t>47% </a:t>
            </a:r>
            <a:r>
              <a:rPr lang="en-US" sz="1600" dirty="0" smtClean="0">
                <a:solidFill>
                  <a:srgbClr val="000000"/>
                </a:solidFill>
              </a:rPr>
              <a:t>drop-off exists between students who attend Pre-K today and the number who currently pass the 3</a:t>
            </a:r>
            <a:r>
              <a:rPr lang="en-US" sz="1600" baseline="30000" dirty="0" smtClean="0">
                <a:solidFill>
                  <a:srgbClr val="000000"/>
                </a:solidFill>
              </a:rPr>
              <a:t>rd</a:t>
            </a:r>
            <a:r>
              <a:rPr lang="en-US" sz="1600" dirty="0" smtClean="0">
                <a:solidFill>
                  <a:srgbClr val="000000"/>
                </a:solidFill>
              </a:rPr>
              <a:t> grade STAAR reading assessment at the post secondary level 4 years later</a:t>
            </a:r>
          </a:p>
          <a:p>
            <a:pPr marL="0" lvl="1" algn="ctr">
              <a:spcBef>
                <a:spcPts val="1800"/>
              </a:spcBef>
            </a:pP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354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5642" y="147600"/>
            <a:ext cx="9386425" cy="905706"/>
          </a:xfrm>
        </p:spPr>
        <p:txBody>
          <a:bodyPr/>
          <a:lstStyle/>
          <a:p>
            <a:r>
              <a:rPr lang="en-US" sz="2400" dirty="0" smtClean="0"/>
              <a:t>Fewer Than </a:t>
            </a:r>
            <a:r>
              <a:rPr lang="en-US" sz="2400" b="1" dirty="0" smtClean="0"/>
              <a:t>50% </a:t>
            </a:r>
            <a:r>
              <a:rPr lang="en-US" sz="2400" dirty="0" smtClean="0"/>
              <a:t>of </a:t>
            </a:r>
            <a:r>
              <a:rPr lang="en-US" sz="2400" dirty="0"/>
              <a:t>S</a:t>
            </a:r>
            <a:r>
              <a:rPr lang="en-US" sz="2400" dirty="0" smtClean="0"/>
              <a:t>tudents Are on a Postsecondary </a:t>
            </a:r>
            <a:r>
              <a:rPr lang="en-US" sz="2400" dirty="0"/>
              <a:t>R</a:t>
            </a:r>
            <a:r>
              <a:rPr lang="en-US" sz="2400" dirty="0" smtClean="0"/>
              <a:t>eady </a:t>
            </a:r>
            <a:r>
              <a:rPr lang="en-US" sz="2400" dirty="0"/>
              <a:t>P</a:t>
            </a:r>
            <a:r>
              <a:rPr lang="en-US" sz="2400" dirty="0" smtClean="0"/>
              <a:t>ace in Algebra I</a:t>
            </a:r>
            <a:endParaRPr lang="en-US" sz="2400" dirty="0"/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4161621566"/>
              </p:ext>
            </p:extLst>
          </p:nvPr>
        </p:nvGraphicFramePr>
        <p:xfrm>
          <a:off x="154981" y="1293241"/>
          <a:ext cx="5788152" cy="4991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230538" y="5941834"/>
            <a:ext cx="746733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8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th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Scienc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59735" y="5941834"/>
            <a:ext cx="803624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Algebra I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634951" y="5946003"/>
            <a:ext cx="797625" cy="246221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4</a:t>
            </a:r>
            <a:r>
              <a:rPr lang="en-US" sz="1000" baseline="30000" dirty="0" smtClean="0">
                <a:solidFill>
                  <a:srgbClr val="003663"/>
                </a:solidFill>
                <a:latin typeface="Verdana"/>
                <a:cs typeface="Verdana"/>
              </a:rPr>
              <a:t>th</a:t>
            </a:r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 Math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671520" y="1933827"/>
            <a:ext cx="5486400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6659031" y="2410014"/>
            <a:ext cx="2588217" cy="3046988"/>
          </a:xfrm>
          <a:prstGeom prst="rect">
            <a:avLst/>
          </a:prstGeom>
          <a:solidFill>
            <a:srgbClr val="FFE4C9"/>
          </a:solidFill>
        </p:spPr>
        <p:txBody>
          <a:bodyPr wrap="square" lIns="45720" rIns="45720" rtlCol="0" anchor="ctr">
            <a:spAutoFit/>
          </a:bodyPr>
          <a:lstStyle/>
          <a:p>
            <a:pPr marL="0" lvl="1" algn="ctr">
              <a:spcBef>
                <a:spcPts val="1800"/>
              </a:spcBef>
            </a:pPr>
            <a:r>
              <a:rPr lang="en-US" sz="1600" dirty="0" smtClean="0">
                <a:solidFill>
                  <a:srgbClr val="000000"/>
                </a:solidFill>
              </a:rPr>
              <a:t>Subsequent </a:t>
            </a:r>
            <a:r>
              <a:rPr lang="en-US" sz="1600" dirty="0">
                <a:solidFill>
                  <a:srgbClr val="000000"/>
                </a:solidFill>
              </a:rPr>
              <a:t>academic achievement </a:t>
            </a:r>
            <a:r>
              <a:rPr lang="en-US" sz="1600" dirty="0" smtClean="0">
                <a:solidFill>
                  <a:srgbClr val="000000"/>
                </a:solidFill>
              </a:rPr>
              <a:t>in math and science never </a:t>
            </a:r>
            <a:r>
              <a:rPr lang="en-US" sz="1600" dirty="0">
                <a:solidFill>
                  <a:srgbClr val="000000"/>
                </a:solidFill>
              </a:rPr>
              <a:t>materially exceeds </a:t>
            </a:r>
            <a:r>
              <a:rPr lang="en-US" sz="1600" dirty="0" smtClean="0">
                <a:solidFill>
                  <a:srgbClr val="000000"/>
                </a:solidFill>
              </a:rPr>
              <a:t>that seen in early grades math, </a:t>
            </a:r>
            <a:r>
              <a:rPr lang="en-US" sz="1600" dirty="0">
                <a:solidFill>
                  <a:srgbClr val="000000"/>
                </a:solidFill>
              </a:rPr>
              <a:t>with over </a:t>
            </a:r>
            <a:r>
              <a:rPr lang="en-US" sz="1600" b="1" dirty="0">
                <a:solidFill>
                  <a:srgbClr val="000000"/>
                </a:solidFill>
              </a:rPr>
              <a:t>200,000</a:t>
            </a:r>
            <a:r>
              <a:rPr lang="en-US" sz="1600" dirty="0">
                <a:solidFill>
                  <a:srgbClr val="000000"/>
                </a:solidFill>
              </a:rPr>
              <a:t> students annually failing to meet </a:t>
            </a:r>
            <a:r>
              <a:rPr lang="en-US" sz="1600" dirty="0" smtClean="0">
                <a:solidFill>
                  <a:srgbClr val="000000"/>
                </a:solidFill>
              </a:rPr>
              <a:t>postsecondary </a:t>
            </a:r>
            <a:r>
              <a:rPr lang="en-US" sz="1600" dirty="0">
                <a:solidFill>
                  <a:srgbClr val="000000"/>
                </a:solidFill>
              </a:rPr>
              <a:t>pace proficiency </a:t>
            </a:r>
            <a:r>
              <a:rPr lang="en-US" sz="1600" dirty="0" smtClean="0">
                <a:solidFill>
                  <a:srgbClr val="000000"/>
                </a:solidFill>
              </a:rPr>
              <a:t>levels (63% of questions answered correctly)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39362" y="6392867"/>
            <a:ext cx="946998" cy="5770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</a:rPr>
              <a:t>~ # of Students Not Proficie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540025" y="6606893"/>
            <a:ext cx="987476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1400" dirty="0" smtClean="0">
                <a:solidFill>
                  <a:schemeClr val="tx2"/>
                </a:solidFill>
                <a:latin typeface="Verdana"/>
                <a:cs typeface="Verdana"/>
              </a:rPr>
              <a:t>244,000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103311" y="6606893"/>
            <a:ext cx="987476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indent="0" algn="ctr" defTabSz="914400">
              <a:defRPr sz="1000">
                <a:solidFill>
                  <a:srgbClr val="000000"/>
                </a:solidFill>
                <a:latin typeface="Verdana"/>
                <a:cs typeface="Verdana"/>
              </a:defRPr>
            </a:lvl1pPr>
            <a:lvl2pPr indent="0">
              <a:defRPr sz="1100"/>
            </a:lvl2pPr>
            <a:lvl3pPr indent="0">
              <a:defRPr sz="1100"/>
            </a:lvl3pPr>
            <a:lvl4pPr indent="0">
              <a:defRPr sz="1100"/>
            </a:lvl4pPr>
            <a:lvl5pPr indent="0">
              <a:defRPr sz="1100"/>
            </a:lvl5pPr>
            <a:lvl6pPr indent="0">
              <a:defRPr sz="1100"/>
            </a:lvl6pPr>
            <a:lvl7pPr indent="0">
              <a:defRPr sz="1100"/>
            </a:lvl7pPr>
            <a:lvl8pPr indent="0">
              <a:defRPr sz="1100"/>
            </a:lvl8pPr>
            <a:lvl9pPr indent="0">
              <a:defRPr sz="1100"/>
            </a:lvl9pPr>
          </a:lstStyle>
          <a:p>
            <a:r>
              <a:rPr lang="en-US" sz="1400" dirty="0" smtClean="0">
                <a:solidFill>
                  <a:schemeClr val="tx2"/>
                </a:solidFill>
              </a:rPr>
              <a:t>223,000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66597" y="6606893"/>
            <a:ext cx="987476" cy="206462"/>
          </a:xfrm>
          <a:prstGeom prst="roundRect">
            <a:avLst/>
          </a:prstGeom>
          <a:solidFill>
            <a:schemeClr val="accent2"/>
          </a:solidFill>
          <a:ln w="57150" cmpd="sng">
            <a:noFill/>
          </a:ln>
        </p:spPr>
        <p:txBody>
          <a:bodyPr wrap="square" lIns="0" tIns="0" rIns="0" b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en-US" sz="1400" dirty="0" smtClean="0">
                <a:solidFill>
                  <a:schemeClr val="tx2"/>
                </a:solidFill>
                <a:latin typeface="Verdana"/>
                <a:cs typeface="Verdana"/>
              </a:rPr>
              <a:t>226,000</a:t>
            </a:r>
          </a:p>
        </p:txBody>
      </p:sp>
    </p:spTree>
    <p:extLst>
      <p:ext uri="{BB962C8B-B14F-4D97-AF65-F5344CB8AC3E}">
        <p14:creationId xmlns:p14="http://schemas.microsoft.com/office/powerpoint/2010/main" val="2380395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00437A"/>
                </a:solidFill>
              </a:rPr>
              <a:t>TX is Near the Top of U.S. in High School Graduation Rates—Nearly </a:t>
            </a:r>
            <a:r>
              <a:rPr lang="en-US" sz="2400" b="1" dirty="0" smtClean="0">
                <a:solidFill>
                  <a:srgbClr val="00437A"/>
                </a:solidFill>
              </a:rPr>
              <a:t>90% </a:t>
            </a:r>
            <a:r>
              <a:rPr lang="en-US" sz="2400" dirty="0" smtClean="0">
                <a:solidFill>
                  <a:srgbClr val="00437A"/>
                </a:solidFill>
              </a:rPr>
              <a:t>Do So—But Are Our Graduates Ready?</a:t>
            </a:r>
            <a:endParaRPr lang="en-US" sz="2400" dirty="0">
              <a:solidFill>
                <a:srgbClr val="00437A"/>
              </a:solidFill>
            </a:endParaRP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519247689"/>
              </p:ext>
            </p:extLst>
          </p:nvPr>
        </p:nvGraphicFramePr>
        <p:xfrm>
          <a:off x="154981" y="1293241"/>
          <a:ext cx="5788152" cy="4991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214331" y="5938418"/>
            <a:ext cx="1132235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HS </a:t>
            </a:r>
          </a:p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Graduation 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037907" y="5938418"/>
            <a:ext cx="797625" cy="400110"/>
          </a:xfrm>
          <a:prstGeom prst="rect">
            <a:avLst/>
          </a:prstGeom>
          <a:noFill/>
          <a:ln w="57150" cmpd="sng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003663"/>
                </a:solidFill>
                <a:latin typeface="Verdana"/>
                <a:cs typeface="Verdana"/>
              </a:rPr>
              <a:t>College Ready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671520" y="1933827"/>
            <a:ext cx="5486400" cy="0"/>
          </a:xfrm>
          <a:prstGeom prst="line">
            <a:avLst/>
          </a:prstGeom>
          <a:ln>
            <a:solidFill>
              <a:schemeClr val="bg2"/>
            </a:solidFill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6659031" y="1331262"/>
            <a:ext cx="2588217" cy="5232202"/>
          </a:xfrm>
          <a:prstGeom prst="rect">
            <a:avLst/>
          </a:prstGeom>
          <a:solidFill>
            <a:srgbClr val="FFE4C9"/>
          </a:solidFill>
        </p:spPr>
        <p:txBody>
          <a:bodyPr wrap="square" lIns="45720" rIns="45720" rtlCol="0" anchor="ctr">
            <a:spAutoFit/>
          </a:bodyPr>
          <a:lstStyle/>
          <a:p>
            <a:pPr marL="0" lvl="1">
              <a:spcBef>
                <a:spcPts val="1800"/>
              </a:spcBef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0" lvl="1" algn="ctr">
              <a:spcBef>
                <a:spcPts val="1800"/>
              </a:spcBef>
            </a:pPr>
            <a:r>
              <a:rPr lang="en-US" sz="1600" dirty="0" smtClean="0">
                <a:solidFill>
                  <a:srgbClr val="000000"/>
                </a:solidFill>
              </a:rPr>
              <a:t>Just </a:t>
            </a:r>
            <a:r>
              <a:rPr lang="en-US" sz="1600" b="1" dirty="0" smtClean="0">
                <a:solidFill>
                  <a:srgbClr val="000000"/>
                </a:solidFill>
              </a:rPr>
              <a:t>17</a:t>
            </a:r>
            <a:r>
              <a:rPr lang="en-US" sz="1600" b="1" dirty="0">
                <a:solidFill>
                  <a:srgbClr val="000000"/>
                </a:solidFill>
              </a:rPr>
              <a:t>%</a:t>
            </a:r>
            <a:r>
              <a:rPr lang="en-US" sz="1600" dirty="0">
                <a:solidFill>
                  <a:srgbClr val="000000"/>
                </a:solidFill>
              </a:rPr>
              <a:t> of Texas public high school students graduating annually now achieve a college ready SAT or ACT </a:t>
            </a:r>
            <a:r>
              <a:rPr lang="en-US" sz="1600" dirty="0" smtClean="0">
                <a:solidFill>
                  <a:srgbClr val="000000"/>
                </a:solidFill>
              </a:rPr>
              <a:t>score, based on TX state criterion, </a:t>
            </a:r>
            <a:r>
              <a:rPr lang="en-US" sz="1600" dirty="0">
                <a:solidFill>
                  <a:srgbClr val="000000"/>
                </a:solidFill>
              </a:rPr>
              <a:t>with </a:t>
            </a:r>
            <a:r>
              <a:rPr lang="en-US" sz="1600" dirty="0" smtClean="0">
                <a:solidFill>
                  <a:srgbClr val="000000"/>
                </a:solidFill>
              </a:rPr>
              <a:t>over </a:t>
            </a:r>
            <a:r>
              <a:rPr lang="en-US" sz="1600" b="1" dirty="0" smtClean="0">
                <a:solidFill>
                  <a:srgbClr val="000000"/>
                </a:solidFill>
              </a:rPr>
              <a:t>250,000 </a:t>
            </a:r>
            <a:r>
              <a:rPr lang="en-US" sz="1600" dirty="0">
                <a:solidFill>
                  <a:srgbClr val="000000"/>
                </a:solidFill>
              </a:rPr>
              <a:t>students annually inadequately prepared for their </a:t>
            </a:r>
            <a:r>
              <a:rPr lang="en-US" sz="1600" dirty="0" smtClean="0">
                <a:solidFill>
                  <a:srgbClr val="000000"/>
                </a:solidFill>
              </a:rPr>
              <a:t>postsecondary education</a:t>
            </a:r>
            <a:r>
              <a:rPr lang="is-IS" sz="1600" dirty="0" smtClean="0">
                <a:solidFill>
                  <a:srgbClr val="000000"/>
                </a:solidFill>
              </a:rPr>
              <a:t>…often requiring subsequent remediation which the student must pay for but receives no college credit for doing so</a:t>
            </a:r>
            <a:endParaRPr lang="en-US" sz="1600" dirty="0">
              <a:solidFill>
                <a:srgbClr val="000000"/>
              </a:solidFill>
            </a:endParaRPr>
          </a:p>
          <a:p>
            <a:pPr marL="0" lvl="1" algn="ctr">
              <a:spcBef>
                <a:spcPts val="1800"/>
              </a:spcBef>
            </a:pPr>
            <a:endParaRPr lang="en-US" sz="16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349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ECKEDTHEME" val="Letter Bain New"/>
  <p:tag name="THINKCELLUNDODONOTDELETE" val="1"/>
  <p:tag name="ARTICULATE_PROJECT_OPEN" val="0"/>
  <p:tag name="PAPERSIZE" val="Letter"/>
  <p:tag name="BACKGROUNDCOLOR" val="-1"/>
  <p:tag name="BACKGROUNDINTENSITY" val="Light"/>
  <p:tag name="PRESENTATIONTYPE" val="BoardWhite"/>
  <p:tag name="OFFICECODE" val="True"/>
  <p:tag name="FOOTER" val="True"/>
  <p:tag name="OFFICES" val="Bridgespan"/>
  <p:tag name="OFFICE" val="Bridgespan"/>
  <p:tag name="VERSION" val="5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idgespan Group">
  <a:themeElements>
    <a:clrScheme name="Bridgespan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0000"/>
      </a:hlink>
      <a:folHlink>
        <a:srgbClr val="FFFFFF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ommit Blue Content Page">
  <a:themeElements>
    <a:clrScheme name="Commit!">
      <a:dk1>
        <a:srgbClr val="003663"/>
      </a:dk1>
      <a:lt1>
        <a:srgbClr val="FFFFFF"/>
      </a:lt1>
      <a:dk2>
        <a:srgbClr val="003663"/>
      </a:dk2>
      <a:lt2>
        <a:srgbClr val="FFFFFF"/>
      </a:lt2>
      <a:accent1>
        <a:srgbClr val="0088A3"/>
      </a:accent1>
      <a:accent2>
        <a:srgbClr val="F15827"/>
      </a:accent2>
      <a:accent3>
        <a:srgbClr val="92C83E"/>
      </a:accent3>
      <a:accent4>
        <a:srgbClr val="FDB713"/>
      </a:accent4>
      <a:accent5>
        <a:srgbClr val="C4161C"/>
      </a:accent5>
      <a:accent6>
        <a:srgbClr val="003663"/>
      </a:accent6>
      <a:hlink>
        <a:srgbClr val="0088A3"/>
      </a:hlink>
      <a:folHlink>
        <a:srgbClr val="A5A5A5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5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+mn-lt"/>
            <a:cs typeface="Gotham-Book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CAE780D-AF48-4250-AAC6-36A8EAC96D9C}" vid="{9E0E1839-449F-4DFC-AA87-09F19A33B4DA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45F3A01F-837F-C94F-9CDA-9063517E9C3D}" vid="{AC721D1A-FBE2-9740-B199-78E73A575890}"/>
    </a:ext>
  </a:extLst>
</a:theme>
</file>

<file path=ppt/theme/theme4.xml><?xml version="1.0" encoding="utf-8"?>
<a:theme xmlns:a="http://schemas.openxmlformats.org/drawingml/2006/main" name="15_Commit Blue Content Page">
  <a:themeElements>
    <a:clrScheme name="Commit!">
      <a:dk1>
        <a:srgbClr val="003663"/>
      </a:dk1>
      <a:lt1>
        <a:srgbClr val="FFFFFF"/>
      </a:lt1>
      <a:dk2>
        <a:srgbClr val="003663"/>
      </a:dk2>
      <a:lt2>
        <a:srgbClr val="FFFFFF"/>
      </a:lt2>
      <a:accent1>
        <a:srgbClr val="0088A3"/>
      </a:accent1>
      <a:accent2>
        <a:srgbClr val="F15827"/>
      </a:accent2>
      <a:accent3>
        <a:srgbClr val="92C83E"/>
      </a:accent3>
      <a:accent4>
        <a:srgbClr val="FDB713"/>
      </a:accent4>
      <a:accent5>
        <a:srgbClr val="C4161C"/>
      </a:accent5>
      <a:accent6>
        <a:srgbClr val="003663"/>
      </a:accent6>
      <a:hlink>
        <a:srgbClr val="0088A3"/>
      </a:hlink>
      <a:folHlink>
        <a:srgbClr val="A5A5A5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5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+mn-lt"/>
            <a:cs typeface="Gotham-Book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mmit Theme 2.0" id="{9978433B-5B55-4C1D-B188-772D2C9812C7}" vid="{C4B55D8F-2675-4BDD-81FA-668F08CF7579}"/>
    </a:ext>
  </a:extLst>
</a:theme>
</file>

<file path=ppt/theme/theme5.xml><?xml version="1.0" encoding="utf-8"?>
<a:theme xmlns:a="http://schemas.openxmlformats.org/drawingml/2006/main" name="1_Commit Blue Content Page">
  <a:themeElements>
    <a:clrScheme name="Commit!">
      <a:dk1>
        <a:srgbClr val="003663"/>
      </a:dk1>
      <a:lt1>
        <a:srgbClr val="FFFFFF"/>
      </a:lt1>
      <a:dk2>
        <a:srgbClr val="003663"/>
      </a:dk2>
      <a:lt2>
        <a:srgbClr val="FFFFFF"/>
      </a:lt2>
      <a:accent1>
        <a:srgbClr val="0088A3"/>
      </a:accent1>
      <a:accent2>
        <a:srgbClr val="F15827"/>
      </a:accent2>
      <a:accent3>
        <a:srgbClr val="92C83E"/>
      </a:accent3>
      <a:accent4>
        <a:srgbClr val="FDB713"/>
      </a:accent4>
      <a:accent5>
        <a:srgbClr val="C4161C"/>
      </a:accent5>
      <a:accent6>
        <a:srgbClr val="003663"/>
      </a:accent6>
      <a:hlink>
        <a:srgbClr val="0088A3"/>
      </a:hlink>
      <a:folHlink>
        <a:srgbClr val="A5A5A5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5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+mn-lt"/>
            <a:cs typeface="Gotham-Book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mmit Theme 2.0" id="{9978433B-5B55-4C1D-B188-772D2C9812C7}" vid="{C4B55D8F-2675-4BDD-81FA-668F08CF7579}"/>
    </a:ext>
  </a:extLst>
</a:theme>
</file>

<file path=ppt/theme/theme6.xml><?xml version="1.0" encoding="utf-8"?>
<a:theme xmlns:a="http://schemas.openxmlformats.org/drawingml/2006/main" name="2_Commit Blue Content Page">
  <a:themeElements>
    <a:clrScheme name="Commit!">
      <a:dk1>
        <a:srgbClr val="003663"/>
      </a:dk1>
      <a:lt1>
        <a:srgbClr val="FFFFFF"/>
      </a:lt1>
      <a:dk2>
        <a:srgbClr val="003663"/>
      </a:dk2>
      <a:lt2>
        <a:srgbClr val="FFFFFF"/>
      </a:lt2>
      <a:accent1>
        <a:srgbClr val="0088A3"/>
      </a:accent1>
      <a:accent2>
        <a:srgbClr val="F15827"/>
      </a:accent2>
      <a:accent3>
        <a:srgbClr val="92C83E"/>
      </a:accent3>
      <a:accent4>
        <a:srgbClr val="FDB713"/>
      </a:accent4>
      <a:accent5>
        <a:srgbClr val="C4161C"/>
      </a:accent5>
      <a:accent6>
        <a:srgbClr val="003663"/>
      </a:accent6>
      <a:hlink>
        <a:srgbClr val="0088A3"/>
      </a:hlink>
      <a:folHlink>
        <a:srgbClr val="A5A5A5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5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+mn-lt"/>
            <a:cs typeface="Gotham-Book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mmit Theme 2.0" id="{26B42F2C-B364-470F-BB1E-1F1A64B0CC24}" vid="{55883AAB-CD84-43FE-9E38-3403CA0EFB8E}"/>
    </a:ext>
  </a:extLst>
</a:theme>
</file>

<file path=ppt/theme/theme7.xml><?xml version="1.0" encoding="utf-8"?>
<a:theme xmlns:a="http://schemas.openxmlformats.org/drawingml/2006/main" name="3_Commit Blue Content Page">
  <a:themeElements>
    <a:clrScheme name="Commit!">
      <a:dk1>
        <a:srgbClr val="003663"/>
      </a:dk1>
      <a:lt1>
        <a:srgbClr val="FFFFFF"/>
      </a:lt1>
      <a:dk2>
        <a:srgbClr val="003663"/>
      </a:dk2>
      <a:lt2>
        <a:srgbClr val="FFFFFF"/>
      </a:lt2>
      <a:accent1>
        <a:srgbClr val="0088A3"/>
      </a:accent1>
      <a:accent2>
        <a:srgbClr val="F15827"/>
      </a:accent2>
      <a:accent3>
        <a:srgbClr val="92C83E"/>
      </a:accent3>
      <a:accent4>
        <a:srgbClr val="FDB713"/>
      </a:accent4>
      <a:accent5>
        <a:srgbClr val="C4161C"/>
      </a:accent5>
      <a:accent6>
        <a:srgbClr val="003663"/>
      </a:accent6>
      <a:hlink>
        <a:srgbClr val="0088A3"/>
      </a:hlink>
      <a:folHlink>
        <a:srgbClr val="A5A5A5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50"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+mn-lt"/>
            <a:cs typeface="Gotham-Book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mmit Theme 2.0" id="{9978433B-5B55-4C1D-B188-772D2C9812C7}" vid="{C4B55D8F-2675-4BDD-81FA-668F08CF757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Commit!">
    <a:majorFont>
      <a:latin typeface="Gotham-Book"/>
      <a:ea typeface=""/>
      <a:cs typeface=""/>
    </a:majorFont>
    <a:minorFont>
      <a:latin typeface="Gotham-Boo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Commit!">
    <a:majorFont>
      <a:latin typeface="Gotham-Book"/>
      <a:ea typeface=""/>
      <a:cs typeface=""/>
    </a:majorFont>
    <a:minorFont>
      <a:latin typeface="Gotham-Boo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Commit!">
    <a:majorFont>
      <a:latin typeface="Gotham-Book"/>
      <a:ea typeface=""/>
      <a:cs typeface=""/>
    </a:majorFont>
    <a:minorFont>
      <a:latin typeface="Gotham-Boo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Commit!">
    <a:majorFont>
      <a:latin typeface="Gotham-Book"/>
      <a:ea typeface=""/>
      <a:cs typeface=""/>
    </a:majorFont>
    <a:minorFont>
      <a:latin typeface="Gotham-Boo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Commit!">
    <a:majorFont>
      <a:latin typeface="Gotham-Book"/>
      <a:ea typeface=""/>
      <a:cs typeface=""/>
    </a:majorFont>
    <a:minorFont>
      <a:latin typeface="Gotham-Boo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Commit!">
    <a:majorFont>
      <a:latin typeface="Gotham-Book"/>
      <a:ea typeface=""/>
      <a:cs typeface=""/>
    </a:majorFont>
    <a:minorFont>
      <a:latin typeface="Gotham-Book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Verdana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Commit!">
    <a:dk1>
      <a:srgbClr val="003663"/>
    </a:dk1>
    <a:lt1>
      <a:srgbClr val="FFFFFF"/>
    </a:lt1>
    <a:dk2>
      <a:srgbClr val="003663"/>
    </a:dk2>
    <a:lt2>
      <a:srgbClr val="FFFFFF"/>
    </a:lt2>
    <a:accent1>
      <a:srgbClr val="0088A3"/>
    </a:accent1>
    <a:accent2>
      <a:srgbClr val="F15827"/>
    </a:accent2>
    <a:accent3>
      <a:srgbClr val="92C83E"/>
    </a:accent3>
    <a:accent4>
      <a:srgbClr val="FDB713"/>
    </a:accent4>
    <a:accent5>
      <a:srgbClr val="C4161C"/>
    </a:accent5>
    <a:accent6>
      <a:srgbClr val="003663"/>
    </a:accent6>
    <a:hlink>
      <a:srgbClr val="0088A3"/>
    </a:hlink>
    <a:folHlink>
      <a:srgbClr val="A5A5A5"/>
    </a:folHlink>
  </a:clrScheme>
  <a:fontScheme name="Verdana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howfilename>true</Showfilename>
</file>

<file path=customXml/item2.xml><?xml version="1.0" encoding="utf-8"?>
<Showofficecode>true</Showofficecode>
</file>

<file path=customXml/itemProps1.xml><?xml version="1.0" encoding="utf-8"?>
<ds:datastoreItem xmlns:ds="http://schemas.openxmlformats.org/officeDocument/2006/customXml" ds:itemID="{7E4F3698-396E-4B2F-BE11-3B2FE028BC3E}">
  <ds:schemaRefs/>
</ds:datastoreItem>
</file>

<file path=customXml/itemProps2.xml><?xml version="1.0" encoding="utf-8"?>
<ds:datastoreItem xmlns:ds="http://schemas.openxmlformats.org/officeDocument/2006/customXml" ds:itemID="{5B806E24-A205-48BA-941F-71D15518944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100744</TotalTime>
  <Words>3569</Words>
  <Application>Microsoft Office PowerPoint</Application>
  <PresentationFormat>Custom</PresentationFormat>
  <Paragraphs>863</Paragraphs>
  <Slides>3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9" baseType="lpstr">
      <vt:lpstr>ＭＳ Ｐゴシック</vt:lpstr>
      <vt:lpstr>Arial</vt:lpstr>
      <vt:lpstr>Calibri</vt:lpstr>
      <vt:lpstr>Calibri Light</vt:lpstr>
      <vt:lpstr>Courier New</vt:lpstr>
      <vt:lpstr>Gotham-Book</vt:lpstr>
      <vt:lpstr>Lucida Grande</vt:lpstr>
      <vt:lpstr>Marlett</vt:lpstr>
      <vt:lpstr>Times New Roman</vt:lpstr>
      <vt:lpstr>Verdana</vt:lpstr>
      <vt:lpstr>Bridgespan Group</vt:lpstr>
      <vt:lpstr>Commit Blue Content Page</vt:lpstr>
      <vt:lpstr>Office Theme</vt:lpstr>
      <vt:lpstr>15_Commit Blue Content Page</vt:lpstr>
      <vt:lpstr>1_Commit Blue Content Page</vt:lpstr>
      <vt:lpstr>2_Commit Blue Content Page</vt:lpstr>
      <vt:lpstr>3_Commit Blue Content Page</vt:lpstr>
      <vt:lpstr>think-cell Slide</vt:lpstr>
      <vt:lpstr>K-12 Educational Outcomes for Texas Children w/ Particular Focus on Poverty   How Do We As a State Scale Those Efforts That Are Working and Change Incentives/Reduce Barriers?</vt:lpstr>
      <vt:lpstr>What the Commit! Partnership Is</vt:lpstr>
      <vt:lpstr>PowerPoint Presentation</vt:lpstr>
      <vt:lpstr>…Which Result in a Challenged Cradle-To-Career Pipeline for Texas Reflecting Inadequate Educational Outcomes</vt:lpstr>
      <vt:lpstr>The Education Pipeline Is Falling Short Of The Demand—253,000 High School Graduates Are Not College Ready</vt:lpstr>
      <vt:lpstr>And TX Public PK-12 Enrollment Growth Accounts for 70% of the U.S. Growth… What Happens Here Matters</vt:lpstr>
      <vt:lpstr>Solving the Pre-K Enrollment and Pre-K Thru 3rd Quality Gaps Only 39% of TX Students Answer ~75% of Questions Correctly on 3rd Grade Reading Assessment</vt:lpstr>
      <vt:lpstr>Fewer Than 50% of Students Are on a Postsecondary Ready Pace in Algebra I</vt:lpstr>
      <vt:lpstr>TX is Near the Top of U.S. in High School Graduation Rates—Nearly 90% Do So—But Are Our Graduates Ready?</vt:lpstr>
      <vt:lpstr>PowerPoint Presentation</vt:lpstr>
      <vt:lpstr>Poverty is NOT Destiny: Wide Spreads in STAAR Achievement at MINIMUM Std. Regardless of Student’s Economic Disadvantaged Status or Campus Poverty %  (But Concentrated Poverty is Disadvantageous For ALL Students)</vt:lpstr>
      <vt:lpstr>Poverty is NOT Destiny: Wide Spreads in Achievement at POST SECONDARY Std. Regardless of Student’s Economic Disadvantaged Status or Campus Poverty %  (But Concentrated Poverty is Disadvantageous For ALL Students)</vt:lpstr>
      <vt:lpstr>Poverty is NOT Destiny: Wide Spreads in URBAN Achievement at MINIMUM Std. Regardless of Student’s Economic Disadvantaged Status or Campus Poverty %  (But Concentrated Poverty is Disadvantageous For ALL Students)</vt:lpstr>
      <vt:lpstr>Since 2011-12 Inception, 16,300 More Students are Achieving Key Benchmarks in Dallas County</vt:lpstr>
      <vt:lpstr>Progress in Reducing No. of Bottom 5% Schools Dallas County Has Led the Way Over the Last 2 Years</vt:lpstr>
      <vt:lpstr>PowerPoint Presentation</vt:lpstr>
      <vt:lpstr>Expanding Access to Quality Early Childhood to Create Solid Foundation 100% Kinder Readiness Could More Than Double 3rd Grade Literacy Rate</vt:lpstr>
      <vt:lpstr>PowerPoint Presentation</vt:lpstr>
      <vt:lpstr>Across DFW, Both Teacher Turnover and % of Teaching Force That is Composed of Beginning Teachers Has Been Steadily Growing Since 2010-11</vt:lpstr>
      <vt:lpstr>Across Texas, Both Teacher Turnover and % of Teaching Force Who are Beginning Has Been Steadily Growing Since 2010-11</vt:lpstr>
      <vt:lpstr>Less Affluent Schools In Dallas County Have Less Experienced Teachers (by 1.6 Years) and Almost 2x the Rate of New Teachers</vt:lpstr>
      <vt:lpstr>Dallas County’s Campus Poverty Rate is 3x Higher Than Collin County’s While its Ratio of New Teachers is 2x Higher</vt:lpstr>
      <vt:lpstr>Looking Only at Poorer Students, Tremendous Dispersion in Achievement Among Campuses w/ Similar Teacher Experience Levels</vt:lpstr>
      <vt:lpstr>Principal and Teacher Effectiveness is Key in Turning Around Struggling Schools. Mirroring National Statistics, DISD’s Improvement Required Campuses in 2014  Reflected the Smallest Percentage of Distinguished Educators (“DTR”)</vt:lpstr>
      <vt:lpstr>Dallas ISD ACE Program Pilot of 7 Perpetually Improvement Required Schools</vt:lpstr>
      <vt:lpstr>PowerPoint Presentation</vt:lpstr>
      <vt:lpstr>PowerPoint Presentation</vt:lpstr>
      <vt:lpstr>Key Fundamental Levers for Change Two Fundamental Plays We Instead Try to Remediate Around</vt:lpstr>
      <vt:lpstr>Detailed Recommendations</vt:lpstr>
      <vt:lpstr>Appendix</vt:lpstr>
      <vt:lpstr>Post Secondary Standard More Reflective of Achievement Than Passing Standard Proficiency % in the 60%-80% Range vs. 40%-50% at Current Passing Requirements</vt:lpstr>
    </vt:vector>
  </TitlesOfParts>
  <Company>Bain &amp; Company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ily Hall Tremaine Foundation</dc:title>
  <dc:creator>Kyle Gardner</dc:creator>
  <dc:description>New Bridgespan branding, Nov 7, 2011  TJN
Edited Nov 16th, 2011 TJN
Changed PPT color Jan 24th, 2012  TJNChanged By KMA 2/17/12</dc:description>
  <cp:lastModifiedBy>Meuth, Colleen</cp:lastModifiedBy>
  <cp:revision>2160</cp:revision>
  <cp:lastPrinted>2016-08-29T16:18:10Z</cp:lastPrinted>
  <dcterms:created xsi:type="dcterms:W3CDTF">2012-05-18T16:45:07Z</dcterms:created>
  <dcterms:modified xsi:type="dcterms:W3CDTF">2016-09-15T01:4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Type">
    <vt:lpwstr>BoardWhite</vt:lpwstr>
  </property>
  <property fmtid="{D5CDD505-2E9C-101B-9397-08002B2CF9AE}" pid="3" name="Footer">
    <vt:lpwstr>True</vt:lpwstr>
  </property>
  <property fmtid="{D5CDD505-2E9C-101B-9397-08002B2CF9AE}" pid="4" name="OfficeCode">
    <vt:lpwstr>True</vt:lpwstr>
  </property>
  <property fmtid="{D5CDD505-2E9C-101B-9397-08002B2CF9AE}" pid="5" name="BackgroundIntensity">
    <vt:lpwstr>Light</vt:lpwstr>
  </property>
  <property fmtid="{D5CDD505-2E9C-101B-9397-08002B2CF9AE}" pid="6" name="BackgroundColor">
    <vt:lpwstr>255,255,255</vt:lpwstr>
  </property>
  <property fmtid="{D5CDD505-2E9C-101B-9397-08002B2CF9AE}" pid="7" name="Offices">
    <vt:lpwstr>Bridgespan</vt:lpwstr>
  </property>
  <property fmtid="{D5CDD505-2E9C-101B-9397-08002B2CF9AE}" pid="8" name="RevisionNumber">
    <vt:i4>77</vt:i4>
  </property>
  <property fmtid="{D5CDD505-2E9C-101B-9397-08002B2CF9AE}" pid="9" name="PaperSize">
    <vt:lpwstr>Letter</vt:lpwstr>
  </property>
</Properties>
</file>